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18.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21.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notesSlides/notesSlide22.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23.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24.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25.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26.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27.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notesSlides/notesSlide28.xml" ContentType="application/vnd.openxmlformats-officedocument.presentationml.notesSlide+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notesSlides/notesSlide29.xml" ContentType="application/vnd.openxmlformats-officedocument.presentationml.notesSlide+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notesSlides/notesSlide30.xml" ContentType="application/vnd.openxmlformats-officedocument.presentationml.notesSlide+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notesSlides/notesSlide31.xml" ContentType="application/vnd.openxmlformats-officedocument.presentationml.notesSlide+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notesSlides/notesSlide32.xml" ContentType="application/vnd.openxmlformats-officedocument.presentationml.notesSlide+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notesSlides/notesSlide33.xml" ContentType="application/vnd.openxmlformats-officedocument.presentationml.notesSlide+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3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5.xml" ContentType="application/vnd.openxmlformats-officedocument.presentationml.notesSlide+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ppt/diagrams/data104.xml" ContentType="application/vnd.openxmlformats-officedocument.drawingml.diagramData+xml"/>
  <Override PartName="/ppt/diagrams/layout104.xml" ContentType="application/vnd.openxmlformats-officedocument.drawingml.diagramLayout+xml"/>
  <Override PartName="/ppt/diagrams/quickStyle104.xml" ContentType="application/vnd.openxmlformats-officedocument.drawingml.diagramStyle+xml"/>
  <Override PartName="/ppt/diagrams/colors104.xml" ContentType="application/vnd.openxmlformats-officedocument.drawingml.diagramColors+xml"/>
  <Override PartName="/ppt/diagrams/drawing104.xml" ContentType="application/vnd.ms-office.drawingml.diagramDrawing+xml"/>
  <Override PartName="/ppt/diagrams/data105.xml" ContentType="application/vnd.openxmlformats-officedocument.drawingml.diagramData+xml"/>
  <Override PartName="/ppt/diagrams/layout105.xml" ContentType="application/vnd.openxmlformats-officedocument.drawingml.diagramLayout+xml"/>
  <Override PartName="/ppt/diagrams/quickStyle105.xml" ContentType="application/vnd.openxmlformats-officedocument.drawingml.diagramStyle+xml"/>
  <Override PartName="/ppt/diagrams/colors105.xml" ContentType="application/vnd.openxmlformats-officedocument.drawingml.diagramColors+xml"/>
  <Override PartName="/ppt/diagrams/drawing105.xml" ContentType="application/vnd.ms-office.drawingml.diagramDrawing+xml"/>
  <Override PartName="/ppt/diagrams/data106.xml" ContentType="application/vnd.openxmlformats-officedocument.drawingml.diagramData+xml"/>
  <Override PartName="/ppt/diagrams/layout106.xml" ContentType="application/vnd.openxmlformats-officedocument.drawingml.diagramLayout+xml"/>
  <Override PartName="/ppt/diagrams/quickStyle106.xml" ContentType="application/vnd.openxmlformats-officedocument.drawingml.diagramStyle+xml"/>
  <Override PartName="/ppt/diagrams/colors106.xml" ContentType="application/vnd.openxmlformats-officedocument.drawingml.diagramColors+xml"/>
  <Override PartName="/ppt/diagrams/drawing106.xml" ContentType="application/vnd.ms-office.drawingml.diagramDrawing+xml"/>
  <Override PartName="/ppt/diagrams/data107.xml" ContentType="application/vnd.openxmlformats-officedocument.drawingml.diagramData+xml"/>
  <Override PartName="/ppt/diagrams/layout107.xml" ContentType="application/vnd.openxmlformats-officedocument.drawingml.diagramLayout+xml"/>
  <Override PartName="/ppt/diagrams/quickStyle107.xml" ContentType="application/vnd.openxmlformats-officedocument.drawingml.diagramStyle+xml"/>
  <Override PartName="/ppt/diagrams/colors107.xml" ContentType="application/vnd.openxmlformats-officedocument.drawingml.diagramColors+xml"/>
  <Override PartName="/ppt/diagrams/drawing107.xml" ContentType="application/vnd.ms-office.drawingml.diagramDrawing+xml"/>
  <Override PartName="/ppt/diagrams/data108.xml" ContentType="application/vnd.openxmlformats-officedocument.drawingml.diagramData+xml"/>
  <Override PartName="/ppt/diagrams/layout108.xml" ContentType="application/vnd.openxmlformats-officedocument.drawingml.diagramLayout+xml"/>
  <Override PartName="/ppt/diagrams/quickStyle108.xml" ContentType="application/vnd.openxmlformats-officedocument.drawingml.diagramStyle+xml"/>
  <Override PartName="/ppt/diagrams/colors108.xml" ContentType="application/vnd.openxmlformats-officedocument.drawingml.diagramColors+xml"/>
  <Override PartName="/ppt/diagrams/drawing108.xml" ContentType="application/vnd.ms-office.drawingml.diagramDrawing+xml"/>
  <Override PartName="/ppt/diagrams/data109.xml" ContentType="application/vnd.openxmlformats-officedocument.drawingml.diagramData+xml"/>
  <Override PartName="/ppt/diagrams/layout109.xml" ContentType="application/vnd.openxmlformats-officedocument.drawingml.diagramLayout+xml"/>
  <Override PartName="/ppt/diagrams/quickStyle109.xml" ContentType="application/vnd.openxmlformats-officedocument.drawingml.diagramStyle+xml"/>
  <Override PartName="/ppt/diagrams/colors109.xml" ContentType="application/vnd.openxmlformats-officedocument.drawingml.diagramColors+xml"/>
  <Override PartName="/ppt/diagrams/drawing109.xml" ContentType="application/vnd.ms-office.drawingml.diagramDrawing+xml"/>
  <Override PartName="/ppt/diagrams/data110.xml" ContentType="application/vnd.openxmlformats-officedocument.drawingml.diagramData+xml"/>
  <Override PartName="/ppt/diagrams/layout110.xml" ContentType="application/vnd.openxmlformats-officedocument.drawingml.diagramLayout+xml"/>
  <Override PartName="/ppt/diagrams/quickStyle110.xml" ContentType="application/vnd.openxmlformats-officedocument.drawingml.diagramStyle+xml"/>
  <Override PartName="/ppt/diagrams/colors110.xml" ContentType="application/vnd.openxmlformats-officedocument.drawingml.diagramColors+xml"/>
  <Override PartName="/ppt/diagrams/drawing110.xml" ContentType="application/vnd.ms-office.drawingml.diagramDrawing+xml"/>
  <Override PartName="/ppt/diagrams/data111.xml" ContentType="application/vnd.openxmlformats-officedocument.drawingml.diagramData+xml"/>
  <Override PartName="/ppt/diagrams/layout111.xml" ContentType="application/vnd.openxmlformats-officedocument.drawingml.diagramLayout+xml"/>
  <Override PartName="/ppt/diagrams/quickStyle111.xml" ContentType="application/vnd.openxmlformats-officedocument.drawingml.diagramStyle+xml"/>
  <Override PartName="/ppt/diagrams/colors111.xml" ContentType="application/vnd.openxmlformats-officedocument.drawingml.diagramColors+xml"/>
  <Override PartName="/ppt/diagrams/drawing111.xml" ContentType="application/vnd.ms-office.drawingml.diagramDrawing+xml"/>
  <Override PartName="/ppt/diagrams/data112.xml" ContentType="application/vnd.openxmlformats-officedocument.drawingml.diagramData+xml"/>
  <Override PartName="/ppt/diagrams/layout112.xml" ContentType="application/vnd.openxmlformats-officedocument.drawingml.diagramLayout+xml"/>
  <Override PartName="/ppt/diagrams/quickStyle112.xml" ContentType="application/vnd.openxmlformats-officedocument.drawingml.diagramStyle+xml"/>
  <Override PartName="/ppt/diagrams/colors112.xml" ContentType="application/vnd.openxmlformats-officedocument.drawingml.diagramColors+xml"/>
  <Override PartName="/ppt/diagrams/drawing112.xml" ContentType="application/vnd.ms-office.drawingml.diagramDrawing+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0" r:id="rId4"/>
  </p:sldMasterIdLst>
  <p:notesMasterIdLst>
    <p:notesMasterId r:id="rId237"/>
  </p:notesMasterIdLst>
  <p:sldIdLst>
    <p:sldId id="256" r:id="rId5"/>
    <p:sldId id="661" r:id="rId6"/>
    <p:sldId id="1195" r:id="rId7"/>
    <p:sldId id="1107" r:id="rId8"/>
    <p:sldId id="1192" r:id="rId9"/>
    <p:sldId id="1193" r:id="rId10"/>
    <p:sldId id="1194" r:id="rId11"/>
    <p:sldId id="1111" r:id="rId12"/>
    <p:sldId id="1112" r:id="rId13"/>
    <p:sldId id="1113" r:id="rId14"/>
    <p:sldId id="1061" r:id="rId15"/>
    <p:sldId id="961" r:id="rId16"/>
    <p:sldId id="1163" r:id="rId17"/>
    <p:sldId id="390" r:id="rId18"/>
    <p:sldId id="1136" r:id="rId19"/>
    <p:sldId id="908" r:id="rId20"/>
    <p:sldId id="909" r:id="rId21"/>
    <p:sldId id="1100" r:id="rId22"/>
    <p:sldId id="894" r:id="rId23"/>
    <p:sldId id="391" r:id="rId24"/>
    <p:sldId id="849" r:id="rId25"/>
    <p:sldId id="1241" r:id="rId26"/>
    <p:sldId id="388" r:id="rId27"/>
    <p:sldId id="268" r:id="rId28"/>
    <p:sldId id="1219" r:id="rId29"/>
    <p:sldId id="1244" r:id="rId30"/>
    <p:sldId id="1272" r:id="rId31"/>
    <p:sldId id="1277" r:id="rId32"/>
    <p:sldId id="1229" r:id="rId33"/>
    <p:sldId id="1231" r:id="rId34"/>
    <p:sldId id="1232" r:id="rId35"/>
    <p:sldId id="1228" r:id="rId36"/>
    <p:sldId id="1233" r:id="rId37"/>
    <p:sldId id="1275" r:id="rId38"/>
    <p:sldId id="1274" r:id="rId39"/>
    <p:sldId id="1276" r:id="rId40"/>
    <p:sldId id="1273" r:id="rId41"/>
    <p:sldId id="1243" r:id="rId42"/>
    <p:sldId id="677" r:id="rId43"/>
    <p:sldId id="678" r:id="rId44"/>
    <p:sldId id="301" r:id="rId45"/>
    <p:sldId id="1226" r:id="rId46"/>
    <p:sldId id="1080" r:id="rId47"/>
    <p:sldId id="1242" r:id="rId48"/>
    <p:sldId id="1224" r:id="rId49"/>
    <p:sldId id="1223" r:id="rId50"/>
    <p:sldId id="1245" r:id="rId51"/>
    <p:sldId id="1236" r:id="rId52"/>
    <p:sldId id="1238" r:id="rId53"/>
    <p:sldId id="777" r:id="rId54"/>
    <p:sldId id="760" r:id="rId55"/>
    <p:sldId id="947" r:id="rId56"/>
    <p:sldId id="903" r:id="rId57"/>
    <p:sldId id="889" r:id="rId58"/>
    <p:sldId id="904" r:id="rId59"/>
    <p:sldId id="905" r:id="rId60"/>
    <p:sldId id="890" r:id="rId61"/>
    <p:sldId id="906" r:id="rId62"/>
    <p:sldId id="891" r:id="rId63"/>
    <p:sldId id="885" r:id="rId64"/>
    <p:sldId id="1078" r:id="rId65"/>
    <p:sldId id="922" r:id="rId66"/>
    <p:sldId id="1239" r:id="rId67"/>
    <p:sldId id="306" r:id="rId68"/>
    <p:sldId id="1240" r:id="rId69"/>
    <p:sldId id="745" r:id="rId70"/>
    <p:sldId id="761" r:id="rId71"/>
    <p:sldId id="764" r:id="rId72"/>
    <p:sldId id="690" r:id="rId73"/>
    <p:sldId id="766" r:id="rId74"/>
    <p:sldId id="929" r:id="rId75"/>
    <p:sldId id="1051" r:id="rId76"/>
    <p:sldId id="823" r:id="rId77"/>
    <p:sldId id="1177" r:id="rId78"/>
    <p:sldId id="1178" r:id="rId79"/>
    <p:sldId id="824" r:id="rId80"/>
    <p:sldId id="1247" r:id="rId81"/>
    <p:sldId id="1175" r:id="rId82"/>
    <p:sldId id="1176" r:id="rId83"/>
    <p:sldId id="963" r:id="rId84"/>
    <p:sldId id="965" r:id="rId85"/>
    <p:sldId id="1173" r:id="rId86"/>
    <p:sldId id="1168" r:id="rId87"/>
    <p:sldId id="750" r:id="rId88"/>
    <p:sldId id="936" r:id="rId89"/>
    <p:sldId id="930" r:id="rId90"/>
    <p:sldId id="931" r:id="rId91"/>
    <p:sldId id="932" r:id="rId92"/>
    <p:sldId id="951" r:id="rId93"/>
    <p:sldId id="952" r:id="rId94"/>
    <p:sldId id="743" r:id="rId95"/>
    <p:sldId id="1246" r:id="rId96"/>
    <p:sldId id="1167" r:id="rId97"/>
    <p:sldId id="826" r:id="rId98"/>
    <p:sldId id="825" r:id="rId99"/>
    <p:sldId id="830" r:id="rId100"/>
    <p:sldId id="1045" r:id="rId101"/>
    <p:sldId id="817" r:id="rId102"/>
    <p:sldId id="1248" r:id="rId103"/>
    <p:sldId id="821" r:id="rId104"/>
    <p:sldId id="1101" r:id="rId105"/>
    <p:sldId id="676" r:id="rId106"/>
    <p:sldId id="1050" r:id="rId107"/>
    <p:sldId id="381" r:id="rId108"/>
    <p:sldId id="385" r:id="rId109"/>
    <p:sldId id="1081" r:id="rId110"/>
    <p:sldId id="386" r:id="rId111"/>
    <p:sldId id="416" r:id="rId112"/>
    <p:sldId id="417" r:id="rId113"/>
    <p:sldId id="418" r:id="rId114"/>
    <p:sldId id="923" r:id="rId115"/>
    <p:sldId id="1083" r:id="rId116"/>
    <p:sldId id="410" r:id="rId117"/>
    <p:sldId id="409" r:id="rId118"/>
    <p:sldId id="1082" r:id="rId119"/>
    <p:sldId id="1132" r:id="rId120"/>
    <p:sldId id="1119" r:id="rId121"/>
    <p:sldId id="1124" r:id="rId122"/>
    <p:sldId id="975" r:id="rId123"/>
    <p:sldId id="1120" r:id="rId124"/>
    <p:sldId id="1126" r:id="rId125"/>
    <p:sldId id="1086" r:id="rId126"/>
    <p:sldId id="964" r:id="rId127"/>
    <p:sldId id="1087" r:id="rId128"/>
    <p:sldId id="989" r:id="rId129"/>
    <p:sldId id="990" r:id="rId130"/>
    <p:sldId id="991" r:id="rId131"/>
    <p:sldId id="937" r:id="rId132"/>
    <p:sldId id="1179" r:id="rId133"/>
    <p:sldId id="1146" r:id="rId134"/>
    <p:sldId id="275" r:id="rId135"/>
    <p:sldId id="1147" r:id="rId136"/>
    <p:sldId id="1148" r:id="rId137"/>
    <p:sldId id="300" r:id="rId138"/>
    <p:sldId id="1052" r:id="rId139"/>
    <p:sldId id="934" r:id="rId140"/>
    <p:sldId id="1279" r:id="rId141"/>
    <p:sldId id="259" r:id="rId142"/>
    <p:sldId id="1053" r:id="rId143"/>
    <p:sldId id="263" r:id="rId144"/>
    <p:sldId id="815" r:id="rId145"/>
    <p:sldId id="1171" r:id="rId146"/>
    <p:sldId id="725" r:id="rId147"/>
    <p:sldId id="1249" r:id="rId148"/>
    <p:sldId id="1076" r:id="rId149"/>
    <p:sldId id="741" r:id="rId150"/>
    <p:sldId id="733" r:id="rId151"/>
    <p:sldId id="742" r:id="rId152"/>
    <p:sldId id="737" r:id="rId153"/>
    <p:sldId id="1280" r:id="rId154"/>
    <p:sldId id="1250" r:id="rId155"/>
    <p:sldId id="1251" r:id="rId156"/>
    <p:sldId id="1252" r:id="rId157"/>
    <p:sldId id="1256" r:id="rId158"/>
    <p:sldId id="1254" r:id="rId159"/>
    <p:sldId id="1258" r:id="rId160"/>
    <p:sldId id="1257" r:id="rId161"/>
    <p:sldId id="1255" r:id="rId162"/>
    <p:sldId id="1283" r:id="rId163"/>
    <p:sldId id="1117" r:id="rId164"/>
    <p:sldId id="1115" r:id="rId165"/>
    <p:sldId id="1056" r:id="rId166"/>
    <p:sldId id="308" r:id="rId167"/>
    <p:sldId id="309" r:id="rId168"/>
    <p:sldId id="322" r:id="rId169"/>
    <p:sldId id="313" r:id="rId170"/>
    <p:sldId id="318" r:id="rId171"/>
    <p:sldId id="321" r:id="rId172"/>
    <p:sldId id="314" r:id="rId173"/>
    <p:sldId id="1183" r:id="rId174"/>
    <p:sldId id="1069" r:id="rId175"/>
    <p:sldId id="1048" r:id="rId176"/>
    <p:sldId id="1133" r:id="rId177"/>
    <p:sldId id="948" r:id="rId178"/>
    <p:sldId id="1211" r:id="rId179"/>
    <p:sldId id="1259" r:id="rId180"/>
    <p:sldId id="1260" r:id="rId181"/>
    <p:sldId id="1261" r:id="rId182"/>
    <p:sldId id="1267" r:id="rId183"/>
    <p:sldId id="1262" r:id="rId184"/>
    <p:sldId id="1263" r:id="rId185"/>
    <p:sldId id="1264" r:id="rId186"/>
    <p:sldId id="1266" r:id="rId187"/>
    <p:sldId id="1265" r:id="rId188"/>
    <p:sldId id="1269" r:id="rId189"/>
    <p:sldId id="1268" r:id="rId190"/>
    <p:sldId id="1213" r:id="rId191"/>
    <p:sldId id="1077" r:id="rId192"/>
    <p:sldId id="778" r:id="rId193"/>
    <p:sldId id="1212" r:id="rId194"/>
    <p:sldId id="1137" r:id="rId195"/>
    <p:sldId id="1134" r:id="rId196"/>
    <p:sldId id="808" r:id="rId197"/>
    <p:sldId id="1281" r:id="rId198"/>
    <p:sldId id="924" r:id="rId199"/>
    <p:sldId id="816" r:id="rId200"/>
    <p:sldId id="915" r:id="rId201"/>
    <p:sldId id="916" r:id="rId202"/>
    <p:sldId id="1188" r:id="rId203"/>
    <p:sldId id="1116" r:id="rId204"/>
    <p:sldId id="912" r:id="rId205"/>
    <p:sldId id="1270" r:id="rId206"/>
    <p:sldId id="1104" r:id="rId207"/>
    <p:sldId id="798" r:id="rId208"/>
    <p:sldId id="943" r:id="rId209"/>
    <p:sldId id="925" r:id="rId210"/>
    <p:sldId id="1067" r:id="rId211"/>
    <p:sldId id="1105" r:id="rId212"/>
    <p:sldId id="1121" r:id="rId213"/>
    <p:sldId id="1271" r:id="rId214"/>
    <p:sldId id="897" r:id="rId215"/>
    <p:sldId id="1092" r:id="rId216"/>
    <p:sldId id="359" r:id="rId217"/>
    <p:sldId id="1282" r:id="rId218"/>
    <p:sldId id="361" r:id="rId219"/>
    <p:sldId id="360" r:id="rId220"/>
    <p:sldId id="1002" r:id="rId221"/>
    <p:sldId id="781" r:id="rId222"/>
    <p:sldId id="323" r:id="rId223"/>
    <p:sldId id="976" r:id="rId224"/>
    <p:sldId id="933" r:id="rId225"/>
    <p:sldId id="1189" r:id="rId226"/>
    <p:sldId id="288" r:id="rId227"/>
    <p:sldId id="1190" r:id="rId228"/>
    <p:sldId id="294" r:id="rId229"/>
    <p:sldId id="257" r:id="rId230"/>
    <p:sldId id="1191" r:id="rId231"/>
    <p:sldId id="270" r:id="rId232"/>
    <p:sldId id="1214" r:id="rId233"/>
    <p:sldId id="944" r:id="rId234"/>
    <p:sldId id="846" r:id="rId235"/>
    <p:sldId id="1073" r:id="rId236"/>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userDrawn="1">
          <p15:clr>
            <a:srgbClr val="A4A3A4"/>
          </p15:clr>
        </p15:guide>
        <p15:guide id="2" pos="272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DCC"/>
    <a:srgbClr val="FFFFFF"/>
    <a:srgbClr val="00FF00"/>
    <a:srgbClr val="3333FF"/>
    <a:srgbClr val="006600"/>
    <a:srgbClr val="FFFFCC"/>
    <a:srgbClr val="F05F02"/>
    <a:srgbClr val="FF9900"/>
    <a:srgbClr val="D7BCBB"/>
    <a:srgbClr val="A5300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8E3005-6D19-4F2A-9BE0-A2C92552758E}" v="238" dt="2024-09-19T09:30:35.803"/>
  </p1510:revLst>
</p1510:revInfo>
</file>

<file path=ppt/tableStyles.xml><?xml version="1.0" encoding="utf-8"?>
<a:tblStyleLst xmlns:a="http://schemas.openxmlformats.org/drawingml/2006/main" def="{5C22544A-7EE6-4342-B048-85BDC9FD1C3A}">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88" autoAdjust="0"/>
    <p:restoredTop sz="95008" autoAdjust="0"/>
  </p:normalViewPr>
  <p:slideViewPr>
    <p:cSldViewPr snapToGrid="0" showGuides="1">
      <p:cViewPr varScale="1">
        <p:scale>
          <a:sx n="75" d="100"/>
          <a:sy n="75" d="100"/>
        </p:scale>
        <p:origin x="744" y="53"/>
      </p:cViewPr>
      <p:guideLst>
        <p:guide orient="horz" pos="1071"/>
        <p:guide pos="2729"/>
      </p:guideLst>
    </p:cSldViewPr>
  </p:slideViewPr>
  <p:outlineViewPr>
    <p:cViewPr>
      <p:scale>
        <a:sx n="33" d="100"/>
        <a:sy n="33" d="100"/>
      </p:scale>
      <p:origin x="0" y="-94647"/>
    </p:cViewPr>
  </p:outlineViewPr>
  <p:notesTextViewPr>
    <p:cViewPr>
      <p:scale>
        <a:sx n="3" d="2"/>
        <a:sy n="3" d="2"/>
      </p:scale>
      <p:origin x="0" y="0"/>
    </p:cViewPr>
  </p:notesTextViewPr>
  <p:sorterViewPr>
    <p:cViewPr varScale="1">
      <p:scale>
        <a:sx n="1" d="1"/>
        <a:sy n="1" d="1"/>
      </p:scale>
      <p:origin x="0" y="-54802"/>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notesMaster" Target="notesMasters/notesMaster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presProps" Target="presProps.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viewProps" Target="viewProps.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theme" Target="theme/theme1.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slide" Target="slides/slide232.xml"/><Relationship Id="rId26" Type="http://schemas.openxmlformats.org/officeDocument/2006/relationships/slide" Target="slides/slide22.xml"/><Relationship Id="rId231" Type="http://schemas.openxmlformats.org/officeDocument/2006/relationships/slide" Target="slides/slide227.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microsoft.com/office/2016/11/relationships/changesInfo" Target="changesInfos/changesInfo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microsoft.com/office/2015/10/relationships/revisionInfo" Target="revisionInfo.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é Antonio Ureta Santacreu" userId="e36999d1-2b92-424a-9e8c-5fde0c5fbdd2" providerId="ADAL" clId="{923BECBF-E766-4E6E-9F62-881D87312C0D}"/>
    <pc:docChg chg="undo custSel addSld delSld modSld sldOrd modMainMaster">
      <pc:chgData name="José Antonio Ureta Santacreu" userId="e36999d1-2b92-424a-9e8c-5fde0c5fbdd2" providerId="ADAL" clId="{923BECBF-E766-4E6E-9F62-881D87312C0D}" dt="2024-07-22T15:21:32.192" v="1808" actId="207"/>
      <pc:docMkLst>
        <pc:docMk/>
      </pc:docMkLst>
      <pc:sldChg chg="addSp delSp modSp mod">
        <pc:chgData name="José Antonio Ureta Santacreu" userId="e36999d1-2b92-424a-9e8c-5fde0c5fbdd2" providerId="ADAL" clId="{923BECBF-E766-4E6E-9F62-881D87312C0D}" dt="2024-07-18T10:28:13.285" v="356"/>
        <pc:sldMkLst>
          <pc:docMk/>
          <pc:sldMk cId="0" sldId="256"/>
        </pc:sldMkLst>
        <pc:spChg chg="add del mod">
          <ac:chgData name="José Antonio Ureta Santacreu" userId="e36999d1-2b92-424a-9e8c-5fde0c5fbdd2" providerId="ADAL" clId="{923BECBF-E766-4E6E-9F62-881D87312C0D}" dt="2024-07-18T10:28:13.285" v="356"/>
          <ac:spMkLst>
            <pc:docMk/>
            <pc:sldMk cId="0" sldId="256"/>
            <ac:spMk id="2" creationId="{E44CD862-DDF1-5460-F8ED-AA8058CF5211}"/>
          </ac:spMkLst>
        </pc:spChg>
        <pc:spChg chg="mod">
          <ac:chgData name="José Antonio Ureta Santacreu" userId="e36999d1-2b92-424a-9e8c-5fde0c5fbdd2" providerId="ADAL" clId="{923BECBF-E766-4E6E-9F62-881D87312C0D}" dt="2024-07-01T11:44:51.106" v="35" actId="313"/>
          <ac:spMkLst>
            <pc:docMk/>
            <pc:sldMk cId="0" sldId="256"/>
            <ac:spMk id="3" creationId="{AC5BCA3A-F123-49D4-BB84-16779C15ABB6}"/>
          </ac:spMkLst>
        </pc:spChg>
        <pc:spChg chg="del">
          <ac:chgData name="José Antonio Ureta Santacreu" userId="e36999d1-2b92-424a-9e8c-5fde0c5fbdd2" providerId="ADAL" clId="{923BECBF-E766-4E6E-9F62-881D87312C0D}" dt="2024-07-01T11:44:26.243" v="1"/>
          <ac:spMkLst>
            <pc:docMk/>
            <pc:sldMk cId="0" sldId="256"/>
            <ac:spMk id="4" creationId="{4B0C81E5-DB16-985C-E62B-C017AE495F6B}"/>
          </ac:spMkLst>
        </pc:spChg>
        <pc:picChg chg="add mod">
          <ac:chgData name="José Antonio Ureta Santacreu" userId="e36999d1-2b92-424a-9e8c-5fde0c5fbdd2" providerId="ADAL" clId="{923BECBF-E766-4E6E-9F62-881D87312C0D}" dt="2024-07-18T10:28:13.285" v="356"/>
          <ac:picMkLst>
            <pc:docMk/>
            <pc:sldMk cId="0" sldId="256"/>
            <ac:picMk id="4" creationId="{125DF0DB-823D-66AF-5208-191F74EEBADA}"/>
          </ac:picMkLst>
        </pc:picChg>
        <pc:picChg chg="add del mod">
          <ac:chgData name="José Antonio Ureta Santacreu" userId="e36999d1-2b92-424a-9e8c-5fde0c5fbdd2" providerId="ADAL" clId="{923BECBF-E766-4E6E-9F62-881D87312C0D}" dt="2024-07-18T10:28:09.317" v="355" actId="478"/>
          <ac:picMkLst>
            <pc:docMk/>
            <pc:sldMk cId="0" sldId="256"/>
            <ac:picMk id="1026" creationId="{58A10155-6783-B222-D3D7-CB1C969B861E}"/>
          </ac:picMkLst>
        </pc:picChg>
      </pc:sldChg>
      <pc:sldChg chg="modSp mod">
        <pc:chgData name="José Antonio Ureta Santacreu" userId="e36999d1-2b92-424a-9e8c-5fde0c5fbdd2" providerId="ADAL" clId="{923BECBF-E766-4E6E-9F62-881D87312C0D}" dt="2024-07-22T14:57:36.669" v="1356" actId="27636"/>
        <pc:sldMkLst>
          <pc:docMk/>
          <pc:sldMk cId="278873915" sldId="266"/>
        </pc:sldMkLst>
        <pc:spChg chg="mod">
          <ac:chgData name="José Antonio Ureta Santacreu" userId="e36999d1-2b92-424a-9e8c-5fde0c5fbdd2" providerId="ADAL" clId="{923BECBF-E766-4E6E-9F62-881D87312C0D}" dt="2024-07-22T14:57:36.669" v="1356" actId="27636"/>
          <ac:spMkLst>
            <pc:docMk/>
            <pc:sldMk cId="278873915" sldId="266"/>
            <ac:spMk id="4" creationId="{00000000-0000-0000-0000-000000000000}"/>
          </ac:spMkLst>
        </pc:spChg>
      </pc:sldChg>
      <pc:sldChg chg="add">
        <pc:chgData name="José Antonio Ureta Santacreu" userId="e36999d1-2b92-424a-9e8c-5fde0c5fbdd2" providerId="ADAL" clId="{923BECBF-E766-4E6E-9F62-881D87312C0D}" dt="2024-07-18T11:03:47.325" v="517"/>
        <pc:sldMkLst>
          <pc:docMk/>
          <pc:sldMk cId="1016302306" sldId="280"/>
        </pc:sldMkLst>
      </pc:sldChg>
      <pc:sldChg chg="del">
        <pc:chgData name="José Antonio Ureta Santacreu" userId="e36999d1-2b92-424a-9e8c-5fde0c5fbdd2" providerId="ADAL" clId="{923BECBF-E766-4E6E-9F62-881D87312C0D}" dt="2024-07-18T11:03:04.723" v="516" actId="2696"/>
        <pc:sldMkLst>
          <pc:docMk/>
          <pc:sldMk cId="3003075399" sldId="280"/>
        </pc:sldMkLst>
      </pc:sldChg>
      <pc:sldChg chg="del">
        <pc:chgData name="José Antonio Ureta Santacreu" userId="e36999d1-2b92-424a-9e8c-5fde0c5fbdd2" providerId="ADAL" clId="{923BECBF-E766-4E6E-9F62-881D87312C0D}" dt="2024-07-18T11:03:04.723" v="516" actId="2696"/>
        <pc:sldMkLst>
          <pc:docMk/>
          <pc:sldMk cId="75439195" sldId="282"/>
        </pc:sldMkLst>
      </pc:sldChg>
      <pc:sldChg chg="add">
        <pc:chgData name="José Antonio Ureta Santacreu" userId="e36999d1-2b92-424a-9e8c-5fde0c5fbdd2" providerId="ADAL" clId="{923BECBF-E766-4E6E-9F62-881D87312C0D}" dt="2024-07-18T11:03:47.325" v="517"/>
        <pc:sldMkLst>
          <pc:docMk/>
          <pc:sldMk cId="651998063" sldId="282"/>
        </pc:sldMkLst>
      </pc:sldChg>
      <pc:sldChg chg="modSp add mod">
        <pc:chgData name="José Antonio Ureta Santacreu" userId="e36999d1-2b92-424a-9e8c-5fde0c5fbdd2" providerId="ADAL" clId="{923BECBF-E766-4E6E-9F62-881D87312C0D}" dt="2024-07-22T10:56:59.224" v="799" actId="1035"/>
        <pc:sldMkLst>
          <pc:docMk/>
          <pc:sldMk cId="0" sldId="301"/>
        </pc:sldMkLst>
        <pc:grpChg chg="mod">
          <ac:chgData name="José Antonio Ureta Santacreu" userId="e36999d1-2b92-424a-9e8c-5fde0c5fbdd2" providerId="ADAL" clId="{923BECBF-E766-4E6E-9F62-881D87312C0D}" dt="2024-07-22T10:56:59.224" v="799" actId="1035"/>
          <ac:grpSpMkLst>
            <pc:docMk/>
            <pc:sldMk cId="0" sldId="301"/>
            <ac:grpSpMk id="2" creationId="{00000000-0000-0000-0000-000000000000}"/>
          </ac:grpSpMkLst>
        </pc:grpChg>
      </pc:sldChg>
      <pc:sldChg chg="ord">
        <pc:chgData name="José Antonio Ureta Santacreu" userId="e36999d1-2b92-424a-9e8c-5fde0c5fbdd2" providerId="ADAL" clId="{923BECBF-E766-4E6E-9F62-881D87312C0D}" dt="2024-07-22T10:52:02.613" v="759"/>
        <pc:sldMkLst>
          <pc:docMk/>
          <pc:sldMk cId="243380701" sldId="388"/>
        </pc:sldMkLst>
      </pc:sldChg>
      <pc:sldChg chg="modSp mod">
        <pc:chgData name="José Antonio Ureta Santacreu" userId="e36999d1-2b92-424a-9e8c-5fde0c5fbdd2" providerId="ADAL" clId="{923BECBF-E766-4E6E-9F62-881D87312C0D}" dt="2024-07-01T11:28:10.524" v="0" actId="6549"/>
        <pc:sldMkLst>
          <pc:docMk/>
          <pc:sldMk cId="1740233982" sldId="661"/>
        </pc:sldMkLst>
        <pc:spChg chg="mod">
          <ac:chgData name="José Antonio Ureta Santacreu" userId="e36999d1-2b92-424a-9e8c-5fde0c5fbdd2" providerId="ADAL" clId="{923BECBF-E766-4E6E-9F62-881D87312C0D}" dt="2024-07-01T11:28:10.524" v="0" actId="6549"/>
          <ac:spMkLst>
            <pc:docMk/>
            <pc:sldMk cId="1740233982" sldId="661"/>
            <ac:spMk id="24" creationId="{00000000-0000-0000-0000-000000000000}"/>
          </ac:spMkLst>
        </pc:spChg>
      </pc:sldChg>
      <pc:sldChg chg="addSp delSp modSp mod chgLayout">
        <pc:chgData name="José Antonio Ureta Santacreu" userId="e36999d1-2b92-424a-9e8c-5fde0c5fbdd2" providerId="ADAL" clId="{923BECBF-E766-4E6E-9F62-881D87312C0D}" dt="2024-07-22T15:04:43.630" v="1437" actId="6264"/>
        <pc:sldMkLst>
          <pc:docMk/>
          <pc:sldMk cId="1745182156" sldId="690"/>
        </pc:sldMkLst>
        <pc:spChg chg="mod ord">
          <ac:chgData name="José Antonio Ureta Santacreu" userId="e36999d1-2b92-424a-9e8c-5fde0c5fbdd2" providerId="ADAL" clId="{923BECBF-E766-4E6E-9F62-881D87312C0D}" dt="2024-07-22T15:04:43.630" v="1437" actId="6264"/>
          <ac:spMkLst>
            <pc:docMk/>
            <pc:sldMk cId="1745182156" sldId="690"/>
            <ac:spMk id="2" creationId="{48C7D2B3-7455-991E-2322-CF7670499EC2}"/>
          </ac:spMkLst>
        </pc:spChg>
        <pc:spChg chg="mod ord">
          <ac:chgData name="José Antonio Ureta Santacreu" userId="e36999d1-2b92-424a-9e8c-5fde0c5fbdd2" providerId="ADAL" clId="{923BECBF-E766-4E6E-9F62-881D87312C0D}" dt="2024-07-22T15:04:43.630" v="1437" actId="6264"/>
          <ac:spMkLst>
            <pc:docMk/>
            <pc:sldMk cId="1745182156" sldId="690"/>
            <ac:spMk id="3" creationId="{3F454FFF-C41A-A225-02BE-656FA39D1485}"/>
          </ac:spMkLst>
        </pc:spChg>
        <pc:spChg chg="add del mod">
          <ac:chgData name="José Antonio Ureta Santacreu" userId="e36999d1-2b92-424a-9e8c-5fde0c5fbdd2" providerId="ADAL" clId="{923BECBF-E766-4E6E-9F62-881D87312C0D}" dt="2024-07-22T15:04:43.630" v="1437" actId="6264"/>
          <ac:spMkLst>
            <pc:docMk/>
            <pc:sldMk cId="1745182156" sldId="690"/>
            <ac:spMk id="4" creationId="{F0A9C58C-1C2C-829B-7D9C-7F83D2BB5CAE}"/>
          </ac:spMkLst>
        </pc:spChg>
        <pc:spChg chg="mod ord">
          <ac:chgData name="José Antonio Ureta Santacreu" userId="e36999d1-2b92-424a-9e8c-5fde0c5fbdd2" providerId="ADAL" clId="{923BECBF-E766-4E6E-9F62-881D87312C0D}" dt="2024-07-22T15:04:43.630" v="1437" actId="6264"/>
          <ac:spMkLst>
            <pc:docMk/>
            <pc:sldMk cId="1745182156" sldId="690"/>
            <ac:spMk id="5" creationId="{8DFF026E-BBE2-7161-CAEB-306305B7227D}"/>
          </ac:spMkLst>
        </pc:spChg>
        <pc:spChg chg="add del mod">
          <ac:chgData name="José Antonio Ureta Santacreu" userId="e36999d1-2b92-424a-9e8c-5fde0c5fbdd2" providerId="ADAL" clId="{923BECBF-E766-4E6E-9F62-881D87312C0D}" dt="2024-07-22T15:04:43.630" v="1437" actId="6264"/>
          <ac:spMkLst>
            <pc:docMk/>
            <pc:sldMk cId="1745182156" sldId="690"/>
            <ac:spMk id="6" creationId="{E948CE72-65B2-6AE9-D597-229B6FD23F43}"/>
          </ac:spMkLst>
        </pc:spChg>
        <pc:spChg chg="mod ord">
          <ac:chgData name="José Antonio Ureta Santacreu" userId="e36999d1-2b92-424a-9e8c-5fde0c5fbdd2" providerId="ADAL" clId="{923BECBF-E766-4E6E-9F62-881D87312C0D}" dt="2024-07-22T15:04:43.630" v="1437" actId="6264"/>
          <ac:spMkLst>
            <pc:docMk/>
            <pc:sldMk cId="1745182156" sldId="690"/>
            <ac:spMk id="7" creationId="{A65D5DE5-0B49-7B6B-76ED-47F1B51D47A6}"/>
          </ac:spMkLst>
        </pc:spChg>
        <pc:spChg chg="mod ord">
          <ac:chgData name="José Antonio Ureta Santacreu" userId="e36999d1-2b92-424a-9e8c-5fde0c5fbdd2" providerId="ADAL" clId="{923BECBF-E766-4E6E-9F62-881D87312C0D}" dt="2024-07-22T15:04:43.630" v="1437" actId="6264"/>
          <ac:spMkLst>
            <pc:docMk/>
            <pc:sldMk cId="1745182156" sldId="690"/>
            <ac:spMk id="8" creationId="{85997A1F-5623-CBAA-C69E-0F72C1991048}"/>
          </ac:spMkLst>
        </pc:spChg>
        <pc:spChg chg="add del mod">
          <ac:chgData name="José Antonio Ureta Santacreu" userId="e36999d1-2b92-424a-9e8c-5fde0c5fbdd2" providerId="ADAL" clId="{923BECBF-E766-4E6E-9F62-881D87312C0D}" dt="2024-07-22T15:04:43.630" v="1437" actId="6264"/>
          <ac:spMkLst>
            <pc:docMk/>
            <pc:sldMk cId="1745182156" sldId="690"/>
            <ac:spMk id="9" creationId="{F52A74AF-563C-992D-E9DE-3E2562F3493A}"/>
          </ac:spMkLst>
        </pc:spChg>
        <pc:spChg chg="add del mod">
          <ac:chgData name="José Antonio Ureta Santacreu" userId="e36999d1-2b92-424a-9e8c-5fde0c5fbdd2" providerId="ADAL" clId="{923BECBF-E766-4E6E-9F62-881D87312C0D}" dt="2024-07-22T15:04:43.630" v="1437" actId="6264"/>
          <ac:spMkLst>
            <pc:docMk/>
            <pc:sldMk cId="1745182156" sldId="690"/>
            <ac:spMk id="10" creationId="{8D2D2638-B09C-8EBD-DD78-D0D8E063B612}"/>
          </ac:spMkLst>
        </pc:spChg>
        <pc:spChg chg="add del mod">
          <ac:chgData name="José Antonio Ureta Santacreu" userId="e36999d1-2b92-424a-9e8c-5fde0c5fbdd2" providerId="ADAL" clId="{923BECBF-E766-4E6E-9F62-881D87312C0D}" dt="2024-07-22T15:04:43.630" v="1437" actId="6264"/>
          <ac:spMkLst>
            <pc:docMk/>
            <pc:sldMk cId="1745182156" sldId="690"/>
            <ac:spMk id="11" creationId="{E0A59218-084C-4C26-48CF-ADE4BB8F6697}"/>
          </ac:spMkLst>
        </pc:spChg>
        <pc:spChg chg="add del mod">
          <ac:chgData name="José Antonio Ureta Santacreu" userId="e36999d1-2b92-424a-9e8c-5fde0c5fbdd2" providerId="ADAL" clId="{923BECBF-E766-4E6E-9F62-881D87312C0D}" dt="2024-07-22T15:04:43.630" v="1437" actId="6264"/>
          <ac:spMkLst>
            <pc:docMk/>
            <pc:sldMk cId="1745182156" sldId="690"/>
            <ac:spMk id="12" creationId="{A8EA4CDB-9289-B3ED-FE54-6CAB4A3AB385}"/>
          </ac:spMkLst>
        </pc:spChg>
        <pc:spChg chg="add del mod">
          <ac:chgData name="José Antonio Ureta Santacreu" userId="e36999d1-2b92-424a-9e8c-5fde0c5fbdd2" providerId="ADAL" clId="{923BECBF-E766-4E6E-9F62-881D87312C0D}" dt="2024-07-22T15:04:43.630" v="1437" actId="6264"/>
          <ac:spMkLst>
            <pc:docMk/>
            <pc:sldMk cId="1745182156" sldId="690"/>
            <ac:spMk id="13" creationId="{B74FE360-2981-B3FE-38C2-35C186F22EE1}"/>
          </ac:spMkLst>
        </pc:spChg>
        <pc:spChg chg="mod ord">
          <ac:chgData name="José Antonio Ureta Santacreu" userId="e36999d1-2b92-424a-9e8c-5fde0c5fbdd2" providerId="ADAL" clId="{923BECBF-E766-4E6E-9F62-881D87312C0D}" dt="2024-07-22T15:04:43.630" v="1437" actId="6264"/>
          <ac:spMkLst>
            <pc:docMk/>
            <pc:sldMk cId="1745182156" sldId="690"/>
            <ac:spMk id="16" creationId="{60C9B8A9-0FD7-6A58-F14C-C55B95894FB8}"/>
          </ac:spMkLst>
        </pc:spChg>
        <pc:picChg chg="mod ord">
          <ac:chgData name="José Antonio Ureta Santacreu" userId="e36999d1-2b92-424a-9e8c-5fde0c5fbdd2" providerId="ADAL" clId="{923BECBF-E766-4E6E-9F62-881D87312C0D}" dt="2024-07-22T15:04:43.630" v="1437" actId="6264"/>
          <ac:picMkLst>
            <pc:docMk/>
            <pc:sldMk cId="1745182156" sldId="690"/>
            <ac:picMk id="17" creationId="{77E12FA3-D69F-16AB-4485-0F3BB320EB8D}"/>
          </ac:picMkLst>
        </pc:picChg>
      </pc:sldChg>
      <pc:sldChg chg="addSp delSp modSp mod chgLayout">
        <pc:chgData name="José Antonio Ureta Santacreu" userId="e36999d1-2b92-424a-9e8c-5fde0c5fbdd2" providerId="ADAL" clId="{923BECBF-E766-4E6E-9F62-881D87312C0D}" dt="2024-07-22T15:06:00.453" v="1449" actId="6264"/>
        <pc:sldMkLst>
          <pc:docMk/>
          <pc:sldMk cId="4137072091" sldId="743"/>
        </pc:sldMkLst>
        <pc:spChg chg="mod ord">
          <ac:chgData name="José Antonio Ureta Santacreu" userId="e36999d1-2b92-424a-9e8c-5fde0c5fbdd2" providerId="ADAL" clId="{923BECBF-E766-4E6E-9F62-881D87312C0D}" dt="2024-07-22T15:06:00.453" v="1449" actId="6264"/>
          <ac:spMkLst>
            <pc:docMk/>
            <pc:sldMk cId="4137072091" sldId="743"/>
            <ac:spMk id="2" creationId="{73B5D36A-F127-5D47-AFD4-E4A6F655F1AD}"/>
          </ac:spMkLst>
        </pc:spChg>
        <pc:spChg chg="mod ord">
          <ac:chgData name="José Antonio Ureta Santacreu" userId="e36999d1-2b92-424a-9e8c-5fde0c5fbdd2" providerId="ADAL" clId="{923BECBF-E766-4E6E-9F62-881D87312C0D}" dt="2024-07-22T15:06:00.453" v="1449" actId="6264"/>
          <ac:spMkLst>
            <pc:docMk/>
            <pc:sldMk cId="4137072091" sldId="743"/>
            <ac:spMk id="3" creationId="{EF4326CF-7CF0-3051-89D2-4CE5E09FA9D7}"/>
          </ac:spMkLst>
        </pc:spChg>
        <pc:spChg chg="mod ord">
          <ac:chgData name="José Antonio Ureta Santacreu" userId="e36999d1-2b92-424a-9e8c-5fde0c5fbdd2" providerId="ADAL" clId="{923BECBF-E766-4E6E-9F62-881D87312C0D}" dt="2024-07-22T15:06:00.453" v="1449" actId="6264"/>
          <ac:spMkLst>
            <pc:docMk/>
            <pc:sldMk cId="4137072091" sldId="743"/>
            <ac:spMk id="4" creationId="{1611EABF-6ED3-4803-9AD3-6BE2D350DD74}"/>
          </ac:spMkLst>
        </pc:spChg>
        <pc:spChg chg="add del mod">
          <ac:chgData name="José Antonio Ureta Santacreu" userId="e36999d1-2b92-424a-9e8c-5fde0c5fbdd2" providerId="ADAL" clId="{923BECBF-E766-4E6E-9F62-881D87312C0D}" dt="2024-07-22T15:06:00.453" v="1449" actId="6264"/>
          <ac:spMkLst>
            <pc:docMk/>
            <pc:sldMk cId="4137072091" sldId="743"/>
            <ac:spMk id="5" creationId="{492DB7C1-05FD-8EF9-D5CA-79204C82D873}"/>
          </ac:spMkLst>
        </pc:spChg>
        <pc:spChg chg="add del mod">
          <ac:chgData name="José Antonio Ureta Santacreu" userId="e36999d1-2b92-424a-9e8c-5fde0c5fbdd2" providerId="ADAL" clId="{923BECBF-E766-4E6E-9F62-881D87312C0D}" dt="2024-07-22T15:06:00.453" v="1449" actId="6264"/>
          <ac:spMkLst>
            <pc:docMk/>
            <pc:sldMk cId="4137072091" sldId="743"/>
            <ac:spMk id="6" creationId="{15840DEA-2650-F1C8-47B5-0337C5C4C4C7}"/>
          </ac:spMkLst>
        </pc:spChg>
        <pc:spChg chg="add del mod">
          <ac:chgData name="José Antonio Ureta Santacreu" userId="e36999d1-2b92-424a-9e8c-5fde0c5fbdd2" providerId="ADAL" clId="{923BECBF-E766-4E6E-9F62-881D87312C0D}" dt="2024-07-22T15:06:00.453" v="1449" actId="6264"/>
          <ac:spMkLst>
            <pc:docMk/>
            <pc:sldMk cId="4137072091" sldId="743"/>
            <ac:spMk id="7" creationId="{BFA35F42-EA85-D2FA-432F-243E3FEB2EB5}"/>
          </ac:spMkLst>
        </pc:spChg>
        <pc:spChg chg="add del mod">
          <ac:chgData name="José Antonio Ureta Santacreu" userId="e36999d1-2b92-424a-9e8c-5fde0c5fbdd2" providerId="ADAL" clId="{923BECBF-E766-4E6E-9F62-881D87312C0D}" dt="2024-07-22T15:06:00.453" v="1449" actId="6264"/>
          <ac:spMkLst>
            <pc:docMk/>
            <pc:sldMk cId="4137072091" sldId="743"/>
            <ac:spMk id="8" creationId="{D24C5276-7D45-7CC1-1AD2-B40A4F37908B}"/>
          </ac:spMkLst>
        </pc:spChg>
        <pc:spChg chg="add del mod">
          <ac:chgData name="José Antonio Ureta Santacreu" userId="e36999d1-2b92-424a-9e8c-5fde0c5fbdd2" providerId="ADAL" clId="{923BECBF-E766-4E6E-9F62-881D87312C0D}" dt="2024-07-22T15:06:00.453" v="1449" actId="6264"/>
          <ac:spMkLst>
            <pc:docMk/>
            <pc:sldMk cId="4137072091" sldId="743"/>
            <ac:spMk id="9" creationId="{8BEEFC55-7FE9-8A19-8FED-1779A9162A7E}"/>
          </ac:spMkLst>
        </pc:spChg>
        <pc:spChg chg="add del mod">
          <ac:chgData name="José Antonio Ureta Santacreu" userId="e36999d1-2b92-424a-9e8c-5fde0c5fbdd2" providerId="ADAL" clId="{923BECBF-E766-4E6E-9F62-881D87312C0D}" dt="2024-07-22T15:06:00.453" v="1449" actId="6264"/>
          <ac:spMkLst>
            <pc:docMk/>
            <pc:sldMk cId="4137072091" sldId="743"/>
            <ac:spMk id="10" creationId="{BBA22F07-3BC6-0BDE-DF73-836B47CC6F1D}"/>
          </ac:spMkLst>
        </pc:spChg>
        <pc:spChg chg="add del mod">
          <ac:chgData name="José Antonio Ureta Santacreu" userId="e36999d1-2b92-424a-9e8c-5fde0c5fbdd2" providerId="ADAL" clId="{923BECBF-E766-4E6E-9F62-881D87312C0D}" dt="2024-07-22T15:06:00.453" v="1449" actId="6264"/>
          <ac:spMkLst>
            <pc:docMk/>
            <pc:sldMk cId="4137072091" sldId="743"/>
            <ac:spMk id="11" creationId="{665D5C75-EC51-927B-A26B-1DFCBD701881}"/>
          </ac:spMkLst>
        </pc:spChg>
        <pc:spChg chg="mod ord">
          <ac:chgData name="José Antonio Ureta Santacreu" userId="e36999d1-2b92-424a-9e8c-5fde0c5fbdd2" providerId="ADAL" clId="{923BECBF-E766-4E6E-9F62-881D87312C0D}" dt="2024-07-22T15:06:00.453" v="1449" actId="6264"/>
          <ac:spMkLst>
            <pc:docMk/>
            <pc:sldMk cId="4137072091" sldId="743"/>
            <ac:spMk id="13" creationId="{1022CA5E-BFA7-55C1-DFA3-D563893698EE}"/>
          </ac:spMkLst>
        </pc:spChg>
        <pc:spChg chg="mod ord">
          <ac:chgData name="José Antonio Ureta Santacreu" userId="e36999d1-2b92-424a-9e8c-5fde0c5fbdd2" providerId="ADAL" clId="{923BECBF-E766-4E6E-9F62-881D87312C0D}" dt="2024-07-22T15:06:00.453" v="1449" actId="6264"/>
          <ac:spMkLst>
            <pc:docMk/>
            <pc:sldMk cId="4137072091" sldId="743"/>
            <ac:spMk id="14" creationId="{81D14849-E848-C4EC-9156-66C7BFF0538A}"/>
          </ac:spMkLst>
        </pc:spChg>
        <pc:spChg chg="mod ord">
          <ac:chgData name="José Antonio Ureta Santacreu" userId="e36999d1-2b92-424a-9e8c-5fde0c5fbdd2" providerId="ADAL" clId="{923BECBF-E766-4E6E-9F62-881D87312C0D}" dt="2024-07-22T15:06:00.453" v="1449" actId="6264"/>
          <ac:spMkLst>
            <pc:docMk/>
            <pc:sldMk cId="4137072091" sldId="743"/>
            <ac:spMk id="16" creationId="{698A4E15-916F-0A68-6B54-7DE00B5F96C4}"/>
          </ac:spMkLst>
        </pc:spChg>
        <pc:picChg chg="mod ord">
          <ac:chgData name="José Antonio Ureta Santacreu" userId="e36999d1-2b92-424a-9e8c-5fde0c5fbdd2" providerId="ADAL" clId="{923BECBF-E766-4E6E-9F62-881D87312C0D}" dt="2024-07-22T15:06:00.453" v="1449" actId="6264"/>
          <ac:picMkLst>
            <pc:docMk/>
            <pc:sldMk cId="4137072091" sldId="743"/>
            <ac:picMk id="12" creationId="{49D58BC3-BEA5-1261-3040-8D07E01CA84A}"/>
          </ac:picMkLst>
        </pc:picChg>
      </pc:sldChg>
      <pc:sldChg chg="addSp delSp modSp mod">
        <pc:chgData name="José Antonio Ureta Santacreu" userId="e36999d1-2b92-424a-9e8c-5fde0c5fbdd2" providerId="ADAL" clId="{923BECBF-E766-4E6E-9F62-881D87312C0D}" dt="2024-07-22T15:03:41.078" v="1425" actId="20577"/>
        <pc:sldMkLst>
          <pc:docMk/>
          <pc:sldMk cId="1430510902" sldId="745"/>
        </pc:sldMkLst>
        <pc:spChg chg="del mod">
          <ac:chgData name="José Antonio Ureta Santacreu" userId="e36999d1-2b92-424a-9e8c-5fde0c5fbdd2" providerId="ADAL" clId="{923BECBF-E766-4E6E-9F62-881D87312C0D}" dt="2024-07-22T15:03:25.212" v="1420"/>
          <ac:spMkLst>
            <pc:docMk/>
            <pc:sldMk cId="1430510902" sldId="745"/>
            <ac:spMk id="4" creationId="{9E3F80BF-422F-F1D6-424C-076E6B2E9387}"/>
          </ac:spMkLst>
        </pc:spChg>
        <pc:spChg chg="mod">
          <ac:chgData name="José Antonio Ureta Santacreu" userId="e36999d1-2b92-424a-9e8c-5fde0c5fbdd2" providerId="ADAL" clId="{923BECBF-E766-4E6E-9F62-881D87312C0D}" dt="2024-07-22T14:57:36.637" v="1351" actId="27636"/>
          <ac:spMkLst>
            <pc:docMk/>
            <pc:sldMk cId="1430510902" sldId="745"/>
            <ac:spMk id="5" creationId="{4347F63F-C5FB-67C0-F4CF-E10779682225}"/>
          </ac:spMkLst>
        </pc:spChg>
        <pc:spChg chg="add del mod">
          <ac:chgData name="José Antonio Ureta Santacreu" userId="e36999d1-2b92-424a-9e8c-5fde0c5fbdd2" providerId="ADAL" clId="{923BECBF-E766-4E6E-9F62-881D87312C0D}" dt="2024-07-22T15:03:37.141" v="1422" actId="478"/>
          <ac:spMkLst>
            <pc:docMk/>
            <pc:sldMk cId="1430510902" sldId="745"/>
            <ac:spMk id="10" creationId="{D0B63D7C-9E42-F426-FBD1-A6F98FDB8992}"/>
          </ac:spMkLst>
        </pc:spChg>
        <pc:spChg chg="add mod">
          <ac:chgData name="José Antonio Ureta Santacreu" userId="e36999d1-2b92-424a-9e8c-5fde0c5fbdd2" providerId="ADAL" clId="{923BECBF-E766-4E6E-9F62-881D87312C0D}" dt="2024-07-22T15:03:41.078" v="1425" actId="20577"/>
          <ac:spMkLst>
            <pc:docMk/>
            <pc:sldMk cId="1430510902" sldId="745"/>
            <ac:spMk id="12" creationId="{FF6983F0-FD2B-DA91-CC61-2FB78535C321}"/>
          </ac:spMkLst>
        </pc:spChg>
        <pc:picChg chg="del">
          <ac:chgData name="José Antonio Ureta Santacreu" userId="e36999d1-2b92-424a-9e8c-5fde0c5fbdd2" providerId="ADAL" clId="{923BECBF-E766-4E6E-9F62-881D87312C0D}" dt="2024-07-22T15:03:22.879" v="1419" actId="21"/>
          <ac:picMkLst>
            <pc:docMk/>
            <pc:sldMk cId="1430510902" sldId="745"/>
            <ac:picMk id="9" creationId="{2F57A187-341D-6846-1452-3274F95BBE23}"/>
          </ac:picMkLst>
        </pc:picChg>
        <pc:picChg chg="add mod">
          <ac:chgData name="José Antonio Ureta Santacreu" userId="e36999d1-2b92-424a-9e8c-5fde0c5fbdd2" providerId="ADAL" clId="{923BECBF-E766-4E6E-9F62-881D87312C0D}" dt="2024-07-22T15:03:25.212" v="1420"/>
          <ac:picMkLst>
            <pc:docMk/>
            <pc:sldMk cId="1430510902" sldId="745"/>
            <ac:picMk id="13" creationId="{2F57A187-341D-6846-1452-3274F95BBE23}"/>
          </ac:picMkLst>
        </pc:picChg>
      </pc:sldChg>
      <pc:sldChg chg="addSp delSp modSp del mod">
        <pc:chgData name="José Antonio Ureta Santacreu" userId="e36999d1-2b92-424a-9e8c-5fde0c5fbdd2" providerId="ADAL" clId="{923BECBF-E766-4E6E-9F62-881D87312C0D}" dt="2024-07-22T15:00:14.161" v="1415" actId="47"/>
        <pc:sldMkLst>
          <pc:docMk/>
          <pc:sldMk cId="1065480147" sldId="758"/>
        </pc:sldMkLst>
        <pc:spChg chg="mod">
          <ac:chgData name="José Antonio Ureta Santacreu" userId="e36999d1-2b92-424a-9e8c-5fde0c5fbdd2" providerId="ADAL" clId="{923BECBF-E766-4E6E-9F62-881D87312C0D}" dt="2024-07-22T14:59:19.957" v="1375" actId="21"/>
          <ac:spMkLst>
            <pc:docMk/>
            <pc:sldMk cId="1065480147" sldId="758"/>
            <ac:spMk id="2" creationId="{049C4259-D8FF-0C80-342B-2E2261336C77}"/>
          </ac:spMkLst>
        </pc:spChg>
        <pc:spChg chg="mod">
          <ac:chgData name="José Antonio Ureta Santacreu" userId="e36999d1-2b92-424a-9e8c-5fde0c5fbdd2" providerId="ADAL" clId="{923BECBF-E766-4E6E-9F62-881D87312C0D}" dt="2024-07-22T14:59:42.660" v="1380" actId="27636"/>
          <ac:spMkLst>
            <pc:docMk/>
            <pc:sldMk cId="1065480147" sldId="758"/>
            <ac:spMk id="4" creationId="{3CF28EAE-A44B-6CED-CE5F-937CB90A2E78}"/>
          </ac:spMkLst>
        </pc:spChg>
        <pc:spChg chg="mod">
          <ac:chgData name="José Antonio Ureta Santacreu" userId="e36999d1-2b92-424a-9e8c-5fde0c5fbdd2" providerId="ADAL" clId="{923BECBF-E766-4E6E-9F62-881D87312C0D}" dt="2024-07-22T14:59:53.960" v="1386" actId="27636"/>
          <ac:spMkLst>
            <pc:docMk/>
            <pc:sldMk cId="1065480147" sldId="758"/>
            <ac:spMk id="5" creationId="{00B6AB3B-9D44-138C-9F29-FA121BE5DD8B}"/>
          </ac:spMkLst>
        </pc:spChg>
        <pc:spChg chg="add mod">
          <ac:chgData name="José Antonio Ureta Santacreu" userId="e36999d1-2b92-424a-9e8c-5fde0c5fbdd2" providerId="ADAL" clId="{923BECBF-E766-4E6E-9F62-881D87312C0D}" dt="2024-07-22T14:59:27.379" v="1377" actId="21"/>
          <ac:spMkLst>
            <pc:docMk/>
            <pc:sldMk cId="1065480147" sldId="758"/>
            <ac:spMk id="10" creationId="{49F31831-E852-A3E1-0634-CA09B7E5F045}"/>
          </ac:spMkLst>
        </pc:spChg>
        <pc:picChg chg="del">
          <ac:chgData name="José Antonio Ureta Santacreu" userId="e36999d1-2b92-424a-9e8c-5fde0c5fbdd2" providerId="ADAL" clId="{923BECBF-E766-4E6E-9F62-881D87312C0D}" dt="2024-07-22T14:59:27.379" v="1377" actId="21"/>
          <ac:picMkLst>
            <pc:docMk/>
            <pc:sldMk cId="1065480147" sldId="758"/>
            <ac:picMk id="6" creationId="{BD54A346-F060-87EA-CD6B-8A28C7AEB2A0}"/>
          </ac:picMkLst>
        </pc:picChg>
      </pc:sldChg>
      <pc:sldChg chg="addSp delSp modSp mod">
        <pc:chgData name="José Antonio Ureta Santacreu" userId="e36999d1-2b92-424a-9e8c-5fde0c5fbdd2" providerId="ADAL" clId="{923BECBF-E766-4E6E-9F62-881D87312C0D}" dt="2024-07-22T15:04:23.568" v="1436" actId="20577"/>
        <pc:sldMkLst>
          <pc:docMk/>
          <pc:sldMk cId="1268529493" sldId="761"/>
        </pc:sldMkLst>
        <pc:spChg chg="del mod">
          <ac:chgData name="José Antonio Ureta Santacreu" userId="e36999d1-2b92-424a-9e8c-5fde0c5fbdd2" providerId="ADAL" clId="{923BECBF-E766-4E6E-9F62-881D87312C0D}" dt="2024-07-22T15:04:12.268" v="1431"/>
          <ac:spMkLst>
            <pc:docMk/>
            <pc:sldMk cId="1268529493" sldId="761"/>
            <ac:spMk id="4" creationId="{A2D89D04-24F0-A2A1-0A23-0838F9A445DF}"/>
          </ac:spMkLst>
        </pc:spChg>
        <pc:spChg chg="mod">
          <ac:chgData name="José Antonio Ureta Santacreu" userId="e36999d1-2b92-424a-9e8c-5fde0c5fbdd2" providerId="ADAL" clId="{923BECBF-E766-4E6E-9F62-881D87312C0D}" dt="2024-07-22T14:55:55.742" v="1269" actId="27636"/>
          <ac:spMkLst>
            <pc:docMk/>
            <pc:sldMk cId="1268529493" sldId="761"/>
            <ac:spMk id="5" creationId="{98699CCE-A51B-9CDC-0AF0-A046F78AC702}"/>
          </ac:spMkLst>
        </pc:spChg>
        <pc:spChg chg="add del mod">
          <ac:chgData name="José Antonio Ureta Santacreu" userId="e36999d1-2b92-424a-9e8c-5fde0c5fbdd2" providerId="ADAL" clId="{923BECBF-E766-4E6E-9F62-881D87312C0D}" dt="2024-07-22T15:04:20.348" v="1433" actId="478"/>
          <ac:spMkLst>
            <pc:docMk/>
            <pc:sldMk cId="1268529493" sldId="761"/>
            <ac:spMk id="9" creationId="{51BA6A41-B220-949B-980A-B830F1283E8E}"/>
          </ac:spMkLst>
        </pc:spChg>
        <pc:spChg chg="add mod">
          <ac:chgData name="José Antonio Ureta Santacreu" userId="e36999d1-2b92-424a-9e8c-5fde0c5fbdd2" providerId="ADAL" clId="{923BECBF-E766-4E6E-9F62-881D87312C0D}" dt="2024-07-22T15:04:23.568" v="1436" actId="20577"/>
          <ac:spMkLst>
            <pc:docMk/>
            <pc:sldMk cId="1268529493" sldId="761"/>
            <ac:spMk id="11" creationId="{7AD5D9DB-ED76-05ED-ACE0-DB57D120747B}"/>
          </ac:spMkLst>
        </pc:spChg>
        <pc:picChg chg="add mod">
          <ac:chgData name="José Antonio Ureta Santacreu" userId="e36999d1-2b92-424a-9e8c-5fde0c5fbdd2" providerId="ADAL" clId="{923BECBF-E766-4E6E-9F62-881D87312C0D}" dt="2024-07-22T15:04:12.268" v="1431"/>
          <ac:picMkLst>
            <pc:docMk/>
            <pc:sldMk cId="1268529493" sldId="761"/>
            <ac:picMk id="12" creationId="{C8840150-3A39-8427-70A5-5B915F1C7F4E}"/>
          </ac:picMkLst>
        </pc:picChg>
        <pc:picChg chg="del">
          <ac:chgData name="José Antonio Ureta Santacreu" userId="e36999d1-2b92-424a-9e8c-5fde0c5fbdd2" providerId="ADAL" clId="{923BECBF-E766-4E6E-9F62-881D87312C0D}" dt="2024-07-22T15:04:10.215" v="1430" actId="21"/>
          <ac:picMkLst>
            <pc:docMk/>
            <pc:sldMk cId="1268529493" sldId="761"/>
            <ac:picMk id="6146" creationId="{C8840150-3A39-8427-70A5-5B915F1C7F4E}"/>
          </ac:picMkLst>
        </pc:picChg>
      </pc:sldChg>
      <pc:sldChg chg="modSp mod">
        <pc:chgData name="José Antonio Ureta Santacreu" userId="e36999d1-2b92-424a-9e8c-5fde0c5fbdd2" providerId="ADAL" clId="{923BECBF-E766-4E6E-9F62-881D87312C0D}" dt="2024-07-22T14:55:55.746" v="1270" actId="27636"/>
        <pc:sldMkLst>
          <pc:docMk/>
          <pc:sldMk cId="2280314011" sldId="764"/>
        </pc:sldMkLst>
        <pc:spChg chg="mod">
          <ac:chgData name="José Antonio Ureta Santacreu" userId="e36999d1-2b92-424a-9e8c-5fde0c5fbdd2" providerId="ADAL" clId="{923BECBF-E766-4E6E-9F62-881D87312C0D}" dt="2024-07-22T14:55:55.746" v="1270" actId="27636"/>
          <ac:spMkLst>
            <pc:docMk/>
            <pc:sldMk cId="2280314011" sldId="764"/>
            <ac:spMk id="5" creationId="{F93EBF61-7F72-04A2-3569-332BC2D74F71}"/>
          </ac:spMkLst>
        </pc:spChg>
      </pc:sldChg>
      <pc:sldChg chg="addSp delSp modSp mod chgLayout">
        <pc:chgData name="José Antonio Ureta Santacreu" userId="e36999d1-2b92-424a-9e8c-5fde0c5fbdd2" providerId="ADAL" clId="{923BECBF-E766-4E6E-9F62-881D87312C0D}" dt="2024-07-22T15:04:46.813" v="1438" actId="6264"/>
        <pc:sldMkLst>
          <pc:docMk/>
          <pc:sldMk cId="1032194021" sldId="766"/>
        </pc:sldMkLst>
        <pc:spChg chg="mod ord">
          <ac:chgData name="José Antonio Ureta Santacreu" userId="e36999d1-2b92-424a-9e8c-5fde0c5fbdd2" providerId="ADAL" clId="{923BECBF-E766-4E6E-9F62-881D87312C0D}" dt="2024-07-22T15:04:46.813" v="1438" actId="6264"/>
          <ac:spMkLst>
            <pc:docMk/>
            <pc:sldMk cId="1032194021" sldId="766"/>
            <ac:spMk id="2" creationId="{AD3B8954-0D20-3745-DB46-C04FD91C2C05}"/>
          </ac:spMkLst>
        </pc:spChg>
        <pc:spChg chg="mod ord">
          <ac:chgData name="José Antonio Ureta Santacreu" userId="e36999d1-2b92-424a-9e8c-5fde0c5fbdd2" providerId="ADAL" clId="{923BECBF-E766-4E6E-9F62-881D87312C0D}" dt="2024-07-22T15:04:46.813" v="1438" actId="6264"/>
          <ac:spMkLst>
            <pc:docMk/>
            <pc:sldMk cId="1032194021" sldId="766"/>
            <ac:spMk id="3" creationId="{9AF57B93-0631-EE65-9C56-DE3187C27FF8}"/>
          </ac:spMkLst>
        </pc:spChg>
        <pc:spChg chg="add del mod">
          <ac:chgData name="José Antonio Ureta Santacreu" userId="e36999d1-2b92-424a-9e8c-5fde0c5fbdd2" providerId="ADAL" clId="{923BECBF-E766-4E6E-9F62-881D87312C0D}" dt="2024-07-22T15:04:46.813" v="1438" actId="6264"/>
          <ac:spMkLst>
            <pc:docMk/>
            <pc:sldMk cId="1032194021" sldId="766"/>
            <ac:spMk id="4" creationId="{41A9EFAC-3BD2-A4EB-CC16-78E98464D0D0}"/>
          </ac:spMkLst>
        </pc:spChg>
        <pc:spChg chg="mod ord">
          <ac:chgData name="José Antonio Ureta Santacreu" userId="e36999d1-2b92-424a-9e8c-5fde0c5fbdd2" providerId="ADAL" clId="{923BECBF-E766-4E6E-9F62-881D87312C0D}" dt="2024-07-22T15:04:46.813" v="1438" actId="6264"/>
          <ac:spMkLst>
            <pc:docMk/>
            <pc:sldMk cId="1032194021" sldId="766"/>
            <ac:spMk id="5" creationId="{68D8833C-5D45-D136-D091-7E8BBA3095B3}"/>
          </ac:spMkLst>
        </pc:spChg>
        <pc:spChg chg="mod ord">
          <ac:chgData name="José Antonio Ureta Santacreu" userId="e36999d1-2b92-424a-9e8c-5fde0c5fbdd2" providerId="ADAL" clId="{923BECBF-E766-4E6E-9F62-881D87312C0D}" dt="2024-07-22T15:04:46.813" v="1438" actId="6264"/>
          <ac:spMkLst>
            <pc:docMk/>
            <pc:sldMk cId="1032194021" sldId="766"/>
            <ac:spMk id="6" creationId="{6088D6D2-D830-C0FC-FB3D-7DB959FE6DC7}"/>
          </ac:spMkLst>
        </pc:spChg>
        <pc:spChg chg="mod ord">
          <ac:chgData name="José Antonio Ureta Santacreu" userId="e36999d1-2b92-424a-9e8c-5fde0c5fbdd2" providerId="ADAL" clId="{923BECBF-E766-4E6E-9F62-881D87312C0D}" dt="2024-07-22T15:04:46.813" v="1438" actId="6264"/>
          <ac:spMkLst>
            <pc:docMk/>
            <pc:sldMk cId="1032194021" sldId="766"/>
            <ac:spMk id="7" creationId="{F6C945D4-3247-6260-8186-EA154C42C80C}"/>
          </ac:spMkLst>
        </pc:spChg>
        <pc:spChg chg="mod ord">
          <ac:chgData name="José Antonio Ureta Santacreu" userId="e36999d1-2b92-424a-9e8c-5fde0c5fbdd2" providerId="ADAL" clId="{923BECBF-E766-4E6E-9F62-881D87312C0D}" dt="2024-07-22T15:04:46.813" v="1438" actId="6264"/>
          <ac:spMkLst>
            <pc:docMk/>
            <pc:sldMk cId="1032194021" sldId="766"/>
            <ac:spMk id="8" creationId="{469F6ABB-8200-E64C-AA13-D3F7BA18E4ED}"/>
          </ac:spMkLst>
        </pc:spChg>
        <pc:spChg chg="add del mod">
          <ac:chgData name="José Antonio Ureta Santacreu" userId="e36999d1-2b92-424a-9e8c-5fde0c5fbdd2" providerId="ADAL" clId="{923BECBF-E766-4E6E-9F62-881D87312C0D}" dt="2024-07-22T15:04:46.813" v="1438" actId="6264"/>
          <ac:spMkLst>
            <pc:docMk/>
            <pc:sldMk cId="1032194021" sldId="766"/>
            <ac:spMk id="9" creationId="{A41D83F0-6383-11FC-D739-E8506D9C96D2}"/>
          </ac:spMkLst>
        </pc:spChg>
        <pc:spChg chg="add del mod">
          <ac:chgData name="José Antonio Ureta Santacreu" userId="e36999d1-2b92-424a-9e8c-5fde0c5fbdd2" providerId="ADAL" clId="{923BECBF-E766-4E6E-9F62-881D87312C0D}" dt="2024-07-22T15:04:46.813" v="1438" actId="6264"/>
          <ac:spMkLst>
            <pc:docMk/>
            <pc:sldMk cId="1032194021" sldId="766"/>
            <ac:spMk id="10" creationId="{DF1F8C1B-13E4-50A1-822B-86D88692D070}"/>
          </ac:spMkLst>
        </pc:spChg>
        <pc:spChg chg="add del mod">
          <ac:chgData name="José Antonio Ureta Santacreu" userId="e36999d1-2b92-424a-9e8c-5fde0c5fbdd2" providerId="ADAL" clId="{923BECBF-E766-4E6E-9F62-881D87312C0D}" dt="2024-07-22T15:04:46.813" v="1438" actId="6264"/>
          <ac:spMkLst>
            <pc:docMk/>
            <pc:sldMk cId="1032194021" sldId="766"/>
            <ac:spMk id="12" creationId="{829F7AF4-DD5F-C9A3-69DD-734BFCBD994A}"/>
          </ac:spMkLst>
        </pc:spChg>
        <pc:spChg chg="add del mod">
          <ac:chgData name="José Antonio Ureta Santacreu" userId="e36999d1-2b92-424a-9e8c-5fde0c5fbdd2" providerId="ADAL" clId="{923BECBF-E766-4E6E-9F62-881D87312C0D}" dt="2024-07-22T15:04:46.813" v="1438" actId="6264"/>
          <ac:spMkLst>
            <pc:docMk/>
            <pc:sldMk cId="1032194021" sldId="766"/>
            <ac:spMk id="13" creationId="{DDC9B24A-7CFD-1945-C9E2-885BF95C051A}"/>
          </ac:spMkLst>
        </pc:spChg>
        <pc:spChg chg="add del mod">
          <ac:chgData name="José Antonio Ureta Santacreu" userId="e36999d1-2b92-424a-9e8c-5fde0c5fbdd2" providerId="ADAL" clId="{923BECBF-E766-4E6E-9F62-881D87312C0D}" dt="2024-07-22T15:04:46.813" v="1438" actId="6264"/>
          <ac:spMkLst>
            <pc:docMk/>
            <pc:sldMk cId="1032194021" sldId="766"/>
            <ac:spMk id="14" creationId="{2DDEEA05-C35D-FB2F-D5C8-17A2F3F282E5}"/>
          </ac:spMkLst>
        </pc:spChg>
        <pc:spChg chg="add del mod">
          <ac:chgData name="José Antonio Ureta Santacreu" userId="e36999d1-2b92-424a-9e8c-5fde0c5fbdd2" providerId="ADAL" clId="{923BECBF-E766-4E6E-9F62-881D87312C0D}" dt="2024-07-22T15:04:46.813" v="1438" actId="6264"/>
          <ac:spMkLst>
            <pc:docMk/>
            <pc:sldMk cId="1032194021" sldId="766"/>
            <ac:spMk id="15" creationId="{CAE55EEE-5457-FB37-4B5B-539A9FA746C4}"/>
          </ac:spMkLst>
        </pc:spChg>
        <pc:picChg chg="mod ord">
          <ac:chgData name="José Antonio Ureta Santacreu" userId="e36999d1-2b92-424a-9e8c-5fde0c5fbdd2" providerId="ADAL" clId="{923BECBF-E766-4E6E-9F62-881D87312C0D}" dt="2024-07-22T15:04:46.813" v="1438" actId="6264"/>
          <ac:picMkLst>
            <pc:docMk/>
            <pc:sldMk cId="1032194021" sldId="766"/>
            <ac:picMk id="11" creationId="{41AFBFAB-A246-5309-2DC0-0CF9267EA620}"/>
          </ac:picMkLst>
        </pc:picChg>
      </pc:sldChg>
      <pc:sldChg chg="del">
        <pc:chgData name="José Antonio Ureta Santacreu" userId="e36999d1-2b92-424a-9e8c-5fde0c5fbdd2" providerId="ADAL" clId="{923BECBF-E766-4E6E-9F62-881D87312C0D}" dt="2024-07-22T15:15:11.552" v="1795" actId="2696"/>
        <pc:sldMkLst>
          <pc:docMk/>
          <pc:sldMk cId="248046394" sldId="778"/>
        </pc:sldMkLst>
      </pc:sldChg>
      <pc:sldChg chg="add">
        <pc:chgData name="José Antonio Ureta Santacreu" userId="e36999d1-2b92-424a-9e8c-5fde0c5fbdd2" providerId="ADAL" clId="{923BECBF-E766-4E6E-9F62-881D87312C0D}" dt="2024-07-22T15:16:41.550" v="1796"/>
        <pc:sldMkLst>
          <pc:docMk/>
          <pc:sldMk cId="711086188" sldId="778"/>
        </pc:sldMkLst>
      </pc:sldChg>
      <pc:sldChg chg="addSp delSp modSp mod modClrScheme chgLayout">
        <pc:chgData name="José Antonio Ureta Santacreu" userId="e36999d1-2b92-424a-9e8c-5fde0c5fbdd2" providerId="ADAL" clId="{923BECBF-E766-4E6E-9F62-881D87312C0D}" dt="2024-07-18T10:28:30.662" v="358"/>
        <pc:sldMkLst>
          <pc:docMk/>
          <pc:sldMk cId="3558456817" sldId="846"/>
        </pc:sldMkLst>
        <pc:spChg chg="add del mod ord">
          <ac:chgData name="José Antonio Ureta Santacreu" userId="e36999d1-2b92-424a-9e8c-5fde0c5fbdd2" providerId="ADAL" clId="{923BECBF-E766-4E6E-9F62-881D87312C0D}" dt="2024-07-18T10:28:26.208" v="357"/>
          <ac:spMkLst>
            <pc:docMk/>
            <pc:sldMk cId="3558456817" sldId="846"/>
            <ac:spMk id="2" creationId="{790858E8-35E2-5B6A-68A5-97DCAA1D8820}"/>
          </ac:spMkLst>
        </pc:spChg>
        <pc:spChg chg="add del mod">
          <ac:chgData name="José Antonio Ureta Santacreu" userId="e36999d1-2b92-424a-9e8c-5fde0c5fbdd2" providerId="ADAL" clId="{923BECBF-E766-4E6E-9F62-881D87312C0D}" dt="2024-07-18T10:28:30.662" v="358"/>
          <ac:spMkLst>
            <pc:docMk/>
            <pc:sldMk cId="3558456817" sldId="846"/>
            <ac:spMk id="3" creationId="{CE89C051-F49D-1CE3-4F01-F08BAA3EA148}"/>
          </ac:spMkLst>
        </pc:spChg>
        <pc:spChg chg="mod ord">
          <ac:chgData name="José Antonio Ureta Santacreu" userId="e36999d1-2b92-424a-9e8c-5fde0c5fbdd2" providerId="ADAL" clId="{923BECBF-E766-4E6E-9F62-881D87312C0D}" dt="2024-07-18T10:26:15.776" v="352" actId="700"/>
          <ac:spMkLst>
            <pc:docMk/>
            <pc:sldMk cId="3558456817" sldId="846"/>
            <ac:spMk id="4" creationId="{00000000-0000-0000-0000-000000000000}"/>
          </ac:spMkLst>
        </pc:spChg>
        <pc:spChg chg="mod ord">
          <ac:chgData name="José Antonio Ureta Santacreu" userId="e36999d1-2b92-424a-9e8c-5fde0c5fbdd2" providerId="ADAL" clId="{923BECBF-E766-4E6E-9F62-881D87312C0D}" dt="2024-07-18T10:26:41.359" v="354" actId="27636"/>
          <ac:spMkLst>
            <pc:docMk/>
            <pc:sldMk cId="3558456817" sldId="846"/>
            <ac:spMk id="12" creationId="{80734441-B630-4A08-9A31-93E8850457B5}"/>
          </ac:spMkLst>
        </pc:spChg>
        <pc:picChg chg="add mod">
          <ac:chgData name="José Antonio Ureta Santacreu" userId="e36999d1-2b92-424a-9e8c-5fde0c5fbdd2" providerId="ADAL" clId="{923BECBF-E766-4E6E-9F62-881D87312C0D}" dt="2024-07-18T10:28:30.662" v="358"/>
          <ac:picMkLst>
            <pc:docMk/>
            <pc:sldMk cId="3558456817" sldId="846"/>
            <ac:picMk id="5" creationId="{883F4F6F-1125-C4B7-A0D0-087249BBBB79}"/>
          </ac:picMkLst>
        </pc:picChg>
      </pc:sldChg>
      <pc:sldChg chg="modSp mod">
        <pc:chgData name="José Antonio Ureta Santacreu" userId="e36999d1-2b92-424a-9e8c-5fde0c5fbdd2" providerId="ADAL" clId="{923BECBF-E766-4E6E-9F62-881D87312C0D}" dt="2024-07-22T14:52:51.511" v="1214" actId="20577"/>
        <pc:sldMkLst>
          <pc:docMk/>
          <pc:sldMk cId="2022670775" sldId="903"/>
        </pc:sldMkLst>
        <pc:spChg chg="mod">
          <ac:chgData name="José Antonio Ureta Santacreu" userId="e36999d1-2b92-424a-9e8c-5fde0c5fbdd2" providerId="ADAL" clId="{923BECBF-E766-4E6E-9F62-881D87312C0D}" dt="2024-07-22T14:52:51.511" v="1214" actId="20577"/>
          <ac:spMkLst>
            <pc:docMk/>
            <pc:sldMk cId="2022670775" sldId="903"/>
            <ac:spMk id="2" creationId="{A0171F31-1618-CF6B-4120-8DCB0B7C251F}"/>
          </ac:spMkLst>
        </pc:spChg>
      </pc:sldChg>
      <pc:sldChg chg="addSp delSp modSp mod chgLayout">
        <pc:chgData name="José Antonio Ureta Santacreu" userId="e36999d1-2b92-424a-9e8c-5fde0c5fbdd2" providerId="ADAL" clId="{923BECBF-E766-4E6E-9F62-881D87312C0D}" dt="2024-07-22T14:57:23.850" v="1347" actId="20577"/>
        <pc:sldMkLst>
          <pc:docMk/>
          <pc:sldMk cId="2974846749" sldId="922"/>
        </pc:sldMkLst>
        <pc:spChg chg="mod ord">
          <ac:chgData name="José Antonio Ureta Santacreu" userId="e36999d1-2b92-424a-9e8c-5fde0c5fbdd2" providerId="ADAL" clId="{923BECBF-E766-4E6E-9F62-881D87312C0D}" dt="2024-07-22T14:56:44.866" v="1282" actId="6264"/>
          <ac:spMkLst>
            <pc:docMk/>
            <pc:sldMk cId="2974846749" sldId="922"/>
            <ac:spMk id="2" creationId="{B5FF0D9B-CFB7-81F2-F915-1D65A6BCA225}"/>
          </ac:spMkLst>
        </pc:spChg>
        <pc:spChg chg="add del mod">
          <ac:chgData name="José Antonio Ureta Santacreu" userId="e36999d1-2b92-424a-9e8c-5fde0c5fbdd2" providerId="ADAL" clId="{923BECBF-E766-4E6E-9F62-881D87312C0D}" dt="2024-07-22T14:56:44.866" v="1282" actId="6264"/>
          <ac:spMkLst>
            <pc:docMk/>
            <pc:sldMk cId="2974846749" sldId="922"/>
            <ac:spMk id="3" creationId="{BA4FE1A3-43DC-E023-6D3C-BEC50BB6C21F}"/>
          </ac:spMkLst>
        </pc:spChg>
        <pc:spChg chg="mod ord">
          <ac:chgData name="José Antonio Ureta Santacreu" userId="e36999d1-2b92-424a-9e8c-5fde0c5fbdd2" providerId="ADAL" clId="{923BECBF-E766-4E6E-9F62-881D87312C0D}" dt="2024-07-22T14:57:23.850" v="1347" actId="20577"/>
          <ac:spMkLst>
            <pc:docMk/>
            <pc:sldMk cId="2974846749" sldId="922"/>
            <ac:spMk id="4" creationId="{4CCF178A-5CCD-A4D3-602C-C9CCF0C4C12A}"/>
          </ac:spMkLst>
        </pc:spChg>
        <pc:spChg chg="mod ord">
          <ac:chgData name="José Antonio Ureta Santacreu" userId="e36999d1-2b92-424a-9e8c-5fde0c5fbdd2" providerId="ADAL" clId="{923BECBF-E766-4E6E-9F62-881D87312C0D}" dt="2024-07-22T14:56:44.866" v="1282" actId="6264"/>
          <ac:spMkLst>
            <pc:docMk/>
            <pc:sldMk cId="2974846749" sldId="922"/>
            <ac:spMk id="5" creationId="{36C0EBEF-ADCC-06C7-6768-48893FE092C2}"/>
          </ac:spMkLst>
        </pc:spChg>
        <pc:spChg chg="mod ord">
          <ac:chgData name="José Antonio Ureta Santacreu" userId="e36999d1-2b92-424a-9e8c-5fde0c5fbdd2" providerId="ADAL" clId="{923BECBF-E766-4E6E-9F62-881D87312C0D}" dt="2024-07-22T14:56:44.866" v="1282" actId="6264"/>
          <ac:spMkLst>
            <pc:docMk/>
            <pc:sldMk cId="2974846749" sldId="922"/>
            <ac:spMk id="6" creationId="{DD376297-134D-6181-961F-0D5689639BFD}"/>
          </ac:spMkLst>
        </pc:spChg>
        <pc:spChg chg="mod ord">
          <ac:chgData name="José Antonio Ureta Santacreu" userId="e36999d1-2b92-424a-9e8c-5fde0c5fbdd2" providerId="ADAL" clId="{923BECBF-E766-4E6E-9F62-881D87312C0D}" dt="2024-07-22T14:56:44.866" v="1282" actId="6264"/>
          <ac:spMkLst>
            <pc:docMk/>
            <pc:sldMk cId="2974846749" sldId="922"/>
            <ac:spMk id="7" creationId="{C8627FB4-A3D7-59F4-95DE-1E39CDBCF6EB}"/>
          </ac:spMkLst>
        </pc:spChg>
        <pc:spChg chg="mod ord">
          <ac:chgData name="José Antonio Ureta Santacreu" userId="e36999d1-2b92-424a-9e8c-5fde0c5fbdd2" providerId="ADAL" clId="{923BECBF-E766-4E6E-9F62-881D87312C0D}" dt="2024-07-22T14:56:44.866" v="1282" actId="6264"/>
          <ac:spMkLst>
            <pc:docMk/>
            <pc:sldMk cId="2974846749" sldId="922"/>
            <ac:spMk id="8" creationId="{D41D2CC9-4611-6C04-4642-EEB987B24B8B}"/>
          </ac:spMkLst>
        </pc:spChg>
        <pc:spChg chg="add del mod">
          <ac:chgData name="José Antonio Ureta Santacreu" userId="e36999d1-2b92-424a-9e8c-5fde0c5fbdd2" providerId="ADAL" clId="{923BECBF-E766-4E6E-9F62-881D87312C0D}" dt="2024-07-22T14:56:44.866" v="1282" actId="6264"/>
          <ac:spMkLst>
            <pc:docMk/>
            <pc:sldMk cId="2974846749" sldId="922"/>
            <ac:spMk id="10" creationId="{6776E673-2116-F433-FAAF-229D275F0CF1}"/>
          </ac:spMkLst>
        </pc:spChg>
        <pc:spChg chg="add del mod">
          <ac:chgData name="José Antonio Ureta Santacreu" userId="e36999d1-2b92-424a-9e8c-5fde0c5fbdd2" providerId="ADAL" clId="{923BECBF-E766-4E6E-9F62-881D87312C0D}" dt="2024-07-22T14:56:44.866" v="1282" actId="6264"/>
          <ac:spMkLst>
            <pc:docMk/>
            <pc:sldMk cId="2974846749" sldId="922"/>
            <ac:spMk id="11" creationId="{EA68D2B0-9A38-262D-2418-FF5AC5EDBC2C}"/>
          </ac:spMkLst>
        </pc:spChg>
        <pc:spChg chg="add del mod">
          <ac:chgData name="José Antonio Ureta Santacreu" userId="e36999d1-2b92-424a-9e8c-5fde0c5fbdd2" providerId="ADAL" clId="{923BECBF-E766-4E6E-9F62-881D87312C0D}" dt="2024-07-22T14:56:44.866" v="1282" actId="6264"/>
          <ac:spMkLst>
            <pc:docMk/>
            <pc:sldMk cId="2974846749" sldId="922"/>
            <ac:spMk id="12" creationId="{00A27A0B-5A53-14A3-4FE1-683E06568C22}"/>
          </ac:spMkLst>
        </pc:spChg>
        <pc:spChg chg="add del mod">
          <ac:chgData name="José Antonio Ureta Santacreu" userId="e36999d1-2b92-424a-9e8c-5fde0c5fbdd2" providerId="ADAL" clId="{923BECBF-E766-4E6E-9F62-881D87312C0D}" dt="2024-07-22T14:56:44.866" v="1282" actId="6264"/>
          <ac:spMkLst>
            <pc:docMk/>
            <pc:sldMk cId="2974846749" sldId="922"/>
            <ac:spMk id="13" creationId="{5EBCEF95-0EB2-16AB-3F29-FCC5221C47D3}"/>
          </ac:spMkLst>
        </pc:spChg>
        <pc:spChg chg="add del mod">
          <ac:chgData name="José Antonio Ureta Santacreu" userId="e36999d1-2b92-424a-9e8c-5fde0c5fbdd2" providerId="ADAL" clId="{923BECBF-E766-4E6E-9F62-881D87312C0D}" dt="2024-07-22T14:56:44.866" v="1282" actId="6264"/>
          <ac:spMkLst>
            <pc:docMk/>
            <pc:sldMk cId="2974846749" sldId="922"/>
            <ac:spMk id="14" creationId="{5472BB80-26C0-138E-A726-3FF96613E365}"/>
          </ac:spMkLst>
        </pc:spChg>
        <pc:spChg chg="add del mod">
          <ac:chgData name="José Antonio Ureta Santacreu" userId="e36999d1-2b92-424a-9e8c-5fde0c5fbdd2" providerId="ADAL" clId="{923BECBF-E766-4E6E-9F62-881D87312C0D}" dt="2024-07-22T14:56:44.866" v="1282" actId="6264"/>
          <ac:spMkLst>
            <pc:docMk/>
            <pc:sldMk cId="2974846749" sldId="922"/>
            <ac:spMk id="15" creationId="{2ED80FA4-1BAB-6C34-6953-BE35DA4953E6}"/>
          </ac:spMkLst>
        </pc:spChg>
        <pc:picChg chg="mod ord">
          <ac:chgData name="José Antonio Ureta Santacreu" userId="e36999d1-2b92-424a-9e8c-5fde0c5fbdd2" providerId="ADAL" clId="{923BECBF-E766-4E6E-9F62-881D87312C0D}" dt="2024-07-22T14:56:44.866" v="1282" actId="6264"/>
          <ac:picMkLst>
            <pc:docMk/>
            <pc:sldMk cId="2974846749" sldId="922"/>
            <ac:picMk id="9" creationId="{FEA4C25D-4ADE-9897-B013-5FA048796735}"/>
          </ac:picMkLst>
        </pc:picChg>
      </pc:sldChg>
      <pc:sldChg chg="modSp mod">
        <pc:chgData name="José Antonio Ureta Santacreu" userId="e36999d1-2b92-424a-9e8c-5fde0c5fbdd2" providerId="ADAL" clId="{923BECBF-E766-4E6E-9F62-881D87312C0D}" dt="2024-07-18T11:05:40.502" v="564" actId="20577"/>
        <pc:sldMkLst>
          <pc:docMk/>
          <pc:sldMk cId="426856897" sldId="925"/>
        </pc:sldMkLst>
        <pc:spChg chg="mod">
          <ac:chgData name="José Antonio Ureta Santacreu" userId="e36999d1-2b92-424a-9e8c-5fde0c5fbdd2" providerId="ADAL" clId="{923BECBF-E766-4E6E-9F62-881D87312C0D}" dt="2024-07-18T11:05:40.502" v="564" actId="20577"/>
          <ac:spMkLst>
            <pc:docMk/>
            <pc:sldMk cId="426856897" sldId="925"/>
            <ac:spMk id="2" creationId="{91AA312B-12DC-4581-805E-22E5CD69B98B}"/>
          </ac:spMkLst>
        </pc:spChg>
      </pc:sldChg>
      <pc:sldChg chg="addSp delSp modSp mod chgLayout">
        <pc:chgData name="José Antonio Ureta Santacreu" userId="e36999d1-2b92-424a-9e8c-5fde0c5fbdd2" providerId="ADAL" clId="{923BECBF-E766-4E6E-9F62-881D87312C0D}" dt="2024-07-22T15:04:50.064" v="1439" actId="6264"/>
        <pc:sldMkLst>
          <pc:docMk/>
          <pc:sldMk cId="2329608386" sldId="929"/>
        </pc:sldMkLst>
        <pc:spChg chg="mod ord">
          <ac:chgData name="José Antonio Ureta Santacreu" userId="e36999d1-2b92-424a-9e8c-5fde0c5fbdd2" providerId="ADAL" clId="{923BECBF-E766-4E6E-9F62-881D87312C0D}" dt="2024-07-22T15:04:50.064" v="1439" actId="6264"/>
          <ac:spMkLst>
            <pc:docMk/>
            <pc:sldMk cId="2329608386" sldId="929"/>
            <ac:spMk id="2" creationId="{AEE65988-F8DE-F4E7-0870-FFF8C0872690}"/>
          </ac:spMkLst>
        </pc:spChg>
        <pc:spChg chg="add del mod">
          <ac:chgData name="José Antonio Ureta Santacreu" userId="e36999d1-2b92-424a-9e8c-5fde0c5fbdd2" providerId="ADAL" clId="{923BECBF-E766-4E6E-9F62-881D87312C0D}" dt="2024-07-22T15:04:50.064" v="1439" actId="6264"/>
          <ac:spMkLst>
            <pc:docMk/>
            <pc:sldMk cId="2329608386" sldId="929"/>
            <ac:spMk id="3" creationId="{95899073-6A4F-AD74-50AA-0B806B629C87}"/>
          </ac:spMkLst>
        </pc:spChg>
        <pc:spChg chg="mod ord">
          <ac:chgData name="José Antonio Ureta Santacreu" userId="e36999d1-2b92-424a-9e8c-5fde0c5fbdd2" providerId="ADAL" clId="{923BECBF-E766-4E6E-9F62-881D87312C0D}" dt="2024-07-22T15:04:50.064" v="1439" actId="6264"/>
          <ac:spMkLst>
            <pc:docMk/>
            <pc:sldMk cId="2329608386" sldId="929"/>
            <ac:spMk id="4" creationId="{30630979-A8FE-89A5-CDAA-B7C074E77816}"/>
          </ac:spMkLst>
        </pc:spChg>
        <pc:spChg chg="mod ord">
          <ac:chgData name="José Antonio Ureta Santacreu" userId="e36999d1-2b92-424a-9e8c-5fde0c5fbdd2" providerId="ADAL" clId="{923BECBF-E766-4E6E-9F62-881D87312C0D}" dt="2024-07-22T15:04:50.064" v="1439" actId="6264"/>
          <ac:spMkLst>
            <pc:docMk/>
            <pc:sldMk cId="2329608386" sldId="929"/>
            <ac:spMk id="5" creationId="{144F1D5B-1810-4C73-0FDB-8F0635DF5F0D}"/>
          </ac:spMkLst>
        </pc:spChg>
        <pc:spChg chg="mod ord">
          <ac:chgData name="José Antonio Ureta Santacreu" userId="e36999d1-2b92-424a-9e8c-5fde0c5fbdd2" providerId="ADAL" clId="{923BECBF-E766-4E6E-9F62-881D87312C0D}" dt="2024-07-22T15:04:50.064" v="1439" actId="6264"/>
          <ac:spMkLst>
            <pc:docMk/>
            <pc:sldMk cId="2329608386" sldId="929"/>
            <ac:spMk id="6" creationId="{D407B693-F501-DE57-A313-C42A138F1A30}"/>
          </ac:spMkLst>
        </pc:spChg>
        <pc:spChg chg="mod ord">
          <ac:chgData name="José Antonio Ureta Santacreu" userId="e36999d1-2b92-424a-9e8c-5fde0c5fbdd2" providerId="ADAL" clId="{923BECBF-E766-4E6E-9F62-881D87312C0D}" dt="2024-07-22T15:04:50.064" v="1439" actId="6264"/>
          <ac:spMkLst>
            <pc:docMk/>
            <pc:sldMk cId="2329608386" sldId="929"/>
            <ac:spMk id="7" creationId="{F1C7F2FA-3F20-3D6E-413F-9EF01F567EAD}"/>
          </ac:spMkLst>
        </pc:spChg>
        <pc:spChg chg="mod ord">
          <ac:chgData name="José Antonio Ureta Santacreu" userId="e36999d1-2b92-424a-9e8c-5fde0c5fbdd2" providerId="ADAL" clId="{923BECBF-E766-4E6E-9F62-881D87312C0D}" dt="2024-07-22T15:04:50.064" v="1439" actId="6264"/>
          <ac:spMkLst>
            <pc:docMk/>
            <pc:sldMk cId="2329608386" sldId="929"/>
            <ac:spMk id="8" creationId="{23D193C9-F029-2343-E1A6-4351B6BAAABC}"/>
          </ac:spMkLst>
        </pc:spChg>
        <pc:spChg chg="add del mod">
          <ac:chgData name="José Antonio Ureta Santacreu" userId="e36999d1-2b92-424a-9e8c-5fde0c5fbdd2" providerId="ADAL" clId="{923BECBF-E766-4E6E-9F62-881D87312C0D}" dt="2024-07-22T15:04:50.064" v="1439" actId="6264"/>
          <ac:spMkLst>
            <pc:docMk/>
            <pc:sldMk cId="2329608386" sldId="929"/>
            <ac:spMk id="10" creationId="{8FA039D3-28C2-3380-0C3F-93B55827D9EF}"/>
          </ac:spMkLst>
        </pc:spChg>
        <pc:spChg chg="add del mod">
          <ac:chgData name="José Antonio Ureta Santacreu" userId="e36999d1-2b92-424a-9e8c-5fde0c5fbdd2" providerId="ADAL" clId="{923BECBF-E766-4E6E-9F62-881D87312C0D}" dt="2024-07-22T15:04:50.064" v="1439" actId="6264"/>
          <ac:spMkLst>
            <pc:docMk/>
            <pc:sldMk cId="2329608386" sldId="929"/>
            <ac:spMk id="11" creationId="{E57810C5-483A-660C-DF36-2007227A3DDC}"/>
          </ac:spMkLst>
        </pc:spChg>
        <pc:spChg chg="add del mod">
          <ac:chgData name="José Antonio Ureta Santacreu" userId="e36999d1-2b92-424a-9e8c-5fde0c5fbdd2" providerId="ADAL" clId="{923BECBF-E766-4E6E-9F62-881D87312C0D}" dt="2024-07-22T15:04:50.064" v="1439" actId="6264"/>
          <ac:spMkLst>
            <pc:docMk/>
            <pc:sldMk cId="2329608386" sldId="929"/>
            <ac:spMk id="12" creationId="{0F89924E-9FC6-7437-BEFE-0018E7D23030}"/>
          </ac:spMkLst>
        </pc:spChg>
        <pc:spChg chg="add del mod">
          <ac:chgData name="José Antonio Ureta Santacreu" userId="e36999d1-2b92-424a-9e8c-5fde0c5fbdd2" providerId="ADAL" clId="{923BECBF-E766-4E6E-9F62-881D87312C0D}" dt="2024-07-22T15:04:50.064" v="1439" actId="6264"/>
          <ac:spMkLst>
            <pc:docMk/>
            <pc:sldMk cId="2329608386" sldId="929"/>
            <ac:spMk id="13" creationId="{E6FDCE1A-70A2-6915-46FC-92F6107E92C3}"/>
          </ac:spMkLst>
        </pc:spChg>
        <pc:spChg chg="add del mod">
          <ac:chgData name="José Antonio Ureta Santacreu" userId="e36999d1-2b92-424a-9e8c-5fde0c5fbdd2" providerId="ADAL" clId="{923BECBF-E766-4E6E-9F62-881D87312C0D}" dt="2024-07-22T15:04:50.064" v="1439" actId="6264"/>
          <ac:spMkLst>
            <pc:docMk/>
            <pc:sldMk cId="2329608386" sldId="929"/>
            <ac:spMk id="14" creationId="{58E890C5-7C43-0224-81BD-80BB10260C3A}"/>
          </ac:spMkLst>
        </pc:spChg>
        <pc:spChg chg="add del mod">
          <ac:chgData name="José Antonio Ureta Santacreu" userId="e36999d1-2b92-424a-9e8c-5fde0c5fbdd2" providerId="ADAL" clId="{923BECBF-E766-4E6E-9F62-881D87312C0D}" dt="2024-07-22T15:04:50.064" v="1439" actId="6264"/>
          <ac:spMkLst>
            <pc:docMk/>
            <pc:sldMk cId="2329608386" sldId="929"/>
            <ac:spMk id="15" creationId="{C9AAF150-23AB-76EB-3417-80727ED0006E}"/>
          </ac:spMkLst>
        </pc:spChg>
        <pc:picChg chg="mod ord">
          <ac:chgData name="José Antonio Ureta Santacreu" userId="e36999d1-2b92-424a-9e8c-5fde0c5fbdd2" providerId="ADAL" clId="{923BECBF-E766-4E6E-9F62-881D87312C0D}" dt="2024-07-22T15:04:50.064" v="1439" actId="6264"/>
          <ac:picMkLst>
            <pc:docMk/>
            <pc:sldMk cId="2329608386" sldId="929"/>
            <ac:picMk id="9" creationId="{F0468041-6132-DA6F-43CC-BDEA32DFD0A7}"/>
          </ac:picMkLst>
        </pc:picChg>
      </pc:sldChg>
      <pc:sldChg chg="addSp delSp modSp mod chgLayout">
        <pc:chgData name="José Antonio Ureta Santacreu" userId="e36999d1-2b92-424a-9e8c-5fde0c5fbdd2" providerId="ADAL" clId="{923BECBF-E766-4E6E-9F62-881D87312C0D}" dt="2024-07-22T15:05:49.678" v="1444" actId="6264"/>
        <pc:sldMkLst>
          <pc:docMk/>
          <pc:sldMk cId="3728386926" sldId="930"/>
        </pc:sldMkLst>
        <pc:spChg chg="mod ord">
          <ac:chgData name="José Antonio Ureta Santacreu" userId="e36999d1-2b92-424a-9e8c-5fde0c5fbdd2" providerId="ADAL" clId="{923BECBF-E766-4E6E-9F62-881D87312C0D}" dt="2024-07-22T15:05:49.678" v="1444" actId="6264"/>
          <ac:spMkLst>
            <pc:docMk/>
            <pc:sldMk cId="3728386926" sldId="930"/>
            <ac:spMk id="2" creationId="{C620C0A4-63F2-CF26-11C6-EF0CAA35ABAF}"/>
          </ac:spMkLst>
        </pc:spChg>
        <pc:spChg chg="add del mod">
          <ac:chgData name="José Antonio Ureta Santacreu" userId="e36999d1-2b92-424a-9e8c-5fde0c5fbdd2" providerId="ADAL" clId="{923BECBF-E766-4E6E-9F62-881D87312C0D}" dt="2024-07-22T15:05:49.678" v="1444" actId="6264"/>
          <ac:spMkLst>
            <pc:docMk/>
            <pc:sldMk cId="3728386926" sldId="930"/>
            <ac:spMk id="3" creationId="{D31FFAEC-18D8-DE6B-B0E0-C7F8B725CB19}"/>
          </ac:spMkLst>
        </pc:spChg>
        <pc:spChg chg="mod ord">
          <ac:chgData name="José Antonio Ureta Santacreu" userId="e36999d1-2b92-424a-9e8c-5fde0c5fbdd2" providerId="ADAL" clId="{923BECBF-E766-4E6E-9F62-881D87312C0D}" dt="2024-07-22T15:05:49.678" v="1444" actId="6264"/>
          <ac:spMkLst>
            <pc:docMk/>
            <pc:sldMk cId="3728386926" sldId="930"/>
            <ac:spMk id="4" creationId="{E8A90B40-E0FA-0025-DEA1-560FA99B324F}"/>
          </ac:spMkLst>
        </pc:spChg>
        <pc:spChg chg="mod ord">
          <ac:chgData name="José Antonio Ureta Santacreu" userId="e36999d1-2b92-424a-9e8c-5fde0c5fbdd2" providerId="ADAL" clId="{923BECBF-E766-4E6E-9F62-881D87312C0D}" dt="2024-07-22T15:05:49.678" v="1444" actId="6264"/>
          <ac:spMkLst>
            <pc:docMk/>
            <pc:sldMk cId="3728386926" sldId="930"/>
            <ac:spMk id="5" creationId="{3C045AEE-7B83-22AA-62EE-C53149EFF145}"/>
          </ac:spMkLst>
        </pc:spChg>
        <pc:spChg chg="mod ord">
          <ac:chgData name="José Antonio Ureta Santacreu" userId="e36999d1-2b92-424a-9e8c-5fde0c5fbdd2" providerId="ADAL" clId="{923BECBF-E766-4E6E-9F62-881D87312C0D}" dt="2024-07-22T15:05:49.678" v="1444" actId="6264"/>
          <ac:spMkLst>
            <pc:docMk/>
            <pc:sldMk cId="3728386926" sldId="930"/>
            <ac:spMk id="6" creationId="{ACCD6981-E674-15B7-AD21-5A301CC70D46}"/>
          </ac:spMkLst>
        </pc:spChg>
        <pc:spChg chg="mod ord">
          <ac:chgData name="José Antonio Ureta Santacreu" userId="e36999d1-2b92-424a-9e8c-5fde0c5fbdd2" providerId="ADAL" clId="{923BECBF-E766-4E6E-9F62-881D87312C0D}" dt="2024-07-22T15:05:49.678" v="1444" actId="6264"/>
          <ac:spMkLst>
            <pc:docMk/>
            <pc:sldMk cId="3728386926" sldId="930"/>
            <ac:spMk id="7" creationId="{7625197F-A13B-B5A5-8E11-AFC7B107D9B1}"/>
          </ac:spMkLst>
        </pc:spChg>
        <pc:spChg chg="mod ord">
          <ac:chgData name="José Antonio Ureta Santacreu" userId="e36999d1-2b92-424a-9e8c-5fde0c5fbdd2" providerId="ADAL" clId="{923BECBF-E766-4E6E-9F62-881D87312C0D}" dt="2024-07-22T15:05:49.678" v="1444" actId="6264"/>
          <ac:spMkLst>
            <pc:docMk/>
            <pc:sldMk cId="3728386926" sldId="930"/>
            <ac:spMk id="8" creationId="{E268DF93-91BC-9134-E849-672ABE496C7D}"/>
          </ac:spMkLst>
        </pc:spChg>
        <pc:spChg chg="add del mod">
          <ac:chgData name="José Antonio Ureta Santacreu" userId="e36999d1-2b92-424a-9e8c-5fde0c5fbdd2" providerId="ADAL" clId="{923BECBF-E766-4E6E-9F62-881D87312C0D}" dt="2024-07-22T15:05:49.678" v="1444" actId="6264"/>
          <ac:spMkLst>
            <pc:docMk/>
            <pc:sldMk cId="3728386926" sldId="930"/>
            <ac:spMk id="9" creationId="{4D391BB8-9328-C49A-91A9-94F4FFB61E91}"/>
          </ac:spMkLst>
        </pc:spChg>
        <pc:spChg chg="add del mod">
          <ac:chgData name="José Antonio Ureta Santacreu" userId="e36999d1-2b92-424a-9e8c-5fde0c5fbdd2" providerId="ADAL" clId="{923BECBF-E766-4E6E-9F62-881D87312C0D}" dt="2024-07-22T15:05:49.678" v="1444" actId="6264"/>
          <ac:spMkLst>
            <pc:docMk/>
            <pc:sldMk cId="3728386926" sldId="930"/>
            <ac:spMk id="10" creationId="{464BEBB9-DB7E-CE5C-994F-68101CE7CA5F}"/>
          </ac:spMkLst>
        </pc:spChg>
        <pc:spChg chg="add del mod">
          <ac:chgData name="José Antonio Ureta Santacreu" userId="e36999d1-2b92-424a-9e8c-5fde0c5fbdd2" providerId="ADAL" clId="{923BECBF-E766-4E6E-9F62-881D87312C0D}" dt="2024-07-22T15:05:49.678" v="1444" actId="6264"/>
          <ac:spMkLst>
            <pc:docMk/>
            <pc:sldMk cId="3728386926" sldId="930"/>
            <ac:spMk id="11" creationId="{01C8D519-A223-D1BD-6F04-8CCB29F35A52}"/>
          </ac:spMkLst>
        </pc:spChg>
        <pc:spChg chg="add del mod">
          <ac:chgData name="José Antonio Ureta Santacreu" userId="e36999d1-2b92-424a-9e8c-5fde0c5fbdd2" providerId="ADAL" clId="{923BECBF-E766-4E6E-9F62-881D87312C0D}" dt="2024-07-22T15:05:49.678" v="1444" actId="6264"/>
          <ac:spMkLst>
            <pc:docMk/>
            <pc:sldMk cId="3728386926" sldId="930"/>
            <ac:spMk id="12" creationId="{CFD96D38-D44A-8B7C-247A-D631491CCF77}"/>
          </ac:spMkLst>
        </pc:spChg>
        <pc:spChg chg="add del mod">
          <ac:chgData name="José Antonio Ureta Santacreu" userId="e36999d1-2b92-424a-9e8c-5fde0c5fbdd2" providerId="ADAL" clId="{923BECBF-E766-4E6E-9F62-881D87312C0D}" dt="2024-07-22T15:05:49.678" v="1444" actId="6264"/>
          <ac:spMkLst>
            <pc:docMk/>
            <pc:sldMk cId="3728386926" sldId="930"/>
            <ac:spMk id="13" creationId="{71C1CBFF-353F-45A8-EE1E-607EB388F25C}"/>
          </ac:spMkLst>
        </pc:spChg>
        <pc:spChg chg="add del mod">
          <ac:chgData name="José Antonio Ureta Santacreu" userId="e36999d1-2b92-424a-9e8c-5fde0c5fbdd2" providerId="ADAL" clId="{923BECBF-E766-4E6E-9F62-881D87312C0D}" dt="2024-07-22T15:05:49.678" v="1444" actId="6264"/>
          <ac:spMkLst>
            <pc:docMk/>
            <pc:sldMk cId="3728386926" sldId="930"/>
            <ac:spMk id="14" creationId="{6122B592-7977-6180-AD4D-A75A42991E0E}"/>
          </ac:spMkLst>
        </pc:spChg>
        <pc:picChg chg="mod ord">
          <ac:chgData name="José Antonio Ureta Santacreu" userId="e36999d1-2b92-424a-9e8c-5fde0c5fbdd2" providerId="ADAL" clId="{923BECBF-E766-4E6E-9F62-881D87312C0D}" dt="2024-07-22T15:05:49.678" v="1444" actId="6264"/>
          <ac:picMkLst>
            <pc:docMk/>
            <pc:sldMk cId="3728386926" sldId="930"/>
            <ac:picMk id="3074" creationId="{F0E12E86-4C00-5798-58B3-8336560D3BF8}"/>
          </ac:picMkLst>
        </pc:picChg>
      </pc:sldChg>
      <pc:sldChg chg="addSp delSp modSp mod chgLayout">
        <pc:chgData name="José Antonio Ureta Santacreu" userId="e36999d1-2b92-424a-9e8c-5fde0c5fbdd2" providerId="ADAL" clId="{923BECBF-E766-4E6E-9F62-881D87312C0D}" dt="2024-07-22T15:05:51.493" v="1445" actId="6264"/>
        <pc:sldMkLst>
          <pc:docMk/>
          <pc:sldMk cId="695555796" sldId="931"/>
        </pc:sldMkLst>
        <pc:spChg chg="mod ord">
          <ac:chgData name="José Antonio Ureta Santacreu" userId="e36999d1-2b92-424a-9e8c-5fde0c5fbdd2" providerId="ADAL" clId="{923BECBF-E766-4E6E-9F62-881D87312C0D}" dt="2024-07-22T15:05:51.493" v="1445" actId="6264"/>
          <ac:spMkLst>
            <pc:docMk/>
            <pc:sldMk cId="695555796" sldId="931"/>
            <ac:spMk id="2" creationId="{677CC392-A374-1EA2-F7AA-0868C408021E}"/>
          </ac:spMkLst>
        </pc:spChg>
        <pc:spChg chg="add del mod">
          <ac:chgData name="José Antonio Ureta Santacreu" userId="e36999d1-2b92-424a-9e8c-5fde0c5fbdd2" providerId="ADAL" clId="{923BECBF-E766-4E6E-9F62-881D87312C0D}" dt="2024-07-22T15:05:51.493" v="1445" actId="6264"/>
          <ac:spMkLst>
            <pc:docMk/>
            <pc:sldMk cId="695555796" sldId="931"/>
            <ac:spMk id="3" creationId="{B135E7D1-EAB7-4A4D-0F3C-F414E1F0F127}"/>
          </ac:spMkLst>
        </pc:spChg>
        <pc:spChg chg="mod ord">
          <ac:chgData name="José Antonio Ureta Santacreu" userId="e36999d1-2b92-424a-9e8c-5fde0c5fbdd2" providerId="ADAL" clId="{923BECBF-E766-4E6E-9F62-881D87312C0D}" dt="2024-07-22T15:05:51.493" v="1445" actId="6264"/>
          <ac:spMkLst>
            <pc:docMk/>
            <pc:sldMk cId="695555796" sldId="931"/>
            <ac:spMk id="4" creationId="{BC940CF5-7537-B915-BF72-8B0FF0E14036}"/>
          </ac:spMkLst>
        </pc:spChg>
        <pc:spChg chg="mod ord">
          <ac:chgData name="José Antonio Ureta Santacreu" userId="e36999d1-2b92-424a-9e8c-5fde0c5fbdd2" providerId="ADAL" clId="{923BECBF-E766-4E6E-9F62-881D87312C0D}" dt="2024-07-22T15:05:51.493" v="1445" actId="6264"/>
          <ac:spMkLst>
            <pc:docMk/>
            <pc:sldMk cId="695555796" sldId="931"/>
            <ac:spMk id="5" creationId="{C64903EB-E6EC-1CDC-C759-B6EE9072141B}"/>
          </ac:spMkLst>
        </pc:spChg>
        <pc:spChg chg="mod ord">
          <ac:chgData name="José Antonio Ureta Santacreu" userId="e36999d1-2b92-424a-9e8c-5fde0c5fbdd2" providerId="ADAL" clId="{923BECBF-E766-4E6E-9F62-881D87312C0D}" dt="2024-07-22T15:05:51.493" v="1445" actId="6264"/>
          <ac:spMkLst>
            <pc:docMk/>
            <pc:sldMk cId="695555796" sldId="931"/>
            <ac:spMk id="6" creationId="{232FFF4F-0552-4705-F642-AE9B04066375}"/>
          </ac:spMkLst>
        </pc:spChg>
        <pc:spChg chg="mod ord">
          <ac:chgData name="José Antonio Ureta Santacreu" userId="e36999d1-2b92-424a-9e8c-5fde0c5fbdd2" providerId="ADAL" clId="{923BECBF-E766-4E6E-9F62-881D87312C0D}" dt="2024-07-22T15:05:51.493" v="1445" actId="6264"/>
          <ac:spMkLst>
            <pc:docMk/>
            <pc:sldMk cId="695555796" sldId="931"/>
            <ac:spMk id="7" creationId="{6175D80C-E634-FCAF-F88A-63FB1C544D98}"/>
          </ac:spMkLst>
        </pc:spChg>
        <pc:spChg chg="mod ord">
          <ac:chgData name="José Antonio Ureta Santacreu" userId="e36999d1-2b92-424a-9e8c-5fde0c5fbdd2" providerId="ADAL" clId="{923BECBF-E766-4E6E-9F62-881D87312C0D}" dt="2024-07-22T15:05:51.493" v="1445" actId="6264"/>
          <ac:spMkLst>
            <pc:docMk/>
            <pc:sldMk cId="695555796" sldId="931"/>
            <ac:spMk id="8" creationId="{10F3A8DA-D3EE-3B7E-4FAC-B7D6AE20EEA2}"/>
          </ac:spMkLst>
        </pc:spChg>
        <pc:spChg chg="add del mod">
          <ac:chgData name="José Antonio Ureta Santacreu" userId="e36999d1-2b92-424a-9e8c-5fde0c5fbdd2" providerId="ADAL" clId="{923BECBF-E766-4E6E-9F62-881D87312C0D}" dt="2024-07-22T15:05:51.493" v="1445" actId="6264"/>
          <ac:spMkLst>
            <pc:docMk/>
            <pc:sldMk cId="695555796" sldId="931"/>
            <ac:spMk id="10" creationId="{61C9F4AC-B285-F599-F76D-D9C4DD3786DB}"/>
          </ac:spMkLst>
        </pc:spChg>
        <pc:spChg chg="add del mod">
          <ac:chgData name="José Antonio Ureta Santacreu" userId="e36999d1-2b92-424a-9e8c-5fde0c5fbdd2" providerId="ADAL" clId="{923BECBF-E766-4E6E-9F62-881D87312C0D}" dt="2024-07-22T15:05:51.493" v="1445" actId="6264"/>
          <ac:spMkLst>
            <pc:docMk/>
            <pc:sldMk cId="695555796" sldId="931"/>
            <ac:spMk id="11" creationId="{D97F14A3-BCC2-2118-A0A5-CB4251A22FCB}"/>
          </ac:spMkLst>
        </pc:spChg>
        <pc:spChg chg="add del mod">
          <ac:chgData name="José Antonio Ureta Santacreu" userId="e36999d1-2b92-424a-9e8c-5fde0c5fbdd2" providerId="ADAL" clId="{923BECBF-E766-4E6E-9F62-881D87312C0D}" dt="2024-07-22T15:05:51.493" v="1445" actId="6264"/>
          <ac:spMkLst>
            <pc:docMk/>
            <pc:sldMk cId="695555796" sldId="931"/>
            <ac:spMk id="12" creationId="{F05C8F76-FB8B-0D3F-5666-72EA5BF241BF}"/>
          </ac:spMkLst>
        </pc:spChg>
        <pc:spChg chg="add del mod">
          <ac:chgData name="José Antonio Ureta Santacreu" userId="e36999d1-2b92-424a-9e8c-5fde0c5fbdd2" providerId="ADAL" clId="{923BECBF-E766-4E6E-9F62-881D87312C0D}" dt="2024-07-22T15:05:51.493" v="1445" actId="6264"/>
          <ac:spMkLst>
            <pc:docMk/>
            <pc:sldMk cId="695555796" sldId="931"/>
            <ac:spMk id="13" creationId="{723E2F6D-4139-78D9-4942-AA0889BEF4C5}"/>
          </ac:spMkLst>
        </pc:spChg>
        <pc:spChg chg="add del mod">
          <ac:chgData name="José Antonio Ureta Santacreu" userId="e36999d1-2b92-424a-9e8c-5fde0c5fbdd2" providerId="ADAL" clId="{923BECBF-E766-4E6E-9F62-881D87312C0D}" dt="2024-07-22T15:05:51.493" v="1445" actId="6264"/>
          <ac:spMkLst>
            <pc:docMk/>
            <pc:sldMk cId="695555796" sldId="931"/>
            <ac:spMk id="14" creationId="{91E74858-F8DC-A00A-933C-C2109B36AB24}"/>
          </ac:spMkLst>
        </pc:spChg>
        <pc:spChg chg="add del mod">
          <ac:chgData name="José Antonio Ureta Santacreu" userId="e36999d1-2b92-424a-9e8c-5fde0c5fbdd2" providerId="ADAL" clId="{923BECBF-E766-4E6E-9F62-881D87312C0D}" dt="2024-07-22T15:05:51.493" v="1445" actId="6264"/>
          <ac:spMkLst>
            <pc:docMk/>
            <pc:sldMk cId="695555796" sldId="931"/>
            <ac:spMk id="15" creationId="{7FC8C158-47F2-CB3C-FBDD-1942CBFE8271}"/>
          </ac:spMkLst>
        </pc:spChg>
        <pc:picChg chg="mod ord">
          <ac:chgData name="José Antonio Ureta Santacreu" userId="e36999d1-2b92-424a-9e8c-5fde0c5fbdd2" providerId="ADAL" clId="{923BECBF-E766-4E6E-9F62-881D87312C0D}" dt="2024-07-22T15:05:51.493" v="1445" actId="6264"/>
          <ac:picMkLst>
            <pc:docMk/>
            <pc:sldMk cId="695555796" sldId="931"/>
            <ac:picMk id="9" creationId="{A9D82E9C-DB0B-CD09-1FA6-E588DCFF973E}"/>
          </ac:picMkLst>
        </pc:picChg>
      </pc:sldChg>
      <pc:sldChg chg="addSp delSp modSp mod chgLayout">
        <pc:chgData name="José Antonio Ureta Santacreu" userId="e36999d1-2b92-424a-9e8c-5fde0c5fbdd2" providerId="ADAL" clId="{923BECBF-E766-4E6E-9F62-881D87312C0D}" dt="2024-07-22T15:05:54.159" v="1446" actId="6264"/>
        <pc:sldMkLst>
          <pc:docMk/>
          <pc:sldMk cId="788222971" sldId="932"/>
        </pc:sldMkLst>
        <pc:spChg chg="mod ord">
          <ac:chgData name="José Antonio Ureta Santacreu" userId="e36999d1-2b92-424a-9e8c-5fde0c5fbdd2" providerId="ADAL" clId="{923BECBF-E766-4E6E-9F62-881D87312C0D}" dt="2024-07-22T15:05:54.159" v="1446" actId="6264"/>
          <ac:spMkLst>
            <pc:docMk/>
            <pc:sldMk cId="788222971" sldId="932"/>
            <ac:spMk id="2" creationId="{7349E494-F92C-C84E-683B-750700AC2042}"/>
          </ac:spMkLst>
        </pc:spChg>
        <pc:spChg chg="add del mod">
          <ac:chgData name="José Antonio Ureta Santacreu" userId="e36999d1-2b92-424a-9e8c-5fde0c5fbdd2" providerId="ADAL" clId="{923BECBF-E766-4E6E-9F62-881D87312C0D}" dt="2024-07-22T15:05:54.159" v="1446" actId="6264"/>
          <ac:spMkLst>
            <pc:docMk/>
            <pc:sldMk cId="788222971" sldId="932"/>
            <ac:spMk id="3" creationId="{28C324A9-B622-C84E-C2D7-BE662C6F126A}"/>
          </ac:spMkLst>
        </pc:spChg>
        <pc:spChg chg="mod ord">
          <ac:chgData name="José Antonio Ureta Santacreu" userId="e36999d1-2b92-424a-9e8c-5fde0c5fbdd2" providerId="ADAL" clId="{923BECBF-E766-4E6E-9F62-881D87312C0D}" dt="2024-07-22T15:05:54.159" v="1446" actId="6264"/>
          <ac:spMkLst>
            <pc:docMk/>
            <pc:sldMk cId="788222971" sldId="932"/>
            <ac:spMk id="4" creationId="{8C3B18C2-CB36-966A-29F2-474D36AA8675}"/>
          </ac:spMkLst>
        </pc:spChg>
        <pc:spChg chg="mod ord">
          <ac:chgData name="José Antonio Ureta Santacreu" userId="e36999d1-2b92-424a-9e8c-5fde0c5fbdd2" providerId="ADAL" clId="{923BECBF-E766-4E6E-9F62-881D87312C0D}" dt="2024-07-22T15:05:54.159" v="1446" actId="6264"/>
          <ac:spMkLst>
            <pc:docMk/>
            <pc:sldMk cId="788222971" sldId="932"/>
            <ac:spMk id="5" creationId="{BE556CA6-7FBC-6987-F7D3-09BBCAE50893}"/>
          </ac:spMkLst>
        </pc:spChg>
        <pc:spChg chg="mod ord">
          <ac:chgData name="José Antonio Ureta Santacreu" userId="e36999d1-2b92-424a-9e8c-5fde0c5fbdd2" providerId="ADAL" clId="{923BECBF-E766-4E6E-9F62-881D87312C0D}" dt="2024-07-22T15:05:54.159" v="1446" actId="6264"/>
          <ac:spMkLst>
            <pc:docMk/>
            <pc:sldMk cId="788222971" sldId="932"/>
            <ac:spMk id="6" creationId="{2D290328-0106-9CBB-8190-2C17D4D94696}"/>
          </ac:spMkLst>
        </pc:spChg>
        <pc:spChg chg="mod ord">
          <ac:chgData name="José Antonio Ureta Santacreu" userId="e36999d1-2b92-424a-9e8c-5fde0c5fbdd2" providerId="ADAL" clId="{923BECBF-E766-4E6E-9F62-881D87312C0D}" dt="2024-07-22T15:05:54.159" v="1446" actId="6264"/>
          <ac:spMkLst>
            <pc:docMk/>
            <pc:sldMk cId="788222971" sldId="932"/>
            <ac:spMk id="7" creationId="{EFBA4FA9-A0D0-9120-1D7C-6D7288DD6B50}"/>
          </ac:spMkLst>
        </pc:spChg>
        <pc:spChg chg="mod ord">
          <ac:chgData name="José Antonio Ureta Santacreu" userId="e36999d1-2b92-424a-9e8c-5fde0c5fbdd2" providerId="ADAL" clId="{923BECBF-E766-4E6E-9F62-881D87312C0D}" dt="2024-07-22T15:05:54.159" v="1446" actId="6264"/>
          <ac:spMkLst>
            <pc:docMk/>
            <pc:sldMk cId="788222971" sldId="932"/>
            <ac:spMk id="8" creationId="{E92B07AD-7157-F8A0-892A-B8DC3D86F137}"/>
          </ac:spMkLst>
        </pc:spChg>
        <pc:spChg chg="add del mod">
          <ac:chgData name="José Antonio Ureta Santacreu" userId="e36999d1-2b92-424a-9e8c-5fde0c5fbdd2" providerId="ADAL" clId="{923BECBF-E766-4E6E-9F62-881D87312C0D}" dt="2024-07-22T15:05:54.159" v="1446" actId="6264"/>
          <ac:spMkLst>
            <pc:docMk/>
            <pc:sldMk cId="788222971" sldId="932"/>
            <ac:spMk id="9" creationId="{10EF92B4-8096-EFAB-E28B-7B065DB118BC}"/>
          </ac:spMkLst>
        </pc:spChg>
        <pc:spChg chg="add del mod">
          <ac:chgData name="José Antonio Ureta Santacreu" userId="e36999d1-2b92-424a-9e8c-5fde0c5fbdd2" providerId="ADAL" clId="{923BECBF-E766-4E6E-9F62-881D87312C0D}" dt="2024-07-22T15:05:54.159" v="1446" actId="6264"/>
          <ac:spMkLst>
            <pc:docMk/>
            <pc:sldMk cId="788222971" sldId="932"/>
            <ac:spMk id="10" creationId="{8ADAE634-7C85-130D-D633-83082340E7F3}"/>
          </ac:spMkLst>
        </pc:spChg>
        <pc:spChg chg="add del mod">
          <ac:chgData name="José Antonio Ureta Santacreu" userId="e36999d1-2b92-424a-9e8c-5fde0c5fbdd2" providerId="ADAL" clId="{923BECBF-E766-4E6E-9F62-881D87312C0D}" dt="2024-07-22T15:05:54.159" v="1446" actId="6264"/>
          <ac:spMkLst>
            <pc:docMk/>
            <pc:sldMk cId="788222971" sldId="932"/>
            <ac:spMk id="11" creationId="{D5421220-63D8-671D-30D2-B85C9BD6B565}"/>
          </ac:spMkLst>
        </pc:spChg>
        <pc:spChg chg="add del mod">
          <ac:chgData name="José Antonio Ureta Santacreu" userId="e36999d1-2b92-424a-9e8c-5fde0c5fbdd2" providerId="ADAL" clId="{923BECBF-E766-4E6E-9F62-881D87312C0D}" dt="2024-07-22T15:05:54.159" v="1446" actId="6264"/>
          <ac:spMkLst>
            <pc:docMk/>
            <pc:sldMk cId="788222971" sldId="932"/>
            <ac:spMk id="12" creationId="{EA57911C-A2D9-E3AE-8E1B-A7C4B98DC41E}"/>
          </ac:spMkLst>
        </pc:spChg>
        <pc:spChg chg="add del mod">
          <ac:chgData name="José Antonio Ureta Santacreu" userId="e36999d1-2b92-424a-9e8c-5fde0c5fbdd2" providerId="ADAL" clId="{923BECBF-E766-4E6E-9F62-881D87312C0D}" dt="2024-07-22T15:05:54.159" v="1446" actId="6264"/>
          <ac:spMkLst>
            <pc:docMk/>
            <pc:sldMk cId="788222971" sldId="932"/>
            <ac:spMk id="13" creationId="{946DBDCD-8551-7C03-2C65-C5FD25ADEA65}"/>
          </ac:spMkLst>
        </pc:spChg>
        <pc:spChg chg="add del mod">
          <ac:chgData name="José Antonio Ureta Santacreu" userId="e36999d1-2b92-424a-9e8c-5fde0c5fbdd2" providerId="ADAL" clId="{923BECBF-E766-4E6E-9F62-881D87312C0D}" dt="2024-07-22T15:05:54.159" v="1446" actId="6264"/>
          <ac:spMkLst>
            <pc:docMk/>
            <pc:sldMk cId="788222971" sldId="932"/>
            <ac:spMk id="14" creationId="{A6EF03F4-0984-7CA9-DA6C-DCF22947A5A4}"/>
          </ac:spMkLst>
        </pc:spChg>
        <pc:picChg chg="mod ord">
          <ac:chgData name="José Antonio Ureta Santacreu" userId="e36999d1-2b92-424a-9e8c-5fde0c5fbdd2" providerId="ADAL" clId="{923BECBF-E766-4E6E-9F62-881D87312C0D}" dt="2024-07-22T15:05:54.159" v="1446" actId="6264"/>
          <ac:picMkLst>
            <pc:docMk/>
            <pc:sldMk cId="788222971" sldId="932"/>
            <ac:picMk id="2050" creationId="{5022A480-7FF7-5F61-3E40-C6662130A209}"/>
          </ac:picMkLst>
        </pc:picChg>
      </pc:sldChg>
      <pc:sldChg chg="addSp delSp modSp mod chgLayout">
        <pc:chgData name="José Antonio Ureta Santacreu" userId="e36999d1-2b92-424a-9e8c-5fde0c5fbdd2" providerId="ADAL" clId="{923BECBF-E766-4E6E-9F62-881D87312C0D}" dt="2024-07-22T15:05:46.521" v="1443" actId="27636"/>
        <pc:sldMkLst>
          <pc:docMk/>
          <pc:sldMk cId="124857213" sldId="936"/>
        </pc:sldMkLst>
        <pc:spChg chg="mod ord">
          <ac:chgData name="José Antonio Ureta Santacreu" userId="e36999d1-2b92-424a-9e8c-5fde0c5fbdd2" providerId="ADAL" clId="{923BECBF-E766-4E6E-9F62-881D87312C0D}" dt="2024-07-22T15:05:46.505" v="1442" actId="6264"/>
          <ac:spMkLst>
            <pc:docMk/>
            <pc:sldMk cId="124857213" sldId="936"/>
            <ac:spMk id="2" creationId="{4F976921-0A8A-5E65-A919-EF741FD3B4D3}"/>
          </ac:spMkLst>
        </pc:spChg>
        <pc:spChg chg="add del mod">
          <ac:chgData name="José Antonio Ureta Santacreu" userId="e36999d1-2b92-424a-9e8c-5fde0c5fbdd2" providerId="ADAL" clId="{923BECBF-E766-4E6E-9F62-881D87312C0D}" dt="2024-07-22T15:05:46.505" v="1442" actId="6264"/>
          <ac:spMkLst>
            <pc:docMk/>
            <pc:sldMk cId="124857213" sldId="936"/>
            <ac:spMk id="3" creationId="{DE784BF4-13AA-A2AC-6EF7-045CD4BD3219}"/>
          </ac:spMkLst>
        </pc:spChg>
        <pc:spChg chg="mod ord">
          <ac:chgData name="José Antonio Ureta Santacreu" userId="e36999d1-2b92-424a-9e8c-5fde0c5fbdd2" providerId="ADAL" clId="{923BECBF-E766-4E6E-9F62-881D87312C0D}" dt="2024-07-22T15:05:46.521" v="1443" actId="27636"/>
          <ac:spMkLst>
            <pc:docMk/>
            <pc:sldMk cId="124857213" sldId="936"/>
            <ac:spMk id="4" creationId="{CE3787A4-FFBB-190C-F5CD-C6549282F0A1}"/>
          </ac:spMkLst>
        </pc:spChg>
        <pc:spChg chg="mod ord">
          <ac:chgData name="José Antonio Ureta Santacreu" userId="e36999d1-2b92-424a-9e8c-5fde0c5fbdd2" providerId="ADAL" clId="{923BECBF-E766-4E6E-9F62-881D87312C0D}" dt="2024-07-22T15:05:46.505" v="1442" actId="6264"/>
          <ac:spMkLst>
            <pc:docMk/>
            <pc:sldMk cId="124857213" sldId="936"/>
            <ac:spMk id="5" creationId="{7267EC9B-5874-72F2-D75C-69C69E82381F}"/>
          </ac:spMkLst>
        </pc:spChg>
        <pc:spChg chg="mod ord">
          <ac:chgData name="José Antonio Ureta Santacreu" userId="e36999d1-2b92-424a-9e8c-5fde0c5fbdd2" providerId="ADAL" clId="{923BECBF-E766-4E6E-9F62-881D87312C0D}" dt="2024-07-22T15:05:46.505" v="1442" actId="6264"/>
          <ac:spMkLst>
            <pc:docMk/>
            <pc:sldMk cId="124857213" sldId="936"/>
            <ac:spMk id="6" creationId="{B7A41C11-88FF-A787-2120-2879DDC34BB9}"/>
          </ac:spMkLst>
        </pc:spChg>
        <pc:spChg chg="mod ord">
          <ac:chgData name="José Antonio Ureta Santacreu" userId="e36999d1-2b92-424a-9e8c-5fde0c5fbdd2" providerId="ADAL" clId="{923BECBF-E766-4E6E-9F62-881D87312C0D}" dt="2024-07-22T15:05:46.505" v="1442" actId="6264"/>
          <ac:spMkLst>
            <pc:docMk/>
            <pc:sldMk cId="124857213" sldId="936"/>
            <ac:spMk id="7" creationId="{11879EB8-DD00-106F-6F3F-BC76249A2ECA}"/>
          </ac:spMkLst>
        </pc:spChg>
        <pc:spChg chg="add del mod">
          <ac:chgData name="José Antonio Ureta Santacreu" userId="e36999d1-2b92-424a-9e8c-5fde0c5fbdd2" providerId="ADAL" clId="{923BECBF-E766-4E6E-9F62-881D87312C0D}" dt="2024-07-22T15:05:46.505" v="1442" actId="6264"/>
          <ac:spMkLst>
            <pc:docMk/>
            <pc:sldMk cId="124857213" sldId="936"/>
            <ac:spMk id="8" creationId="{74226EB7-39D7-D2B3-2BF1-B802E8B2AE80}"/>
          </ac:spMkLst>
        </pc:spChg>
        <pc:spChg chg="mod ord">
          <ac:chgData name="José Antonio Ureta Santacreu" userId="e36999d1-2b92-424a-9e8c-5fde0c5fbdd2" providerId="ADAL" clId="{923BECBF-E766-4E6E-9F62-881D87312C0D}" dt="2024-07-22T15:05:46.505" v="1442" actId="6264"/>
          <ac:spMkLst>
            <pc:docMk/>
            <pc:sldMk cId="124857213" sldId="936"/>
            <ac:spMk id="9" creationId="{34565802-FE38-29F1-7177-9FBA5BAB23AE}"/>
          </ac:spMkLst>
        </pc:spChg>
        <pc:spChg chg="add del mod">
          <ac:chgData name="José Antonio Ureta Santacreu" userId="e36999d1-2b92-424a-9e8c-5fde0c5fbdd2" providerId="ADAL" clId="{923BECBF-E766-4E6E-9F62-881D87312C0D}" dt="2024-07-22T15:05:46.505" v="1442" actId="6264"/>
          <ac:spMkLst>
            <pc:docMk/>
            <pc:sldMk cId="124857213" sldId="936"/>
            <ac:spMk id="10" creationId="{071E77B3-5864-80F9-D382-45DEED80797C}"/>
          </ac:spMkLst>
        </pc:spChg>
        <pc:spChg chg="add del mod">
          <ac:chgData name="José Antonio Ureta Santacreu" userId="e36999d1-2b92-424a-9e8c-5fde0c5fbdd2" providerId="ADAL" clId="{923BECBF-E766-4E6E-9F62-881D87312C0D}" dt="2024-07-22T15:05:46.505" v="1442" actId="6264"/>
          <ac:spMkLst>
            <pc:docMk/>
            <pc:sldMk cId="124857213" sldId="936"/>
            <ac:spMk id="11" creationId="{6246A966-A15A-6AFB-0C9A-8471BD74CFA7}"/>
          </ac:spMkLst>
        </pc:spChg>
        <pc:spChg chg="add del mod">
          <ac:chgData name="José Antonio Ureta Santacreu" userId="e36999d1-2b92-424a-9e8c-5fde0c5fbdd2" providerId="ADAL" clId="{923BECBF-E766-4E6E-9F62-881D87312C0D}" dt="2024-07-22T15:05:46.505" v="1442" actId="6264"/>
          <ac:spMkLst>
            <pc:docMk/>
            <pc:sldMk cId="124857213" sldId="936"/>
            <ac:spMk id="13" creationId="{F786E3E3-9B82-CE33-6423-1AA602781B35}"/>
          </ac:spMkLst>
        </pc:spChg>
        <pc:spChg chg="add del mod">
          <ac:chgData name="José Antonio Ureta Santacreu" userId="e36999d1-2b92-424a-9e8c-5fde0c5fbdd2" providerId="ADAL" clId="{923BECBF-E766-4E6E-9F62-881D87312C0D}" dt="2024-07-22T15:05:46.505" v="1442" actId="6264"/>
          <ac:spMkLst>
            <pc:docMk/>
            <pc:sldMk cId="124857213" sldId="936"/>
            <ac:spMk id="14" creationId="{B3273536-683C-7B6A-8514-A31AB1F28786}"/>
          </ac:spMkLst>
        </pc:spChg>
        <pc:spChg chg="add del mod">
          <ac:chgData name="José Antonio Ureta Santacreu" userId="e36999d1-2b92-424a-9e8c-5fde0c5fbdd2" providerId="ADAL" clId="{923BECBF-E766-4E6E-9F62-881D87312C0D}" dt="2024-07-22T15:05:46.505" v="1442" actId="6264"/>
          <ac:spMkLst>
            <pc:docMk/>
            <pc:sldMk cId="124857213" sldId="936"/>
            <ac:spMk id="15" creationId="{6B369BB0-96E5-0F4A-1CE8-ED024B52A43C}"/>
          </ac:spMkLst>
        </pc:spChg>
        <pc:picChg chg="mod ord">
          <ac:chgData name="José Antonio Ureta Santacreu" userId="e36999d1-2b92-424a-9e8c-5fde0c5fbdd2" providerId="ADAL" clId="{923BECBF-E766-4E6E-9F62-881D87312C0D}" dt="2024-07-22T15:05:46.505" v="1442" actId="6264"/>
          <ac:picMkLst>
            <pc:docMk/>
            <pc:sldMk cId="124857213" sldId="936"/>
            <ac:picMk id="12" creationId="{8119C0A8-AAF4-9E01-B9EE-662D3B2DC8DA}"/>
          </ac:picMkLst>
        </pc:picChg>
      </pc:sldChg>
      <pc:sldChg chg="addSp delSp modSp mod">
        <pc:chgData name="José Antonio Ureta Santacreu" userId="e36999d1-2b92-424a-9e8c-5fde0c5fbdd2" providerId="ADAL" clId="{923BECBF-E766-4E6E-9F62-881D87312C0D}" dt="2024-07-22T15:21:32.192" v="1808" actId="207"/>
        <pc:sldMkLst>
          <pc:docMk/>
          <pc:sldMk cId="564975057" sldId="944"/>
        </pc:sldMkLst>
        <pc:spChg chg="del mod">
          <ac:chgData name="José Antonio Ureta Santacreu" userId="e36999d1-2b92-424a-9e8c-5fde0c5fbdd2" providerId="ADAL" clId="{923BECBF-E766-4E6E-9F62-881D87312C0D}" dt="2024-07-22T15:20:52.721" v="1800" actId="1032"/>
          <ac:spMkLst>
            <pc:docMk/>
            <pc:sldMk cId="564975057" sldId="944"/>
            <ac:spMk id="4" creationId="{6D983934-CF60-4124-85E7-8EDB992249AF}"/>
          </ac:spMkLst>
        </pc:spChg>
        <pc:spChg chg="add del mod">
          <ac:chgData name="José Antonio Ureta Santacreu" userId="e36999d1-2b92-424a-9e8c-5fde0c5fbdd2" providerId="ADAL" clId="{923BECBF-E766-4E6E-9F62-881D87312C0D}" dt="2024-07-18T11:19:39.937" v="732"/>
          <ac:spMkLst>
            <pc:docMk/>
            <pc:sldMk cId="564975057" sldId="944"/>
            <ac:spMk id="8" creationId="{BC0CCEA4-736F-36D3-80E9-A228AB3F0B1D}"/>
          </ac:spMkLst>
        </pc:spChg>
        <pc:graphicFrameChg chg="add mod modGraphic">
          <ac:chgData name="José Antonio Ureta Santacreu" userId="e36999d1-2b92-424a-9e8c-5fde0c5fbdd2" providerId="ADAL" clId="{923BECBF-E766-4E6E-9F62-881D87312C0D}" dt="2024-07-22T15:21:32.192" v="1808" actId="207"/>
          <ac:graphicFrameMkLst>
            <pc:docMk/>
            <pc:sldMk cId="564975057" sldId="944"/>
            <ac:graphicFrameMk id="3" creationId="{512729AA-2FF8-77BF-01AD-F24F80FB1135}"/>
          </ac:graphicFrameMkLst>
        </pc:graphicFrameChg>
        <pc:picChg chg="add mod">
          <ac:chgData name="José Antonio Ureta Santacreu" userId="e36999d1-2b92-424a-9e8c-5fde0c5fbdd2" providerId="ADAL" clId="{923BECBF-E766-4E6E-9F62-881D87312C0D}" dt="2024-07-18T11:19:39.937" v="732"/>
          <ac:picMkLst>
            <pc:docMk/>
            <pc:sldMk cId="564975057" sldId="944"/>
            <ac:picMk id="9" creationId="{A7F9A0D9-2402-A9CA-3A06-4595012ACFA2}"/>
          </ac:picMkLst>
        </pc:picChg>
        <pc:picChg chg="del">
          <ac:chgData name="José Antonio Ureta Santacreu" userId="e36999d1-2b92-424a-9e8c-5fde0c5fbdd2" providerId="ADAL" clId="{923BECBF-E766-4E6E-9F62-881D87312C0D}" dt="2024-07-18T11:19:36.233" v="731" actId="478"/>
          <ac:picMkLst>
            <pc:docMk/>
            <pc:sldMk cId="564975057" sldId="944"/>
            <ac:picMk id="11" creationId="{BE904919-9814-4A96-B7D8-58C37DDBD65D}"/>
          </ac:picMkLst>
        </pc:picChg>
      </pc:sldChg>
      <pc:sldChg chg="addSp delSp modSp mod chgLayout">
        <pc:chgData name="José Antonio Ureta Santacreu" userId="e36999d1-2b92-424a-9e8c-5fde0c5fbdd2" providerId="ADAL" clId="{923BECBF-E766-4E6E-9F62-881D87312C0D}" dt="2024-07-22T15:05:56.071" v="1447" actId="6264"/>
        <pc:sldMkLst>
          <pc:docMk/>
          <pc:sldMk cId="2167965002" sldId="951"/>
        </pc:sldMkLst>
        <pc:spChg chg="mod ord">
          <ac:chgData name="José Antonio Ureta Santacreu" userId="e36999d1-2b92-424a-9e8c-5fde0c5fbdd2" providerId="ADAL" clId="{923BECBF-E766-4E6E-9F62-881D87312C0D}" dt="2024-07-22T15:05:56.071" v="1447" actId="6264"/>
          <ac:spMkLst>
            <pc:docMk/>
            <pc:sldMk cId="2167965002" sldId="951"/>
            <ac:spMk id="2" creationId="{17689875-6256-B2B6-B0F5-6D473DAA7247}"/>
          </ac:spMkLst>
        </pc:spChg>
        <pc:spChg chg="mod ord">
          <ac:chgData name="José Antonio Ureta Santacreu" userId="e36999d1-2b92-424a-9e8c-5fde0c5fbdd2" providerId="ADAL" clId="{923BECBF-E766-4E6E-9F62-881D87312C0D}" dt="2024-07-22T15:05:56.071" v="1447" actId="6264"/>
          <ac:spMkLst>
            <pc:docMk/>
            <pc:sldMk cId="2167965002" sldId="951"/>
            <ac:spMk id="3" creationId="{13A88534-BB37-0451-8CCA-4F9352A28F14}"/>
          </ac:spMkLst>
        </pc:spChg>
        <pc:spChg chg="mod ord">
          <ac:chgData name="José Antonio Ureta Santacreu" userId="e36999d1-2b92-424a-9e8c-5fde0c5fbdd2" providerId="ADAL" clId="{923BECBF-E766-4E6E-9F62-881D87312C0D}" dt="2024-07-22T15:05:56.071" v="1447" actId="6264"/>
          <ac:spMkLst>
            <pc:docMk/>
            <pc:sldMk cId="2167965002" sldId="951"/>
            <ac:spMk id="5" creationId="{6377786C-7479-BFCE-3CF0-676FF3652C8A}"/>
          </ac:spMkLst>
        </pc:spChg>
        <pc:spChg chg="mod ord">
          <ac:chgData name="José Antonio Ureta Santacreu" userId="e36999d1-2b92-424a-9e8c-5fde0c5fbdd2" providerId="ADAL" clId="{923BECBF-E766-4E6E-9F62-881D87312C0D}" dt="2024-07-22T15:05:56.071" v="1447" actId="6264"/>
          <ac:spMkLst>
            <pc:docMk/>
            <pc:sldMk cId="2167965002" sldId="951"/>
            <ac:spMk id="6" creationId="{2A2236EE-62B7-785A-648C-166290D697CB}"/>
          </ac:spMkLst>
        </pc:spChg>
        <pc:spChg chg="mod ord">
          <ac:chgData name="José Antonio Ureta Santacreu" userId="e36999d1-2b92-424a-9e8c-5fde0c5fbdd2" providerId="ADAL" clId="{923BECBF-E766-4E6E-9F62-881D87312C0D}" dt="2024-07-22T15:05:56.071" v="1447" actId="6264"/>
          <ac:spMkLst>
            <pc:docMk/>
            <pc:sldMk cId="2167965002" sldId="951"/>
            <ac:spMk id="7" creationId="{6F5E935E-E60C-C59F-BCE8-41F0F5110855}"/>
          </ac:spMkLst>
        </pc:spChg>
        <pc:spChg chg="add del mod">
          <ac:chgData name="José Antonio Ureta Santacreu" userId="e36999d1-2b92-424a-9e8c-5fde0c5fbdd2" providerId="ADAL" clId="{923BECBF-E766-4E6E-9F62-881D87312C0D}" dt="2024-07-22T15:05:56.071" v="1447" actId="6264"/>
          <ac:spMkLst>
            <pc:docMk/>
            <pc:sldMk cId="2167965002" sldId="951"/>
            <ac:spMk id="8" creationId="{EFED9718-5518-C6CA-CFD7-867BCF1E8773}"/>
          </ac:spMkLst>
        </pc:spChg>
        <pc:spChg chg="add del mod">
          <ac:chgData name="José Antonio Ureta Santacreu" userId="e36999d1-2b92-424a-9e8c-5fde0c5fbdd2" providerId="ADAL" clId="{923BECBF-E766-4E6E-9F62-881D87312C0D}" dt="2024-07-22T15:05:56.071" v="1447" actId="6264"/>
          <ac:spMkLst>
            <pc:docMk/>
            <pc:sldMk cId="2167965002" sldId="951"/>
            <ac:spMk id="9" creationId="{899BE7FB-A9A4-7C98-0253-90B7744CEC99}"/>
          </ac:spMkLst>
        </pc:spChg>
        <pc:spChg chg="add del mod">
          <ac:chgData name="José Antonio Ureta Santacreu" userId="e36999d1-2b92-424a-9e8c-5fde0c5fbdd2" providerId="ADAL" clId="{923BECBF-E766-4E6E-9F62-881D87312C0D}" dt="2024-07-22T15:05:56.071" v="1447" actId="6264"/>
          <ac:spMkLst>
            <pc:docMk/>
            <pc:sldMk cId="2167965002" sldId="951"/>
            <ac:spMk id="10" creationId="{A24A6035-05E9-BDCC-00CD-07ED3E99342B}"/>
          </ac:spMkLst>
        </pc:spChg>
        <pc:spChg chg="add del mod">
          <ac:chgData name="José Antonio Ureta Santacreu" userId="e36999d1-2b92-424a-9e8c-5fde0c5fbdd2" providerId="ADAL" clId="{923BECBF-E766-4E6E-9F62-881D87312C0D}" dt="2024-07-22T15:05:56.071" v="1447" actId="6264"/>
          <ac:spMkLst>
            <pc:docMk/>
            <pc:sldMk cId="2167965002" sldId="951"/>
            <ac:spMk id="11" creationId="{D096D49C-F3FF-47BA-ED31-619FE0301546}"/>
          </ac:spMkLst>
        </pc:spChg>
        <pc:spChg chg="add del mod">
          <ac:chgData name="José Antonio Ureta Santacreu" userId="e36999d1-2b92-424a-9e8c-5fde0c5fbdd2" providerId="ADAL" clId="{923BECBF-E766-4E6E-9F62-881D87312C0D}" dt="2024-07-22T15:05:56.071" v="1447" actId="6264"/>
          <ac:spMkLst>
            <pc:docMk/>
            <pc:sldMk cId="2167965002" sldId="951"/>
            <ac:spMk id="12" creationId="{262BA60C-A218-E3EB-E30E-DAD59382E6E5}"/>
          </ac:spMkLst>
        </pc:spChg>
        <pc:spChg chg="add del mod">
          <ac:chgData name="José Antonio Ureta Santacreu" userId="e36999d1-2b92-424a-9e8c-5fde0c5fbdd2" providerId="ADAL" clId="{923BECBF-E766-4E6E-9F62-881D87312C0D}" dt="2024-07-22T15:05:56.071" v="1447" actId="6264"/>
          <ac:spMkLst>
            <pc:docMk/>
            <pc:sldMk cId="2167965002" sldId="951"/>
            <ac:spMk id="13" creationId="{72D059E9-69BC-38C0-5C77-18AC1A0EBDBD}"/>
          </ac:spMkLst>
        </pc:spChg>
        <pc:spChg chg="add del mod">
          <ac:chgData name="José Antonio Ureta Santacreu" userId="e36999d1-2b92-424a-9e8c-5fde0c5fbdd2" providerId="ADAL" clId="{923BECBF-E766-4E6E-9F62-881D87312C0D}" dt="2024-07-22T15:05:56.071" v="1447" actId="6264"/>
          <ac:spMkLst>
            <pc:docMk/>
            <pc:sldMk cId="2167965002" sldId="951"/>
            <ac:spMk id="14" creationId="{0086CDCF-73BA-4932-0244-FAEFCDE24EDA}"/>
          </ac:spMkLst>
        </pc:spChg>
        <pc:spChg chg="mod ord">
          <ac:chgData name="José Antonio Ureta Santacreu" userId="e36999d1-2b92-424a-9e8c-5fde0c5fbdd2" providerId="ADAL" clId="{923BECBF-E766-4E6E-9F62-881D87312C0D}" dt="2024-07-22T15:05:56.071" v="1447" actId="6264"/>
          <ac:spMkLst>
            <pc:docMk/>
            <pc:sldMk cId="2167965002" sldId="951"/>
            <ac:spMk id="15" creationId="{07C61C60-A57D-3C5A-C020-F85B61C74C21}"/>
          </ac:spMkLst>
        </pc:spChg>
        <pc:picChg chg="mod ord">
          <ac:chgData name="José Antonio Ureta Santacreu" userId="e36999d1-2b92-424a-9e8c-5fde0c5fbdd2" providerId="ADAL" clId="{923BECBF-E766-4E6E-9F62-881D87312C0D}" dt="2024-07-22T15:05:56.071" v="1447" actId="6264"/>
          <ac:picMkLst>
            <pc:docMk/>
            <pc:sldMk cId="2167965002" sldId="951"/>
            <ac:picMk id="4" creationId="{57008542-A8A4-BC53-18A0-55A750E080BF}"/>
          </ac:picMkLst>
        </pc:picChg>
      </pc:sldChg>
      <pc:sldChg chg="addSp delSp modSp mod chgLayout">
        <pc:chgData name="José Antonio Ureta Santacreu" userId="e36999d1-2b92-424a-9e8c-5fde0c5fbdd2" providerId="ADAL" clId="{923BECBF-E766-4E6E-9F62-881D87312C0D}" dt="2024-07-22T15:05:58.366" v="1448" actId="6264"/>
        <pc:sldMkLst>
          <pc:docMk/>
          <pc:sldMk cId="2695236011" sldId="952"/>
        </pc:sldMkLst>
        <pc:spChg chg="mod ord">
          <ac:chgData name="José Antonio Ureta Santacreu" userId="e36999d1-2b92-424a-9e8c-5fde0c5fbdd2" providerId="ADAL" clId="{923BECBF-E766-4E6E-9F62-881D87312C0D}" dt="2024-07-22T15:05:58.366" v="1448" actId="6264"/>
          <ac:spMkLst>
            <pc:docMk/>
            <pc:sldMk cId="2695236011" sldId="952"/>
            <ac:spMk id="2" creationId="{135D9A58-421E-9B2F-DE38-ADB5AE202D30}"/>
          </ac:spMkLst>
        </pc:spChg>
        <pc:spChg chg="mod ord">
          <ac:chgData name="José Antonio Ureta Santacreu" userId="e36999d1-2b92-424a-9e8c-5fde0c5fbdd2" providerId="ADAL" clId="{923BECBF-E766-4E6E-9F62-881D87312C0D}" dt="2024-07-22T15:05:58.366" v="1448" actId="6264"/>
          <ac:spMkLst>
            <pc:docMk/>
            <pc:sldMk cId="2695236011" sldId="952"/>
            <ac:spMk id="3" creationId="{0AB6799A-3CF5-BD3C-355D-D339D38E303E}"/>
          </ac:spMkLst>
        </pc:spChg>
        <pc:spChg chg="mod ord">
          <ac:chgData name="José Antonio Ureta Santacreu" userId="e36999d1-2b92-424a-9e8c-5fde0c5fbdd2" providerId="ADAL" clId="{923BECBF-E766-4E6E-9F62-881D87312C0D}" dt="2024-07-22T15:05:58.366" v="1448" actId="6264"/>
          <ac:spMkLst>
            <pc:docMk/>
            <pc:sldMk cId="2695236011" sldId="952"/>
            <ac:spMk id="4" creationId="{58ED4E9A-602D-AC0F-D7E6-E7131E8CE195}"/>
          </ac:spMkLst>
        </pc:spChg>
        <pc:spChg chg="mod ord">
          <ac:chgData name="José Antonio Ureta Santacreu" userId="e36999d1-2b92-424a-9e8c-5fde0c5fbdd2" providerId="ADAL" clId="{923BECBF-E766-4E6E-9F62-881D87312C0D}" dt="2024-07-22T15:05:58.366" v="1448" actId="6264"/>
          <ac:spMkLst>
            <pc:docMk/>
            <pc:sldMk cId="2695236011" sldId="952"/>
            <ac:spMk id="5" creationId="{586F1A88-BFFE-B87B-5473-9F6AD1767CC7}"/>
          </ac:spMkLst>
        </pc:spChg>
        <pc:spChg chg="add del mod">
          <ac:chgData name="José Antonio Ureta Santacreu" userId="e36999d1-2b92-424a-9e8c-5fde0c5fbdd2" providerId="ADAL" clId="{923BECBF-E766-4E6E-9F62-881D87312C0D}" dt="2024-07-22T15:05:58.366" v="1448" actId="6264"/>
          <ac:spMkLst>
            <pc:docMk/>
            <pc:sldMk cId="2695236011" sldId="952"/>
            <ac:spMk id="6" creationId="{9062B45D-1BC0-699C-1630-87D1FA797062}"/>
          </ac:spMkLst>
        </pc:spChg>
        <pc:spChg chg="mod ord">
          <ac:chgData name="José Antonio Ureta Santacreu" userId="e36999d1-2b92-424a-9e8c-5fde0c5fbdd2" providerId="ADAL" clId="{923BECBF-E766-4E6E-9F62-881D87312C0D}" dt="2024-07-22T15:05:58.366" v="1448" actId="6264"/>
          <ac:spMkLst>
            <pc:docMk/>
            <pc:sldMk cId="2695236011" sldId="952"/>
            <ac:spMk id="7" creationId="{7C87B4EA-B883-3A73-9948-A09AE4224858}"/>
          </ac:spMkLst>
        </pc:spChg>
        <pc:spChg chg="add del mod">
          <ac:chgData name="José Antonio Ureta Santacreu" userId="e36999d1-2b92-424a-9e8c-5fde0c5fbdd2" providerId="ADAL" clId="{923BECBF-E766-4E6E-9F62-881D87312C0D}" dt="2024-07-22T15:05:58.366" v="1448" actId="6264"/>
          <ac:spMkLst>
            <pc:docMk/>
            <pc:sldMk cId="2695236011" sldId="952"/>
            <ac:spMk id="8" creationId="{60BDDACA-F918-6561-3809-516F259A5FD2}"/>
          </ac:spMkLst>
        </pc:spChg>
        <pc:spChg chg="add del mod">
          <ac:chgData name="José Antonio Ureta Santacreu" userId="e36999d1-2b92-424a-9e8c-5fde0c5fbdd2" providerId="ADAL" clId="{923BECBF-E766-4E6E-9F62-881D87312C0D}" dt="2024-07-22T15:05:58.366" v="1448" actId="6264"/>
          <ac:spMkLst>
            <pc:docMk/>
            <pc:sldMk cId="2695236011" sldId="952"/>
            <ac:spMk id="9" creationId="{8D00479D-CB1A-969B-B277-6BF16348F954}"/>
          </ac:spMkLst>
        </pc:spChg>
        <pc:spChg chg="add del mod">
          <ac:chgData name="José Antonio Ureta Santacreu" userId="e36999d1-2b92-424a-9e8c-5fde0c5fbdd2" providerId="ADAL" clId="{923BECBF-E766-4E6E-9F62-881D87312C0D}" dt="2024-07-22T15:05:58.366" v="1448" actId="6264"/>
          <ac:spMkLst>
            <pc:docMk/>
            <pc:sldMk cId="2695236011" sldId="952"/>
            <ac:spMk id="10" creationId="{2800A840-9CEA-BD58-C404-DDC4B7607424}"/>
          </ac:spMkLst>
        </pc:spChg>
        <pc:spChg chg="add del mod">
          <ac:chgData name="José Antonio Ureta Santacreu" userId="e36999d1-2b92-424a-9e8c-5fde0c5fbdd2" providerId="ADAL" clId="{923BECBF-E766-4E6E-9F62-881D87312C0D}" dt="2024-07-22T15:05:58.366" v="1448" actId="6264"/>
          <ac:spMkLst>
            <pc:docMk/>
            <pc:sldMk cId="2695236011" sldId="952"/>
            <ac:spMk id="12" creationId="{6FA6C13A-AE7F-C531-8C87-782FDA057AF8}"/>
          </ac:spMkLst>
        </pc:spChg>
        <pc:spChg chg="add del mod">
          <ac:chgData name="José Antonio Ureta Santacreu" userId="e36999d1-2b92-424a-9e8c-5fde0c5fbdd2" providerId="ADAL" clId="{923BECBF-E766-4E6E-9F62-881D87312C0D}" dt="2024-07-22T15:05:58.366" v="1448" actId="6264"/>
          <ac:spMkLst>
            <pc:docMk/>
            <pc:sldMk cId="2695236011" sldId="952"/>
            <ac:spMk id="13" creationId="{93C54DDB-7F46-D89A-4FBB-FB4391BF9C19}"/>
          </ac:spMkLst>
        </pc:spChg>
        <pc:spChg chg="add del mod">
          <ac:chgData name="José Antonio Ureta Santacreu" userId="e36999d1-2b92-424a-9e8c-5fde0c5fbdd2" providerId="ADAL" clId="{923BECBF-E766-4E6E-9F62-881D87312C0D}" dt="2024-07-22T15:05:58.366" v="1448" actId="6264"/>
          <ac:spMkLst>
            <pc:docMk/>
            <pc:sldMk cId="2695236011" sldId="952"/>
            <ac:spMk id="14" creationId="{89C5B135-7CF9-D58C-C771-79A6D514488E}"/>
          </ac:spMkLst>
        </pc:spChg>
        <pc:spChg chg="mod ord">
          <ac:chgData name="José Antonio Ureta Santacreu" userId="e36999d1-2b92-424a-9e8c-5fde0c5fbdd2" providerId="ADAL" clId="{923BECBF-E766-4E6E-9F62-881D87312C0D}" dt="2024-07-22T15:05:58.366" v="1448" actId="6264"/>
          <ac:spMkLst>
            <pc:docMk/>
            <pc:sldMk cId="2695236011" sldId="952"/>
            <ac:spMk id="15" creationId="{58D983A1-6CDC-A92F-C6BD-592578521022}"/>
          </ac:spMkLst>
        </pc:spChg>
        <pc:picChg chg="mod ord">
          <ac:chgData name="José Antonio Ureta Santacreu" userId="e36999d1-2b92-424a-9e8c-5fde0c5fbdd2" providerId="ADAL" clId="{923BECBF-E766-4E6E-9F62-881D87312C0D}" dt="2024-07-22T15:05:58.366" v="1448" actId="6264"/>
          <ac:picMkLst>
            <pc:docMk/>
            <pc:sldMk cId="2695236011" sldId="952"/>
            <ac:picMk id="11" creationId="{61F9820D-04C1-F4B0-677B-69EFB7F3E374}"/>
          </ac:picMkLst>
        </pc:picChg>
      </pc:sldChg>
      <pc:sldChg chg="ord">
        <pc:chgData name="José Antonio Ureta Santacreu" userId="e36999d1-2b92-424a-9e8c-5fde0c5fbdd2" providerId="ADAL" clId="{923BECBF-E766-4E6E-9F62-881D87312C0D}" dt="2024-07-18T11:02:01.421" v="455"/>
        <pc:sldMkLst>
          <pc:docMk/>
          <pc:sldMk cId="2255130826" sldId="962"/>
        </pc:sldMkLst>
      </pc:sldChg>
      <pc:sldChg chg="modSp mod">
        <pc:chgData name="José Antonio Ureta Santacreu" userId="e36999d1-2b92-424a-9e8c-5fde0c5fbdd2" providerId="ADAL" clId="{923BECBF-E766-4E6E-9F62-881D87312C0D}" dt="2024-07-22T14:57:36.652" v="1355" actId="27636"/>
        <pc:sldMkLst>
          <pc:docMk/>
          <pc:sldMk cId="1119854646" sldId="964"/>
        </pc:sldMkLst>
        <pc:spChg chg="mod">
          <ac:chgData name="José Antonio Ureta Santacreu" userId="e36999d1-2b92-424a-9e8c-5fde0c5fbdd2" providerId="ADAL" clId="{923BECBF-E766-4E6E-9F62-881D87312C0D}" dt="2024-07-22T14:57:36.652" v="1355" actId="27636"/>
          <ac:spMkLst>
            <pc:docMk/>
            <pc:sldMk cId="1119854646" sldId="964"/>
            <ac:spMk id="4" creationId="{00000000-0000-0000-0000-000000000000}"/>
          </ac:spMkLst>
        </pc:spChg>
      </pc:sldChg>
      <pc:sldChg chg="del">
        <pc:chgData name="José Antonio Ureta Santacreu" userId="e36999d1-2b92-424a-9e8c-5fde0c5fbdd2" providerId="ADAL" clId="{923BECBF-E766-4E6E-9F62-881D87312C0D}" dt="2024-07-22T15:15:05.433" v="1794" actId="47"/>
        <pc:sldMkLst>
          <pc:docMk/>
          <pc:sldMk cId="1124015745" sldId="1049"/>
        </pc:sldMkLst>
      </pc:sldChg>
      <pc:sldChg chg="add">
        <pc:chgData name="José Antonio Ureta Santacreu" userId="e36999d1-2b92-424a-9e8c-5fde0c5fbdd2" providerId="ADAL" clId="{923BECBF-E766-4E6E-9F62-881D87312C0D}" dt="2024-07-22T15:16:41.550" v="1796"/>
        <pc:sldMkLst>
          <pc:docMk/>
          <pc:sldMk cId="191203139" sldId="1077"/>
        </pc:sldMkLst>
      </pc:sldChg>
      <pc:sldChg chg="del">
        <pc:chgData name="José Antonio Ureta Santacreu" userId="e36999d1-2b92-424a-9e8c-5fde0c5fbdd2" providerId="ADAL" clId="{923BECBF-E766-4E6E-9F62-881D87312C0D}" dt="2024-07-22T15:15:11.552" v="1795" actId="2696"/>
        <pc:sldMkLst>
          <pc:docMk/>
          <pc:sldMk cId="3593969615" sldId="1077"/>
        </pc:sldMkLst>
      </pc:sldChg>
      <pc:sldChg chg="modSp mod">
        <pc:chgData name="José Antonio Ureta Santacreu" userId="e36999d1-2b92-424a-9e8c-5fde0c5fbdd2" providerId="ADAL" clId="{923BECBF-E766-4E6E-9F62-881D87312C0D}" dt="2024-07-18T11:05:25.869" v="550" actId="6549"/>
        <pc:sldMkLst>
          <pc:docMk/>
          <pc:sldMk cId="2622088938" sldId="1104"/>
        </pc:sldMkLst>
        <pc:spChg chg="mod">
          <ac:chgData name="José Antonio Ureta Santacreu" userId="e36999d1-2b92-424a-9e8c-5fde0c5fbdd2" providerId="ADAL" clId="{923BECBF-E766-4E6E-9F62-881D87312C0D}" dt="2024-07-18T11:05:25.869" v="550" actId="6549"/>
          <ac:spMkLst>
            <pc:docMk/>
            <pc:sldMk cId="2622088938" sldId="1104"/>
            <ac:spMk id="2" creationId="{FBE9D430-DCDD-417D-9004-3D817185DDC4}"/>
          </ac:spMkLst>
        </pc:spChg>
      </pc:sldChg>
      <pc:sldChg chg="del">
        <pc:chgData name="José Antonio Ureta Santacreu" userId="e36999d1-2b92-424a-9e8c-5fde0c5fbdd2" providerId="ADAL" clId="{923BECBF-E766-4E6E-9F62-881D87312C0D}" dt="2024-07-18T11:03:04.723" v="516" actId="2696"/>
        <pc:sldMkLst>
          <pc:docMk/>
          <pc:sldMk cId="755681093" sldId="1114"/>
        </pc:sldMkLst>
      </pc:sldChg>
      <pc:sldChg chg="add">
        <pc:chgData name="José Antonio Ureta Santacreu" userId="e36999d1-2b92-424a-9e8c-5fde0c5fbdd2" providerId="ADAL" clId="{923BECBF-E766-4E6E-9F62-881D87312C0D}" dt="2024-07-18T11:03:47.325" v="517"/>
        <pc:sldMkLst>
          <pc:docMk/>
          <pc:sldMk cId="1063931643" sldId="1114"/>
        </pc:sldMkLst>
      </pc:sldChg>
      <pc:sldChg chg="del">
        <pc:chgData name="José Antonio Ureta Santacreu" userId="e36999d1-2b92-424a-9e8c-5fde0c5fbdd2" providerId="ADAL" clId="{923BECBF-E766-4E6E-9F62-881D87312C0D}" dt="2024-07-18T11:03:04.723" v="516" actId="2696"/>
        <pc:sldMkLst>
          <pc:docMk/>
          <pc:sldMk cId="49804816" sldId="1137"/>
        </pc:sldMkLst>
      </pc:sldChg>
      <pc:sldChg chg="add">
        <pc:chgData name="José Antonio Ureta Santacreu" userId="e36999d1-2b92-424a-9e8c-5fde0c5fbdd2" providerId="ADAL" clId="{923BECBF-E766-4E6E-9F62-881D87312C0D}" dt="2024-07-18T11:03:47.325" v="517"/>
        <pc:sldMkLst>
          <pc:docMk/>
          <pc:sldMk cId="3714723522" sldId="1137"/>
        </pc:sldMkLst>
      </pc:sldChg>
      <pc:sldChg chg="del">
        <pc:chgData name="José Antonio Ureta Santacreu" userId="e36999d1-2b92-424a-9e8c-5fde0c5fbdd2" providerId="ADAL" clId="{923BECBF-E766-4E6E-9F62-881D87312C0D}" dt="2024-07-18T11:03:04.723" v="516" actId="2696"/>
        <pc:sldMkLst>
          <pc:docMk/>
          <pc:sldMk cId="774419882" sldId="1164"/>
        </pc:sldMkLst>
      </pc:sldChg>
      <pc:sldChg chg="add">
        <pc:chgData name="José Antonio Ureta Santacreu" userId="e36999d1-2b92-424a-9e8c-5fde0c5fbdd2" providerId="ADAL" clId="{923BECBF-E766-4E6E-9F62-881D87312C0D}" dt="2024-07-18T11:03:47.325" v="517"/>
        <pc:sldMkLst>
          <pc:docMk/>
          <pc:sldMk cId="3988735322" sldId="1164"/>
        </pc:sldMkLst>
      </pc:sldChg>
      <pc:sldChg chg="add">
        <pc:chgData name="José Antonio Ureta Santacreu" userId="e36999d1-2b92-424a-9e8c-5fde0c5fbdd2" providerId="ADAL" clId="{923BECBF-E766-4E6E-9F62-881D87312C0D}" dt="2024-07-18T11:03:47.325" v="517"/>
        <pc:sldMkLst>
          <pc:docMk/>
          <pc:sldMk cId="1372983798" sldId="1165"/>
        </pc:sldMkLst>
      </pc:sldChg>
      <pc:sldChg chg="del">
        <pc:chgData name="José Antonio Ureta Santacreu" userId="e36999d1-2b92-424a-9e8c-5fde0c5fbdd2" providerId="ADAL" clId="{923BECBF-E766-4E6E-9F62-881D87312C0D}" dt="2024-07-18T11:03:04.723" v="516" actId="2696"/>
        <pc:sldMkLst>
          <pc:docMk/>
          <pc:sldMk cId="4023214103" sldId="1165"/>
        </pc:sldMkLst>
      </pc:sldChg>
      <pc:sldChg chg="add">
        <pc:chgData name="José Antonio Ureta Santacreu" userId="e36999d1-2b92-424a-9e8c-5fde0c5fbdd2" providerId="ADAL" clId="{923BECBF-E766-4E6E-9F62-881D87312C0D}" dt="2024-07-18T11:03:47.325" v="517"/>
        <pc:sldMkLst>
          <pc:docMk/>
          <pc:sldMk cId="511309104" sldId="1166"/>
        </pc:sldMkLst>
      </pc:sldChg>
      <pc:sldChg chg="del">
        <pc:chgData name="José Antonio Ureta Santacreu" userId="e36999d1-2b92-424a-9e8c-5fde0c5fbdd2" providerId="ADAL" clId="{923BECBF-E766-4E6E-9F62-881D87312C0D}" dt="2024-07-18T11:03:04.723" v="516" actId="2696"/>
        <pc:sldMkLst>
          <pc:docMk/>
          <pc:sldMk cId="1523534304" sldId="1166"/>
        </pc:sldMkLst>
      </pc:sldChg>
      <pc:sldChg chg="addSp delSp modSp del mod">
        <pc:chgData name="José Antonio Ureta Santacreu" userId="e36999d1-2b92-424a-9e8c-5fde0c5fbdd2" providerId="ADAL" clId="{923BECBF-E766-4E6E-9F62-881D87312C0D}" dt="2024-07-22T14:58:40.763" v="1373" actId="47"/>
        <pc:sldMkLst>
          <pc:docMk/>
          <pc:sldMk cId="1535259986" sldId="1169"/>
        </pc:sldMkLst>
        <pc:spChg chg="add mod">
          <ac:chgData name="José Antonio Ureta Santacreu" userId="e36999d1-2b92-424a-9e8c-5fde0c5fbdd2" providerId="ADAL" clId="{923BECBF-E766-4E6E-9F62-881D87312C0D}" dt="2024-07-22T14:58:07.673" v="1363" actId="21"/>
          <ac:spMkLst>
            <pc:docMk/>
            <pc:sldMk cId="1535259986" sldId="1169"/>
            <ac:spMk id="2" creationId="{9FECBC6C-25C7-8651-AF56-806A147199CB}"/>
          </ac:spMkLst>
        </pc:spChg>
        <pc:spChg chg="del mod">
          <ac:chgData name="José Antonio Ureta Santacreu" userId="e36999d1-2b92-424a-9e8c-5fde0c5fbdd2" providerId="ADAL" clId="{923BECBF-E766-4E6E-9F62-881D87312C0D}" dt="2024-07-22T14:58:09.797" v="1364"/>
          <ac:spMkLst>
            <pc:docMk/>
            <pc:sldMk cId="1535259986" sldId="1169"/>
            <ac:spMk id="3" creationId="{8FE3E05B-8E8E-A84A-6A06-906CFB42D228}"/>
          </ac:spMkLst>
        </pc:spChg>
        <pc:spChg chg="mod">
          <ac:chgData name="José Antonio Ureta Santacreu" userId="e36999d1-2b92-424a-9e8c-5fde0c5fbdd2" providerId="ADAL" clId="{923BECBF-E766-4E6E-9F62-881D87312C0D}" dt="2024-07-22T14:58:15.905" v="1366" actId="27636"/>
          <ac:spMkLst>
            <pc:docMk/>
            <pc:sldMk cId="1535259986" sldId="1169"/>
            <ac:spMk id="4" creationId="{E0C41D8C-7918-EC05-CCF5-BF723BC327C9}"/>
          </ac:spMkLst>
        </pc:spChg>
        <pc:spChg chg="mod">
          <ac:chgData name="José Antonio Ureta Santacreu" userId="e36999d1-2b92-424a-9e8c-5fde0c5fbdd2" providerId="ADAL" clId="{923BECBF-E766-4E6E-9F62-881D87312C0D}" dt="2024-07-22T14:57:51.223" v="1358" actId="21"/>
          <ac:spMkLst>
            <pc:docMk/>
            <pc:sldMk cId="1535259986" sldId="1169"/>
            <ac:spMk id="5" creationId="{F94475D0-17E4-8EAA-078D-54CCBFB416BF}"/>
          </ac:spMkLst>
        </pc:spChg>
        <pc:spChg chg="add mod">
          <ac:chgData name="José Antonio Ureta Santacreu" userId="e36999d1-2b92-424a-9e8c-5fde0c5fbdd2" providerId="ADAL" clId="{923BECBF-E766-4E6E-9F62-881D87312C0D}" dt="2024-07-22T14:58:25.511" v="1369" actId="21"/>
          <ac:spMkLst>
            <pc:docMk/>
            <pc:sldMk cId="1535259986" sldId="1169"/>
            <ac:spMk id="10" creationId="{9FC75BD6-14AB-97BC-2CFA-568723386BE5}"/>
          </ac:spMkLst>
        </pc:spChg>
        <pc:picChg chg="add del mod">
          <ac:chgData name="José Antonio Ureta Santacreu" userId="e36999d1-2b92-424a-9e8c-5fde0c5fbdd2" providerId="ADAL" clId="{923BECBF-E766-4E6E-9F62-881D87312C0D}" dt="2024-07-22T14:58:25.511" v="1369" actId="21"/>
          <ac:picMkLst>
            <pc:docMk/>
            <pc:sldMk cId="1535259986" sldId="1169"/>
            <ac:picMk id="9" creationId="{431705DB-20F6-E4B9-6112-7D01EA30FBBE}"/>
          </ac:picMkLst>
        </pc:picChg>
        <pc:picChg chg="del">
          <ac:chgData name="José Antonio Ureta Santacreu" userId="e36999d1-2b92-424a-9e8c-5fde0c5fbdd2" providerId="ADAL" clId="{923BECBF-E766-4E6E-9F62-881D87312C0D}" dt="2024-07-22T14:58:07.673" v="1363" actId="21"/>
          <ac:picMkLst>
            <pc:docMk/>
            <pc:sldMk cId="1535259986" sldId="1169"/>
            <ac:picMk id="14" creationId="{431705DB-20F6-E4B9-6112-7D01EA30FBBE}"/>
          </ac:picMkLst>
        </pc:picChg>
      </pc:sldChg>
      <pc:sldChg chg="modSp">
        <pc:chgData name="José Antonio Ureta Santacreu" userId="e36999d1-2b92-424a-9e8c-5fde0c5fbdd2" providerId="ADAL" clId="{923BECBF-E766-4E6E-9F62-881D87312C0D}" dt="2024-07-22T15:05:35.039" v="1441" actId="13926"/>
        <pc:sldMkLst>
          <pc:docMk/>
          <pc:sldMk cId="1997208476" sldId="1175"/>
        </pc:sldMkLst>
        <pc:graphicFrameChg chg="mod">
          <ac:chgData name="José Antonio Ureta Santacreu" userId="e36999d1-2b92-424a-9e8c-5fde0c5fbdd2" providerId="ADAL" clId="{923BECBF-E766-4E6E-9F62-881D87312C0D}" dt="2024-07-22T15:05:35.039" v="1441" actId="13926"/>
          <ac:graphicFrameMkLst>
            <pc:docMk/>
            <pc:sldMk cId="1997208476" sldId="1175"/>
            <ac:graphicFrameMk id="10" creationId="{B826708F-FD6C-8E13-1A96-E7FFED669932}"/>
          </ac:graphicFrameMkLst>
        </pc:graphicFrameChg>
      </pc:sldChg>
      <pc:sldChg chg="addSp delSp modSp mod chgLayout">
        <pc:chgData name="José Antonio Ureta Santacreu" userId="e36999d1-2b92-424a-9e8c-5fde0c5fbdd2" providerId="ADAL" clId="{923BECBF-E766-4E6E-9F62-881D87312C0D}" dt="2024-07-22T10:50:50.840" v="757" actId="16803"/>
        <pc:sldMkLst>
          <pc:docMk/>
          <pc:sldMk cId="3281099205" sldId="1195"/>
        </pc:sldMkLst>
        <pc:spChg chg="mod ord">
          <ac:chgData name="José Antonio Ureta Santacreu" userId="e36999d1-2b92-424a-9e8c-5fde0c5fbdd2" providerId="ADAL" clId="{923BECBF-E766-4E6E-9F62-881D87312C0D}" dt="2024-07-18T10:37:46.524" v="385" actId="700"/>
          <ac:spMkLst>
            <pc:docMk/>
            <pc:sldMk cId="3281099205" sldId="1195"/>
            <ac:spMk id="2" creationId="{CB1DCD1F-E8BC-B991-A5DF-E26A98E2035F}"/>
          </ac:spMkLst>
        </pc:spChg>
        <pc:spChg chg="del mod">
          <ac:chgData name="José Antonio Ureta Santacreu" userId="e36999d1-2b92-424a-9e8c-5fde0c5fbdd2" providerId="ADAL" clId="{923BECBF-E766-4E6E-9F62-881D87312C0D}" dt="2024-07-01T11:51:12.780" v="124" actId="1032"/>
          <ac:spMkLst>
            <pc:docMk/>
            <pc:sldMk cId="3281099205" sldId="1195"/>
            <ac:spMk id="3" creationId="{949CF0BE-58E5-88C9-1544-9241E8A5BBFE}"/>
          </ac:spMkLst>
        </pc:spChg>
        <pc:spChg chg="mod ord">
          <ac:chgData name="José Antonio Ureta Santacreu" userId="e36999d1-2b92-424a-9e8c-5fde0c5fbdd2" providerId="ADAL" clId="{923BECBF-E766-4E6E-9F62-881D87312C0D}" dt="2024-07-18T10:37:46.524" v="385" actId="700"/>
          <ac:spMkLst>
            <pc:docMk/>
            <pc:sldMk cId="3281099205" sldId="1195"/>
            <ac:spMk id="4" creationId="{3CE81854-054C-2039-1A9F-5D872183E60E}"/>
          </ac:spMkLst>
        </pc:spChg>
        <pc:spChg chg="mod ord">
          <ac:chgData name="José Antonio Ureta Santacreu" userId="e36999d1-2b92-424a-9e8c-5fde0c5fbdd2" providerId="ADAL" clId="{923BECBF-E766-4E6E-9F62-881D87312C0D}" dt="2024-07-18T10:37:46.524" v="385" actId="700"/>
          <ac:spMkLst>
            <pc:docMk/>
            <pc:sldMk cId="3281099205" sldId="1195"/>
            <ac:spMk id="5" creationId="{4CC96DCD-A45F-3B46-8C5C-DDC66B008D76}"/>
          </ac:spMkLst>
        </pc:spChg>
        <pc:spChg chg="mod ord">
          <ac:chgData name="José Antonio Ureta Santacreu" userId="e36999d1-2b92-424a-9e8c-5fde0c5fbdd2" providerId="ADAL" clId="{923BECBF-E766-4E6E-9F62-881D87312C0D}" dt="2024-07-18T10:37:46.524" v="385" actId="700"/>
          <ac:spMkLst>
            <pc:docMk/>
            <pc:sldMk cId="3281099205" sldId="1195"/>
            <ac:spMk id="6" creationId="{F74AA6C5-0EA6-37A6-D953-6979FB2E427F}"/>
          </ac:spMkLst>
        </pc:spChg>
        <pc:graphicFrameChg chg="add mod ord modGraphic">
          <ac:chgData name="José Antonio Ureta Santacreu" userId="e36999d1-2b92-424a-9e8c-5fde0c5fbdd2" providerId="ADAL" clId="{923BECBF-E766-4E6E-9F62-881D87312C0D}" dt="2024-07-22T10:50:50.840" v="757" actId="16803"/>
          <ac:graphicFrameMkLst>
            <pc:docMk/>
            <pc:sldMk cId="3281099205" sldId="1195"/>
            <ac:graphicFrameMk id="7" creationId="{69A3C6FB-1444-D938-0699-A6962F4F03E5}"/>
          </ac:graphicFrameMkLst>
        </pc:graphicFrameChg>
        <pc:picChg chg="add mod">
          <ac:chgData name="José Antonio Ureta Santacreu" userId="e36999d1-2b92-424a-9e8c-5fde0c5fbdd2" providerId="ADAL" clId="{923BECBF-E766-4E6E-9F62-881D87312C0D}" dt="2024-07-18T10:40:37.143" v="395" actId="1076"/>
          <ac:picMkLst>
            <pc:docMk/>
            <pc:sldMk cId="3281099205" sldId="1195"/>
            <ac:picMk id="1026" creationId="{E75E4CC1-82AE-E406-E848-F1033664A723}"/>
          </ac:picMkLst>
        </pc:picChg>
      </pc:sldChg>
      <pc:sldChg chg="modSp del mod">
        <pc:chgData name="José Antonio Ureta Santacreu" userId="e36999d1-2b92-424a-9e8c-5fde0c5fbdd2" providerId="ADAL" clId="{923BECBF-E766-4E6E-9F62-881D87312C0D}" dt="2024-07-22T11:36:31.870" v="995" actId="47"/>
        <pc:sldMkLst>
          <pc:docMk/>
          <pc:sldMk cId="1554477428" sldId="1196"/>
        </pc:sldMkLst>
        <pc:spChg chg="mod">
          <ac:chgData name="José Antonio Ureta Santacreu" userId="e36999d1-2b92-424a-9e8c-5fde0c5fbdd2" providerId="ADAL" clId="{923BECBF-E766-4E6E-9F62-881D87312C0D}" dt="2024-07-22T11:04:04.452" v="800" actId="20578"/>
          <ac:spMkLst>
            <pc:docMk/>
            <pc:sldMk cId="1554477428" sldId="1196"/>
            <ac:spMk id="2" creationId="{3B494341-0002-D102-F730-1CB1F2E876E4}"/>
          </ac:spMkLst>
        </pc:spChg>
        <pc:spChg chg="mod">
          <ac:chgData name="José Antonio Ureta Santacreu" userId="e36999d1-2b92-424a-9e8c-5fde0c5fbdd2" providerId="ADAL" clId="{923BECBF-E766-4E6E-9F62-881D87312C0D}" dt="2024-07-22T11:25:07.755" v="813" actId="20578"/>
          <ac:spMkLst>
            <pc:docMk/>
            <pc:sldMk cId="1554477428" sldId="1196"/>
            <ac:spMk id="6" creationId="{8644138A-9027-6D3E-0E20-8185A1F4270D}"/>
          </ac:spMkLst>
        </pc:spChg>
      </pc:sldChg>
      <pc:sldChg chg="modSp new mod">
        <pc:chgData name="José Antonio Ureta Santacreu" userId="e36999d1-2b92-424a-9e8c-5fde0c5fbdd2" providerId="ADAL" clId="{923BECBF-E766-4E6E-9F62-881D87312C0D}" dt="2024-07-01T11:48:04.112" v="71" actId="27636"/>
        <pc:sldMkLst>
          <pc:docMk/>
          <pc:sldMk cId="4066135010" sldId="1196"/>
        </pc:sldMkLst>
        <pc:spChg chg="mod">
          <ac:chgData name="José Antonio Ureta Santacreu" userId="e36999d1-2b92-424a-9e8c-5fde0c5fbdd2" providerId="ADAL" clId="{923BECBF-E766-4E6E-9F62-881D87312C0D}" dt="2024-07-01T11:48:04.112" v="71" actId="27636"/>
          <ac:spMkLst>
            <pc:docMk/>
            <pc:sldMk cId="4066135010" sldId="1196"/>
            <ac:spMk id="2" creationId="{3B494341-0002-D102-F730-1CB1F2E876E4}"/>
          </ac:spMkLst>
        </pc:spChg>
      </pc:sldChg>
      <pc:sldChg chg="modSp new mod">
        <pc:chgData name="José Antonio Ureta Santacreu" userId="e36999d1-2b92-424a-9e8c-5fde0c5fbdd2" providerId="ADAL" clId="{923BECBF-E766-4E6E-9F62-881D87312C0D}" dt="2024-07-01T11:49:16.596" v="103" actId="20577"/>
        <pc:sldMkLst>
          <pc:docMk/>
          <pc:sldMk cId="3885043451" sldId="1197"/>
        </pc:sldMkLst>
        <pc:spChg chg="mod">
          <ac:chgData name="José Antonio Ureta Santacreu" userId="e36999d1-2b92-424a-9e8c-5fde0c5fbdd2" providerId="ADAL" clId="{923BECBF-E766-4E6E-9F62-881D87312C0D}" dt="2024-07-01T11:49:16.596" v="103" actId="20577"/>
          <ac:spMkLst>
            <pc:docMk/>
            <pc:sldMk cId="3885043451" sldId="1197"/>
            <ac:spMk id="2" creationId="{F211D47C-2880-9A38-626A-B3BE830AF27A}"/>
          </ac:spMkLst>
        </pc:spChg>
      </pc:sldChg>
      <pc:sldChg chg="modSp new mod">
        <pc:chgData name="José Antonio Ureta Santacreu" userId="e36999d1-2b92-424a-9e8c-5fde0c5fbdd2" providerId="ADAL" clId="{923BECBF-E766-4E6E-9F62-881D87312C0D}" dt="2024-07-01T11:50:19.272" v="115"/>
        <pc:sldMkLst>
          <pc:docMk/>
          <pc:sldMk cId="4155422594" sldId="1198"/>
        </pc:sldMkLst>
        <pc:spChg chg="mod">
          <ac:chgData name="José Antonio Ureta Santacreu" userId="e36999d1-2b92-424a-9e8c-5fde0c5fbdd2" providerId="ADAL" clId="{923BECBF-E766-4E6E-9F62-881D87312C0D}" dt="2024-07-01T11:50:19.272" v="115"/>
          <ac:spMkLst>
            <pc:docMk/>
            <pc:sldMk cId="4155422594" sldId="1198"/>
            <ac:spMk id="2" creationId="{1FFA400D-F331-820C-EED5-A83E56A5DDD8}"/>
          </ac:spMkLst>
        </pc:spChg>
      </pc:sldChg>
      <pc:sldChg chg="delSp del">
        <pc:chgData name="José Antonio Ureta Santacreu" userId="e36999d1-2b92-424a-9e8c-5fde0c5fbdd2" providerId="ADAL" clId="{923BECBF-E766-4E6E-9F62-881D87312C0D}" dt="2024-07-18T11:02:03.507" v="456" actId="47"/>
        <pc:sldMkLst>
          <pc:docMk/>
          <pc:sldMk cId="1477743789" sldId="1199"/>
        </pc:sldMkLst>
        <pc:picChg chg="del">
          <ac:chgData name="José Antonio Ureta Santacreu" userId="e36999d1-2b92-424a-9e8c-5fde0c5fbdd2" providerId="ADAL" clId="{923BECBF-E766-4E6E-9F62-881D87312C0D}" dt="2024-07-18T10:40:23.513" v="393" actId="21"/>
          <ac:picMkLst>
            <pc:docMk/>
            <pc:sldMk cId="1477743789" sldId="1199"/>
            <ac:picMk id="1026" creationId="{E75E4CC1-82AE-E406-E848-F1033664A723}"/>
          </ac:picMkLst>
        </pc:picChg>
      </pc:sldChg>
      <pc:sldChg chg="addSp modSp add mod">
        <pc:chgData name="José Antonio Ureta Santacreu" userId="e36999d1-2b92-424a-9e8c-5fde0c5fbdd2" providerId="ADAL" clId="{923BECBF-E766-4E6E-9F62-881D87312C0D}" dt="2024-07-01T14:12:44.982" v="351" actId="1036"/>
        <pc:sldMkLst>
          <pc:docMk/>
          <pc:sldMk cId="2114408140" sldId="1199"/>
        </pc:sldMkLst>
        <pc:graphicFrameChg chg="mod">
          <ac:chgData name="José Antonio Ureta Santacreu" userId="e36999d1-2b92-424a-9e8c-5fde0c5fbdd2" providerId="ADAL" clId="{923BECBF-E766-4E6E-9F62-881D87312C0D}" dt="2024-07-01T14:12:36.295" v="306"/>
          <ac:graphicFrameMkLst>
            <pc:docMk/>
            <pc:sldMk cId="2114408140" sldId="1199"/>
            <ac:graphicFrameMk id="7" creationId="{69A3C6FB-1444-D938-0699-A6962F4F03E5}"/>
          </ac:graphicFrameMkLst>
        </pc:graphicFrameChg>
        <pc:picChg chg="add mod">
          <ac:chgData name="José Antonio Ureta Santacreu" userId="e36999d1-2b92-424a-9e8c-5fde0c5fbdd2" providerId="ADAL" clId="{923BECBF-E766-4E6E-9F62-881D87312C0D}" dt="2024-07-01T14:12:44.982" v="351" actId="1036"/>
          <ac:picMkLst>
            <pc:docMk/>
            <pc:sldMk cId="2114408140" sldId="1199"/>
            <ac:picMk id="1026" creationId="{E75E4CC1-82AE-E406-E848-F1033664A723}"/>
          </ac:picMkLst>
        </pc:picChg>
      </pc:sldChg>
      <pc:sldChg chg="del">
        <pc:chgData name="José Antonio Ureta Santacreu" userId="e36999d1-2b92-424a-9e8c-5fde0c5fbdd2" providerId="ADAL" clId="{923BECBF-E766-4E6E-9F62-881D87312C0D}" dt="2024-07-18T11:02:12.201" v="457" actId="47"/>
        <pc:sldMkLst>
          <pc:docMk/>
          <pc:sldMk cId="1744600256" sldId="1200"/>
        </pc:sldMkLst>
      </pc:sldChg>
      <pc:sldChg chg="del">
        <pc:chgData name="José Antonio Ureta Santacreu" userId="e36999d1-2b92-424a-9e8c-5fde0c5fbdd2" providerId="ADAL" clId="{923BECBF-E766-4E6E-9F62-881D87312C0D}" dt="2024-07-18T11:02:15.624" v="458" actId="47"/>
        <pc:sldMkLst>
          <pc:docMk/>
          <pc:sldMk cId="3363080973" sldId="1201"/>
        </pc:sldMkLst>
      </pc:sldChg>
      <pc:sldChg chg="del">
        <pc:chgData name="José Antonio Ureta Santacreu" userId="e36999d1-2b92-424a-9e8c-5fde0c5fbdd2" providerId="ADAL" clId="{923BECBF-E766-4E6E-9F62-881D87312C0D}" dt="2024-07-18T11:02:21.717" v="459" actId="47"/>
        <pc:sldMkLst>
          <pc:docMk/>
          <pc:sldMk cId="3872315462" sldId="1202"/>
        </pc:sldMkLst>
      </pc:sldChg>
      <pc:sldChg chg="del">
        <pc:chgData name="José Antonio Ureta Santacreu" userId="e36999d1-2b92-424a-9e8c-5fde0c5fbdd2" providerId="ADAL" clId="{923BECBF-E766-4E6E-9F62-881D87312C0D}" dt="2024-07-22T15:14:28.137" v="1712" actId="47"/>
        <pc:sldMkLst>
          <pc:docMk/>
          <pc:sldMk cId="1720981234" sldId="1204"/>
        </pc:sldMkLst>
      </pc:sldChg>
      <pc:sldChg chg="del">
        <pc:chgData name="José Antonio Ureta Santacreu" userId="e36999d1-2b92-424a-9e8c-5fde0c5fbdd2" providerId="ADAL" clId="{923BECBF-E766-4E6E-9F62-881D87312C0D}" dt="2024-07-22T15:06:08.817" v="1450" actId="47"/>
        <pc:sldMkLst>
          <pc:docMk/>
          <pc:sldMk cId="2617639372" sldId="1205"/>
        </pc:sldMkLst>
      </pc:sldChg>
      <pc:sldChg chg="del">
        <pc:chgData name="José Antonio Ureta Santacreu" userId="e36999d1-2b92-424a-9e8c-5fde0c5fbdd2" providerId="ADAL" clId="{923BECBF-E766-4E6E-9F62-881D87312C0D}" dt="2024-07-18T11:05:20.087" v="549" actId="47"/>
        <pc:sldMkLst>
          <pc:docMk/>
          <pc:sldMk cId="1663966221" sldId="1206"/>
        </pc:sldMkLst>
      </pc:sldChg>
      <pc:sldChg chg="del">
        <pc:chgData name="José Antonio Ureta Santacreu" userId="e36999d1-2b92-424a-9e8c-5fde0c5fbdd2" providerId="ADAL" clId="{923BECBF-E766-4E6E-9F62-881D87312C0D}" dt="2024-07-18T11:06:06.937" v="565" actId="47"/>
        <pc:sldMkLst>
          <pc:docMk/>
          <pc:sldMk cId="29619421" sldId="1207"/>
        </pc:sldMkLst>
      </pc:sldChg>
      <pc:sldChg chg="add del">
        <pc:chgData name="José Antonio Ureta Santacreu" userId="e36999d1-2b92-424a-9e8c-5fde0c5fbdd2" providerId="ADAL" clId="{923BECBF-E766-4E6E-9F62-881D87312C0D}" dt="2024-07-18T11:01:38.767" v="397" actId="47"/>
        <pc:sldMkLst>
          <pc:docMk/>
          <pc:sldMk cId="1216690578" sldId="1208"/>
        </pc:sldMkLst>
      </pc:sldChg>
      <pc:sldChg chg="modSp add del">
        <pc:chgData name="José Antonio Ureta Santacreu" userId="e36999d1-2b92-424a-9e8c-5fde0c5fbdd2" providerId="ADAL" clId="{923BECBF-E766-4E6E-9F62-881D87312C0D}" dt="2024-07-22T15:07:19.099" v="1452" actId="47"/>
        <pc:sldMkLst>
          <pc:docMk/>
          <pc:sldMk cId="418960795" sldId="1209"/>
        </pc:sldMkLst>
        <pc:picChg chg="mod">
          <ac:chgData name="José Antonio Ureta Santacreu" userId="e36999d1-2b92-424a-9e8c-5fde0c5fbdd2" providerId="ADAL" clId="{923BECBF-E766-4E6E-9F62-881D87312C0D}" dt="2024-07-18T11:01:47.677" v="453" actId="1038"/>
          <ac:picMkLst>
            <pc:docMk/>
            <pc:sldMk cId="418960795" sldId="1209"/>
            <ac:picMk id="1026" creationId="{E75E4CC1-82AE-E406-E848-F1033664A723}"/>
          </ac:picMkLst>
        </pc:picChg>
      </pc:sldChg>
      <pc:sldChg chg="modSp add">
        <pc:chgData name="José Antonio Ureta Santacreu" userId="e36999d1-2b92-424a-9e8c-5fde0c5fbdd2" providerId="ADAL" clId="{923BECBF-E766-4E6E-9F62-881D87312C0D}" dt="2024-07-18T11:02:34.402" v="515" actId="1037"/>
        <pc:sldMkLst>
          <pc:docMk/>
          <pc:sldMk cId="3175147911" sldId="1210"/>
        </pc:sldMkLst>
        <pc:picChg chg="mod">
          <ac:chgData name="José Antonio Ureta Santacreu" userId="e36999d1-2b92-424a-9e8c-5fde0c5fbdd2" providerId="ADAL" clId="{923BECBF-E766-4E6E-9F62-881D87312C0D}" dt="2024-07-18T11:02:34.402" v="515" actId="1037"/>
          <ac:picMkLst>
            <pc:docMk/>
            <pc:sldMk cId="3175147911" sldId="1210"/>
            <ac:picMk id="1026" creationId="{E75E4CC1-82AE-E406-E848-F1033664A723}"/>
          </ac:picMkLst>
        </pc:picChg>
      </pc:sldChg>
      <pc:sldChg chg="modSp add">
        <pc:chgData name="José Antonio Ureta Santacreu" userId="e36999d1-2b92-424a-9e8c-5fde0c5fbdd2" providerId="ADAL" clId="{923BECBF-E766-4E6E-9F62-881D87312C0D}" dt="2024-07-18T11:04:17.576" v="519" actId="1076"/>
        <pc:sldMkLst>
          <pc:docMk/>
          <pc:sldMk cId="2345579858" sldId="1211"/>
        </pc:sldMkLst>
        <pc:picChg chg="mod">
          <ac:chgData name="José Antonio Ureta Santacreu" userId="e36999d1-2b92-424a-9e8c-5fde0c5fbdd2" providerId="ADAL" clId="{923BECBF-E766-4E6E-9F62-881D87312C0D}" dt="2024-07-18T11:04:17.576" v="519" actId="1076"/>
          <ac:picMkLst>
            <pc:docMk/>
            <pc:sldMk cId="2345579858" sldId="1211"/>
            <ac:picMk id="1026" creationId="{E75E4CC1-82AE-E406-E848-F1033664A723}"/>
          </ac:picMkLst>
        </pc:picChg>
      </pc:sldChg>
      <pc:sldChg chg="modSp new mod">
        <pc:chgData name="José Antonio Ureta Santacreu" userId="e36999d1-2b92-424a-9e8c-5fde0c5fbdd2" providerId="ADAL" clId="{923BECBF-E766-4E6E-9F62-881D87312C0D}" dt="2024-07-18T11:04:35.444" v="535" actId="20577"/>
        <pc:sldMkLst>
          <pc:docMk/>
          <pc:sldMk cId="2016077209" sldId="1212"/>
        </pc:sldMkLst>
        <pc:spChg chg="mod">
          <ac:chgData name="José Antonio Ureta Santacreu" userId="e36999d1-2b92-424a-9e8c-5fde0c5fbdd2" providerId="ADAL" clId="{923BECBF-E766-4E6E-9F62-881D87312C0D}" dt="2024-07-18T11:04:35.444" v="535" actId="20577"/>
          <ac:spMkLst>
            <pc:docMk/>
            <pc:sldMk cId="2016077209" sldId="1212"/>
            <ac:spMk id="2" creationId="{74460F39-F8AB-8F44-B805-C919A1160F18}"/>
          </ac:spMkLst>
        </pc:spChg>
      </pc:sldChg>
      <pc:sldChg chg="modSp new mod">
        <pc:chgData name="José Antonio Ureta Santacreu" userId="e36999d1-2b92-424a-9e8c-5fde0c5fbdd2" providerId="ADAL" clId="{923BECBF-E766-4E6E-9F62-881D87312C0D}" dt="2024-07-18T11:05:01.622" v="548" actId="20577"/>
        <pc:sldMkLst>
          <pc:docMk/>
          <pc:sldMk cId="3800316882" sldId="1213"/>
        </pc:sldMkLst>
        <pc:spChg chg="mod">
          <ac:chgData name="José Antonio Ureta Santacreu" userId="e36999d1-2b92-424a-9e8c-5fde0c5fbdd2" providerId="ADAL" clId="{923BECBF-E766-4E6E-9F62-881D87312C0D}" dt="2024-07-18T11:05:01.622" v="548" actId="20577"/>
          <ac:spMkLst>
            <pc:docMk/>
            <pc:sldMk cId="3800316882" sldId="1213"/>
            <ac:spMk id="2" creationId="{B7809EBD-B831-9C86-16C9-4A49A461723C}"/>
          </ac:spMkLst>
        </pc:spChg>
      </pc:sldChg>
      <pc:sldChg chg="addSp delSp modSp new mod">
        <pc:chgData name="José Antonio Ureta Santacreu" userId="e36999d1-2b92-424a-9e8c-5fde0c5fbdd2" providerId="ADAL" clId="{923BECBF-E766-4E6E-9F62-881D87312C0D}" dt="2024-07-22T15:20:33.022" v="1797" actId="22"/>
        <pc:sldMkLst>
          <pc:docMk/>
          <pc:sldMk cId="1860430225" sldId="1214"/>
        </pc:sldMkLst>
        <pc:spChg chg="mod">
          <ac:chgData name="José Antonio Ureta Santacreu" userId="e36999d1-2b92-424a-9e8c-5fde0c5fbdd2" providerId="ADAL" clId="{923BECBF-E766-4E6E-9F62-881D87312C0D}" dt="2024-07-18T11:06:34.762" v="598" actId="20577"/>
          <ac:spMkLst>
            <pc:docMk/>
            <pc:sldMk cId="1860430225" sldId="1214"/>
            <ac:spMk id="2" creationId="{CF678F3B-E629-29B7-C811-443CD858A015}"/>
          </ac:spMkLst>
        </pc:spChg>
        <pc:spChg chg="del">
          <ac:chgData name="José Antonio Ureta Santacreu" userId="e36999d1-2b92-424a-9e8c-5fde0c5fbdd2" providerId="ADAL" clId="{923BECBF-E766-4E6E-9F62-881D87312C0D}" dt="2024-07-22T15:20:33.022" v="1797" actId="22"/>
          <ac:spMkLst>
            <pc:docMk/>
            <pc:sldMk cId="1860430225" sldId="1214"/>
            <ac:spMk id="6" creationId="{FA866657-7740-A3EE-47EB-52DFEF87D836}"/>
          </ac:spMkLst>
        </pc:spChg>
        <pc:picChg chg="add mod ord">
          <ac:chgData name="José Antonio Ureta Santacreu" userId="e36999d1-2b92-424a-9e8c-5fde0c5fbdd2" providerId="ADAL" clId="{923BECBF-E766-4E6E-9F62-881D87312C0D}" dt="2024-07-22T15:20:33.022" v="1797" actId="22"/>
          <ac:picMkLst>
            <pc:docMk/>
            <pc:sldMk cId="1860430225" sldId="1214"/>
            <ac:picMk id="8" creationId="{B41DAA8C-00F2-3313-1C3F-9FCCF47BC2BF}"/>
          </ac:picMkLst>
        </pc:picChg>
      </pc:sldChg>
      <pc:sldChg chg="del">
        <pc:chgData name="José Antonio Ureta Santacreu" userId="e36999d1-2b92-424a-9e8c-5fde0c5fbdd2" providerId="ADAL" clId="{923BECBF-E766-4E6E-9F62-881D87312C0D}" dt="2024-07-22T15:12:01.731" v="1582" actId="2696"/>
        <pc:sldMkLst>
          <pc:docMk/>
          <pc:sldMk cId="1138738013" sldId="1215"/>
        </pc:sldMkLst>
      </pc:sldChg>
      <pc:sldChg chg="add del">
        <pc:chgData name="José Antonio Ureta Santacreu" userId="e36999d1-2b92-424a-9e8c-5fde0c5fbdd2" providerId="ADAL" clId="{923BECBF-E766-4E6E-9F62-881D87312C0D}" dt="2024-07-22T15:12:35.240" v="1585" actId="47"/>
        <pc:sldMkLst>
          <pc:docMk/>
          <pc:sldMk cId="3816737450" sldId="1215"/>
        </pc:sldMkLst>
      </pc:sldChg>
      <pc:sldChg chg="del">
        <pc:chgData name="José Antonio Ureta Santacreu" userId="e36999d1-2b92-424a-9e8c-5fde0c5fbdd2" providerId="ADAL" clId="{923BECBF-E766-4E6E-9F62-881D87312C0D}" dt="2024-07-22T15:13:42.493" v="1660" actId="47"/>
        <pc:sldMkLst>
          <pc:docMk/>
          <pc:sldMk cId="1644450480" sldId="1216"/>
        </pc:sldMkLst>
      </pc:sldChg>
      <pc:sldChg chg="del">
        <pc:chgData name="José Antonio Ureta Santacreu" userId="e36999d1-2b92-424a-9e8c-5fde0c5fbdd2" providerId="ADAL" clId="{923BECBF-E766-4E6E-9F62-881D87312C0D}" dt="2024-07-22T15:08:02.381" v="1576" actId="47"/>
        <pc:sldMkLst>
          <pc:docMk/>
          <pc:sldMk cId="85590059" sldId="1217"/>
        </pc:sldMkLst>
      </pc:sldChg>
      <pc:sldChg chg="del">
        <pc:chgData name="José Antonio Ureta Santacreu" userId="e36999d1-2b92-424a-9e8c-5fde0c5fbdd2" providerId="ADAL" clId="{923BECBF-E766-4E6E-9F62-881D87312C0D}" dt="2024-07-22T15:11:43.817" v="1581" actId="47"/>
        <pc:sldMkLst>
          <pc:docMk/>
          <pc:sldMk cId="682819924" sldId="1218"/>
        </pc:sldMkLst>
      </pc:sldChg>
      <pc:sldChg chg="add">
        <pc:chgData name="José Antonio Ureta Santacreu" userId="e36999d1-2b92-424a-9e8c-5fde0c5fbdd2" providerId="ADAL" clId="{923BECBF-E766-4E6E-9F62-881D87312C0D}" dt="2024-07-22T15:08:49.767" v="1578"/>
        <pc:sldMkLst>
          <pc:docMk/>
          <pc:sldMk cId="485898360" sldId="1221"/>
        </pc:sldMkLst>
      </pc:sldChg>
      <pc:sldChg chg="modSp del mod">
        <pc:chgData name="José Antonio Ureta Santacreu" userId="e36999d1-2b92-424a-9e8c-5fde0c5fbdd2" providerId="ADAL" clId="{923BECBF-E766-4E6E-9F62-881D87312C0D}" dt="2024-07-22T15:08:19.359" v="1577" actId="2696"/>
        <pc:sldMkLst>
          <pc:docMk/>
          <pc:sldMk cId="678276020" sldId="1221"/>
        </pc:sldMkLst>
        <pc:spChg chg="mod">
          <ac:chgData name="José Antonio Ureta Santacreu" userId="e36999d1-2b92-424a-9e8c-5fde0c5fbdd2" providerId="ADAL" clId="{923BECBF-E766-4E6E-9F62-881D87312C0D}" dt="2024-07-22T10:52:57.798" v="767" actId="20577"/>
          <ac:spMkLst>
            <pc:docMk/>
            <pc:sldMk cId="678276020" sldId="1221"/>
            <ac:spMk id="2" creationId="{F82E75CA-F1D3-AB9C-E9F6-C3DF78158D1D}"/>
          </ac:spMkLst>
        </pc:spChg>
      </pc:sldChg>
      <pc:sldChg chg="modSp del mod">
        <pc:chgData name="José Antonio Ureta Santacreu" userId="e36999d1-2b92-424a-9e8c-5fde0c5fbdd2" providerId="ADAL" clId="{923BECBF-E766-4E6E-9F62-881D87312C0D}" dt="2024-07-22T15:08:19.359" v="1577" actId="2696"/>
        <pc:sldMkLst>
          <pc:docMk/>
          <pc:sldMk cId="1571326366" sldId="1223"/>
        </pc:sldMkLst>
        <pc:graphicFrameChg chg="mod modGraphic">
          <ac:chgData name="José Antonio Ureta Santacreu" userId="e36999d1-2b92-424a-9e8c-5fde0c5fbdd2" providerId="ADAL" clId="{923BECBF-E766-4E6E-9F62-881D87312C0D}" dt="2024-07-22T10:54:16.578" v="778" actId="14734"/>
          <ac:graphicFrameMkLst>
            <pc:docMk/>
            <pc:sldMk cId="1571326366" sldId="1223"/>
            <ac:graphicFrameMk id="7" creationId="{756F3A8C-1498-79D8-72BD-E8CF69B05A14}"/>
          </ac:graphicFrameMkLst>
        </pc:graphicFrameChg>
      </pc:sldChg>
      <pc:sldChg chg="add">
        <pc:chgData name="José Antonio Ureta Santacreu" userId="e36999d1-2b92-424a-9e8c-5fde0c5fbdd2" providerId="ADAL" clId="{923BECBF-E766-4E6E-9F62-881D87312C0D}" dt="2024-07-22T15:08:49.767" v="1578"/>
        <pc:sldMkLst>
          <pc:docMk/>
          <pc:sldMk cId="3708176570" sldId="1223"/>
        </pc:sldMkLst>
      </pc:sldChg>
      <pc:sldChg chg="add">
        <pc:chgData name="José Antonio Ureta Santacreu" userId="e36999d1-2b92-424a-9e8c-5fde0c5fbdd2" providerId="ADAL" clId="{923BECBF-E766-4E6E-9F62-881D87312C0D}" dt="2024-07-22T15:08:49.767" v="1578"/>
        <pc:sldMkLst>
          <pc:docMk/>
          <pc:sldMk cId="619104416" sldId="1224"/>
        </pc:sldMkLst>
      </pc:sldChg>
      <pc:sldChg chg="modSp del mod">
        <pc:chgData name="José Antonio Ureta Santacreu" userId="e36999d1-2b92-424a-9e8c-5fde0c5fbdd2" providerId="ADAL" clId="{923BECBF-E766-4E6E-9F62-881D87312C0D}" dt="2024-07-22T15:08:19.359" v="1577" actId="2696"/>
        <pc:sldMkLst>
          <pc:docMk/>
          <pc:sldMk cId="2653385888" sldId="1224"/>
        </pc:sldMkLst>
        <pc:spChg chg="mod">
          <ac:chgData name="José Antonio Ureta Santacreu" userId="e36999d1-2b92-424a-9e8c-5fde0c5fbdd2" providerId="ADAL" clId="{923BECBF-E766-4E6E-9F62-881D87312C0D}" dt="2024-07-22T10:52:33.492" v="760" actId="207"/>
          <ac:spMkLst>
            <pc:docMk/>
            <pc:sldMk cId="2653385888" sldId="1224"/>
            <ac:spMk id="7" creationId="{1978E2D9-3D62-133F-152D-31749D533AF7}"/>
          </ac:spMkLst>
        </pc:spChg>
      </pc:sldChg>
      <pc:sldChg chg="del">
        <pc:chgData name="José Antonio Ureta Santacreu" userId="e36999d1-2b92-424a-9e8c-5fde0c5fbdd2" providerId="ADAL" clId="{923BECBF-E766-4E6E-9F62-881D87312C0D}" dt="2024-07-22T10:54:42.401" v="779" actId="47"/>
        <pc:sldMkLst>
          <pc:docMk/>
          <pc:sldMk cId="3613380387" sldId="1225"/>
        </pc:sldMkLst>
      </pc:sldChg>
      <pc:sldChg chg="add">
        <pc:chgData name="José Antonio Ureta Santacreu" userId="e36999d1-2b92-424a-9e8c-5fde0c5fbdd2" providerId="ADAL" clId="{923BECBF-E766-4E6E-9F62-881D87312C0D}" dt="2024-07-22T15:12:16.996" v="1583"/>
        <pc:sldMkLst>
          <pc:docMk/>
          <pc:sldMk cId="1999354126" sldId="1227"/>
        </pc:sldMkLst>
      </pc:sldChg>
      <pc:sldChg chg="modSp new del mod">
        <pc:chgData name="José Antonio Ureta Santacreu" userId="e36999d1-2b92-424a-9e8c-5fde0c5fbdd2" providerId="ADAL" clId="{923BECBF-E766-4E6E-9F62-881D87312C0D}" dt="2024-07-22T15:12:01.731" v="1582" actId="2696"/>
        <pc:sldMkLst>
          <pc:docMk/>
          <pc:sldMk cId="2684553859" sldId="1227"/>
        </pc:sldMkLst>
        <pc:spChg chg="mod">
          <ac:chgData name="José Antonio Ureta Santacreu" userId="e36999d1-2b92-424a-9e8c-5fde0c5fbdd2" providerId="ADAL" clId="{923BECBF-E766-4E6E-9F62-881D87312C0D}" dt="2024-07-22T11:27:33.890" v="823" actId="20577"/>
          <ac:spMkLst>
            <pc:docMk/>
            <pc:sldMk cId="2684553859" sldId="1227"/>
            <ac:spMk id="2" creationId="{92E0A3F6-8435-0511-F4A6-2E5C93A2EA5D}"/>
          </ac:spMkLst>
        </pc:spChg>
        <pc:spChg chg="mod">
          <ac:chgData name="José Antonio Ureta Santacreu" userId="e36999d1-2b92-424a-9e8c-5fde0c5fbdd2" providerId="ADAL" clId="{923BECBF-E766-4E6E-9F62-881D87312C0D}" dt="2024-07-22T11:28:21.748" v="835"/>
          <ac:spMkLst>
            <pc:docMk/>
            <pc:sldMk cId="2684553859" sldId="1227"/>
            <ac:spMk id="3" creationId="{D6E86C8C-9F4A-3FCD-DB2E-68EBEA74DFDD}"/>
          </ac:spMkLst>
        </pc:spChg>
        <pc:spChg chg="mod">
          <ac:chgData name="José Antonio Ureta Santacreu" userId="e36999d1-2b92-424a-9e8c-5fde0c5fbdd2" providerId="ADAL" clId="{923BECBF-E766-4E6E-9F62-881D87312C0D}" dt="2024-07-22T11:28:27.836" v="841" actId="20577"/>
          <ac:spMkLst>
            <pc:docMk/>
            <pc:sldMk cId="2684553859" sldId="1227"/>
            <ac:spMk id="4" creationId="{47698E0B-496C-7112-8091-CFC105CEF1FE}"/>
          </ac:spMkLst>
        </pc:spChg>
      </pc:sldChg>
      <pc:sldChg chg="modSp new del mod">
        <pc:chgData name="José Antonio Ureta Santacreu" userId="e36999d1-2b92-424a-9e8c-5fde0c5fbdd2" providerId="ADAL" clId="{923BECBF-E766-4E6E-9F62-881D87312C0D}" dt="2024-07-22T15:12:01.731" v="1582" actId="2696"/>
        <pc:sldMkLst>
          <pc:docMk/>
          <pc:sldMk cId="1062583241" sldId="1228"/>
        </pc:sldMkLst>
        <pc:spChg chg="mod">
          <ac:chgData name="José Antonio Ureta Santacreu" userId="e36999d1-2b92-424a-9e8c-5fde0c5fbdd2" providerId="ADAL" clId="{923BECBF-E766-4E6E-9F62-881D87312C0D}" dt="2024-07-22T11:30:23.906" v="848" actId="20578"/>
          <ac:spMkLst>
            <pc:docMk/>
            <pc:sldMk cId="1062583241" sldId="1228"/>
            <ac:spMk id="2" creationId="{41162F56-FCB3-5D3A-6FC7-6A0D447D42E3}"/>
          </ac:spMkLst>
        </pc:spChg>
        <pc:spChg chg="mod">
          <ac:chgData name="José Antonio Ureta Santacreu" userId="e36999d1-2b92-424a-9e8c-5fde0c5fbdd2" providerId="ADAL" clId="{923BECBF-E766-4E6E-9F62-881D87312C0D}" dt="2024-07-22T11:35:55.186" v="989" actId="20577"/>
          <ac:spMkLst>
            <pc:docMk/>
            <pc:sldMk cId="1062583241" sldId="1228"/>
            <ac:spMk id="3" creationId="{552BBD21-72D9-7452-E800-1FF3DF1C23AD}"/>
          </ac:spMkLst>
        </pc:spChg>
        <pc:spChg chg="mod">
          <ac:chgData name="José Antonio Ureta Santacreu" userId="e36999d1-2b92-424a-9e8c-5fde0c5fbdd2" providerId="ADAL" clId="{923BECBF-E766-4E6E-9F62-881D87312C0D}" dt="2024-07-22T11:30:31.850" v="852" actId="20578"/>
          <ac:spMkLst>
            <pc:docMk/>
            <pc:sldMk cId="1062583241" sldId="1228"/>
            <ac:spMk id="4" creationId="{8F939E37-7F24-340F-87E7-1C2740F8A559}"/>
          </ac:spMkLst>
        </pc:spChg>
        <pc:spChg chg="mod">
          <ac:chgData name="José Antonio Ureta Santacreu" userId="e36999d1-2b92-424a-9e8c-5fde0c5fbdd2" providerId="ADAL" clId="{923BECBF-E766-4E6E-9F62-881D87312C0D}" dt="2024-07-22T11:36:09.094" v="994" actId="20577"/>
          <ac:spMkLst>
            <pc:docMk/>
            <pc:sldMk cId="1062583241" sldId="1228"/>
            <ac:spMk id="5" creationId="{6808A7CA-C557-4CA3-5AE8-833362607F98}"/>
          </ac:spMkLst>
        </pc:spChg>
        <pc:spChg chg="mod">
          <ac:chgData name="José Antonio Ureta Santacreu" userId="e36999d1-2b92-424a-9e8c-5fde0c5fbdd2" providerId="ADAL" clId="{923BECBF-E766-4E6E-9F62-881D87312C0D}" dt="2024-07-22T11:30:19.001" v="847" actId="20577"/>
          <ac:spMkLst>
            <pc:docMk/>
            <pc:sldMk cId="1062583241" sldId="1228"/>
            <ac:spMk id="9" creationId="{AE891268-87B9-AC8D-F859-323BF0EF9F2A}"/>
          </ac:spMkLst>
        </pc:spChg>
      </pc:sldChg>
      <pc:sldChg chg="add">
        <pc:chgData name="José Antonio Ureta Santacreu" userId="e36999d1-2b92-424a-9e8c-5fde0c5fbdd2" providerId="ADAL" clId="{923BECBF-E766-4E6E-9F62-881D87312C0D}" dt="2024-07-22T15:12:16.996" v="1583"/>
        <pc:sldMkLst>
          <pc:docMk/>
          <pc:sldMk cId="3827652310" sldId="1228"/>
        </pc:sldMkLst>
      </pc:sldChg>
      <pc:sldChg chg="add">
        <pc:chgData name="José Antonio Ureta Santacreu" userId="e36999d1-2b92-424a-9e8c-5fde0c5fbdd2" providerId="ADAL" clId="{923BECBF-E766-4E6E-9F62-881D87312C0D}" dt="2024-07-22T15:12:16.996" v="1583"/>
        <pc:sldMkLst>
          <pc:docMk/>
          <pc:sldMk cId="3656441974" sldId="1229"/>
        </pc:sldMkLst>
      </pc:sldChg>
      <pc:sldChg chg="modSp new del mod ord">
        <pc:chgData name="José Antonio Ureta Santacreu" userId="e36999d1-2b92-424a-9e8c-5fde0c5fbdd2" providerId="ADAL" clId="{923BECBF-E766-4E6E-9F62-881D87312C0D}" dt="2024-07-22T15:12:01.731" v="1582" actId="2696"/>
        <pc:sldMkLst>
          <pc:docMk/>
          <pc:sldMk cId="3812771741" sldId="1229"/>
        </pc:sldMkLst>
        <pc:spChg chg="mod">
          <ac:chgData name="José Antonio Ureta Santacreu" userId="e36999d1-2b92-424a-9e8c-5fde0c5fbdd2" providerId="ADAL" clId="{923BECBF-E766-4E6E-9F62-881D87312C0D}" dt="2024-07-22T11:31:38.029" v="864" actId="20577"/>
          <ac:spMkLst>
            <pc:docMk/>
            <pc:sldMk cId="3812771741" sldId="1229"/>
            <ac:spMk id="2" creationId="{43746D6B-25AE-F2C5-0F0F-204DE3CFB0D6}"/>
          </ac:spMkLst>
        </pc:spChg>
        <pc:spChg chg="mod">
          <ac:chgData name="José Antonio Ureta Santacreu" userId="e36999d1-2b92-424a-9e8c-5fde0c5fbdd2" providerId="ADAL" clId="{923BECBF-E766-4E6E-9F62-881D87312C0D}" dt="2024-07-22T11:31:35.474" v="863" actId="27636"/>
          <ac:spMkLst>
            <pc:docMk/>
            <pc:sldMk cId="3812771741" sldId="1229"/>
            <ac:spMk id="3" creationId="{DC107FA7-95EA-4B30-A6AE-D40E72D9EEF6}"/>
          </ac:spMkLst>
        </pc:spChg>
      </pc:sldChg>
      <pc:sldChg chg="addSp delSp modSp new del mod chgLayout">
        <pc:chgData name="José Antonio Ureta Santacreu" userId="e36999d1-2b92-424a-9e8c-5fde0c5fbdd2" providerId="ADAL" clId="{923BECBF-E766-4E6E-9F62-881D87312C0D}" dt="2024-07-22T11:33:37.306" v="894" actId="47"/>
        <pc:sldMkLst>
          <pc:docMk/>
          <pc:sldMk cId="3550186938" sldId="1230"/>
        </pc:sldMkLst>
        <pc:spChg chg="mod ord">
          <ac:chgData name="José Antonio Ureta Santacreu" userId="e36999d1-2b92-424a-9e8c-5fde0c5fbdd2" providerId="ADAL" clId="{923BECBF-E766-4E6E-9F62-881D87312C0D}" dt="2024-07-22T11:33:31.698" v="892" actId="21"/>
          <ac:spMkLst>
            <pc:docMk/>
            <pc:sldMk cId="3550186938" sldId="1230"/>
            <ac:spMk id="2" creationId="{244FD8BC-1E69-8C40-FBD8-90A170A7CBF7}"/>
          </ac:spMkLst>
        </pc:spChg>
        <pc:spChg chg="del">
          <ac:chgData name="José Antonio Ureta Santacreu" userId="e36999d1-2b92-424a-9e8c-5fde0c5fbdd2" providerId="ADAL" clId="{923BECBF-E766-4E6E-9F62-881D87312C0D}" dt="2024-07-22T11:32:32.769" v="877"/>
          <ac:spMkLst>
            <pc:docMk/>
            <pc:sldMk cId="3550186938" sldId="1230"/>
            <ac:spMk id="3" creationId="{69748971-CF4E-8BDE-A397-462902AC41E2}"/>
          </ac:spMkLst>
        </pc:spChg>
        <pc:spChg chg="mod ord">
          <ac:chgData name="José Antonio Ureta Santacreu" userId="e36999d1-2b92-424a-9e8c-5fde0c5fbdd2" providerId="ADAL" clId="{923BECBF-E766-4E6E-9F62-881D87312C0D}" dt="2024-07-22T11:33:02.372" v="884" actId="6264"/>
          <ac:spMkLst>
            <pc:docMk/>
            <pc:sldMk cId="3550186938" sldId="1230"/>
            <ac:spMk id="4" creationId="{861EAB9A-E71D-6408-AF70-1F2890176C99}"/>
          </ac:spMkLst>
        </pc:spChg>
        <pc:spChg chg="mod ord">
          <ac:chgData name="José Antonio Ureta Santacreu" userId="e36999d1-2b92-424a-9e8c-5fde0c5fbdd2" providerId="ADAL" clId="{923BECBF-E766-4E6E-9F62-881D87312C0D}" dt="2024-07-22T11:33:02.372" v="884" actId="6264"/>
          <ac:spMkLst>
            <pc:docMk/>
            <pc:sldMk cId="3550186938" sldId="1230"/>
            <ac:spMk id="5" creationId="{E5317084-5738-9592-4F72-41954844B6AC}"/>
          </ac:spMkLst>
        </pc:spChg>
        <pc:spChg chg="mod ord">
          <ac:chgData name="José Antonio Ureta Santacreu" userId="e36999d1-2b92-424a-9e8c-5fde0c5fbdd2" providerId="ADAL" clId="{923BECBF-E766-4E6E-9F62-881D87312C0D}" dt="2024-07-22T11:33:02.372" v="884" actId="6264"/>
          <ac:spMkLst>
            <pc:docMk/>
            <pc:sldMk cId="3550186938" sldId="1230"/>
            <ac:spMk id="6" creationId="{446AD26B-A7B0-B436-F836-84882434BE65}"/>
          </ac:spMkLst>
        </pc:spChg>
        <pc:spChg chg="add mod ord">
          <ac:chgData name="José Antonio Ureta Santacreu" userId="e36999d1-2b92-424a-9e8c-5fde0c5fbdd2" providerId="ADAL" clId="{923BECBF-E766-4E6E-9F62-881D87312C0D}" dt="2024-07-22T11:33:20.833" v="887" actId="21"/>
          <ac:spMkLst>
            <pc:docMk/>
            <pc:sldMk cId="3550186938" sldId="1230"/>
            <ac:spMk id="7" creationId="{EFB2966F-2C4D-9322-FCD5-F0B952C1FE67}"/>
          </ac:spMkLst>
        </pc:spChg>
        <pc:spChg chg="add del mod">
          <ac:chgData name="José Antonio Ureta Santacreu" userId="e36999d1-2b92-424a-9e8c-5fde0c5fbdd2" providerId="ADAL" clId="{923BECBF-E766-4E6E-9F62-881D87312C0D}" dt="2024-07-22T11:32:42.306" v="879" actId="6264"/>
          <ac:spMkLst>
            <pc:docMk/>
            <pc:sldMk cId="3550186938" sldId="1230"/>
            <ac:spMk id="8" creationId="{FD006E8F-6BAB-7F40-7338-C9DD7DAB5863}"/>
          </ac:spMkLst>
        </pc:spChg>
        <pc:spChg chg="add del mod">
          <ac:chgData name="José Antonio Ureta Santacreu" userId="e36999d1-2b92-424a-9e8c-5fde0c5fbdd2" providerId="ADAL" clId="{923BECBF-E766-4E6E-9F62-881D87312C0D}" dt="2024-07-22T11:32:42.306" v="879" actId="6264"/>
          <ac:spMkLst>
            <pc:docMk/>
            <pc:sldMk cId="3550186938" sldId="1230"/>
            <ac:spMk id="9" creationId="{D45E3C59-A00C-4054-4C37-5C01FA3373FA}"/>
          </ac:spMkLst>
        </pc:spChg>
        <pc:spChg chg="add del mod">
          <ac:chgData name="José Antonio Ureta Santacreu" userId="e36999d1-2b92-424a-9e8c-5fde0c5fbdd2" providerId="ADAL" clId="{923BECBF-E766-4E6E-9F62-881D87312C0D}" dt="2024-07-22T11:32:42.306" v="879" actId="6264"/>
          <ac:spMkLst>
            <pc:docMk/>
            <pc:sldMk cId="3550186938" sldId="1230"/>
            <ac:spMk id="10" creationId="{082DE563-3C74-4034-7A43-BCD7FCD88A69}"/>
          </ac:spMkLst>
        </pc:spChg>
        <pc:spChg chg="add del mod">
          <ac:chgData name="José Antonio Ureta Santacreu" userId="e36999d1-2b92-424a-9e8c-5fde0c5fbdd2" providerId="ADAL" clId="{923BECBF-E766-4E6E-9F62-881D87312C0D}" dt="2024-07-22T11:32:42.306" v="879" actId="6264"/>
          <ac:spMkLst>
            <pc:docMk/>
            <pc:sldMk cId="3550186938" sldId="1230"/>
            <ac:spMk id="11" creationId="{2FD7A6D2-F04A-DCC0-8A09-DCFA5F1803C1}"/>
          </ac:spMkLst>
        </pc:spChg>
        <pc:spChg chg="add del mod">
          <ac:chgData name="José Antonio Ureta Santacreu" userId="e36999d1-2b92-424a-9e8c-5fde0c5fbdd2" providerId="ADAL" clId="{923BECBF-E766-4E6E-9F62-881D87312C0D}" dt="2024-07-22T11:32:42.306" v="879" actId="6264"/>
          <ac:spMkLst>
            <pc:docMk/>
            <pc:sldMk cId="3550186938" sldId="1230"/>
            <ac:spMk id="12" creationId="{CCC53DB9-ED3F-D3E2-3486-606ACD670538}"/>
          </ac:spMkLst>
        </pc:spChg>
        <pc:spChg chg="add del mod">
          <ac:chgData name="José Antonio Ureta Santacreu" userId="e36999d1-2b92-424a-9e8c-5fde0c5fbdd2" providerId="ADAL" clId="{923BECBF-E766-4E6E-9F62-881D87312C0D}" dt="2024-07-22T11:33:02.372" v="884" actId="6264"/>
          <ac:spMkLst>
            <pc:docMk/>
            <pc:sldMk cId="3550186938" sldId="1230"/>
            <ac:spMk id="13" creationId="{131898C9-8D8B-24C9-D6E0-41E4E6441BDB}"/>
          </ac:spMkLst>
        </pc:spChg>
        <pc:spChg chg="add del mod">
          <ac:chgData name="José Antonio Ureta Santacreu" userId="e36999d1-2b92-424a-9e8c-5fde0c5fbdd2" providerId="ADAL" clId="{923BECBF-E766-4E6E-9F62-881D87312C0D}" dt="2024-07-22T11:33:02.372" v="884" actId="6264"/>
          <ac:spMkLst>
            <pc:docMk/>
            <pc:sldMk cId="3550186938" sldId="1230"/>
            <ac:spMk id="14" creationId="{43D3A4A6-E475-8272-C218-1B908861B059}"/>
          </ac:spMkLst>
        </pc:spChg>
        <pc:spChg chg="add del mod">
          <ac:chgData name="José Antonio Ureta Santacreu" userId="e36999d1-2b92-424a-9e8c-5fde0c5fbdd2" providerId="ADAL" clId="{923BECBF-E766-4E6E-9F62-881D87312C0D}" dt="2024-07-22T11:33:02.372" v="884" actId="6264"/>
          <ac:spMkLst>
            <pc:docMk/>
            <pc:sldMk cId="3550186938" sldId="1230"/>
            <ac:spMk id="15" creationId="{C7B9F6AB-F6EC-88A9-18AA-BC40318CA355}"/>
          </ac:spMkLst>
        </pc:spChg>
        <pc:spChg chg="add del mod">
          <ac:chgData name="José Antonio Ureta Santacreu" userId="e36999d1-2b92-424a-9e8c-5fde0c5fbdd2" providerId="ADAL" clId="{923BECBF-E766-4E6E-9F62-881D87312C0D}" dt="2024-07-22T11:33:02.372" v="884" actId="6264"/>
          <ac:spMkLst>
            <pc:docMk/>
            <pc:sldMk cId="3550186938" sldId="1230"/>
            <ac:spMk id="16" creationId="{136C9F54-1141-15F7-31C6-03D913B4671D}"/>
          </ac:spMkLst>
        </pc:spChg>
        <pc:spChg chg="add del mod">
          <ac:chgData name="José Antonio Ureta Santacreu" userId="e36999d1-2b92-424a-9e8c-5fde0c5fbdd2" providerId="ADAL" clId="{923BECBF-E766-4E6E-9F62-881D87312C0D}" dt="2024-07-22T11:33:02.372" v="884" actId="6264"/>
          <ac:spMkLst>
            <pc:docMk/>
            <pc:sldMk cId="3550186938" sldId="1230"/>
            <ac:spMk id="17" creationId="{B182A0B7-AB9C-12DE-712F-102E92D1C689}"/>
          </ac:spMkLst>
        </pc:spChg>
      </pc:sldChg>
      <pc:sldChg chg="modSp new del mod">
        <pc:chgData name="José Antonio Ureta Santacreu" userId="e36999d1-2b92-424a-9e8c-5fde0c5fbdd2" providerId="ADAL" clId="{923BECBF-E766-4E6E-9F62-881D87312C0D}" dt="2024-07-22T15:12:01.731" v="1582" actId="2696"/>
        <pc:sldMkLst>
          <pc:docMk/>
          <pc:sldMk cId="34131439" sldId="1231"/>
        </pc:sldMkLst>
        <pc:spChg chg="mod">
          <ac:chgData name="José Antonio Ureta Santacreu" userId="e36999d1-2b92-424a-9e8c-5fde0c5fbdd2" providerId="ADAL" clId="{923BECBF-E766-4E6E-9F62-881D87312C0D}" dt="2024-07-22T11:33:35.203" v="893"/>
          <ac:spMkLst>
            <pc:docMk/>
            <pc:sldMk cId="34131439" sldId="1231"/>
            <ac:spMk id="2" creationId="{877639CC-8A6D-6F92-E9E8-0F66A5FDB439}"/>
          </ac:spMkLst>
        </pc:spChg>
        <pc:spChg chg="mod">
          <ac:chgData name="José Antonio Ureta Santacreu" userId="e36999d1-2b92-424a-9e8c-5fde0c5fbdd2" providerId="ADAL" clId="{923BECBF-E766-4E6E-9F62-881D87312C0D}" dt="2024-07-22T11:33:26.678" v="891" actId="20577"/>
          <ac:spMkLst>
            <pc:docMk/>
            <pc:sldMk cId="34131439" sldId="1231"/>
            <ac:spMk id="3" creationId="{E9CD8DC3-F1A1-4B9B-C4BC-13D087F53E93}"/>
          </ac:spMkLst>
        </pc:spChg>
      </pc:sldChg>
      <pc:sldChg chg="add">
        <pc:chgData name="José Antonio Ureta Santacreu" userId="e36999d1-2b92-424a-9e8c-5fde0c5fbdd2" providerId="ADAL" clId="{923BECBF-E766-4E6E-9F62-881D87312C0D}" dt="2024-07-22T15:12:16.996" v="1583"/>
        <pc:sldMkLst>
          <pc:docMk/>
          <pc:sldMk cId="833914343" sldId="1231"/>
        </pc:sldMkLst>
      </pc:sldChg>
      <pc:sldChg chg="addSp delSp modSp new del mod">
        <pc:chgData name="José Antonio Ureta Santacreu" userId="e36999d1-2b92-424a-9e8c-5fde0c5fbdd2" providerId="ADAL" clId="{923BECBF-E766-4E6E-9F62-881D87312C0D}" dt="2024-07-22T15:12:01.731" v="1582" actId="2696"/>
        <pc:sldMkLst>
          <pc:docMk/>
          <pc:sldMk cId="577996223" sldId="1232"/>
        </pc:sldMkLst>
        <pc:spChg chg="mod">
          <ac:chgData name="José Antonio Ureta Santacreu" userId="e36999d1-2b92-424a-9e8c-5fde0c5fbdd2" providerId="ADAL" clId="{923BECBF-E766-4E6E-9F62-881D87312C0D}" dt="2024-07-22T11:34:14.772" v="974" actId="20577"/>
          <ac:spMkLst>
            <pc:docMk/>
            <pc:sldMk cId="577996223" sldId="1232"/>
            <ac:spMk id="2" creationId="{CF9DB239-B261-C9A4-C079-5E8CE400F508}"/>
          </ac:spMkLst>
        </pc:spChg>
        <pc:spChg chg="del">
          <ac:chgData name="José Antonio Ureta Santacreu" userId="e36999d1-2b92-424a-9e8c-5fde0c5fbdd2" providerId="ADAL" clId="{923BECBF-E766-4E6E-9F62-881D87312C0D}" dt="2024-07-22T11:34:49.568" v="983" actId="22"/>
          <ac:spMkLst>
            <pc:docMk/>
            <pc:sldMk cId="577996223" sldId="1232"/>
            <ac:spMk id="3" creationId="{FF0BB64F-5487-E575-E77A-8365228FE2EC}"/>
          </ac:spMkLst>
        </pc:spChg>
        <pc:spChg chg="mod">
          <ac:chgData name="José Antonio Ureta Santacreu" userId="e36999d1-2b92-424a-9e8c-5fde0c5fbdd2" providerId="ADAL" clId="{923BECBF-E766-4E6E-9F62-881D87312C0D}" dt="2024-07-22T11:34:22.776" v="982" actId="20577"/>
          <ac:spMkLst>
            <pc:docMk/>
            <pc:sldMk cId="577996223" sldId="1232"/>
            <ac:spMk id="4" creationId="{608EA82F-843A-516A-B08F-37D051CFA630}"/>
          </ac:spMkLst>
        </pc:spChg>
        <pc:spChg chg="del">
          <ac:chgData name="José Antonio Ureta Santacreu" userId="e36999d1-2b92-424a-9e8c-5fde0c5fbdd2" providerId="ADAL" clId="{923BECBF-E766-4E6E-9F62-881D87312C0D}" dt="2024-07-22T11:35:10.113" v="984" actId="22"/>
          <ac:spMkLst>
            <pc:docMk/>
            <pc:sldMk cId="577996223" sldId="1232"/>
            <ac:spMk id="5" creationId="{DBF044CE-6814-B85B-EE7F-6C5EAE2265F7}"/>
          </ac:spMkLst>
        </pc:spChg>
        <pc:spChg chg="mod">
          <ac:chgData name="José Antonio Ureta Santacreu" userId="e36999d1-2b92-424a-9e8c-5fde0c5fbdd2" providerId="ADAL" clId="{923BECBF-E766-4E6E-9F62-881D87312C0D}" dt="2024-07-22T11:34:08.080" v="959" actId="20577"/>
          <ac:spMkLst>
            <pc:docMk/>
            <pc:sldMk cId="577996223" sldId="1232"/>
            <ac:spMk id="9" creationId="{E27FAA36-4BF4-0D13-8EF6-DE0C911FE73A}"/>
          </ac:spMkLst>
        </pc:spChg>
        <pc:picChg chg="add mod ord">
          <ac:chgData name="José Antonio Ureta Santacreu" userId="e36999d1-2b92-424a-9e8c-5fde0c5fbdd2" providerId="ADAL" clId="{923BECBF-E766-4E6E-9F62-881D87312C0D}" dt="2024-07-22T11:34:49.568" v="983" actId="22"/>
          <ac:picMkLst>
            <pc:docMk/>
            <pc:sldMk cId="577996223" sldId="1232"/>
            <ac:picMk id="11" creationId="{16522940-3CE5-7BCD-0E76-2C692D179040}"/>
          </ac:picMkLst>
        </pc:picChg>
        <pc:picChg chg="add mod ord">
          <ac:chgData name="José Antonio Ureta Santacreu" userId="e36999d1-2b92-424a-9e8c-5fde0c5fbdd2" providerId="ADAL" clId="{923BECBF-E766-4E6E-9F62-881D87312C0D}" dt="2024-07-22T11:35:10.113" v="984" actId="22"/>
          <ac:picMkLst>
            <pc:docMk/>
            <pc:sldMk cId="577996223" sldId="1232"/>
            <ac:picMk id="13" creationId="{FDFAFA96-CAEA-1058-7CA3-9E584A5074CF}"/>
          </ac:picMkLst>
        </pc:picChg>
      </pc:sldChg>
      <pc:sldChg chg="add">
        <pc:chgData name="José Antonio Ureta Santacreu" userId="e36999d1-2b92-424a-9e8c-5fde0c5fbdd2" providerId="ADAL" clId="{923BECBF-E766-4E6E-9F62-881D87312C0D}" dt="2024-07-22T15:12:16.996" v="1583"/>
        <pc:sldMkLst>
          <pc:docMk/>
          <pc:sldMk cId="4090602290" sldId="1232"/>
        </pc:sldMkLst>
      </pc:sldChg>
      <pc:sldChg chg="addSp modSp new del mod">
        <pc:chgData name="José Antonio Ureta Santacreu" userId="e36999d1-2b92-424a-9e8c-5fde0c5fbdd2" providerId="ADAL" clId="{923BECBF-E766-4E6E-9F62-881D87312C0D}" dt="2024-07-22T15:12:01.731" v="1582" actId="2696"/>
        <pc:sldMkLst>
          <pc:docMk/>
          <pc:sldMk cId="250315036" sldId="1233"/>
        </pc:sldMkLst>
        <pc:spChg chg="mod">
          <ac:chgData name="José Antonio Ureta Santacreu" userId="e36999d1-2b92-424a-9e8c-5fde0c5fbdd2" providerId="ADAL" clId="{923BECBF-E766-4E6E-9F62-881D87312C0D}" dt="2024-07-22T11:40:39.624" v="1046" actId="20577"/>
          <ac:spMkLst>
            <pc:docMk/>
            <pc:sldMk cId="250315036" sldId="1233"/>
            <ac:spMk id="2" creationId="{BB96DDF6-C9BC-56C5-CD39-7031323D5E6F}"/>
          </ac:spMkLst>
        </pc:spChg>
        <pc:spChg chg="mod">
          <ac:chgData name="José Antonio Ureta Santacreu" userId="e36999d1-2b92-424a-9e8c-5fde0c5fbdd2" providerId="ADAL" clId="{923BECBF-E766-4E6E-9F62-881D87312C0D}" dt="2024-07-22T11:48:01.104" v="1141"/>
          <ac:spMkLst>
            <pc:docMk/>
            <pc:sldMk cId="250315036" sldId="1233"/>
            <ac:spMk id="3" creationId="{7C3B3DFF-0DEE-5750-7303-4D0EFC9B34FF}"/>
          </ac:spMkLst>
        </pc:spChg>
        <pc:graphicFrameChg chg="add mod">
          <ac:chgData name="José Antonio Ureta Santacreu" userId="e36999d1-2b92-424a-9e8c-5fde0c5fbdd2" providerId="ADAL" clId="{923BECBF-E766-4E6E-9F62-881D87312C0D}" dt="2024-07-22T11:47:45.469" v="1139"/>
          <ac:graphicFrameMkLst>
            <pc:docMk/>
            <pc:sldMk cId="250315036" sldId="1233"/>
            <ac:graphicFrameMk id="7" creationId="{97F8B3DD-7E31-9481-C6C5-87AF35D2875A}"/>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8" creationId="{0C8E0D07-C383-C724-6815-D834951D475E}"/>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9" creationId="{4D0B122F-3FDA-430B-1AB2-4AA107D6091F}"/>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0" creationId="{825DBD44-1C05-9BBE-7C49-0E925F294B32}"/>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1" creationId="{A83FBC9A-ADB4-0E01-A18E-96BFA475BC8A}"/>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2" creationId="{E7C55B81-239B-2D58-2EF0-18687D54B050}"/>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3" creationId="{3290948A-EF93-8D99-C69C-9F6D1AB8A520}"/>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4" creationId="{E28DB7CE-6DE8-9E51-81CF-9E4C980C9B02}"/>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5" creationId="{1A5B386A-6EEB-ABDA-2F92-921F7BE86AF4}"/>
          </ac:graphicFrameMkLst>
        </pc:graphicFrameChg>
        <pc:graphicFrameChg chg="add mod">
          <ac:chgData name="José Antonio Ureta Santacreu" userId="e36999d1-2b92-424a-9e8c-5fde0c5fbdd2" providerId="ADAL" clId="{923BECBF-E766-4E6E-9F62-881D87312C0D}" dt="2024-07-22T11:47:45.469" v="1139"/>
          <ac:graphicFrameMkLst>
            <pc:docMk/>
            <pc:sldMk cId="250315036" sldId="1233"/>
            <ac:graphicFrameMk id="16" creationId="{F52C6C1A-B789-71B2-62B7-08112A8A8B6F}"/>
          </ac:graphicFrameMkLst>
        </pc:graphicFrameChg>
      </pc:sldChg>
      <pc:sldChg chg="add">
        <pc:chgData name="José Antonio Ureta Santacreu" userId="e36999d1-2b92-424a-9e8c-5fde0c5fbdd2" providerId="ADAL" clId="{923BECBF-E766-4E6E-9F62-881D87312C0D}" dt="2024-07-22T15:12:16.996" v="1583"/>
        <pc:sldMkLst>
          <pc:docMk/>
          <pc:sldMk cId="799914292" sldId="1233"/>
        </pc:sldMkLst>
      </pc:sldChg>
      <pc:sldChg chg="add">
        <pc:chgData name="José Antonio Ureta Santacreu" userId="e36999d1-2b92-424a-9e8c-5fde0c5fbdd2" providerId="ADAL" clId="{923BECBF-E766-4E6E-9F62-881D87312C0D}" dt="2024-07-22T15:12:16.996" v="1583"/>
        <pc:sldMkLst>
          <pc:docMk/>
          <pc:sldMk cId="2666982753" sldId="1234"/>
        </pc:sldMkLst>
      </pc:sldChg>
      <pc:sldChg chg="addSp delSp modSp new del mod">
        <pc:chgData name="José Antonio Ureta Santacreu" userId="e36999d1-2b92-424a-9e8c-5fde0c5fbdd2" providerId="ADAL" clId="{923BECBF-E766-4E6E-9F62-881D87312C0D}" dt="2024-07-22T15:12:01.731" v="1582" actId="2696"/>
        <pc:sldMkLst>
          <pc:docMk/>
          <pc:sldMk cId="4046262864" sldId="1234"/>
        </pc:sldMkLst>
        <pc:spChg chg="del">
          <ac:chgData name="José Antonio Ureta Santacreu" userId="e36999d1-2b92-424a-9e8c-5fde0c5fbdd2" providerId="ADAL" clId="{923BECBF-E766-4E6E-9F62-881D87312C0D}" dt="2024-07-22T11:42:30.439" v="1049" actId="3680"/>
          <ac:spMkLst>
            <pc:docMk/>
            <pc:sldMk cId="4046262864" sldId="1234"/>
            <ac:spMk id="3" creationId="{DB5A9295-A086-D362-50A8-3FCA5DDE753D}"/>
          </ac:spMkLst>
        </pc:spChg>
        <pc:graphicFrameChg chg="add mod ord modGraphic">
          <ac:chgData name="José Antonio Ureta Santacreu" userId="e36999d1-2b92-424a-9e8c-5fde0c5fbdd2" providerId="ADAL" clId="{923BECBF-E766-4E6E-9F62-881D87312C0D}" dt="2024-07-22T11:44:32.664" v="1075" actId="20577"/>
          <ac:graphicFrameMkLst>
            <pc:docMk/>
            <pc:sldMk cId="4046262864" sldId="1234"/>
            <ac:graphicFrameMk id="7" creationId="{E200A571-EC5E-0AD3-9720-60915B9284DD}"/>
          </ac:graphicFrameMkLst>
        </pc:graphicFrameChg>
      </pc:sldChg>
      <pc:sldChg chg="add">
        <pc:chgData name="José Antonio Ureta Santacreu" userId="e36999d1-2b92-424a-9e8c-5fde0c5fbdd2" providerId="ADAL" clId="{923BECBF-E766-4E6E-9F62-881D87312C0D}" dt="2024-07-22T15:12:16.996" v="1583"/>
        <pc:sldMkLst>
          <pc:docMk/>
          <pc:sldMk cId="2066674751" sldId="1235"/>
        </pc:sldMkLst>
      </pc:sldChg>
      <pc:sldChg chg="addSp modSp new del mod">
        <pc:chgData name="José Antonio Ureta Santacreu" userId="e36999d1-2b92-424a-9e8c-5fde0c5fbdd2" providerId="ADAL" clId="{923BECBF-E766-4E6E-9F62-881D87312C0D}" dt="2024-07-22T15:12:01.731" v="1582" actId="2696"/>
        <pc:sldMkLst>
          <pc:docMk/>
          <pc:sldMk cId="2881463951" sldId="1235"/>
        </pc:sldMkLst>
        <pc:spChg chg="mod">
          <ac:chgData name="José Antonio Ureta Santacreu" userId="e36999d1-2b92-424a-9e8c-5fde0c5fbdd2" providerId="ADAL" clId="{923BECBF-E766-4E6E-9F62-881D87312C0D}" dt="2024-07-22T11:46:18.166" v="1136" actId="20577"/>
          <ac:spMkLst>
            <pc:docMk/>
            <pc:sldMk cId="2881463951" sldId="1235"/>
            <ac:spMk id="2" creationId="{152B6708-65BD-57E5-82A4-4E74F19775B1}"/>
          </ac:spMkLst>
        </pc:spChg>
        <pc:spChg chg="add">
          <ac:chgData name="José Antonio Ureta Santacreu" userId="e36999d1-2b92-424a-9e8c-5fde0c5fbdd2" providerId="ADAL" clId="{923BECBF-E766-4E6E-9F62-881D87312C0D}" dt="2024-07-22T11:45:36.788" v="1081"/>
          <ac:spMkLst>
            <pc:docMk/>
            <pc:sldMk cId="2881463951" sldId="1235"/>
            <ac:spMk id="17" creationId="{732DAB7A-6417-D8EB-CE18-69E11AC1692A}"/>
          </ac:spMkLst>
        </pc:spChg>
        <pc:graphicFrameChg chg="add mod">
          <ac:chgData name="José Antonio Ureta Santacreu" userId="e36999d1-2b92-424a-9e8c-5fde0c5fbdd2" providerId="ADAL" clId="{923BECBF-E766-4E6E-9F62-881D87312C0D}" dt="2024-07-22T11:45:21.443" v="1077"/>
          <ac:graphicFrameMkLst>
            <pc:docMk/>
            <pc:sldMk cId="2881463951" sldId="1235"/>
            <ac:graphicFrameMk id="6" creationId="{0F845EA2-8C98-AED6-0D9B-8B03EEAAD492}"/>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7" creationId="{9C65DD1A-5AE1-1EFD-7003-D858B42C1051}"/>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8" creationId="{2A5E9BB0-7D56-6658-3D4B-C41F56E24F43}"/>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9" creationId="{587FCB65-476A-274E-97D6-B95EFF239CB6}"/>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10" creationId="{8EDC1025-BDAF-A595-F892-88F108735F73}"/>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11" creationId="{EABE3A70-A010-134F-F5D4-57D583E857E4}"/>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12" creationId="{3F1521F0-ED38-06D4-5923-041F7A6C7F76}"/>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13" creationId="{7FBCA977-43AD-3F13-D05B-6428056EA01A}"/>
          </ac:graphicFrameMkLst>
        </pc:graphicFrameChg>
        <pc:graphicFrameChg chg="add mod">
          <ac:chgData name="José Antonio Ureta Santacreu" userId="e36999d1-2b92-424a-9e8c-5fde0c5fbdd2" providerId="ADAL" clId="{923BECBF-E766-4E6E-9F62-881D87312C0D}" dt="2024-07-22T11:45:21.443" v="1077"/>
          <ac:graphicFrameMkLst>
            <pc:docMk/>
            <pc:sldMk cId="2881463951" sldId="1235"/>
            <ac:graphicFrameMk id="14" creationId="{B6D8203A-FED4-28D8-BAF7-27F900C2E8F2}"/>
          </ac:graphicFrameMkLst>
        </pc:graphicFrameChg>
        <pc:graphicFrameChg chg="add mod">
          <ac:chgData name="José Antonio Ureta Santacreu" userId="e36999d1-2b92-424a-9e8c-5fde0c5fbdd2" providerId="ADAL" clId="{923BECBF-E766-4E6E-9F62-881D87312C0D}" dt="2024-07-22T11:45:30.049" v="1079" actId="1076"/>
          <ac:graphicFrameMkLst>
            <pc:docMk/>
            <pc:sldMk cId="2881463951" sldId="1235"/>
            <ac:graphicFrameMk id="15" creationId="{2C9C5F11-0D18-2C52-C994-5F09C8778171}"/>
          </ac:graphicFrameMkLst>
        </pc:graphicFrameChg>
        <pc:picChg chg="add mod">
          <ac:chgData name="José Antonio Ureta Santacreu" userId="e36999d1-2b92-424a-9e8c-5fde0c5fbdd2" providerId="ADAL" clId="{923BECBF-E766-4E6E-9F62-881D87312C0D}" dt="2024-07-22T11:48:51.966" v="1143" actId="1076"/>
          <ac:picMkLst>
            <pc:docMk/>
            <pc:sldMk cId="2881463951" sldId="1235"/>
            <ac:picMk id="19" creationId="{579BAFF9-281F-C7D0-8947-6E8E0BF8CE33}"/>
          </ac:picMkLst>
        </pc:picChg>
      </pc:sldChg>
      <pc:sldChg chg="modSp add mod">
        <pc:chgData name="José Antonio Ureta Santacreu" userId="e36999d1-2b92-424a-9e8c-5fde0c5fbdd2" providerId="ADAL" clId="{923BECBF-E766-4E6E-9F62-881D87312C0D}" dt="2024-07-22T14:50:47.994" v="1145" actId="27636"/>
        <pc:sldMkLst>
          <pc:docMk/>
          <pc:sldMk cId="1106242112" sldId="1236"/>
        </pc:sldMkLst>
        <pc:spChg chg="mod">
          <ac:chgData name="José Antonio Ureta Santacreu" userId="e36999d1-2b92-424a-9e8c-5fde0c5fbdd2" providerId="ADAL" clId="{923BECBF-E766-4E6E-9F62-881D87312C0D}" dt="2024-07-22T14:50:47.994" v="1145" actId="27636"/>
          <ac:spMkLst>
            <pc:docMk/>
            <pc:sldMk cId="1106242112" sldId="1236"/>
            <ac:spMk id="2" creationId="{056B6254-9804-F3E6-E0DC-E126C9C7EAD3}"/>
          </ac:spMkLst>
        </pc:spChg>
      </pc:sldChg>
      <pc:sldChg chg="modSp new mod">
        <pc:chgData name="José Antonio Ureta Santacreu" userId="e36999d1-2b92-424a-9e8c-5fde0c5fbdd2" providerId="ADAL" clId="{923BECBF-E766-4E6E-9F62-881D87312C0D}" dt="2024-07-22T14:51:35.522" v="1179" actId="20577"/>
        <pc:sldMkLst>
          <pc:docMk/>
          <pc:sldMk cId="1117681639" sldId="1237"/>
        </pc:sldMkLst>
        <pc:spChg chg="mod">
          <ac:chgData name="José Antonio Ureta Santacreu" userId="e36999d1-2b92-424a-9e8c-5fde0c5fbdd2" providerId="ADAL" clId="{923BECBF-E766-4E6E-9F62-881D87312C0D}" dt="2024-07-22T14:51:35.522" v="1179" actId="20577"/>
          <ac:spMkLst>
            <pc:docMk/>
            <pc:sldMk cId="1117681639" sldId="1237"/>
            <ac:spMk id="2" creationId="{44B2F8D0-CD8E-7906-2414-9EE7E4028871}"/>
          </ac:spMkLst>
        </pc:spChg>
      </pc:sldChg>
      <pc:sldChg chg="modSp new mod">
        <pc:chgData name="José Antonio Ureta Santacreu" userId="e36999d1-2b92-424a-9e8c-5fde0c5fbdd2" providerId="ADAL" clId="{923BECBF-E766-4E6E-9F62-881D87312C0D}" dt="2024-07-22T14:51:54.988" v="1188" actId="20577"/>
        <pc:sldMkLst>
          <pc:docMk/>
          <pc:sldMk cId="550815059" sldId="1238"/>
        </pc:sldMkLst>
        <pc:spChg chg="mod">
          <ac:chgData name="José Antonio Ureta Santacreu" userId="e36999d1-2b92-424a-9e8c-5fde0c5fbdd2" providerId="ADAL" clId="{923BECBF-E766-4E6E-9F62-881D87312C0D}" dt="2024-07-22T14:51:54.988" v="1188" actId="20577"/>
          <ac:spMkLst>
            <pc:docMk/>
            <pc:sldMk cId="550815059" sldId="1238"/>
            <ac:spMk id="2" creationId="{061AB15A-655A-CFD3-C566-91D45E8F1913}"/>
          </ac:spMkLst>
        </pc:spChg>
      </pc:sldChg>
      <pc:sldChg chg="addSp delSp modSp new mod chgLayout">
        <pc:chgData name="José Antonio Ureta Santacreu" userId="e36999d1-2b92-424a-9e8c-5fde0c5fbdd2" providerId="ADAL" clId="{923BECBF-E766-4E6E-9F62-881D87312C0D}" dt="2024-07-22T14:58:35.627" v="1372" actId="6264"/>
        <pc:sldMkLst>
          <pc:docMk/>
          <pc:sldMk cId="22562476" sldId="1239"/>
        </pc:sldMkLst>
        <pc:spChg chg="mod ord">
          <ac:chgData name="José Antonio Ureta Santacreu" userId="e36999d1-2b92-424a-9e8c-5fde0c5fbdd2" providerId="ADAL" clId="{923BECBF-E766-4E6E-9F62-881D87312C0D}" dt="2024-07-22T14:58:35.627" v="1372" actId="6264"/>
          <ac:spMkLst>
            <pc:docMk/>
            <pc:sldMk cId="22562476" sldId="1239"/>
            <ac:spMk id="2" creationId="{6425C532-2091-C567-AC85-3CEF8E5CB730}"/>
          </ac:spMkLst>
        </pc:spChg>
        <pc:spChg chg="del">
          <ac:chgData name="José Antonio Ureta Santacreu" userId="e36999d1-2b92-424a-9e8c-5fde0c5fbdd2" providerId="ADAL" clId="{923BECBF-E766-4E6E-9F62-881D87312C0D}" dt="2024-07-22T14:58:28.846" v="1370"/>
          <ac:spMkLst>
            <pc:docMk/>
            <pc:sldMk cId="22562476" sldId="1239"/>
            <ac:spMk id="3" creationId="{7DE0C0EA-DA72-BBEB-F90D-843A422757B5}"/>
          </ac:spMkLst>
        </pc:spChg>
        <pc:spChg chg="mod ord">
          <ac:chgData name="José Antonio Ureta Santacreu" userId="e36999d1-2b92-424a-9e8c-5fde0c5fbdd2" providerId="ADAL" clId="{923BECBF-E766-4E6E-9F62-881D87312C0D}" dt="2024-07-22T14:58:35.627" v="1372" actId="6264"/>
          <ac:spMkLst>
            <pc:docMk/>
            <pc:sldMk cId="22562476" sldId="1239"/>
            <ac:spMk id="4" creationId="{C675A150-255B-41CC-03F6-8A8BA9EEF50C}"/>
          </ac:spMkLst>
        </pc:spChg>
        <pc:spChg chg="mod ord">
          <ac:chgData name="José Antonio Ureta Santacreu" userId="e36999d1-2b92-424a-9e8c-5fde0c5fbdd2" providerId="ADAL" clId="{923BECBF-E766-4E6E-9F62-881D87312C0D}" dt="2024-07-22T14:58:35.627" v="1372" actId="6264"/>
          <ac:spMkLst>
            <pc:docMk/>
            <pc:sldMk cId="22562476" sldId="1239"/>
            <ac:spMk id="5" creationId="{5793EC8B-E39D-B7EB-85CB-ADA37F590CDF}"/>
          </ac:spMkLst>
        </pc:spChg>
        <pc:spChg chg="mod ord">
          <ac:chgData name="José Antonio Ureta Santacreu" userId="e36999d1-2b92-424a-9e8c-5fde0c5fbdd2" providerId="ADAL" clId="{923BECBF-E766-4E6E-9F62-881D87312C0D}" dt="2024-07-22T14:58:35.627" v="1372" actId="6264"/>
          <ac:spMkLst>
            <pc:docMk/>
            <pc:sldMk cId="22562476" sldId="1239"/>
            <ac:spMk id="6" creationId="{1D9B81E7-24F5-1E77-AE74-291DB77E7DF6}"/>
          </ac:spMkLst>
        </pc:spChg>
        <pc:spChg chg="mod ord">
          <ac:chgData name="José Antonio Ureta Santacreu" userId="e36999d1-2b92-424a-9e8c-5fde0c5fbdd2" providerId="ADAL" clId="{923BECBF-E766-4E6E-9F62-881D87312C0D}" dt="2024-07-22T14:58:35.627" v="1372" actId="6264"/>
          <ac:spMkLst>
            <pc:docMk/>
            <pc:sldMk cId="22562476" sldId="1239"/>
            <ac:spMk id="7" creationId="{03D0163B-954E-0CF7-E267-47E12D68F499}"/>
          </ac:spMkLst>
        </pc:spChg>
        <pc:spChg chg="mod ord">
          <ac:chgData name="José Antonio Ureta Santacreu" userId="e36999d1-2b92-424a-9e8c-5fde0c5fbdd2" providerId="ADAL" clId="{923BECBF-E766-4E6E-9F62-881D87312C0D}" dt="2024-07-22T14:58:35.627" v="1372" actId="6264"/>
          <ac:spMkLst>
            <pc:docMk/>
            <pc:sldMk cId="22562476" sldId="1239"/>
            <ac:spMk id="8" creationId="{24023418-0705-FA02-FDB0-65C60C05B7EC}"/>
          </ac:spMkLst>
        </pc:spChg>
        <pc:spChg chg="add del mod">
          <ac:chgData name="José Antonio Ureta Santacreu" userId="e36999d1-2b92-424a-9e8c-5fde0c5fbdd2" providerId="ADAL" clId="{923BECBF-E766-4E6E-9F62-881D87312C0D}" dt="2024-07-22T14:58:35.627" v="1372" actId="6264"/>
          <ac:spMkLst>
            <pc:docMk/>
            <pc:sldMk cId="22562476" sldId="1239"/>
            <ac:spMk id="10" creationId="{CECE2B25-AF04-A5E4-3212-BFF4780ED614}"/>
          </ac:spMkLst>
        </pc:spChg>
        <pc:spChg chg="add del mod">
          <ac:chgData name="José Antonio Ureta Santacreu" userId="e36999d1-2b92-424a-9e8c-5fde0c5fbdd2" providerId="ADAL" clId="{923BECBF-E766-4E6E-9F62-881D87312C0D}" dt="2024-07-22T14:58:35.627" v="1372" actId="6264"/>
          <ac:spMkLst>
            <pc:docMk/>
            <pc:sldMk cId="22562476" sldId="1239"/>
            <ac:spMk id="11" creationId="{A37A32D9-2C1F-B930-20E3-2809B5ECE15B}"/>
          </ac:spMkLst>
        </pc:spChg>
        <pc:spChg chg="add del mod">
          <ac:chgData name="José Antonio Ureta Santacreu" userId="e36999d1-2b92-424a-9e8c-5fde0c5fbdd2" providerId="ADAL" clId="{923BECBF-E766-4E6E-9F62-881D87312C0D}" dt="2024-07-22T14:58:35.627" v="1372" actId="6264"/>
          <ac:spMkLst>
            <pc:docMk/>
            <pc:sldMk cId="22562476" sldId="1239"/>
            <ac:spMk id="12" creationId="{1FA45D11-B684-5799-ACED-C5F3C17DD335}"/>
          </ac:spMkLst>
        </pc:spChg>
        <pc:spChg chg="add del mod">
          <ac:chgData name="José Antonio Ureta Santacreu" userId="e36999d1-2b92-424a-9e8c-5fde0c5fbdd2" providerId="ADAL" clId="{923BECBF-E766-4E6E-9F62-881D87312C0D}" dt="2024-07-22T14:58:35.627" v="1372" actId="6264"/>
          <ac:spMkLst>
            <pc:docMk/>
            <pc:sldMk cId="22562476" sldId="1239"/>
            <ac:spMk id="13" creationId="{3E4F82A3-88A0-CE09-B6D4-F8D56B765401}"/>
          </ac:spMkLst>
        </pc:spChg>
        <pc:spChg chg="add del mod">
          <ac:chgData name="José Antonio Ureta Santacreu" userId="e36999d1-2b92-424a-9e8c-5fde0c5fbdd2" providerId="ADAL" clId="{923BECBF-E766-4E6E-9F62-881D87312C0D}" dt="2024-07-22T14:58:35.627" v="1372" actId="6264"/>
          <ac:spMkLst>
            <pc:docMk/>
            <pc:sldMk cId="22562476" sldId="1239"/>
            <ac:spMk id="14" creationId="{F5CEE330-D3B2-DA70-3CD9-DC8006F90A99}"/>
          </ac:spMkLst>
        </pc:spChg>
        <pc:spChg chg="add del mod">
          <ac:chgData name="José Antonio Ureta Santacreu" userId="e36999d1-2b92-424a-9e8c-5fde0c5fbdd2" providerId="ADAL" clId="{923BECBF-E766-4E6E-9F62-881D87312C0D}" dt="2024-07-22T14:58:35.627" v="1372" actId="6264"/>
          <ac:spMkLst>
            <pc:docMk/>
            <pc:sldMk cId="22562476" sldId="1239"/>
            <ac:spMk id="15" creationId="{E41EF1AD-1CEF-57B3-2732-03E9EBA92E5C}"/>
          </ac:spMkLst>
        </pc:spChg>
        <pc:spChg chg="add del mod">
          <ac:chgData name="José Antonio Ureta Santacreu" userId="e36999d1-2b92-424a-9e8c-5fde0c5fbdd2" providerId="ADAL" clId="{923BECBF-E766-4E6E-9F62-881D87312C0D}" dt="2024-07-22T14:58:35.627" v="1372" actId="6264"/>
          <ac:spMkLst>
            <pc:docMk/>
            <pc:sldMk cId="22562476" sldId="1239"/>
            <ac:spMk id="16" creationId="{99C52212-FB78-5237-41DE-C93F6C51C866}"/>
          </ac:spMkLst>
        </pc:spChg>
        <pc:picChg chg="add mod ord">
          <ac:chgData name="José Antonio Ureta Santacreu" userId="e36999d1-2b92-424a-9e8c-5fde0c5fbdd2" providerId="ADAL" clId="{923BECBF-E766-4E6E-9F62-881D87312C0D}" dt="2024-07-22T14:58:35.627" v="1372" actId="6264"/>
          <ac:picMkLst>
            <pc:docMk/>
            <pc:sldMk cId="22562476" sldId="1239"/>
            <ac:picMk id="9" creationId="{431705DB-20F6-E4B9-6112-7D01EA30FBBE}"/>
          </ac:picMkLst>
        </pc:picChg>
      </pc:sldChg>
      <pc:sldChg chg="addSp delSp modSp new mod">
        <pc:chgData name="José Antonio Ureta Santacreu" userId="e36999d1-2b92-424a-9e8c-5fde0c5fbdd2" providerId="ADAL" clId="{923BECBF-E766-4E6E-9F62-881D87312C0D}" dt="2024-07-22T15:00:09.512" v="1414" actId="20577"/>
        <pc:sldMkLst>
          <pc:docMk/>
          <pc:sldMk cId="1794847669" sldId="1240"/>
        </pc:sldMkLst>
        <pc:spChg chg="mod">
          <ac:chgData name="José Antonio Ureta Santacreu" userId="e36999d1-2b92-424a-9e8c-5fde0c5fbdd2" providerId="ADAL" clId="{923BECBF-E766-4E6E-9F62-881D87312C0D}" dt="2024-07-22T14:59:47.768" v="1384" actId="20577"/>
          <ac:spMkLst>
            <pc:docMk/>
            <pc:sldMk cId="1794847669" sldId="1240"/>
            <ac:spMk id="2" creationId="{ADE2E4B0-D957-33BC-33CB-05F3EF930132}"/>
          </ac:spMkLst>
        </pc:spChg>
        <pc:spChg chg="del">
          <ac:chgData name="José Antonio Ureta Santacreu" userId="e36999d1-2b92-424a-9e8c-5fde0c5fbdd2" providerId="ADAL" clId="{923BECBF-E766-4E6E-9F62-881D87312C0D}" dt="2024-07-22T14:59:30.393" v="1378"/>
          <ac:spMkLst>
            <pc:docMk/>
            <pc:sldMk cId="1794847669" sldId="1240"/>
            <ac:spMk id="3" creationId="{91EEEB42-C1BC-D554-33A2-CAE4A46E26D4}"/>
          </ac:spMkLst>
        </pc:spChg>
        <pc:spChg chg="mod">
          <ac:chgData name="José Antonio Ureta Santacreu" userId="e36999d1-2b92-424a-9e8c-5fde0c5fbdd2" providerId="ADAL" clId="{923BECBF-E766-4E6E-9F62-881D87312C0D}" dt="2024-07-22T15:00:09.512" v="1414" actId="20577"/>
          <ac:spMkLst>
            <pc:docMk/>
            <pc:sldMk cId="1794847669" sldId="1240"/>
            <ac:spMk id="4" creationId="{119FCE87-026D-DF7C-E121-A44DD4FD1829}"/>
          </ac:spMkLst>
        </pc:spChg>
        <pc:spChg chg="mod">
          <ac:chgData name="José Antonio Ureta Santacreu" userId="e36999d1-2b92-424a-9e8c-5fde0c5fbdd2" providerId="ADAL" clId="{923BECBF-E766-4E6E-9F62-881D87312C0D}" dt="2024-07-22T14:59:24.164" v="1376"/>
          <ac:spMkLst>
            <pc:docMk/>
            <pc:sldMk cId="1794847669" sldId="1240"/>
            <ac:spMk id="5" creationId="{73A3CDCC-2E12-7C2D-8692-3E9544FEF070}"/>
          </ac:spMkLst>
        </pc:spChg>
        <pc:picChg chg="add mod">
          <ac:chgData name="José Antonio Ureta Santacreu" userId="e36999d1-2b92-424a-9e8c-5fde0c5fbdd2" providerId="ADAL" clId="{923BECBF-E766-4E6E-9F62-881D87312C0D}" dt="2024-07-22T14:59:30.393" v="1378"/>
          <ac:picMkLst>
            <pc:docMk/>
            <pc:sldMk cId="1794847669" sldId="1240"/>
            <ac:picMk id="9" creationId="{BD54A346-F060-87EA-CD6B-8A28C7AEB2A0}"/>
          </ac:picMkLst>
        </pc:picChg>
      </pc:sldChg>
      <pc:sldChg chg="modSp add">
        <pc:chgData name="José Antonio Ureta Santacreu" userId="e36999d1-2b92-424a-9e8c-5fde0c5fbdd2" providerId="ADAL" clId="{923BECBF-E766-4E6E-9F62-881D87312C0D}" dt="2024-07-22T15:07:26.385" v="1510" actId="1037"/>
        <pc:sldMkLst>
          <pc:docMk/>
          <pc:sldMk cId="3588601817" sldId="1241"/>
        </pc:sldMkLst>
        <pc:picChg chg="mod">
          <ac:chgData name="José Antonio Ureta Santacreu" userId="e36999d1-2b92-424a-9e8c-5fde0c5fbdd2" providerId="ADAL" clId="{923BECBF-E766-4E6E-9F62-881D87312C0D}" dt="2024-07-22T15:07:26.385" v="1510" actId="1037"/>
          <ac:picMkLst>
            <pc:docMk/>
            <pc:sldMk cId="3588601817" sldId="1241"/>
            <ac:picMk id="1026" creationId="{E75E4CC1-82AE-E406-E848-F1033664A723}"/>
          </ac:picMkLst>
        </pc:picChg>
      </pc:sldChg>
      <pc:sldChg chg="modSp add del">
        <pc:chgData name="José Antonio Ureta Santacreu" userId="e36999d1-2b92-424a-9e8c-5fde0c5fbdd2" providerId="ADAL" clId="{923BECBF-E766-4E6E-9F62-881D87312C0D}" dt="2024-07-22T15:08:19.359" v="1577" actId="2696"/>
        <pc:sldMkLst>
          <pc:docMk/>
          <pc:sldMk cId="2381131933" sldId="1242"/>
        </pc:sldMkLst>
        <pc:picChg chg="mod">
          <ac:chgData name="José Antonio Ureta Santacreu" userId="e36999d1-2b92-424a-9e8c-5fde0c5fbdd2" providerId="ADAL" clId="{923BECBF-E766-4E6E-9F62-881D87312C0D}" dt="2024-07-22T15:07:55.742" v="1575" actId="1035"/>
          <ac:picMkLst>
            <pc:docMk/>
            <pc:sldMk cId="2381131933" sldId="1242"/>
            <ac:picMk id="1026" creationId="{E75E4CC1-82AE-E406-E848-F1033664A723}"/>
          </ac:picMkLst>
        </pc:picChg>
      </pc:sldChg>
      <pc:sldChg chg="add">
        <pc:chgData name="José Antonio Ureta Santacreu" userId="e36999d1-2b92-424a-9e8c-5fde0c5fbdd2" providerId="ADAL" clId="{923BECBF-E766-4E6E-9F62-881D87312C0D}" dt="2024-07-22T15:08:49.767" v="1578"/>
        <pc:sldMkLst>
          <pc:docMk/>
          <pc:sldMk cId="2571051962" sldId="1242"/>
        </pc:sldMkLst>
      </pc:sldChg>
      <pc:sldChg chg="modSp add">
        <pc:chgData name="José Antonio Ureta Santacreu" userId="e36999d1-2b92-424a-9e8c-5fde0c5fbdd2" providerId="ADAL" clId="{923BECBF-E766-4E6E-9F62-881D87312C0D}" dt="2024-07-22T15:11:41.139" v="1580" actId="1076"/>
        <pc:sldMkLst>
          <pc:docMk/>
          <pc:sldMk cId="3583676995" sldId="1243"/>
        </pc:sldMkLst>
        <pc:picChg chg="mod">
          <ac:chgData name="José Antonio Ureta Santacreu" userId="e36999d1-2b92-424a-9e8c-5fde0c5fbdd2" providerId="ADAL" clId="{923BECBF-E766-4E6E-9F62-881D87312C0D}" dt="2024-07-22T15:11:41.139" v="1580" actId="1076"/>
          <ac:picMkLst>
            <pc:docMk/>
            <pc:sldMk cId="3583676995" sldId="1243"/>
            <ac:picMk id="1026" creationId="{E75E4CC1-82AE-E406-E848-F1033664A723}"/>
          </ac:picMkLst>
        </pc:picChg>
      </pc:sldChg>
      <pc:sldChg chg="modSp add">
        <pc:chgData name="José Antonio Ureta Santacreu" userId="e36999d1-2b92-424a-9e8c-5fde0c5fbdd2" providerId="ADAL" clId="{923BECBF-E766-4E6E-9F62-881D87312C0D}" dt="2024-07-22T15:12:45.115" v="1658" actId="1037"/>
        <pc:sldMkLst>
          <pc:docMk/>
          <pc:sldMk cId="583627075" sldId="1244"/>
        </pc:sldMkLst>
        <pc:picChg chg="mod">
          <ac:chgData name="José Antonio Ureta Santacreu" userId="e36999d1-2b92-424a-9e8c-5fde0c5fbdd2" providerId="ADAL" clId="{923BECBF-E766-4E6E-9F62-881D87312C0D}" dt="2024-07-22T15:12:45.115" v="1658" actId="1037"/>
          <ac:picMkLst>
            <pc:docMk/>
            <pc:sldMk cId="583627075" sldId="1244"/>
            <ac:picMk id="1026" creationId="{E75E4CC1-82AE-E406-E848-F1033664A723}"/>
          </ac:picMkLst>
        </pc:picChg>
      </pc:sldChg>
      <pc:sldChg chg="modSp add">
        <pc:chgData name="José Antonio Ureta Santacreu" userId="e36999d1-2b92-424a-9e8c-5fde0c5fbdd2" providerId="ADAL" clId="{923BECBF-E766-4E6E-9F62-881D87312C0D}" dt="2024-07-22T15:13:49.046" v="1710" actId="1038"/>
        <pc:sldMkLst>
          <pc:docMk/>
          <pc:sldMk cId="3940366452" sldId="1245"/>
        </pc:sldMkLst>
        <pc:picChg chg="mod">
          <ac:chgData name="José Antonio Ureta Santacreu" userId="e36999d1-2b92-424a-9e8c-5fde0c5fbdd2" providerId="ADAL" clId="{923BECBF-E766-4E6E-9F62-881D87312C0D}" dt="2024-07-22T15:13:49.046" v="1710" actId="1038"/>
          <ac:picMkLst>
            <pc:docMk/>
            <pc:sldMk cId="3940366452" sldId="1245"/>
            <ac:picMk id="1026" creationId="{E75E4CC1-82AE-E406-E848-F1033664A723}"/>
          </ac:picMkLst>
        </pc:picChg>
      </pc:sldChg>
      <pc:sldChg chg="modSp add">
        <pc:chgData name="José Antonio Ureta Santacreu" userId="e36999d1-2b92-424a-9e8c-5fde0c5fbdd2" providerId="ADAL" clId="{923BECBF-E766-4E6E-9F62-881D87312C0D}" dt="2024-07-22T15:14:35.782" v="1793" actId="1038"/>
        <pc:sldMkLst>
          <pc:docMk/>
          <pc:sldMk cId="2467571924" sldId="1246"/>
        </pc:sldMkLst>
        <pc:picChg chg="mod">
          <ac:chgData name="José Antonio Ureta Santacreu" userId="e36999d1-2b92-424a-9e8c-5fde0c5fbdd2" providerId="ADAL" clId="{923BECBF-E766-4E6E-9F62-881D87312C0D}" dt="2024-07-22T15:14:35.782" v="1793" actId="1038"/>
          <ac:picMkLst>
            <pc:docMk/>
            <pc:sldMk cId="2467571924" sldId="1246"/>
            <ac:picMk id="1026" creationId="{E75E4CC1-82AE-E406-E848-F1033664A723}"/>
          </ac:picMkLst>
        </pc:picChg>
      </pc:sldChg>
      <pc:sldMasterChg chg="delSldLayout modSldLayout">
        <pc:chgData name="José Antonio Ureta Santacreu" userId="e36999d1-2b92-424a-9e8c-5fde0c5fbdd2" providerId="ADAL" clId="{923BECBF-E766-4E6E-9F62-881D87312C0D}" dt="2024-07-22T15:03:56.142" v="1426" actId="207"/>
        <pc:sldMasterMkLst>
          <pc:docMk/>
          <pc:sldMasterMk cId="124638484" sldId="2147483777"/>
        </pc:sldMasterMkLst>
        <pc:sldLayoutChg chg="delSp modSp mod">
          <pc:chgData name="José Antonio Ureta Santacreu" userId="e36999d1-2b92-424a-9e8c-5fde0c5fbdd2" providerId="ADAL" clId="{923BECBF-E766-4E6E-9F62-881D87312C0D}" dt="2024-07-22T15:03:56.142" v="1426" actId="207"/>
          <pc:sldLayoutMkLst>
            <pc:docMk/>
            <pc:sldMasterMk cId="124638484" sldId="2147483777"/>
            <pc:sldLayoutMk cId="2598267176" sldId="2147483787"/>
          </pc:sldLayoutMkLst>
          <pc:spChg chg="mod">
            <ac:chgData name="José Antonio Ureta Santacreu" userId="e36999d1-2b92-424a-9e8c-5fde0c5fbdd2" providerId="ADAL" clId="{923BECBF-E766-4E6E-9F62-881D87312C0D}" dt="2024-07-22T14:56:12.276" v="1279" actId="12788"/>
            <ac:spMkLst>
              <pc:docMk/>
              <pc:sldMasterMk cId="124638484" sldId="2147483777"/>
              <pc:sldLayoutMk cId="2598267176" sldId="2147483787"/>
              <ac:spMk id="2" creationId="{84BBA1EF-55E1-E336-F16E-1D837F425BE7}"/>
            </ac:spMkLst>
          </pc:spChg>
          <pc:spChg chg="mod">
            <ac:chgData name="José Antonio Ureta Santacreu" userId="e36999d1-2b92-424a-9e8c-5fde0c5fbdd2" providerId="ADAL" clId="{923BECBF-E766-4E6E-9F62-881D87312C0D}" dt="2024-07-22T15:03:56.142" v="1426" actId="207"/>
            <ac:spMkLst>
              <pc:docMk/>
              <pc:sldMasterMk cId="124638484" sldId="2147483777"/>
              <pc:sldLayoutMk cId="2598267176" sldId="2147483787"/>
              <ac:spMk id="3" creationId="{C6075A30-CEA4-43A5-82F2-F2828408E076}"/>
            </ac:spMkLst>
          </pc:spChg>
          <pc:spChg chg="mod">
            <ac:chgData name="José Antonio Ureta Santacreu" userId="e36999d1-2b92-424a-9e8c-5fde0c5fbdd2" providerId="ADAL" clId="{923BECBF-E766-4E6E-9F62-881D87312C0D}" dt="2024-07-22T14:56:12.276" v="1279" actId="12788"/>
            <ac:spMkLst>
              <pc:docMk/>
              <pc:sldMasterMk cId="124638484" sldId="2147483777"/>
              <pc:sldLayoutMk cId="2598267176" sldId="2147483787"/>
              <ac:spMk id="4" creationId="{37F17658-CB0D-49B5-9AE6-0CB8725FD99E}"/>
            </ac:spMkLst>
          </pc:spChg>
          <pc:spChg chg="mod">
            <ac:chgData name="José Antonio Ureta Santacreu" userId="e36999d1-2b92-424a-9e8c-5fde0c5fbdd2" providerId="ADAL" clId="{923BECBF-E766-4E6E-9F62-881D87312C0D}" dt="2024-07-22T15:03:56.142" v="1426" actId="207"/>
            <ac:spMkLst>
              <pc:docMk/>
              <pc:sldMasterMk cId="124638484" sldId="2147483777"/>
              <pc:sldLayoutMk cId="2598267176" sldId="2147483787"/>
              <ac:spMk id="8" creationId="{E79FC5D0-7DB8-4887-9100-23E1F7D1B2DC}"/>
            </ac:spMkLst>
          </pc:spChg>
          <pc:spChg chg="del">
            <ac:chgData name="José Antonio Ureta Santacreu" userId="e36999d1-2b92-424a-9e8c-5fde0c5fbdd2" providerId="ADAL" clId="{923BECBF-E766-4E6E-9F62-881D87312C0D}" dt="2024-07-22T14:53:44.597" v="1219" actId="478"/>
            <ac:spMkLst>
              <pc:docMk/>
              <pc:sldMasterMk cId="124638484" sldId="2147483777"/>
              <pc:sldLayoutMk cId="2598267176" sldId="2147483787"/>
              <ac:spMk id="9" creationId="{1F2B3216-4865-3ECF-AFEF-E0C28720CCA0}"/>
            </ac:spMkLst>
          </pc:spChg>
          <pc:spChg chg="del">
            <ac:chgData name="José Antonio Ureta Santacreu" userId="e36999d1-2b92-424a-9e8c-5fde0c5fbdd2" providerId="ADAL" clId="{923BECBF-E766-4E6E-9F62-881D87312C0D}" dt="2024-07-22T14:55:27.957" v="1241" actId="478"/>
            <ac:spMkLst>
              <pc:docMk/>
              <pc:sldMasterMk cId="124638484" sldId="2147483777"/>
              <pc:sldLayoutMk cId="2598267176" sldId="2147483787"/>
              <ac:spMk id="11" creationId="{CB6FA8EC-6417-4EFA-AE1F-B2CEC37146BA}"/>
            </ac:spMkLst>
          </pc:spChg>
        </pc:sldLayoutChg>
        <pc:sldLayoutChg chg="del">
          <pc:chgData name="José Antonio Ureta Santacreu" userId="e36999d1-2b92-424a-9e8c-5fde0c5fbdd2" providerId="ADAL" clId="{923BECBF-E766-4E6E-9F62-881D87312C0D}" dt="2024-07-18T11:03:04.723" v="516" actId="2696"/>
          <pc:sldLayoutMkLst>
            <pc:docMk/>
            <pc:sldMasterMk cId="124638484" sldId="2147483777"/>
            <pc:sldLayoutMk cId="3306755963" sldId="2147483798"/>
          </pc:sldLayoutMkLst>
        </pc:sldLayoutChg>
      </pc:sldMasterChg>
    </pc:docChg>
  </pc:docChgLst>
  <pc:docChgLst>
    <pc:chgData name="José Antonio Ureta Santacreu" userId="e36999d1-2b92-424a-9e8c-5fde0c5fbdd2" providerId="ADAL" clId="{8E1CC941-A529-42BD-91F2-8926E50D0828}"/>
    <pc:docChg chg="undo custSel addSld delSld modSld sldOrd modMainMaster">
      <pc:chgData name="José Antonio Ureta Santacreu" userId="e36999d1-2b92-424a-9e8c-5fde0c5fbdd2" providerId="ADAL" clId="{8E1CC941-A529-42BD-91F2-8926E50D0828}" dt="2024-07-19T11:00:02.990" v="1657" actId="16803"/>
      <pc:docMkLst>
        <pc:docMk/>
      </pc:docMkLst>
      <pc:sldChg chg="addSp delSp modSp mod modClrScheme chgLayout">
        <pc:chgData name="José Antonio Ureta Santacreu" userId="e36999d1-2b92-424a-9e8c-5fde0c5fbdd2" providerId="ADAL" clId="{8E1CC941-A529-42BD-91F2-8926E50D0828}" dt="2024-06-25T11:08:35.211" v="91" actId="478"/>
        <pc:sldMkLst>
          <pc:docMk/>
          <pc:sldMk cId="0" sldId="256"/>
        </pc:sldMkLst>
        <pc:spChg chg="mod ord">
          <ac:chgData name="José Antonio Ureta Santacreu" userId="e36999d1-2b92-424a-9e8c-5fde0c5fbdd2" providerId="ADAL" clId="{8E1CC941-A529-42BD-91F2-8926E50D0828}" dt="2024-06-25T11:07:33.706" v="89" actId="700"/>
          <ac:spMkLst>
            <pc:docMk/>
            <pc:sldMk cId="0" sldId="256"/>
            <ac:spMk id="3" creationId="{AC5BCA3A-F123-49D4-BB84-16779C15ABB6}"/>
          </ac:spMkLst>
        </pc:spChg>
        <pc:spChg chg="add mod ord">
          <ac:chgData name="José Antonio Ureta Santacreu" userId="e36999d1-2b92-424a-9e8c-5fde0c5fbdd2" providerId="ADAL" clId="{8E1CC941-A529-42BD-91F2-8926E50D0828}" dt="2024-06-25T11:07:33.706" v="89" actId="700"/>
          <ac:spMkLst>
            <pc:docMk/>
            <pc:sldMk cId="0" sldId="256"/>
            <ac:spMk id="4" creationId="{4B0C81E5-DB16-985C-E62B-C017AE495F6B}"/>
          </ac:spMkLst>
        </pc:spChg>
        <pc:spChg chg="mod ord">
          <ac:chgData name="José Antonio Ureta Santacreu" userId="e36999d1-2b92-424a-9e8c-5fde0c5fbdd2" providerId="ADAL" clId="{8E1CC941-A529-42BD-91F2-8926E50D0828}" dt="2024-06-25T11:07:33.706" v="89" actId="700"/>
          <ac:spMkLst>
            <pc:docMk/>
            <pc:sldMk cId="0" sldId="256"/>
            <ac:spMk id="13315" creationId="{00000000-0000-0000-0000-000000000000}"/>
          </ac:spMkLst>
        </pc:spChg>
        <pc:picChg chg="del">
          <ac:chgData name="José Antonio Ureta Santacreu" userId="e36999d1-2b92-424a-9e8c-5fde0c5fbdd2" providerId="ADAL" clId="{8E1CC941-A529-42BD-91F2-8926E50D0828}" dt="2024-06-25T11:08:35.211" v="91" actId="478"/>
          <ac:picMkLst>
            <pc:docMk/>
            <pc:sldMk cId="0" sldId="256"/>
            <ac:picMk id="2" creationId="{B7993A26-72A5-E867-95DA-EF99EF7D51C4}"/>
          </ac:picMkLst>
        </pc:picChg>
      </pc:sldChg>
      <pc:sldChg chg="modSp">
        <pc:chgData name="José Antonio Ureta Santacreu" userId="e36999d1-2b92-424a-9e8c-5fde0c5fbdd2" providerId="ADAL" clId="{8E1CC941-A529-42BD-91F2-8926E50D0828}" dt="2024-06-25T11:06:57.220" v="0"/>
        <pc:sldMkLst>
          <pc:docMk/>
          <pc:sldMk cId="3488578706" sldId="257"/>
        </pc:sldMkLst>
        <pc:spChg chg="mod">
          <ac:chgData name="José Antonio Ureta Santacreu" userId="e36999d1-2b92-424a-9e8c-5fde0c5fbdd2" providerId="ADAL" clId="{8E1CC941-A529-42BD-91F2-8926E50D0828}" dt="2024-06-25T11:06:57.220" v="0"/>
          <ac:spMkLst>
            <pc:docMk/>
            <pc:sldMk cId="3488578706" sldId="257"/>
            <ac:spMk id="2" creationId="{25BE0FAF-A033-7089-3B46-E75F850DC8D9}"/>
          </ac:spMkLst>
        </pc:spChg>
        <pc:spChg chg="mod">
          <ac:chgData name="José Antonio Ureta Santacreu" userId="e36999d1-2b92-424a-9e8c-5fde0c5fbdd2" providerId="ADAL" clId="{8E1CC941-A529-42BD-91F2-8926E50D0828}" dt="2024-06-25T11:06:57.220" v="0"/>
          <ac:spMkLst>
            <pc:docMk/>
            <pc:sldMk cId="3488578706" sldId="257"/>
            <ac:spMk id="3" creationId="{E594DDC1-909A-4696-1897-9FDBD9A14DA2}"/>
          </ac:spMkLst>
        </pc:spChg>
        <pc:spChg chg="mod">
          <ac:chgData name="José Antonio Ureta Santacreu" userId="e36999d1-2b92-424a-9e8c-5fde0c5fbdd2" providerId="ADAL" clId="{8E1CC941-A529-42BD-91F2-8926E50D0828}" dt="2024-06-25T11:06:57.220" v="0"/>
          <ac:spMkLst>
            <pc:docMk/>
            <pc:sldMk cId="3488578706" sldId="257"/>
            <ac:spMk id="4" creationId="{3A78B1F1-8AA6-B91A-0B2A-7C8E559E8408}"/>
          </ac:spMkLst>
        </pc:spChg>
        <pc:spChg chg="mod">
          <ac:chgData name="José Antonio Ureta Santacreu" userId="e36999d1-2b92-424a-9e8c-5fde0c5fbdd2" providerId="ADAL" clId="{8E1CC941-A529-42BD-91F2-8926E50D0828}" dt="2024-06-25T11:06:57.220" v="0"/>
          <ac:spMkLst>
            <pc:docMk/>
            <pc:sldMk cId="3488578706" sldId="257"/>
            <ac:spMk id="7" creationId="{1690F052-CA99-AE26-5BC2-02CD577DE123}"/>
          </ac:spMkLst>
        </pc:spChg>
      </pc:sldChg>
      <pc:sldChg chg="modSp">
        <pc:chgData name="José Antonio Ureta Santacreu" userId="e36999d1-2b92-424a-9e8c-5fde0c5fbdd2" providerId="ADAL" clId="{8E1CC941-A529-42BD-91F2-8926E50D0828}" dt="2024-06-25T11:06:57.220" v="0"/>
        <pc:sldMkLst>
          <pc:docMk/>
          <pc:sldMk cId="978019923" sldId="258"/>
        </pc:sldMkLst>
        <pc:spChg chg="mod">
          <ac:chgData name="José Antonio Ureta Santacreu" userId="e36999d1-2b92-424a-9e8c-5fde0c5fbdd2" providerId="ADAL" clId="{8E1CC941-A529-42BD-91F2-8926E50D0828}" dt="2024-06-25T11:06:57.220" v="0"/>
          <ac:spMkLst>
            <pc:docMk/>
            <pc:sldMk cId="978019923" sldId="258"/>
            <ac:spMk id="2" creationId="{B3B08F96-2AB5-4FC8-9596-3F443B1F49D9}"/>
          </ac:spMkLst>
        </pc:spChg>
        <pc:spChg chg="mod">
          <ac:chgData name="José Antonio Ureta Santacreu" userId="e36999d1-2b92-424a-9e8c-5fde0c5fbdd2" providerId="ADAL" clId="{8E1CC941-A529-42BD-91F2-8926E50D0828}" dt="2024-06-25T11:06:57.220" v="0"/>
          <ac:spMkLst>
            <pc:docMk/>
            <pc:sldMk cId="978019923" sldId="258"/>
            <ac:spMk id="11" creationId="{CB76927B-2978-4575-BA84-46FFA9C7F0B5}"/>
          </ac:spMkLst>
        </pc:spChg>
        <pc:spChg chg="mod">
          <ac:chgData name="José Antonio Ureta Santacreu" userId="e36999d1-2b92-424a-9e8c-5fde0c5fbdd2" providerId="ADAL" clId="{8E1CC941-A529-42BD-91F2-8926E50D0828}" dt="2024-06-25T11:06:57.220" v="0"/>
          <ac:spMkLst>
            <pc:docMk/>
            <pc:sldMk cId="978019923" sldId="258"/>
            <ac:spMk id="12" creationId="{CD92DB62-5EA0-4DB1-B938-1CEBB97D698D}"/>
          </ac:spMkLst>
        </pc:spChg>
        <pc:spChg chg="mod">
          <ac:chgData name="José Antonio Ureta Santacreu" userId="e36999d1-2b92-424a-9e8c-5fde0c5fbdd2" providerId="ADAL" clId="{8E1CC941-A529-42BD-91F2-8926E50D0828}" dt="2024-06-25T11:06:57.220" v="0"/>
          <ac:spMkLst>
            <pc:docMk/>
            <pc:sldMk cId="978019923" sldId="258"/>
            <ac:spMk id="13" creationId="{5515B45E-5052-4FC4-AC49-DF9E32791B2D}"/>
          </ac:spMkLst>
        </pc:spChg>
        <pc:picChg chg="mod">
          <ac:chgData name="José Antonio Ureta Santacreu" userId="e36999d1-2b92-424a-9e8c-5fde0c5fbdd2" providerId="ADAL" clId="{8E1CC941-A529-42BD-91F2-8926E50D0828}" dt="2024-06-25T11:06:57.220" v="0"/>
          <ac:picMkLst>
            <pc:docMk/>
            <pc:sldMk cId="978019923" sldId="258"/>
            <ac:picMk id="7170" creationId="{CAC36ED3-30ED-4ECE-9FBA-6DC84689BA73}"/>
          </ac:picMkLst>
        </pc:picChg>
      </pc:sldChg>
      <pc:sldChg chg="modSp">
        <pc:chgData name="José Antonio Ureta Santacreu" userId="e36999d1-2b92-424a-9e8c-5fde0c5fbdd2" providerId="ADAL" clId="{8E1CC941-A529-42BD-91F2-8926E50D0828}" dt="2024-06-25T11:06:57.220" v="0"/>
        <pc:sldMkLst>
          <pc:docMk/>
          <pc:sldMk cId="3238602929" sldId="259"/>
        </pc:sldMkLst>
        <pc:spChg chg="mod">
          <ac:chgData name="José Antonio Ureta Santacreu" userId="e36999d1-2b92-424a-9e8c-5fde0c5fbdd2" providerId="ADAL" clId="{8E1CC941-A529-42BD-91F2-8926E50D0828}" dt="2024-06-25T11:06:57.220" v="0"/>
          <ac:spMkLst>
            <pc:docMk/>
            <pc:sldMk cId="3238602929" sldId="259"/>
            <ac:spMk id="2" creationId="{973AF3E1-14FF-41D2-8076-8B87E28C977C}"/>
          </ac:spMkLst>
        </pc:spChg>
        <pc:spChg chg="mod">
          <ac:chgData name="José Antonio Ureta Santacreu" userId="e36999d1-2b92-424a-9e8c-5fde0c5fbdd2" providerId="ADAL" clId="{8E1CC941-A529-42BD-91F2-8926E50D0828}" dt="2024-06-25T11:06:57.220" v="0"/>
          <ac:spMkLst>
            <pc:docMk/>
            <pc:sldMk cId="3238602929" sldId="259"/>
            <ac:spMk id="4" creationId="{7C2473EB-F2FD-4861-8CB8-5E5058D62451}"/>
          </ac:spMkLst>
        </pc:spChg>
        <pc:spChg chg="mod">
          <ac:chgData name="José Antonio Ureta Santacreu" userId="e36999d1-2b92-424a-9e8c-5fde0c5fbdd2" providerId="ADAL" clId="{8E1CC941-A529-42BD-91F2-8926E50D0828}" dt="2024-06-25T11:06:57.220" v="0"/>
          <ac:spMkLst>
            <pc:docMk/>
            <pc:sldMk cId="3238602929" sldId="259"/>
            <ac:spMk id="6" creationId="{7C593F3A-3B77-4AD2-9B88-93E26D200BF4}"/>
          </ac:spMkLst>
        </pc:spChg>
      </pc:sldChg>
      <pc:sldChg chg="modSp">
        <pc:chgData name="José Antonio Ureta Santacreu" userId="e36999d1-2b92-424a-9e8c-5fde0c5fbdd2" providerId="ADAL" clId="{8E1CC941-A529-42BD-91F2-8926E50D0828}" dt="2024-06-25T11:06:57.220" v="0"/>
        <pc:sldMkLst>
          <pc:docMk/>
          <pc:sldMk cId="2403386146" sldId="260"/>
        </pc:sldMkLst>
        <pc:spChg chg="mod">
          <ac:chgData name="José Antonio Ureta Santacreu" userId="e36999d1-2b92-424a-9e8c-5fde0c5fbdd2" providerId="ADAL" clId="{8E1CC941-A529-42BD-91F2-8926E50D0828}" dt="2024-06-25T11:06:57.220" v="0"/>
          <ac:spMkLst>
            <pc:docMk/>
            <pc:sldMk cId="2403386146" sldId="260"/>
            <ac:spMk id="2" creationId="{B3B08F96-2AB5-4FC8-9596-3F443B1F49D9}"/>
          </ac:spMkLst>
        </pc:spChg>
        <pc:spChg chg="mod">
          <ac:chgData name="José Antonio Ureta Santacreu" userId="e36999d1-2b92-424a-9e8c-5fde0c5fbdd2" providerId="ADAL" clId="{8E1CC941-A529-42BD-91F2-8926E50D0828}" dt="2024-06-25T11:06:57.220" v="0"/>
          <ac:spMkLst>
            <pc:docMk/>
            <pc:sldMk cId="2403386146" sldId="260"/>
            <ac:spMk id="9" creationId="{9290AD49-93EC-4AD2-9339-C040BA5C52CA}"/>
          </ac:spMkLst>
        </pc:spChg>
        <pc:spChg chg="mod">
          <ac:chgData name="José Antonio Ureta Santacreu" userId="e36999d1-2b92-424a-9e8c-5fde0c5fbdd2" providerId="ADAL" clId="{8E1CC941-A529-42BD-91F2-8926E50D0828}" dt="2024-06-25T11:06:57.220" v="0"/>
          <ac:spMkLst>
            <pc:docMk/>
            <pc:sldMk cId="2403386146" sldId="260"/>
            <ac:spMk id="10" creationId="{40C88E4C-80A6-4C00-9595-AED3D5265EE4}"/>
          </ac:spMkLst>
        </pc:spChg>
        <pc:spChg chg="mod">
          <ac:chgData name="José Antonio Ureta Santacreu" userId="e36999d1-2b92-424a-9e8c-5fde0c5fbdd2" providerId="ADAL" clId="{8E1CC941-A529-42BD-91F2-8926E50D0828}" dt="2024-06-25T11:06:57.220" v="0"/>
          <ac:spMkLst>
            <pc:docMk/>
            <pc:sldMk cId="2403386146" sldId="260"/>
            <ac:spMk id="11" creationId="{015D8FEF-835E-4274-90EA-60CD9A281DD8}"/>
          </ac:spMkLst>
        </pc:spChg>
      </pc:sldChg>
      <pc:sldChg chg="modSp">
        <pc:chgData name="José Antonio Ureta Santacreu" userId="e36999d1-2b92-424a-9e8c-5fde0c5fbdd2" providerId="ADAL" clId="{8E1CC941-A529-42BD-91F2-8926E50D0828}" dt="2024-06-25T11:06:57.220" v="0"/>
        <pc:sldMkLst>
          <pc:docMk/>
          <pc:sldMk cId="3684905294" sldId="261"/>
        </pc:sldMkLst>
        <pc:spChg chg="mod">
          <ac:chgData name="José Antonio Ureta Santacreu" userId="e36999d1-2b92-424a-9e8c-5fde0c5fbdd2" providerId="ADAL" clId="{8E1CC941-A529-42BD-91F2-8926E50D0828}" dt="2024-06-25T11:06:57.220" v="0"/>
          <ac:spMkLst>
            <pc:docMk/>
            <pc:sldMk cId="3684905294" sldId="261"/>
            <ac:spMk id="2" creationId="{8E268C79-7E2E-4228-8735-B75482E0D9A9}"/>
          </ac:spMkLst>
        </pc:spChg>
        <pc:spChg chg="mod">
          <ac:chgData name="José Antonio Ureta Santacreu" userId="e36999d1-2b92-424a-9e8c-5fde0c5fbdd2" providerId="ADAL" clId="{8E1CC941-A529-42BD-91F2-8926E50D0828}" dt="2024-06-25T11:06:57.220" v="0"/>
          <ac:spMkLst>
            <pc:docMk/>
            <pc:sldMk cId="3684905294" sldId="261"/>
            <ac:spMk id="5" creationId="{FE9DD0B1-6DF5-4751-97E2-52E599A0099A}"/>
          </ac:spMkLst>
        </pc:spChg>
        <pc:spChg chg="mod">
          <ac:chgData name="José Antonio Ureta Santacreu" userId="e36999d1-2b92-424a-9e8c-5fde0c5fbdd2" providerId="ADAL" clId="{8E1CC941-A529-42BD-91F2-8926E50D0828}" dt="2024-06-25T11:06:57.220" v="0"/>
          <ac:spMkLst>
            <pc:docMk/>
            <pc:sldMk cId="3684905294" sldId="261"/>
            <ac:spMk id="6" creationId="{3F13373B-50E2-45C6-9A0D-703AA26F359D}"/>
          </ac:spMkLst>
        </pc:spChg>
        <pc:spChg chg="mod">
          <ac:chgData name="José Antonio Ureta Santacreu" userId="e36999d1-2b92-424a-9e8c-5fde0c5fbdd2" providerId="ADAL" clId="{8E1CC941-A529-42BD-91F2-8926E50D0828}" dt="2024-06-25T11:06:57.220" v="0"/>
          <ac:spMkLst>
            <pc:docMk/>
            <pc:sldMk cId="3684905294" sldId="261"/>
            <ac:spMk id="7" creationId="{0DAF4575-9262-4439-B799-7E4AAE347CAB}"/>
          </ac:spMkLst>
        </pc:spChg>
      </pc:sldChg>
      <pc:sldChg chg="modSp">
        <pc:chgData name="José Antonio Ureta Santacreu" userId="e36999d1-2b92-424a-9e8c-5fde0c5fbdd2" providerId="ADAL" clId="{8E1CC941-A529-42BD-91F2-8926E50D0828}" dt="2024-06-25T11:06:57.220" v="0"/>
        <pc:sldMkLst>
          <pc:docMk/>
          <pc:sldMk cId="2049381636" sldId="262"/>
        </pc:sldMkLst>
        <pc:spChg chg="mod">
          <ac:chgData name="José Antonio Ureta Santacreu" userId="e36999d1-2b92-424a-9e8c-5fde0c5fbdd2" providerId="ADAL" clId="{8E1CC941-A529-42BD-91F2-8926E50D0828}" dt="2024-06-25T11:06:57.220" v="0"/>
          <ac:spMkLst>
            <pc:docMk/>
            <pc:sldMk cId="2049381636" sldId="262"/>
            <ac:spMk id="2" creationId="{490A6DA8-9ED6-487B-AF99-A14F0A3F4549}"/>
          </ac:spMkLst>
        </pc:spChg>
        <pc:spChg chg="mod">
          <ac:chgData name="José Antonio Ureta Santacreu" userId="e36999d1-2b92-424a-9e8c-5fde0c5fbdd2" providerId="ADAL" clId="{8E1CC941-A529-42BD-91F2-8926E50D0828}" dt="2024-06-25T11:06:57.220" v="0"/>
          <ac:spMkLst>
            <pc:docMk/>
            <pc:sldMk cId="2049381636" sldId="262"/>
            <ac:spMk id="4" creationId="{3C8AAEF2-1D2B-47A9-89F9-F3EC4E5EA863}"/>
          </ac:spMkLst>
        </pc:spChg>
        <pc:spChg chg="mod">
          <ac:chgData name="José Antonio Ureta Santacreu" userId="e36999d1-2b92-424a-9e8c-5fde0c5fbdd2" providerId="ADAL" clId="{8E1CC941-A529-42BD-91F2-8926E50D0828}" dt="2024-06-25T11:06:57.220" v="0"/>
          <ac:spMkLst>
            <pc:docMk/>
            <pc:sldMk cId="2049381636" sldId="262"/>
            <ac:spMk id="5" creationId="{02823058-BEFF-47DD-937E-61EDE090E10C}"/>
          </ac:spMkLst>
        </pc:spChg>
      </pc:sldChg>
      <pc:sldChg chg="modSp">
        <pc:chgData name="José Antonio Ureta Santacreu" userId="e36999d1-2b92-424a-9e8c-5fde0c5fbdd2" providerId="ADAL" clId="{8E1CC941-A529-42BD-91F2-8926E50D0828}" dt="2024-06-25T11:06:57.220" v="0"/>
        <pc:sldMkLst>
          <pc:docMk/>
          <pc:sldMk cId="2402355785" sldId="263"/>
        </pc:sldMkLst>
        <pc:spChg chg="mod">
          <ac:chgData name="José Antonio Ureta Santacreu" userId="e36999d1-2b92-424a-9e8c-5fde0c5fbdd2" providerId="ADAL" clId="{8E1CC941-A529-42BD-91F2-8926E50D0828}" dt="2024-06-25T11:06:57.220" v="0"/>
          <ac:spMkLst>
            <pc:docMk/>
            <pc:sldMk cId="2402355785" sldId="263"/>
            <ac:spMk id="2" creationId="{F442513C-2B39-4643-BEA4-11588D25713A}"/>
          </ac:spMkLst>
        </pc:spChg>
        <pc:spChg chg="mod">
          <ac:chgData name="José Antonio Ureta Santacreu" userId="e36999d1-2b92-424a-9e8c-5fde0c5fbdd2" providerId="ADAL" clId="{8E1CC941-A529-42BD-91F2-8926E50D0828}" dt="2024-06-25T11:06:57.220" v="0"/>
          <ac:spMkLst>
            <pc:docMk/>
            <pc:sldMk cId="2402355785" sldId="263"/>
            <ac:spMk id="3" creationId="{E5F78ACA-F3D8-4F2A-A9E9-29E9B1141A3B}"/>
          </ac:spMkLst>
        </pc:spChg>
        <pc:spChg chg="mod">
          <ac:chgData name="José Antonio Ureta Santacreu" userId="e36999d1-2b92-424a-9e8c-5fde0c5fbdd2" providerId="ADAL" clId="{8E1CC941-A529-42BD-91F2-8926E50D0828}" dt="2024-06-25T11:06:57.220" v="0"/>
          <ac:spMkLst>
            <pc:docMk/>
            <pc:sldMk cId="2402355785" sldId="263"/>
            <ac:spMk id="4" creationId="{72F7A903-A1A1-4190-911D-FC1E95DA0E72}"/>
          </ac:spMkLst>
        </pc:spChg>
        <pc:spChg chg="mod">
          <ac:chgData name="José Antonio Ureta Santacreu" userId="e36999d1-2b92-424a-9e8c-5fde0c5fbdd2" providerId="ADAL" clId="{8E1CC941-A529-42BD-91F2-8926E50D0828}" dt="2024-06-25T11:06:57.220" v="0"/>
          <ac:spMkLst>
            <pc:docMk/>
            <pc:sldMk cId="2402355785" sldId="263"/>
            <ac:spMk id="25" creationId="{E2815178-0BD5-4C8D-92DB-742E56B566F3}"/>
          </ac:spMkLst>
        </pc:spChg>
      </pc:sldChg>
      <pc:sldChg chg="modSp">
        <pc:chgData name="José Antonio Ureta Santacreu" userId="e36999d1-2b92-424a-9e8c-5fde0c5fbdd2" providerId="ADAL" clId="{8E1CC941-A529-42BD-91F2-8926E50D0828}" dt="2024-06-25T11:06:57.220" v="0"/>
        <pc:sldMkLst>
          <pc:docMk/>
          <pc:sldMk cId="2110605924" sldId="264"/>
        </pc:sldMkLst>
        <pc:spChg chg="mod">
          <ac:chgData name="José Antonio Ureta Santacreu" userId="e36999d1-2b92-424a-9e8c-5fde0c5fbdd2" providerId="ADAL" clId="{8E1CC941-A529-42BD-91F2-8926E50D0828}" dt="2024-06-25T11:06:57.220" v="0"/>
          <ac:spMkLst>
            <pc:docMk/>
            <pc:sldMk cId="2110605924" sldId="264"/>
            <ac:spMk id="2" creationId="{7172D3D0-8ED4-4D38-B505-9B10EF5CD76D}"/>
          </ac:spMkLst>
        </pc:spChg>
        <pc:spChg chg="mod">
          <ac:chgData name="José Antonio Ureta Santacreu" userId="e36999d1-2b92-424a-9e8c-5fde0c5fbdd2" providerId="ADAL" clId="{8E1CC941-A529-42BD-91F2-8926E50D0828}" dt="2024-06-25T11:06:57.220" v="0"/>
          <ac:spMkLst>
            <pc:docMk/>
            <pc:sldMk cId="2110605924" sldId="264"/>
            <ac:spMk id="3" creationId="{70822570-5081-493E-9424-73438EB3BF37}"/>
          </ac:spMkLst>
        </pc:spChg>
        <pc:spChg chg="mod">
          <ac:chgData name="José Antonio Ureta Santacreu" userId="e36999d1-2b92-424a-9e8c-5fde0c5fbdd2" providerId="ADAL" clId="{8E1CC941-A529-42BD-91F2-8926E50D0828}" dt="2024-06-25T11:06:57.220" v="0"/>
          <ac:spMkLst>
            <pc:docMk/>
            <pc:sldMk cId="2110605924" sldId="264"/>
            <ac:spMk id="5" creationId="{E3B050BF-8056-4257-8628-9DD7248B7535}"/>
          </ac:spMkLst>
        </pc:spChg>
        <pc:spChg chg="mod">
          <ac:chgData name="José Antonio Ureta Santacreu" userId="e36999d1-2b92-424a-9e8c-5fde0c5fbdd2" providerId="ADAL" clId="{8E1CC941-A529-42BD-91F2-8926E50D0828}" dt="2024-06-25T11:06:57.220" v="0"/>
          <ac:spMkLst>
            <pc:docMk/>
            <pc:sldMk cId="2110605924" sldId="264"/>
            <ac:spMk id="6" creationId="{5FA62252-320F-4EC6-871B-467EDE15429E}"/>
          </ac:spMkLst>
        </pc:spChg>
        <pc:picChg chg="mod">
          <ac:chgData name="José Antonio Ureta Santacreu" userId="e36999d1-2b92-424a-9e8c-5fde0c5fbdd2" providerId="ADAL" clId="{8E1CC941-A529-42BD-91F2-8926E50D0828}" dt="2024-06-25T11:06:57.220" v="0"/>
          <ac:picMkLst>
            <pc:docMk/>
            <pc:sldMk cId="2110605924" sldId="264"/>
            <ac:picMk id="7" creationId="{3933824D-F025-28D2-0BDF-25434AE17BB7}"/>
          </ac:picMkLst>
        </pc:picChg>
      </pc:sldChg>
      <pc:sldChg chg="modSp">
        <pc:chgData name="José Antonio Ureta Santacreu" userId="e36999d1-2b92-424a-9e8c-5fde0c5fbdd2" providerId="ADAL" clId="{8E1CC941-A529-42BD-91F2-8926E50D0828}" dt="2024-06-25T11:06:57.220" v="0"/>
        <pc:sldMkLst>
          <pc:docMk/>
          <pc:sldMk cId="1404877973" sldId="265"/>
        </pc:sldMkLst>
        <pc:spChg chg="mod">
          <ac:chgData name="José Antonio Ureta Santacreu" userId="e36999d1-2b92-424a-9e8c-5fde0c5fbdd2" providerId="ADAL" clId="{8E1CC941-A529-42BD-91F2-8926E50D0828}" dt="2024-06-25T11:06:57.220" v="0"/>
          <ac:spMkLst>
            <pc:docMk/>
            <pc:sldMk cId="1404877973" sldId="265"/>
            <ac:spMk id="2" creationId="{2F063810-1FE1-0A9D-975A-8AAE680EE887}"/>
          </ac:spMkLst>
        </pc:spChg>
        <pc:spChg chg="mod">
          <ac:chgData name="José Antonio Ureta Santacreu" userId="e36999d1-2b92-424a-9e8c-5fde0c5fbdd2" providerId="ADAL" clId="{8E1CC941-A529-42BD-91F2-8926E50D0828}" dt="2024-06-25T11:06:57.220" v="0"/>
          <ac:spMkLst>
            <pc:docMk/>
            <pc:sldMk cId="1404877973" sldId="265"/>
            <ac:spMk id="4" creationId="{F3F8FCB7-0129-420A-74EF-69D5DBD4010B}"/>
          </ac:spMkLst>
        </pc:spChg>
        <pc:spChg chg="mod">
          <ac:chgData name="José Antonio Ureta Santacreu" userId="e36999d1-2b92-424a-9e8c-5fde0c5fbdd2" providerId="ADAL" clId="{8E1CC941-A529-42BD-91F2-8926E50D0828}" dt="2024-06-25T11:06:57.220" v="0"/>
          <ac:spMkLst>
            <pc:docMk/>
            <pc:sldMk cId="1404877973" sldId="265"/>
            <ac:spMk id="5" creationId="{3A545F7B-C2AE-B3F4-5740-7D74FAC6AA23}"/>
          </ac:spMkLst>
        </pc:spChg>
        <pc:spChg chg="mod">
          <ac:chgData name="José Antonio Ureta Santacreu" userId="e36999d1-2b92-424a-9e8c-5fde0c5fbdd2" providerId="ADAL" clId="{8E1CC941-A529-42BD-91F2-8926E50D0828}" dt="2024-06-25T11:06:57.220" v="0"/>
          <ac:spMkLst>
            <pc:docMk/>
            <pc:sldMk cId="1404877973" sldId="265"/>
            <ac:spMk id="6" creationId="{69F2161B-946B-773D-FAC2-7F845CEFF303}"/>
          </ac:spMkLst>
        </pc:spChg>
        <pc:picChg chg="mod">
          <ac:chgData name="José Antonio Ureta Santacreu" userId="e36999d1-2b92-424a-9e8c-5fde0c5fbdd2" providerId="ADAL" clId="{8E1CC941-A529-42BD-91F2-8926E50D0828}" dt="2024-06-25T11:06:57.220" v="0"/>
          <ac:picMkLst>
            <pc:docMk/>
            <pc:sldMk cId="1404877973" sldId="265"/>
            <ac:picMk id="12" creationId="{806F944B-40D1-4EF6-D603-5A745AC934AC}"/>
          </ac:picMkLst>
        </pc:picChg>
      </pc:sldChg>
      <pc:sldChg chg="modSp mod">
        <pc:chgData name="José Antonio Ureta Santacreu" userId="e36999d1-2b92-424a-9e8c-5fde0c5fbdd2" providerId="ADAL" clId="{8E1CC941-A529-42BD-91F2-8926E50D0828}" dt="2024-06-25T11:06:58.855" v="32" actId="27636"/>
        <pc:sldMkLst>
          <pc:docMk/>
          <pc:sldMk cId="278873915" sldId="266"/>
        </pc:sldMkLst>
        <pc:spChg chg="mod">
          <ac:chgData name="José Antonio Ureta Santacreu" userId="e36999d1-2b92-424a-9e8c-5fde0c5fbdd2" providerId="ADAL" clId="{8E1CC941-A529-42BD-91F2-8926E50D0828}" dt="2024-06-25T11:06:58.855" v="32" actId="27636"/>
          <ac:spMkLst>
            <pc:docMk/>
            <pc:sldMk cId="278873915" sldId="266"/>
            <ac:spMk id="2" creationId="{00000000-0000-0000-0000-000000000000}"/>
          </ac:spMkLst>
        </pc:spChg>
        <pc:spChg chg="mod">
          <ac:chgData name="José Antonio Ureta Santacreu" userId="e36999d1-2b92-424a-9e8c-5fde0c5fbdd2" providerId="ADAL" clId="{8E1CC941-A529-42BD-91F2-8926E50D0828}" dt="2024-06-25T11:06:57.220" v="0"/>
          <ac:spMkLst>
            <pc:docMk/>
            <pc:sldMk cId="278873915" sldId="266"/>
            <ac:spMk id="3" creationId="{713EED56-BAF5-43F7-B156-2D2301F5FE8E}"/>
          </ac:spMkLst>
        </pc:spChg>
        <pc:spChg chg="mod">
          <ac:chgData name="José Antonio Ureta Santacreu" userId="e36999d1-2b92-424a-9e8c-5fde0c5fbdd2" providerId="ADAL" clId="{8E1CC941-A529-42BD-91F2-8926E50D0828}" dt="2024-06-25T11:06:57.220" v="0"/>
          <ac:spMkLst>
            <pc:docMk/>
            <pc:sldMk cId="278873915" sldId="266"/>
            <ac:spMk id="4" creationId="{00000000-0000-0000-0000-000000000000}"/>
          </ac:spMkLst>
        </pc:spChg>
        <pc:spChg chg="mod">
          <ac:chgData name="José Antonio Ureta Santacreu" userId="e36999d1-2b92-424a-9e8c-5fde0c5fbdd2" providerId="ADAL" clId="{8E1CC941-A529-42BD-91F2-8926E50D0828}" dt="2024-06-25T11:06:57.220" v="0"/>
          <ac:spMkLst>
            <pc:docMk/>
            <pc:sldMk cId="278873915" sldId="266"/>
            <ac:spMk id="5" creationId="{00000000-0000-0000-0000-000000000000}"/>
          </ac:spMkLst>
        </pc:spChg>
        <pc:spChg chg="mod">
          <ac:chgData name="José Antonio Ureta Santacreu" userId="e36999d1-2b92-424a-9e8c-5fde0c5fbdd2" providerId="ADAL" clId="{8E1CC941-A529-42BD-91F2-8926E50D0828}" dt="2024-06-25T11:06:57.220" v="0"/>
          <ac:spMkLst>
            <pc:docMk/>
            <pc:sldMk cId="278873915" sldId="266"/>
            <ac:spMk id="6" creationId="{0B0B6F32-35FA-44A3-A1CE-9C1B404AC6FB}"/>
          </ac:spMkLst>
        </pc:spChg>
        <pc:spChg chg="mod">
          <ac:chgData name="José Antonio Ureta Santacreu" userId="e36999d1-2b92-424a-9e8c-5fde0c5fbdd2" providerId="ADAL" clId="{8E1CC941-A529-42BD-91F2-8926E50D0828}" dt="2024-06-25T11:06:57.220" v="0"/>
          <ac:spMkLst>
            <pc:docMk/>
            <pc:sldMk cId="278873915" sldId="266"/>
            <ac:spMk id="8" creationId="{00000000-0000-0000-0000-000000000000}"/>
          </ac:spMkLst>
        </pc:spChg>
      </pc:sldChg>
      <pc:sldChg chg="modSp">
        <pc:chgData name="José Antonio Ureta Santacreu" userId="e36999d1-2b92-424a-9e8c-5fde0c5fbdd2" providerId="ADAL" clId="{8E1CC941-A529-42BD-91F2-8926E50D0828}" dt="2024-06-25T11:06:57.220" v="0"/>
        <pc:sldMkLst>
          <pc:docMk/>
          <pc:sldMk cId="1413657626" sldId="267"/>
        </pc:sldMkLst>
        <pc:spChg chg="mod">
          <ac:chgData name="José Antonio Ureta Santacreu" userId="e36999d1-2b92-424a-9e8c-5fde0c5fbdd2" providerId="ADAL" clId="{8E1CC941-A529-42BD-91F2-8926E50D0828}" dt="2024-06-25T11:06:57.220" v="0"/>
          <ac:spMkLst>
            <pc:docMk/>
            <pc:sldMk cId="1413657626" sldId="267"/>
            <ac:spMk id="2" creationId="{CEE6C110-341B-EDCE-9C87-4C023B6B7A96}"/>
          </ac:spMkLst>
        </pc:spChg>
        <pc:spChg chg="mod">
          <ac:chgData name="José Antonio Ureta Santacreu" userId="e36999d1-2b92-424a-9e8c-5fde0c5fbdd2" providerId="ADAL" clId="{8E1CC941-A529-42BD-91F2-8926E50D0828}" dt="2024-06-25T11:06:57.220" v="0"/>
          <ac:spMkLst>
            <pc:docMk/>
            <pc:sldMk cId="1413657626" sldId="267"/>
            <ac:spMk id="3" creationId="{7C768565-5473-17FB-69AA-34B34B888102}"/>
          </ac:spMkLst>
        </pc:spChg>
        <pc:spChg chg="mod">
          <ac:chgData name="José Antonio Ureta Santacreu" userId="e36999d1-2b92-424a-9e8c-5fde0c5fbdd2" providerId="ADAL" clId="{8E1CC941-A529-42BD-91F2-8926E50D0828}" dt="2024-06-25T11:06:57.220" v="0"/>
          <ac:spMkLst>
            <pc:docMk/>
            <pc:sldMk cId="1413657626" sldId="267"/>
            <ac:spMk id="4" creationId="{A46CB71A-56A6-73DC-8FB3-D4D7418957E7}"/>
          </ac:spMkLst>
        </pc:spChg>
        <pc:spChg chg="mod">
          <ac:chgData name="José Antonio Ureta Santacreu" userId="e36999d1-2b92-424a-9e8c-5fde0c5fbdd2" providerId="ADAL" clId="{8E1CC941-A529-42BD-91F2-8926E50D0828}" dt="2024-06-25T11:06:57.220" v="0"/>
          <ac:spMkLst>
            <pc:docMk/>
            <pc:sldMk cId="1413657626" sldId="267"/>
            <ac:spMk id="5" creationId="{8F7A9938-B986-4667-5D29-94DC5C4E1565}"/>
          </ac:spMkLst>
        </pc:spChg>
        <pc:picChg chg="mod">
          <ac:chgData name="José Antonio Ureta Santacreu" userId="e36999d1-2b92-424a-9e8c-5fde0c5fbdd2" providerId="ADAL" clId="{8E1CC941-A529-42BD-91F2-8926E50D0828}" dt="2024-06-25T11:06:57.220" v="0"/>
          <ac:picMkLst>
            <pc:docMk/>
            <pc:sldMk cId="1413657626" sldId="267"/>
            <ac:picMk id="4098" creationId="{E440AC70-E955-1C7E-0576-C9C00E5A4C61}"/>
          </ac:picMkLst>
        </pc:picChg>
      </pc:sldChg>
      <pc:sldChg chg="modSp">
        <pc:chgData name="José Antonio Ureta Santacreu" userId="e36999d1-2b92-424a-9e8c-5fde0c5fbdd2" providerId="ADAL" clId="{8E1CC941-A529-42BD-91F2-8926E50D0828}" dt="2024-06-25T11:06:57.220" v="0"/>
        <pc:sldMkLst>
          <pc:docMk/>
          <pc:sldMk cId="2176933797" sldId="268"/>
        </pc:sldMkLst>
        <pc:spChg chg="mod">
          <ac:chgData name="José Antonio Ureta Santacreu" userId="e36999d1-2b92-424a-9e8c-5fde0c5fbdd2" providerId="ADAL" clId="{8E1CC941-A529-42BD-91F2-8926E50D0828}" dt="2024-06-25T11:06:57.220" v="0"/>
          <ac:spMkLst>
            <pc:docMk/>
            <pc:sldMk cId="2176933797" sldId="268"/>
            <ac:spMk id="2" creationId="{00000000-0000-0000-0000-000000000000}"/>
          </ac:spMkLst>
        </pc:spChg>
        <pc:spChg chg="mod">
          <ac:chgData name="José Antonio Ureta Santacreu" userId="e36999d1-2b92-424a-9e8c-5fde0c5fbdd2" providerId="ADAL" clId="{8E1CC941-A529-42BD-91F2-8926E50D0828}" dt="2024-06-25T11:06:57.220" v="0"/>
          <ac:spMkLst>
            <pc:docMk/>
            <pc:sldMk cId="2176933797" sldId="268"/>
            <ac:spMk id="3" creationId="{C2124930-A3B7-4116-B69D-145B68054EB3}"/>
          </ac:spMkLst>
        </pc:spChg>
        <pc:spChg chg="mod">
          <ac:chgData name="José Antonio Ureta Santacreu" userId="e36999d1-2b92-424a-9e8c-5fde0c5fbdd2" providerId="ADAL" clId="{8E1CC941-A529-42BD-91F2-8926E50D0828}" dt="2024-06-25T11:06:57.220" v="0"/>
          <ac:spMkLst>
            <pc:docMk/>
            <pc:sldMk cId="2176933797" sldId="268"/>
            <ac:spMk id="4" creationId="{59F51152-346F-432D-A566-BABA883C1A95}"/>
          </ac:spMkLst>
        </pc:spChg>
      </pc:sldChg>
      <pc:sldChg chg="modSp">
        <pc:chgData name="José Antonio Ureta Santacreu" userId="e36999d1-2b92-424a-9e8c-5fde0c5fbdd2" providerId="ADAL" clId="{8E1CC941-A529-42BD-91F2-8926E50D0828}" dt="2024-06-25T11:06:57.220" v="0"/>
        <pc:sldMkLst>
          <pc:docMk/>
          <pc:sldMk cId="2857482861" sldId="269"/>
        </pc:sldMkLst>
        <pc:spChg chg="mod">
          <ac:chgData name="José Antonio Ureta Santacreu" userId="e36999d1-2b92-424a-9e8c-5fde0c5fbdd2" providerId="ADAL" clId="{8E1CC941-A529-42BD-91F2-8926E50D0828}" dt="2024-06-25T11:06:57.220" v="0"/>
          <ac:spMkLst>
            <pc:docMk/>
            <pc:sldMk cId="2857482861" sldId="269"/>
            <ac:spMk id="2" creationId="{1AA497F3-FA39-84C8-1C6A-8CD36F27075A}"/>
          </ac:spMkLst>
        </pc:spChg>
        <pc:spChg chg="mod">
          <ac:chgData name="José Antonio Ureta Santacreu" userId="e36999d1-2b92-424a-9e8c-5fde0c5fbdd2" providerId="ADAL" clId="{8E1CC941-A529-42BD-91F2-8926E50D0828}" dt="2024-06-25T11:06:57.220" v="0"/>
          <ac:spMkLst>
            <pc:docMk/>
            <pc:sldMk cId="2857482861" sldId="269"/>
            <ac:spMk id="3" creationId="{1BDB8B24-19C1-C1DF-6374-B8A22BC155C7}"/>
          </ac:spMkLst>
        </pc:spChg>
        <pc:spChg chg="mod">
          <ac:chgData name="José Antonio Ureta Santacreu" userId="e36999d1-2b92-424a-9e8c-5fde0c5fbdd2" providerId="ADAL" clId="{8E1CC941-A529-42BD-91F2-8926E50D0828}" dt="2024-06-25T11:06:57.220" v="0"/>
          <ac:spMkLst>
            <pc:docMk/>
            <pc:sldMk cId="2857482861" sldId="269"/>
            <ac:spMk id="4" creationId="{CBCE1891-980C-E69E-671E-4C610FAE2549}"/>
          </ac:spMkLst>
        </pc:spChg>
        <pc:spChg chg="mod">
          <ac:chgData name="José Antonio Ureta Santacreu" userId="e36999d1-2b92-424a-9e8c-5fde0c5fbdd2" providerId="ADAL" clId="{8E1CC941-A529-42BD-91F2-8926E50D0828}" dt="2024-06-25T11:06:57.220" v="0"/>
          <ac:spMkLst>
            <pc:docMk/>
            <pc:sldMk cId="2857482861" sldId="269"/>
            <ac:spMk id="5" creationId="{170E05A1-928D-CA7B-D604-E6967B19AF99}"/>
          </ac:spMkLst>
        </pc:spChg>
        <pc:spChg chg="mod">
          <ac:chgData name="José Antonio Ureta Santacreu" userId="e36999d1-2b92-424a-9e8c-5fde0c5fbdd2" providerId="ADAL" clId="{8E1CC941-A529-42BD-91F2-8926E50D0828}" dt="2024-06-25T11:06:57.220" v="0"/>
          <ac:spMkLst>
            <pc:docMk/>
            <pc:sldMk cId="2857482861" sldId="269"/>
            <ac:spMk id="6" creationId="{FA7CB60E-681E-020B-BD04-8CF75011B40E}"/>
          </ac:spMkLst>
        </pc:spChg>
      </pc:sldChg>
      <pc:sldChg chg="modSp">
        <pc:chgData name="José Antonio Ureta Santacreu" userId="e36999d1-2b92-424a-9e8c-5fde0c5fbdd2" providerId="ADAL" clId="{8E1CC941-A529-42BD-91F2-8926E50D0828}" dt="2024-06-25T11:06:57.220" v="0"/>
        <pc:sldMkLst>
          <pc:docMk/>
          <pc:sldMk cId="1665479842" sldId="270"/>
        </pc:sldMkLst>
        <pc:spChg chg="mod">
          <ac:chgData name="José Antonio Ureta Santacreu" userId="e36999d1-2b92-424a-9e8c-5fde0c5fbdd2" providerId="ADAL" clId="{8E1CC941-A529-42BD-91F2-8926E50D0828}" dt="2024-06-25T11:06:57.220" v="0"/>
          <ac:spMkLst>
            <pc:docMk/>
            <pc:sldMk cId="1665479842" sldId="270"/>
            <ac:spMk id="2" creationId="{4B0B54D9-72C4-4CF2-CD0F-216BB5EC22CD}"/>
          </ac:spMkLst>
        </pc:spChg>
        <pc:spChg chg="mod">
          <ac:chgData name="José Antonio Ureta Santacreu" userId="e36999d1-2b92-424a-9e8c-5fde0c5fbdd2" providerId="ADAL" clId="{8E1CC941-A529-42BD-91F2-8926E50D0828}" dt="2024-06-25T11:06:57.220" v="0"/>
          <ac:spMkLst>
            <pc:docMk/>
            <pc:sldMk cId="1665479842" sldId="270"/>
            <ac:spMk id="5" creationId="{9205181F-5738-310B-FDE4-5B75FDBCA34A}"/>
          </ac:spMkLst>
        </pc:spChg>
        <pc:spChg chg="mod">
          <ac:chgData name="José Antonio Ureta Santacreu" userId="e36999d1-2b92-424a-9e8c-5fde0c5fbdd2" providerId="ADAL" clId="{8E1CC941-A529-42BD-91F2-8926E50D0828}" dt="2024-06-25T11:06:57.220" v="0"/>
          <ac:spMkLst>
            <pc:docMk/>
            <pc:sldMk cId="1665479842" sldId="270"/>
            <ac:spMk id="6" creationId="{16C2B4EB-8A4D-69BC-D3B5-A0160C4EEB0C}"/>
          </ac:spMkLst>
        </pc:spChg>
        <pc:spChg chg="mod">
          <ac:chgData name="José Antonio Ureta Santacreu" userId="e36999d1-2b92-424a-9e8c-5fde0c5fbdd2" providerId="ADAL" clId="{8E1CC941-A529-42BD-91F2-8926E50D0828}" dt="2024-06-25T11:06:57.220" v="0"/>
          <ac:spMkLst>
            <pc:docMk/>
            <pc:sldMk cId="1665479842" sldId="270"/>
            <ac:spMk id="7" creationId="{06E6CBF9-C108-542A-4F0E-03A39505ABDF}"/>
          </ac:spMkLst>
        </pc:spChg>
      </pc:sldChg>
      <pc:sldChg chg="modSp">
        <pc:chgData name="José Antonio Ureta Santacreu" userId="e36999d1-2b92-424a-9e8c-5fde0c5fbdd2" providerId="ADAL" clId="{8E1CC941-A529-42BD-91F2-8926E50D0828}" dt="2024-06-25T11:06:57.220" v="0"/>
        <pc:sldMkLst>
          <pc:docMk/>
          <pc:sldMk cId="1033878959" sldId="271"/>
        </pc:sldMkLst>
        <pc:spChg chg="mod">
          <ac:chgData name="José Antonio Ureta Santacreu" userId="e36999d1-2b92-424a-9e8c-5fde0c5fbdd2" providerId="ADAL" clId="{8E1CC941-A529-42BD-91F2-8926E50D0828}" dt="2024-06-25T11:06:57.220" v="0"/>
          <ac:spMkLst>
            <pc:docMk/>
            <pc:sldMk cId="1033878959" sldId="271"/>
            <ac:spMk id="3" creationId="{31BF13B0-29FF-542E-ECF5-70EFF79FF766}"/>
          </ac:spMkLst>
        </pc:spChg>
        <pc:spChg chg="mod">
          <ac:chgData name="José Antonio Ureta Santacreu" userId="e36999d1-2b92-424a-9e8c-5fde0c5fbdd2" providerId="ADAL" clId="{8E1CC941-A529-42BD-91F2-8926E50D0828}" dt="2024-06-25T11:06:57.220" v="0"/>
          <ac:spMkLst>
            <pc:docMk/>
            <pc:sldMk cId="1033878959" sldId="271"/>
            <ac:spMk id="4" creationId="{0894E841-E38A-1513-E12E-30B711779112}"/>
          </ac:spMkLst>
        </pc:spChg>
        <pc:spChg chg="mod">
          <ac:chgData name="José Antonio Ureta Santacreu" userId="e36999d1-2b92-424a-9e8c-5fde0c5fbdd2" providerId="ADAL" clId="{8E1CC941-A529-42BD-91F2-8926E50D0828}" dt="2024-06-25T11:06:57.220" v="0"/>
          <ac:spMkLst>
            <pc:docMk/>
            <pc:sldMk cId="1033878959" sldId="271"/>
            <ac:spMk id="5" creationId="{6E82A1E7-85FB-3CB3-CAD1-32C251BBB453}"/>
          </ac:spMkLst>
        </pc:spChg>
        <pc:spChg chg="mod">
          <ac:chgData name="José Antonio Ureta Santacreu" userId="e36999d1-2b92-424a-9e8c-5fde0c5fbdd2" providerId="ADAL" clId="{8E1CC941-A529-42BD-91F2-8926E50D0828}" dt="2024-06-25T11:06:57.220" v="0"/>
          <ac:spMkLst>
            <pc:docMk/>
            <pc:sldMk cId="1033878959" sldId="271"/>
            <ac:spMk id="6" creationId="{FECD353F-4BBC-2BC0-B648-43D60DBE900B}"/>
          </ac:spMkLst>
        </pc:spChg>
        <pc:picChg chg="mod">
          <ac:chgData name="José Antonio Ureta Santacreu" userId="e36999d1-2b92-424a-9e8c-5fde0c5fbdd2" providerId="ADAL" clId="{8E1CC941-A529-42BD-91F2-8926E50D0828}" dt="2024-06-25T11:06:57.220" v="0"/>
          <ac:picMkLst>
            <pc:docMk/>
            <pc:sldMk cId="1033878959" sldId="271"/>
            <ac:picMk id="3074" creationId="{BFE6C62A-9EF9-ED32-8978-499CB9D941B3}"/>
          </ac:picMkLst>
        </pc:picChg>
      </pc:sldChg>
      <pc:sldChg chg="modSp">
        <pc:chgData name="José Antonio Ureta Santacreu" userId="e36999d1-2b92-424a-9e8c-5fde0c5fbdd2" providerId="ADAL" clId="{8E1CC941-A529-42BD-91F2-8926E50D0828}" dt="2024-06-25T11:06:57.220" v="0"/>
        <pc:sldMkLst>
          <pc:docMk/>
          <pc:sldMk cId="2456579995" sldId="272"/>
        </pc:sldMkLst>
        <pc:spChg chg="mod">
          <ac:chgData name="José Antonio Ureta Santacreu" userId="e36999d1-2b92-424a-9e8c-5fde0c5fbdd2" providerId="ADAL" clId="{8E1CC941-A529-42BD-91F2-8926E50D0828}" dt="2024-06-25T11:06:57.220" v="0"/>
          <ac:spMkLst>
            <pc:docMk/>
            <pc:sldMk cId="2456579995" sldId="272"/>
            <ac:spMk id="2" creationId="{CCE1B882-BC93-48DB-AC63-4B4FD17D8C26}"/>
          </ac:spMkLst>
        </pc:spChg>
        <pc:spChg chg="mod">
          <ac:chgData name="José Antonio Ureta Santacreu" userId="e36999d1-2b92-424a-9e8c-5fde0c5fbdd2" providerId="ADAL" clId="{8E1CC941-A529-42BD-91F2-8926E50D0828}" dt="2024-06-25T11:06:57.220" v="0"/>
          <ac:spMkLst>
            <pc:docMk/>
            <pc:sldMk cId="2456579995" sldId="272"/>
            <ac:spMk id="3" creationId="{98D0B5B5-ACA3-4501-9A5F-140357F4578A}"/>
          </ac:spMkLst>
        </pc:spChg>
        <pc:spChg chg="mod">
          <ac:chgData name="José Antonio Ureta Santacreu" userId="e36999d1-2b92-424a-9e8c-5fde0c5fbdd2" providerId="ADAL" clId="{8E1CC941-A529-42BD-91F2-8926E50D0828}" dt="2024-06-25T11:06:57.220" v="0"/>
          <ac:spMkLst>
            <pc:docMk/>
            <pc:sldMk cId="2456579995" sldId="272"/>
            <ac:spMk id="4" creationId="{9F165A15-3790-4110-B3BC-EAD9AD17731A}"/>
          </ac:spMkLst>
        </pc:spChg>
        <pc:spChg chg="mod">
          <ac:chgData name="José Antonio Ureta Santacreu" userId="e36999d1-2b92-424a-9e8c-5fde0c5fbdd2" providerId="ADAL" clId="{8E1CC941-A529-42BD-91F2-8926E50D0828}" dt="2024-06-25T11:06:57.220" v="0"/>
          <ac:spMkLst>
            <pc:docMk/>
            <pc:sldMk cId="2456579995" sldId="272"/>
            <ac:spMk id="9" creationId="{B52769FD-C678-47D9-BB46-AB68208359B9}"/>
          </ac:spMkLst>
        </pc:spChg>
      </pc:sldChg>
      <pc:sldChg chg="modSp mod">
        <pc:chgData name="José Antonio Ureta Santacreu" userId="e36999d1-2b92-424a-9e8c-5fde0c5fbdd2" providerId="ADAL" clId="{8E1CC941-A529-42BD-91F2-8926E50D0828}" dt="2024-06-25T11:06:59.411" v="50" actId="27636"/>
        <pc:sldMkLst>
          <pc:docMk/>
          <pc:sldMk cId="3637581644" sldId="273"/>
        </pc:sldMkLst>
        <pc:spChg chg="mod">
          <ac:chgData name="José Antonio Ureta Santacreu" userId="e36999d1-2b92-424a-9e8c-5fde0c5fbdd2" providerId="ADAL" clId="{8E1CC941-A529-42BD-91F2-8926E50D0828}" dt="2024-06-25T11:06:59.411" v="50" actId="27636"/>
          <ac:spMkLst>
            <pc:docMk/>
            <pc:sldMk cId="3637581644" sldId="273"/>
            <ac:spMk id="2" creationId="{23419A27-BC00-4978-B036-87ACB91D3AC7}"/>
          </ac:spMkLst>
        </pc:spChg>
        <pc:spChg chg="mod">
          <ac:chgData name="José Antonio Ureta Santacreu" userId="e36999d1-2b92-424a-9e8c-5fde0c5fbdd2" providerId="ADAL" clId="{8E1CC941-A529-42BD-91F2-8926E50D0828}" dt="2024-06-25T11:06:57.220" v="0"/>
          <ac:spMkLst>
            <pc:docMk/>
            <pc:sldMk cId="3637581644" sldId="273"/>
            <ac:spMk id="3" creationId="{554F60C1-C366-4DA4-9635-62B869F1A6BB}"/>
          </ac:spMkLst>
        </pc:spChg>
        <pc:spChg chg="mod">
          <ac:chgData name="José Antonio Ureta Santacreu" userId="e36999d1-2b92-424a-9e8c-5fde0c5fbdd2" providerId="ADAL" clId="{8E1CC941-A529-42BD-91F2-8926E50D0828}" dt="2024-06-25T11:06:57.220" v="0"/>
          <ac:spMkLst>
            <pc:docMk/>
            <pc:sldMk cId="3637581644" sldId="273"/>
            <ac:spMk id="4" creationId="{600ED613-92EC-4577-BE09-2358871EA617}"/>
          </ac:spMkLst>
        </pc:spChg>
        <pc:spChg chg="mod">
          <ac:chgData name="José Antonio Ureta Santacreu" userId="e36999d1-2b92-424a-9e8c-5fde0c5fbdd2" providerId="ADAL" clId="{8E1CC941-A529-42BD-91F2-8926E50D0828}" dt="2024-06-25T11:06:57.220" v="0"/>
          <ac:spMkLst>
            <pc:docMk/>
            <pc:sldMk cId="3637581644" sldId="273"/>
            <ac:spMk id="5" creationId="{AEB367BF-F7ED-4D9C-8155-08798965F226}"/>
          </ac:spMkLst>
        </pc:spChg>
      </pc:sldChg>
      <pc:sldChg chg="modSp">
        <pc:chgData name="José Antonio Ureta Santacreu" userId="e36999d1-2b92-424a-9e8c-5fde0c5fbdd2" providerId="ADAL" clId="{8E1CC941-A529-42BD-91F2-8926E50D0828}" dt="2024-06-25T11:06:57.220" v="0"/>
        <pc:sldMkLst>
          <pc:docMk/>
          <pc:sldMk cId="4042182867" sldId="274"/>
        </pc:sldMkLst>
        <pc:spChg chg="mod">
          <ac:chgData name="José Antonio Ureta Santacreu" userId="e36999d1-2b92-424a-9e8c-5fde0c5fbdd2" providerId="ADAL" clId="{8E1CC941-A529-42BD-91F2-8926E50D0828}" dt="2024-06-25T11:06:57.220" v="0"/>
          <ac:spMkLst>
            <pc:docMk/>
            <pc:sldMk cId="4042182867" sldId="274"/>
            <ac:spMk id="2" creationId="{E2ECE83F-737E-4591-A8B0-296DD985FD27}"/>
          </ac:spMkLst>
        </pc:spChg>
        <pc:spChg chg="mod">
          <ac:chgData name="José Antonio Ureta Santacreu" userId="e36999d1-2b92-424a-9e8c-5fde0c5fbdd2" providerId="ADAL" clId="{8E1CC941-A529-42BD-91F2-8926E50D0828}" dt="2024-06-25T11:06:57.220" v="0"/>
          <ac:spMkLst>
            <pc:docMk/>
            <pc:sldMk cId="4042182867" sldId="274"/>
            <ac:spMk id="3" creationId="{38C96CB9-7F8E-4FBA-975E-CCF81FA44599}"/>
          </ac:spMkLst>
        </pc:spChg>
        <pc:spChg chg="mod">
          <ac:chgData name="José Antonio Ureta Santacreu" userId="e36999d1-2b92-424a-9e8c-5fde0c5fbdd2" providerId="ADAL" clId="{8E1CC941-A529-42BD-91F2-8926E50D0828}" dt="2024-06-25T11:06:57.220" v="0"/>
          <ac:spMkLst>
            <pc:docMk/>
            <pc:sldMk cId="4042182867" sldId="274"/>
            <ac:spMk id="9" creationId="{3917A6CF-A6E0-43FB-9020-8EAD55290AC0}"/>
          </ac:spMkLst>
        </pc:spChg>
        <pc:spChg chg="mod">
          <ac:chgData name="José Antonio Ureta Santacreu" userId="e36999d1-2b92-424a-9e8c-5fde0c5fbdd2" providerId="ADAL" clId="{8E1CC941-A529-42BD-91F2-8926E50D0828}" dt="2024-06-25T11:06:57.220" v="0"/>
          <ac:spMkLst>
            <pc:docMk/>
            <pc:sldMk cId="4042182867" sldId="274"/>
            <ac:spMk id="10" creationId="{5F25549E-AE59-4EAB-B192-807FB46AD13E}"/>
          </ac:spMkLst>
        </pc:spChg>
      </pc:sldChg>
      <pc:sldChg chg="modSp">
        <pc:chgData name="José Antonio Ureta Santacreu" userId="e36999d1-2b92-424a-9e8c-5fde0c5fbdd2" providerId="ADAL" clId="{8E1CC941-A529-42BD-91F2-8926E50D0828}" dt="2024-06-25T11:06:57.220" v="0"/>
        <pc:sldMkLst>
          <pc:docMk/>
          <pc:sldMk cId="673723975" sldId="275"/>
        </pc:sldMkLst>
        <pc:spChg chg="mod">
          <ac:chgData name="José Antonio Ureta Santacreu" userId="e36999d1-2b92-424a-9e8c-5fde0c5fbdd2" providerId="ADAL" clId="{8E1CC941-A529-42BD-91F2-8926E50D0828}" dt="2024-06-25T11:06:57.220" v="0"/>
          <ac:spMkLst>
            <pc:docMk/>
            <pc:sldMk cId="673723975" sldId="275"/>
            <ac:spMk id="2" creationId="{A93047C2-3783-90A0-06F5-7970CE2C8582}"/>
          </ac:spMkLst>
        </pc:spChg>
        <pc:spChg chg="mod">
          <ac:chgData name="José Antonio Ureta Santacreu" userId="e36999d1-2b92-424a-9e8c-5fde0c5fbdd2" providerId="ADAL" clId="{8E1CC941-A529-42BD-91F2-8926E50D0828}" dt="2024-06-25T11:06:57.220" v="0"/>
          <ac:spMkLst>
            <pc:docMk/>
            <pc:sldMk cId="673723975" sldId="275"/>
            <ac:spMk id="3" creationId="{92EACA18-2890-D212-BA20-C706A949C481}"/>
          </ac:spMkLst>
        </pc:spChg>
        <pc:spChg chg="mod">
          <ac:chgData name="José Antonio Ureta Santacreu" userId="e36999d1-2b92-424a-9e8c-5fde0c5fbdd2" providerId="ADAL" clId="{8E1CC941-A529-42BD-91F2-8926E50D0828}" dt="2024-06-25T11:06:57.220" v="0"/>
          <ac:spMkLst>
            <pc:docMk/>
            <pc:sldMk cId="673723975" sldId="275"/>
            <ac:spMk id="4" creationId="{35539163-4E1D-41DA-E499-814352CFDE4C}"/>
          </ac:spMkLst>
        </pc:spChg>
        <pc:spChg chg="mod">
          <ac:chgData name="José Antonio Ureta Santacreu" userId="e36999d1-2b92-424a-9e8c-5fde0c5fbdd2" providerId="ADAL" clId="{8E1CC941-A529-42BD-91F2-8926E50D0828}" dt="2024-06-25T11:06:57.220" v="0"/>
          <ac:spMkLst>
            <pc:docMk/>
            <pc:sldMk cId="673723975" sldId="275"/>
            <ac:spMk id="5" creationId="{CF127979-A7BB-7B26-538E-4DD1217620D8}"/>
          </ac:spMkLst>
        </pc:spChg>
      </pc:sldChg>
      <pc:sldChg chg="modSp mod">
        <pc:chgData name="José Antonio Ureta Santacreu" userId="e36999d1-2b92-424a-9e8c-5fde0c5fbdd2" providerId="ADAL" clId="{8E1CC941-A529-42BD-91F2-8926E50D0828}" dt="2024-06-25T11:06:59.411" v="49" actId="27636"/>
        <pc:sldMkLst>
          <pc:docMk/>
          <pc:sldMk cId="1538887231" sldId="279"/>
        </pc:sldMkLst>
        <pc:spChg chg="mod">
          <ac:chgData name="José Antonio Ureta Santacreu" userId="e36999d1-2b92-424a-9e8c-5fde0c5fbdd2" providerId="ADAL" clId="{8E1CC941-A529-42BD-91F2-8926E50D0828}" dt="2024-06-25T11:06:57.220" v="0"/>
          <ac:spMkLst>
            <pc:docMk/>
            <pc:sldMk cId="1538887231" sldId="279"/>
            <ac:spMk id="2" creationId="{655804CA-485C-4FA5-A6FA-2583BA4AEDE6}"/>
          </ac:spMkLst>
        </pc:spChg>
        <pc:spChg chg="mod">
          <ac:chgData name="José Antonio Ureta Santacreu" userId="e36999d1-2b92-424a-9e8c-5fde0c5fbdd2" providerId="ADAL" clId="{8E1CC941-A529-42BD-91F2-8926E50D0828}" dt="2024-06-25T11:06:59.411" v="49" actId="27636"/>
          <ac:spMkLst>
            <pc:docMk/>
            <pc:sldMk cId="1538887231" sldId="279"/>
            <ac:spMk id="3" creationId="{99267301-CB9C-4A1D-B650-2D3D8FB69903}"/>
          </ac:spMkLst>
        </pc:spChg>
        <pc:spChg chg="mod">
          <ac:chgData name="José Antonio Ureta Santacreu" userId="e36999d1-2b92-424a-9e8c-5fde0c5fbdd2" providerId="ADAL" clId="{8E1CC941-A529-42BD-91F2-8926E50D0828}" dt="2024-06-25T11:06:57.220" v="0"/>
          <ac:spMkLst>
            <pc:docMk/>
            <pc:sldMk cId="1538887231" sldId="279"/>
            <ac:spMk id="4" creationId="{84741C59-328D-4837-A610-1FAB1C393652}"/>
          </ac:spMkLst>
        </pc:spChg>
        <pc:spChg chg="mod">
          <ac:chgData name="José Antonio Ureta Santacreu" userId="e36999d1-2b92-424a-9e8c-5fde0c5fbdd2" providerId="ADAL" clId="{8E1CC941-A529-42BD-91F2-8926E50D0828}" dt="2024-06-25T11:06:57.220" v="0"/>
          <ac:spMkLst>
            <pc:docMk/>
            <pc:sldMk cId="1538887231" sldId="279"/>
            <ac:spMk id="5" creationId="{F1F36902-86EC-4937-BCC2-A05DB4B2AE94}"/>
          </ac:spMkLst>
        </pc:spChg>
        <pc:spChg chg="mod">
          <ac:chgData name="José Antonio Ureta Santacreu" userId="e36999d1-2b92-424a-9e8c-5fde0c5fbdd2" providerId="ADAL" clId="{8E1CC941-A529-42BD-91F2-8926E50D0828}" dt="2024-06-25T11:06:57.220" v="0"/>
          <ac:spMkLst>
            <pc:docMk/>
            <pc:sldMk cId="1538887231" sldId="279"/>
            <ac:spMk id="6" creationId="{B09B4DAB-D3A8-4321-A868-94C5DB1A6B1E}"/>
          </ac:spMkLst>
        </pc:spChg>
        <pc:spChg chg="mod">
          <ac:chgData name="José Antonio Ureta Santacreu" userId="e36999d1-2b92-424a-9e8c-5fde0c5fbdd2" providerId="ADAL" clId="{8E1CC941-A529-42BD-91F2-8926E50D0828}" dt="2024-06-25T11:06:57.220" v="0"/>
          <ac:spMkLst>
            <pc:docMk/>
            <pc:sldMk cId="1538887231" sldId="279"/>
            <ac:spMk id="7" creationId="{0A2E67BF-2FAD-41EB-8198-3FE52E4F2830}"/>
          </ac:spMkLst>
        </pc:spChg>
        <pc:spChg chg="mod">
          <ac:chgData name="José Antonio Ureta Santacreu" userId="e36999d1-2b92-424a-9e8c-5fde0c5fbdd2" providerId="ADAL" clId="{8E1CC941-A529-42BD-91F2-8926E50D0828}" dt="2024-06-25T11:06:57.220" v="0"/>
          <ac:spMkLst>
            <pc:docMk/>
            <pc:sldMk cId="1538887231" sldId="279"/>
            <ac:spMk id="8" creationId="{754A5E1F-BF3A-451A-91C7-8C99689E89F1}"/>
          </ac:spMkLst>
        </pc:spChg>
        <pc:spChg chg="mod">
          <ac:chgData name="José Antonio Ureta Santacreu" userId="e36999d1-2b92-424a-9e8c-5fde0c5fbdd2" providerId="ADAL" clId="{8E1CC941-A529-42BD-91F2-8926E50D0828}" dt="2024-06-25T11:06:57.220" v="0"/>
          <ac:spMkLst>
            <pc:docMk/>
            <pc:sldMk cId="1538887231" sldId="279"/>
            <ac:spMk id="9" creationId="{3B72071F-A31B-4026-90FC-81B92A58D2B4}"/>
          </ac:spMkLst>
        </pc:spChg>
      </pc:sldChg>
      <pc:sldChg chg="modSp del">
        <pc:chgData name="José Antonio Ureta Santacreu" userId="e36999d1-2b92-424a-9e8c-5fde0c5fbdd2" providerId="ADAL" clId="{8E1CC941-A529-42BD-91F2-8926E50D0828}" dt="2024-07-10T11:41:59.027" v="358" actId="2696"/>
        <pc:sldMkLst>
          <pc:docMk/>
          <pc:sldMk cId="1513918313" sldId="280"/>
        </pc:sldMkLst>
        <pc:spChg chg="mod">
          <ac:chgData name="José Antonio Ureta Santacreu" userId="e36999d1-2b92-424a-9e8c-5fde0c5fbdd2" providerId="ADAL" clId="{8E1CC941-A529-42BD-91F2-8926E50D0828}" dt="2024-06-25T11:06:57.220" v="0"/>
          <ac:spMkLst>
            <pc:docMk/>
            <pc:sldMk cId="1513918313" sldId="280"/>
            <ac:spMk id="2" creationId="{82BE2204-FCED-DF9B-66A7-75F762D484A2}"/>
          </ac:spMkLst>
        </pc:spChg>
        <pc:spChg chg="mod">
          <ac:chgData name="José Antonio Ureta Santacreu" userId="e36999d1-2b92-424a-9e8c-5fde0c5fbdd2" providerId="ADAL" clId="{8E1CC941-A529-42BD-91F2-8926E50D0828}" dt="2024-06-25T11:06:57.220" v="0"/>
          <ac:spMkLst>
            <pc:docMk/>
            <pc:sldMk cId="1513918313" sldId="280"/>
            <ac:spMk id="5" creationId="{AD500DC6-6D17-8822-512A-D389563C656B}"/>
          </ac:spMkLst>
        </pc:spChg>
        <pc:picChg chg="mod">
          <ac:chgData name="José Antonio Ureta Santacreu" userId="e36999d1-2b92-424a-9e8c-5fde0c5fbdd2" providerId="ADAL" clId="{8E1CC941-A529-42BD-91F2-8926E50D0828}" dt="2024-06-25T11:06:57.220" v="0"/>
          <ac:picMkLst>
            <pc:docMk/>
            <pc:sldMk cId="1513918313" sldId="280"/>
            <ac:picMk id="13" creationId="{1AB3D11E-AA12-72D7-43DC-76E261835196}"/>
          </ac:picMkLst>
        </pc:picChg>
      </pc:sldChg>
      <pc:sldChg chg="add">
        <pc:chgData name="José Antonio Ureta Santacreu" userId="e36999d1-2b92-424a-9e8c-5fde0c5fbdd2" providerId="ADAL" clId="{8E1CC941-A529-42BD-91F2-8926E50D0828}" dt="2024-07-10T11:42:05.718" v="359"/>
        <pc:sldMkLst>
          <pc:docMk/>
          <pc:sldMk cId="3003075399" sldId="280"/>
        </pc:sldMkLst>
      </pc:sldChg>
      <pc:sldChg chg="modSp">
        <pc:chgData name="José Antonio Ureta Santacreu" userId="e36999d1-2b92-424a-9e8c-5fde0c5fbdd2" providerId="ADAL" clId="{8E1CC941-A529-42BD-91F2-8926E50D0828}" dt="2024-06-25T11:06:57.220" v="0"/>
        <pc:sldMkLst>
          <pc:docMk/>
          <pc:sldMk cId="3934049435" sldId="281"/>
        </pc:sldMkLst>
        <pc:spChg chg="mod">
          <ac:chgData name="José Antonio Ureta Santacreu" userId="e36999d1-2b92-424a-9e8c-5fde0c5fbdd2" providerId="ADAL" clId="{8E1CC941-A529-42BD-91F2-8926E50D0828}" dt="2024-06-25T11:06:57.220" v="0"/>
          <ac:spMkLst>
            <pc:docMk/>
            <pc:sldMk cId="3934049435" sldId="281"/>
            <ac:spMk id="2" creationId="{1CE63257-9B91-2FB6-8586-192A7E659028}"/>
          </ac:spMkLst>
        </pc:spChg>
        <pc:spChg chg="mod">
          <ac:chgData name="José Antonio Ureta Santacreu" userId="e36999d1-2b92-424a-9e8c-5fde0c5fbdd2" providerId="ADAL" clId="{8E1CC941-A529-42BD-91F2-8926E50D0828}" dt="2024-06-25T11:06:57.220" v="0"/>
          <ac:spMkLst>
            <pc:docMk/>
            <pc:sldMk cId="3934049435" sldId="281"/>
            <ac:spMk id="6" creationId="{82EE411C-43AE-E183-A652-3381FF051042}"/>
          </ac:spMkLst>
        </pc:spChg>
        <pc:spChg chg="mod">
          <ac:chgData name="José Antonio Ureta Santacreu" userId="e36999d1-2b92-424a-9e8c-5fde0c5fbdd2" providerId="ADAL" clId="{8E1CC941-A529-42BD-91F2-8926E50D0828}" dt="2024-06-25T11:06:57.220" v="0"/>
          <ac:spMkLst>
            <pc:docMk/>
            <pc:sldMk cId="3934049435" sldId="281"/>
            <ac:spMk id="7" creationId="{7C4A8327-5889-554B-2CEB-2F19C6A0590A}"/>
          </ac:spMkLst>
        </pc:spChg>
        <pc:spChg chg="mod">
          <ac:chgData name="José Antonio Ureta Santacreu" userId="e36999d1-2b92-424a-9e8c-5fde0c5fbdd2" providerId="ADAL" clId="{8E1CC941-A529-42BD-91F2-8926E50D0828}" dt="2024-06-25T11:06:57.220" v="0"/>
          <ac:spMkLst>
            <pc:docMk/>
            <pc:sldMk cId="3934049435" sldId="281"/>
            <ac:spMk id="8" creationId="{D90B3218-0A86-FCB3-F977-5BECF26BEC1B}"/>
          </ac:spMkLst>
        </pc:spChg>
        <pc:picChg chg="mod">
          <ac:chgData name="José Antonio Ureta Santacreu" userId="e36999d1-2b92-424a-9e8c-5fde0c5fbdd2" providerId="ADAL" clId="{8E1CC941-A529-42BD-91F2-8926E50D0828}" dt="2024-06-25T11:06:57.220" v="0"/>
          <ac:picMkLst>
            <pc:docMk/>
            <pc:sldMk cId="3934049435" sldId="281"/>
            <ac:picMk id="1026" creationId="{81EC3711-910A-BEE1-696C-582E1317756C}"/>
          </ac:picMkLst>
        </pc:picChg>
      </pc:sldChg>
      <pc:sldChg chg="modSp del">
        <pc:chgData name="José Antonio Ureta Santacreu" userId="e36999d1-2b92-424a-9e8c-5fde0c5fbdd2" providerId="ADAL" clId="{8E1CC941-A529-42BD-91F2-8926E50D0828}" dt="2024-07-10T11:41:59.027" v="358" actId="2696"/>
        <pc:sldMkLst>
          <pc:docMk/>
          <pc:sldMk cId="35404570" sldId="282"/>
        </pc:sldMkLst>
        <pc:spChg chg="mod">
          <ac:chgData name="José Antonio Ureta Santacreu" userId="e36999d1-2b92-424a-9e8c-5fde0c5fbdd2" providerId="ADAL" clId="{8E1CC941-A529-42BD-91F2-8926E50D0828}" dt="2024-06-25T11:06:57.220" v="0"/>
          <ac:spMkLst>
            <pc:docMk/>
            <pc:sldMk cId="35404570" sldId="282"/>
            <ac:spMk id="2" creationId="{6691382A-857E-0729-38D1-B514D6A11BFC}"/>
          </ac:spMkLst>
        </pc:spChg>
        <pc:spChg chg="mod">
          <ac:chgData name="José Antonio Ureta Santacreu" userId="e36999d1-2b92-424a-9e8c-5fde0c5fbdd2" providerId="ADAL" clId="{8E1CC941-A529-42BD-91F2-8926E50D0828}" dt="2024-06-25T11:06:57.220" v="0"/>
          <ac:spMkLst>
            <pc:docMk/>
            <pc:sldMk cId="35404570" sldId="282"/>
            <ac:spMk id="5" creationId="{9FBC53E7-E725-13F1-E8CC-5085A8314D3B}"/>
          </ac:spMkLst>
        </pc:spChg>
        <pc:picChg chg="mod">
          <ac:chgData name="José Antonio Ureta Santacreu" userId="e36999d1-2b92-424a-9e8c-5fde0c5fbdd2" providerId="ADAL" clId="{8E1CC941-A529-42BD-91F2-8926E50D0828}" dt="2024-06-25T11:06:57.220" v="0"/>
          <ac:picMkLst>
            <pc:docMk/>
            <pc:sldMk cId="35404570" sldId="282"/>
            <ac:picMk id="12" creationId="{A9766073-4F2F-1A1F-BC72-A935D052D45E}"/>
          </ac:picMkLst>
        </pc:picChg>
      </pc:sldChg>
      <pc:sldChg chg="add">
        <pc:chgData name="José Antonio Ureta Santacreu" userId="e36999d1-2b92-424a-9e8c-5fde0c5fbdd2" providerId="ADAL" clId="{8E1CC941-A529-42BD-91F2-8926E50D0828}" dt="2024-07-10T11:42:05.718" v="359"/>
        <pc:sldMkLst>
          <pc:docMk/>
          <pc:sldMk cId="75439195" sldId="282"/>
        </pc:sldMkLst>
      </pc:sldChg>
      <pc:sldChg chg="modSp">
        <pc:chgData name="José Antonio Ureta Santacreu" userId="e36999d1-2b92-424a-9e8c-5fde0c5fbdd2" providerId="ADAL" clId="{8E1CC941-A529-42BD-91F2-8926E50D0828}" dt="2024-06-25T11:06:57.220" v="0"/>
        <pc:sldMkLst>
          <pc:docMk/>
          <pc:sldMk cId="2425819641" sldId="283"/>
        </pc:sldMkLst>
        <pc:spChg chg="mod">
          <ac:chgData name="José Antonio Ureta Santacreu" userId="e36999d1-2b92-424a-9e8c-5fde0c5fbdd2" providerId="ADAL" clId="{8E1CC941-A529-42BD-91F2-8926E50D0828}" dt="2024-06-25T11:06:57.220" v="0"/>
          <ac:spMkLst>
            <pc:docMk/>
            <pc:sldMk cId="2425819641" sldId="283"/>
            <ac:spMk id="2" creationId="{58EDC265-A9F3-4C8B-9362-715AB61227D6}"/>
          </ac:spMkLst>
        </pc:spChg>
        <pc:spChg chg="mod">
          <ac:chgData name="José Antonio Ureta Santacreu" userId="e36999d1-2b92-424a-9e8c-5fde0c5fbdd2" providerId="ADAL" clId="{8E1CC941-A529-42BD-91F2-8926E50D0828}" dt="2024-06-25T11:06:57.220" v="0"/>
          <ac:spMkLst>
            <pc:docMk/>
            <pc:sldMk cId="2425819641" sldId="283"/>
            <ac:spMk id="6" creationId="{CF7F85CE-5B4A-4F21-BED8-7525C167A58A}"/>
          </ac:spMkLst>
        </pc:spChg>
        <pc:spChg chg="mod">
          <ac:chgData name="José Antonio Ureta Santacreu" userId="e36999d1-2b92-424a-9e8c-5fde0c5fbdd2" providerId="ADAL" clId="{8E1CC941-A529-42BD-91F2-8926E50D0828}" dt="2024-06-25T11:06:57.220" v="0"/>
          <ac:spMkLst>
            <pc:docMk/>
            <pc:sldMk cId="2425819641" sldId="283"/>
            <ac:spMk id="7" creationId="{E4EAEFBE-2B32-40B2-8C16-713B90531E00}"/>
          </ac:spMkLst>
        </pc:spChg>
        <pc:spChg chg="mod">
          <ac:chgData name="José Antonio Ureta Santacreu" userId="e36999d1-2b92-424a-9e8c-5fde0c5fbdd2" providerId="ADAL" clId="{8E1CC941-A529-42BD-91F2-8926E50D0828}" dt="2024-06-25T11:06:57.220" v="0"/>
          <ac:spMkLst>
            <pc:docMk/>
            <pc:sldMk cId="2425819641" sldId="283"/>
            <ac:spMk id="9" creationId="{B9F980D1-FA3B-4726-BE06-C47412BCEC0F}"/>
          </ac:spMkLst>
        </pc:spChg>
      </pc:sldChg>
      <pc:sldChg chg="modSp">
        <pc:chgData name="José Antonio Ureta Santacreu" userId="e36999d1-2b92-424a-9e8c-5fde0c5fbdd2" providerId="ADAL" clId="{8E1CC941-A529-42BD-91F2-8926E50D0828}" dt="2024-06-25T11:06:57.220" v="0"/>
        <pc:sldMkLst>
          <pc:docMk/>
          <pc:sldMk cId="1221489577" sldId="285"/>
        </pc:sldMkLst>
        <pc:spChg chg="mod">
          <ac:chgData name="José Antonio Ureta Santacreu" userId="e36999d1-2b92-424a-9e8c-5fde0c5fbdd2" providerId="ADAL" clId="{8E1CC941-A529-42BD-91F2-8926E50D0828}" dt="2024-06-25T11:06:57.220" v="0"/>
          <ac:spMkLst>
            <pc:docMk/>
            <pc:sldMk cId="1221489577" sldId="285"/>
            <ac:spMk id="2" creationId="{84DA24D9-31F5-CF11-4FE8-8FCBC1E79B49}"/>
          </ac:spMkLst>
        </pc:spChg>
        <pc:spChg chg="mod">
          <ac:chgData name="José Antonio Ureta Santacreu" userId="e36999d1-2b92-424a-9e8c-5fde0c5fbdd2" providerId="ADAL" clId="{8E1CC941-A529-42BD-91F2-8926E50D0828}" dt="2024-06-25T11:06:57.220" v="0"/>
          <ac:spMkLst>
            <pc:docMk/>
            <pc:sldMk cId="1221489577" sldId="285"/>
            <ac:spMk id="3" creationId="{1FB431D3-FBE6-F8C1-32AA-6FA1C99F02E4}"/>
          </ac:spMkLst>
        </pc:spChg>
        <pc:picChg chg="mod">
          <ac:chgData name="José Antonio Ureta Santacreu" userId="e36999d1-2b92-424a-9e8c-5fde0c5fbdd2" providerId="ADAL" clId="{8E1CC941-A529-42BD-91F2-8926E50D0828}" dt="2024-06-25T11:06:57.220" v="0"/>
          <ac:picMkLst>
            <pc:docMk/>
            <pc:sldMk cId="1221489577" sldId="285"/>
            <ac:picMk id="1026" creationId="{8D9EC12E-86FA-7D3F-7D6B-2B44F8DDCC72}"/>
          </ac:picMkLst>
        </pc:picChg>
      </pc:sldChg>
      <pc:sldChg chg="modSp">
        <pc:chgData name="José Antonio Ureta Santacreu" userId="e36999d1-2b92-424a-9e8c-5fde0c5fbdd2" providerId="ADAL" clId="{8E1CC941-A529-42BD-91F2-8926E50D0828}" dt="2024-06-25T11:06:57.220" v="0"/>
        <pc:sldMkLst>
          <pc:docMk/>
          <pc:sldMk cId="2356018035" sldId="288"/>
        </pc:sldMkLst>
        <pc:spChg chg="mod">
          <ac:chgData name="José Antonio Ureta Santacreu" userId="e36999d1-2b92-424a-9e8c-5fde0c5fbdd2" providerId="ADAL" clId="{8E1CC941-A529-42BD-91F2-8926E50D0828}" dt="2024-06-25T11:06:57.220" v="0"/>
          <ac:spMkLst>
            <pc:docMk/>
            <pc:sldMk cId="2356018035" sldId="288"/>
            <ac:spMk id="2" creationId="{BE1A22BA-E5C4-4D3A-976B-6294A148AA45}"/>
          </ac:spMkLst>
        </pc:spChg>
        <pc:spChg chg="mod">
          <ac:chgData name="José Antonio Ureta Santacreu" userId="e36999d1-2b92-424a-9e8c-5fde0c5fbdd2" providerId="ADAL" clId="{8E1CC941-A529-42BD-91F2-8926E50D0828}" dt="2024-06-25T11:06:57.220" v="0"/>
          <ac:spMkLst>
            <pc:docMk/>
            <pc:sldMk cId="2356018035" sldId="288"/>
            <ac:spMk id="3" creationId="{D6CF879E-2F80-45D9-8749-8BDA6EB71470}"/>
          </ac:spMkLst>
        </pc:spChg>
        <pc:spChg chg="mod">
          <ac:chgData name="José Antonio Ureta Santacreu" userId="e36999d1-2b92-424a-9e8c-5fde0c5fbdd2" providerId="ADAL" clId="{8E1CC941-A529-42BD-91F2-8926E50D0828}" dt="2024-06-25T11:06:57.220" v="0"/>
          <ac:spMkLst>
            <pc:docMk/>
            <pc:sldMk cId="2356018035" sldId="288"/>
            <ac:spMk id="4" creationId="{36F0FA73-F62B-4DEC-84EA-29735DF6AEC1}"/>
          </ac:spMkLst>
        </pc:spChg>
        <pc:spChg chg="mod">
          <ac:chgData name="José Antonio Ureta Santacreu" userId="e36999d1-2b92-424a-9e8c-5fde0c5fbdd2" providerId="ADAL" clId="{8E1CC941-A529-42BD-91F2-8926E50D0828}" dt="2024-06-25T11:06:57.220" v="0"/>
          <ac:spMkLst>
            <pc:docMk/>
            <pc:sldMk cId="2356018035" sldId="288"/>
            <ac:spMk id="5" creationId="{6295E80C-7554-4499-9D34-2C34AAD6673A}"/>
          </ac:spMkLst>
        </pc:spChg>
      </pc:sldChg>
      <pc:sldChg chg="modSp">
        <pc:chgData name="José Antonio Ureta Santacreu" userId="e36999d1-2b92-424a-9e8c-5fde0c5fbdd2" providerId="ADAL" clId="{8E1CC941-A529-42BD-91F2-8926E50D0828}" dt="2024-06-25T11:06:57.220" v="0"/>
        <pc:sldMkLst>
          <pc:docMk/>
          <pc:sldMk cId="63167712" sldId="294"/>
        </pc:sldMkLst>
        <pc:spChg chg="mod">
          <ac:chgData name="José Antonio Ureta Santacreu" userId="e36999d1-2b92-424a-9e8c-5fde0c5fbdd2" providerId="ADAL" clId="{8E1CC941-A529-42BD-91F2-8926E50D0828}" dt="2024-06-25T11:06:57.220" v="0"/>
          <ac:spMkLst>
            <pc:docMk/>
            <pc:sldMk cId="63167712" sldId="294"/>
            <ac:spMk id="2" creationId="{AAD90BF2-9DC7-438C-9D9B-51CA27C88A92}"/>
          </ac:spMkLst>
        </pc:spChg>
        <pc:spChg chg="mod">
          <ac:chgData name="José Antonio Ureta Santacreu" userId="e36999d1-2b92-424a-9e8c-5fde0c5fbdd2" providerId="ADAL" clId="{8E1CC941-A529-42BD-91F2-8926E50D0828}" dt="2024-06-25T11:06:57.220" v="0"/>
          <ac:spMkLst>
            <pc:docMk/>
            <pc:sldMk cId="63167712" sldId="294"/>
            <ac:spMk id="3" creationId="{596F7626-AD45-48A0-BDEA-42CC455D16DD}"/>
          </ac:spMkLst>
        </pc:spChg>
        <pc:spChg chg="mod">
          <ac:chgData name="José Antonio Ureta Santacreu" userId="e36999d1-2b92-424a-9e8c-5fde0c5fbdd2" providerId="ADAL" clId="{8E1CC941-A529-42BD-91F2-8926E50D0828}" dt="2024-06-25T11:06:57.220" v="0"/>
          <ac:spMkLst>
            <pc:docMk/>
            <pc:sldMk cId="63167712" sldId="294"/>
            <ac:spMk id="9" creationId="{8BD8C4D0-A605-4C54-8622-DC9998FBE7EE}"/>
          </ac:spMkLst>
        </pc:spChg>
        <pc:spChg chg="mod">
          <ac:chgData name="José Antonio Ureta Santacreu" userId="e36999d1-2b92-424a-9e8c-5fde0c5fbdd2" providerId="ADAL" clId="{8E1CC941-A529-42BD-91F2-8926E50D0828}" dt="2024-06-25T11:06:57.220" v="0"/>
          <ac:spMkLst>
            <pc:docMk/>
            <pc:sldMk cId="63167712" sldId="294"/>
            <ac:spMk id="10" creationId="{4FC4A8D1-0A0B-4C53-B115-EBA713390828}"/>
          </ac:spMkLst>
        </pc:spChg>
      </pc:sldChg>
      <pc:sldChg chg="modSp">
        <pc:chgData name="José Antonio Ureta Santacreu" userId="e36999d1-2b92-424a-9e8c-5fde0c5fbdd2" providerId="ADAL" clId="{8E1CC941-A529-42BD-91F2-8926E50D0828}" dt="2024-06-25T11:06:57.220" v="0"/>
        <pc:sldMkLst>
          <pc:docMk/>
          <pc:sldMk cId="1669545318" sldId="300"/>
        </pc:sldMkLst>
        <pc:spChg chg="mod">
          <ac:chgData name="José Antonio Ureta Santacreu" userId="e36999d1-2b92-424a-9e8c-5fde0c5fbdd2" providerId="ADAL" clId="{8E1CC941-A529-42BD-91F2-8926E50D0828}" dt="2024-06-25T11:06:57.220" v="0"/>
          <ac:spMkLst>
            <pc:docMk/>
            <pc:sldMk cId="1669545318" sldId="300"/>
            <ac:spMk id="2" creationId="{7C47D1CA-A956-A700-6854-396F04AC90A4}"/>
          </ac:spMkLst>
        </pc:spChg>
        <pc:spChg chg="mod">
          <ac:chgData name="José Antonio Ureta Santacreu" userId="e36999d1-2b92-424a-9e8c-5fde0c5fbdd2" providerId="ADAL" clId="{8E1CC941-A529-42BD-91F2-8926E50D0828}" dt="2024-06-25T11:06:57.220" v="0"/>
          <ac:spMkLst>
            <pc:docMk/>
            <pc:sldMk cId="1669545318" sldId="300"/>
            <ac:spMk id="3" creationId="{C5D9D9A8-6F81-4C96-22B7-03FD02610C8B}"/>
          </ac:spMkLst>
        </pc:spChg>
        <pc:spChg chg="mod">
          <ac:chgData name="José Antonio Ureta Santacreu" userId="e36999d1-2b92-424a-9e8c-5fde0c5fbdd2" providerId="ADAL" clId="{8E1CC941-A529-42BD-91F2-8926E50D0828}" dt="2024-06-25T11:06:57.220" v="0"/>
          <ac:spMkLst>
            <pc:docMk/>
            <pc:sldMk cId="1669545318" sldId="300"/>
            <ac:spMk id="4" creationId="{26FBC0F1-1118-85FF-736E-56730FB8597B}"/>
          </ac:spMkLst>
        </pc:spChg>
        <pc:spChg chg="mod">
          <ac:chgData name="José Antonio Ureta Santacreu" userId="e36999d1-2b92-424a-9e8c-5fde0c5fbdd2" providerId="ADAL" clId="{8E1CC941-A529-42BD-91F2-8926E50D0828}" dt="2024-06-25T11:06:57.220" v="0"/>
          <ac:spMkLst>
            <pc:docMk/>
            <pc:sldMk cId="1669545318" sldId="300"/>
            <ac:spMk id="5" creationId="{62562C0C-B4C9-AFA8-7403-C29153A6C948}"/>
          </ac:spMkLst>
        </pc:spChg>
      </pc:sldChg>
      <pc:sldChg chg="modSp">
        <pc:chgData name="José Antonio Ureta Santacreu" userId="e36999d1-2b92-424a-9e8c-5fde0c5fbdd2" providerId="ADAL" clId="{8E1CC941-A529-42BD-91F2-8926E50D0828}" dt="2024-06-25T11:06:57.220" v="0"/>
        <pc:sldMkLst>
          <pc:docMk/>
          <pc:sldMk cId="2292263241" sldId="303"/>
        </pc:sldMkLst>
        <pc:spChg chg="mod">
          <ac:chgData name="José Antonio Ureta Santacreu" userId="e36999d1-2b92-424a-9e8c-5fde0c5fbdd2" providerId="ADAL" clId="{8E1CC941-A529-42BD-91F2-8926E50D0828}" dt="2024-06-25T11:06:57.220" v="0"/>
          <ac:spMkLst>
            <pc:docMk/>
            <pc:sldMk cId="2292263241" sldId="303"/>
            <ac:spMk id="2" creationId="{9B791784-257D-4C9C-8AF6-6415CD5E9493}"/>
          </ac:spMkLst>
        </pc:spChg>
        <pc:spChg chg="mod">
          <ac:chgData name="José Antonio Ureta Santacreu" userId="e36999d1-2b92-424a-9e8c-5fde0c5fbdd2" providerId="ADAL" clId="{8E1CC941-A529-42BD-91F2-8926E50D0828}" dt="2024-06-25T11:06:57.220" v="0"/>
          <ac:spMkLst>
            <pc:docMk/>
            <pc:sldMk cId="2292263241" sldId="303"/>
            <ac:spMk id="3" creationId="{71CA5B46-0944-4A89-8092-4024F543CE0C}"/>
          </ac:spMkLst>
        </pc:spChg>
        <pc:spChg chg="mod">
          <ac:chgData name="José Antonio Ureta Santacreu" userId="e36999d1-2b92-424a-9e8c-5fde0c5fbdd2" providerId="ADAL" clId="{8E1CC941-A529-42BD-91F2-8926E50D0828}" dt="2024-06-25T11:06:57.220" v="0"/>
          <ac:spMkLst>
            <pc:docMk/>
            <pc:sldMk cId="2292263241" sldId="303"/>
            <ac:spMk id="5" creationId="{690BC75E-6A9A-4F37-8E02-53139AAFB696}"/>
          </ac:spMkLst>
        </pc:spChg>
      </pc:sldChg>
      <pc:sldChg chg="modSp">
        <pc:chgData name="José Antonio Ureta Santacreu" userId="e36999d1-2b92-424a-9e8c-5fde0c5fbdd2" providerId="ADAL" clId="{8E1CC941-A529-42BD-91F2-8926E50D0828}" dt="2024-06-25T11:06:57.220" v="0"/>
        <pc:sldMkLst>
          <pc:docMk/>
          <pc:sldMk cId="695821524" sldId="305"/>
        </pc:sldMkLst>
        <pc:spChg chg="mod">
          <ac:chgData name="José Antonio Ureta Santacreu" userId="e36999d1-2b92-424a-9e8c-5fde0c5fbdd2" providerId="ADAL" clId="{8E1CC941-A529-42BD-91F2-8926E50D0828}" dt="2024-06-25T11:06:57.220" v="0"/>
          <ac:spMkLst>
            <pc:docMk/>
            <pc:sldMk cId="695821524" sldId="305"/>
            <ac:spMk id="2" creationId="{E8B1C08F-DE1C-4790-A0FD-F0E3534997B4}"/>
          </ac:spMkLst>
        </pc:spChg>
        <pc:spChg chg="mod">
          <ac:chgData name="José Antonio Ureta Santacreu" userId="e36999d1-2b92-424a-9e8c-5fde0c5fbdd2" providerId="ADAL" clId="{8E1CC941-A529-42BD-91F2-8926E50D0828}" dt="2024-06-25T11:06:57.220" v="0"/>
          <ac:spMkLst>
            <pc:docMk/>
            <pc:sldMk cId="695821524" sldId="305"/>
            <ac:spMk id="3" creationId="{C22A28C9-4A48-4882-8FA3-EB59A0D7E68E}"/>
          </ac:spMkLst>
        </pc:spChg>
        <pc:spChg chg="mod">
          <ac:chgData name="José Antonio Ureta Santacreu" userId="e36999d1-2b92-424a-9e8c-5fde0c5fbdd2" providerId="ADAL" clId="{8E1CC941-A529-42BD-91F2-8926E50D0828}" dt="2024-06-25T11:06:57.220" v="0"/>
          <ac:spMkLst>
            <pc:docMk/>
            <pc:sldMk cId="695821524" sldId="305"/>
            <ac:spMk id="5" creationId="{035A97E2-88E6-4F36-809C-30E1FE5B1F49}"/>
          </ac:spMkLst>
        </pc:spChg>
        <pc:spChg chg="mod">
          <ac:chgData name="José Antonio Ureta Santacreu" userId="e36999d1-2b92-424a-9e8c-5fde0c5fbdd2" providerId="ADAL" clId="{8E1CC941-A529-42BD-91F2-8926E50D0828}" dt="2024-06-25T11:06:57.220" v="0"/>
          <ac:spMkLst>
            <pc:docMk/>
            <pc:sldMk cId="695821524" sldId="305"/>
            <ac:spMk id="6" creationId="{DCEF65BD-8714-4BC7-952C-F7B8DDC2340B}"/>
          </ac:spMkLst>
        </pc:spChg>
        <pc:spChg chg="mod">
          <ac:chgData name="José Antonio Ureta Santacreu" userId="e36999d1-2b92-424a-9e8c-5fde0c5fbdd2" providerId="ADAL" clId="{8E1CC941-A529-42BD-91F2-8926E50D0828}" dt="2024-06-25T11:06:57.220" v="0"/>
          <ac:spMkLst>
            <pc:docMk/>
            <pc:sldMk cId="695821524" sldId="305"/>
            <ac:spMk id="10" creationId="{350361E1-482C-1387-5419-9F7B39C47F78}"/>
          </ac:spMkLst>
        </pc:spChg>
        <pc:picChg chg="mod">
          <ac:chgData name="José Antonio Ureta Santacreu" userId="e36999d1-2b92-424a-9e8c-5fde0c5fbdd2" providerId="ADAL" clId="{8E1CC941-A529-42BD-91F2-8926E50D0828}" dt="2024-06-25T11:06:57.220" v="0"/>
          <ac:picMkLst>
            <pc:docMk/>
            <pc:sldMk cId="695821524" sldId="305"/>
            <ac:picMk id="12" creationId="{FE1AC2D5-7B3F-2EE2-835B-979216175ED7}"/>
          </ac:picMkLst>
        </pc:picChg>
      </pc:sldChg>
      <pc:sldChg chg="modSp">
        <pc:chgData name="José Antonio Ureta Santacreu" userId="e36999d1-2b92-424a-9e8c-5fde0c5fbdd2" providerId="ADAL" clId="{8E1CC941-A529-42BD-91F2-8926E50D0828}" dt="2024-06-25T11:06:57.220" v="0"/>
        <pc:sldMkLst>
          <pc:docMk/>
          <pc:sldMk cId="2604318060" sldId="306"/>
        </pc:sldMkLst>
        <pc:spChg chg="mod">
          <ac:chgData name="José Antonio Ureta Santacreu" userId="e36999d1-2b92-424a-9e8c-5fde0c5fbdd2" providerId="ADAL" clId="{8E1CC941-A529-42BD-91F2-8926E50D0828}" dt="2024-06-25T11:06:57.220" v="0"/>
          <ac:spMkLst>
            <pc:docMk/>
            <pc:sldMk cId="2604318060" sldId="306"/>
            <ac:spMk id="2" creationId="{199E65DE-902C-B91B-47C9-E8D23E8E8F98}"/>
          </ac:spMkLst>
        </pc:spChg>
        <pc:spChg chg="mod">
          <ac:chgData name="José Antonio Ureta Santacreu" userId="e36999d1-2b92-424a-9e8c-5fde0c5fbdd2" providerId="ADAL" clId="{8E1CC941-A529-42BD-91F2-8926E50D0828}" dt="2024-06-25T11:06:57.220" v="0"/>
          <ac:spMkLst>
            <pc:docMk/>
            <pc:sldMk cId="2604318060" sldId="306"/>
            <ac:spMk id="4" creationId="{4A5353B5-DA90-A740-EFCD-95ABAEEF025C}"/>
          </ac:spMkLst>
        </pc:spChg>
        <pc:spChg chg="mod">
          <ac:chgData name="José Antonio Ureta Santacreu" userId="e36999d1-2b92-424a-9e8c-5fde0c5fbdd2" providerId="ADAL" clId="{8E1CC941-A529-42BD-91F2-8926E50D0828}" dt="2024-06-25T11:06:57.220" v="0"/>
          <ac:spMkLst>
            <pc:docMk/>
            <pc:sldMk cId="2604318060" sldId="306"/>
            <ac:spMk id="6" creationId="{2BEAA1E8-D961-230C-5BD6-D9B84E70A4EA}"/>
          </ac:spMkLst>
        </pc:spChg>
        <pc:spChg chg="mod">
          <ac:chgData name="José Antonio Ureta Santacreu" userId="e36999d1-2b92-424a-9e8c-5fde0c5fbdd2" providerId="ADAL" clId="{8E1CC941-A529-42BD-91F2-8926E50D0828}" dt="2024-06-25T11:06:57.220" v="0"/>
          <ac:spMkLst>
            <pc:docMk/>
            <pc:sldMk cId="2604318060" sldId="306"/>
            <ac:spMk id="24" creationId="{08352A53-3C77-F557-9392-2A98D1A15913}"/>
          </ac:spMkLst>
        </pc:spChg>
      </pc:sldChg>
      <pc:sldChg chg="modSp">
        <pc:chgData name="José Antonio Ureta Santacreu" userId="e36999d1-2b92-424a-9e8c-5fde0c5fbdd2" providerId="ADAL" clId="{8E1CC941-A529-42BD-91F2-8926E50D0828}" dt="2024-06-25T11:06:57.220" v="0"/>
        <pc:sldMkLst>
          <pc:docMk/>
          <pc:sldMk cId="2867283465" sldId="307"/>
        </pc:sldMkLst>
        <pc:spChg chg="mod">
          <ac:chgData name="José Antonio Ureta Santacreu" userId="e36999d1-2b92-424a-9e8c-5fde0c5fbdd2" providerId="ADAL" clId="{8E1CC941-A529-42BD-91F2-8926E50D0828}" dt="2024-06-25T11:06:57.220" v="0"/>
          <ac:spMkLst>
            <pc:docMk/>
            <pc:sldMk cId="2867283465" sldId="307"/>
            <ac:spMk id="2" creationId="{12BC7C5B-79F6-5273-FB32-67FC618AE874}"/>
          </ac:spMkLst>
        </pc:spChg>
        <pc:spChg chg="mod">
          <ac:chgData name="José Antonio Ureta Santacreu" userId="e36999d1-2b92-424a-9e8c-5fde0c5fbdd2" providerId="ADAL" clId="{8E1CC941-A529-42BD-91F2-8926E50D0828}" dt="2024-06-25T11:06:57.220" v="0"/>
          <ac:spMkLst>
            <pc:docMk/>
            <pc:sldMk cId="2867283465" sldId="307"/>
            <ac:spMk id="3" creationId="{F4FEDF81-31AD-C566-4433-F819607C3069}"/>
          </ac:spMkLst>
        </pc:spChg>
        <pc:spChg chg="mod">
          <ac:chgData name="José Antonio Ureta Santacreu" userId="e36999d1-2b92-424a-9e8c-5fde0c5fbdd2" providerId="ADAL" clId="{8E1CC941-A529-42BD-91F2-8926E50D0828}" dt="2024-06-25T11:06:57.220" v="0"/>
          <ac:spMkLst>
            <pc:docMk/>
            <pc:sldMk cId="2867283465" sldId="307"/>
            <ac:spMk id="4" creationId="{D5E3D33A-0CC0-ACEB-DC40-088195E574E4}"/>
          </ac:spMkLst>
        </pc:spChg>
        <pc:spChg chg="mod">
          <ac:chgData name="José Antonio Ureta Santacreu" userId="e36999d1-2b92-424a-9e8c-5fde0c5fbdd2" providerId="ADAL" clId="{8E1CC941-A529-42BD-91F2-8926E50D0828}" dt="2024-06-25T11:06:57.220" v="0"/>
          <ac:spMkLst>
            <pc:docMk/>
            <pc:sldMk cId="2867283465" sldId="307"/>
            <ac:spMk id="5" creationId="{D6BE5A65-69B7-871F-7C70-826C9BDD5A9C}"/>
          </ac:spMkLst>
        </pc:spChg>
      </pc:sldChg>
      <pc:sldChg chg="modSp mod">
        <pc:chgData name="José Antonio Ureta Santacreu" userId="e36999d1-2b92-424a-9e8c-5fde0c5fbdd2" providerId="ADAL" clId="{8E1CC941-A529-42BD-91F2-8926E50D0828}" dt="2024-06-25T11:06:58.346" v="20" actId="27636"/>
        <pc:sldMkLst>
          <pc:docMk/>
          <pc:sldMk cId="4292730035" sldId="308"/>
        </pc:sldMkLst>
        <pc:spChg chg="mod">
          <ac:chgData name="José Antonio Ureta Santacreu" userId="e36999d1-2b92-424a-9e8c-5fde0c5fbdd2" providerId="ADAL" clId="{8E1CC941-A529-42BD-91F2-8926E50D0828}" dt="2024-06-25T11:06:57.220" v="0"/>
          <ac:spMkLst>
            <pc:docMk/>
            <pc:sldMk cId="4292730035" sldId="308"/>
            <ac:spMk id="2" creationId="{33CD5C6B-2E3D-1D35-2B49-D4FA7E430DB9}"/>
          </ac:spMkLst>
        </pc:spChg>
        <pc:spChg chg="mod">
          <ac:chgData name="José Antonio Ureta Santacreu" userId="e36999d1-2b92-424a-9e8c-5fde0c5fbdd2" providerId="ADAL" clId="{8E1CC941-A529-42BD-91F2-8926E50D0828}" dt="2024-06-25T11:06:57.220" v="0"/>
          <ac:spMkLst>
            <pc:docMk/>
            <pc:sldMk cId="4292730035" sldId="308"/>
            <ac:spMk id="3" creationId="{AF6F2395-D8D8-680B-1413-8148EC834C71}"/>
          </ac:spMkLst>
        </pc:spChg>
        <pc:spChg chg="mod">
          <ac:chgData name="José Antonio Ureta Santacreu" userId="e36999d1-2b92-424a-9e8c-5fde0c5fbdd2" providerId="ADAL" clId="{8E1CC941-A529-42BD-91F2-8926E50D0828}" dt="2024-06-25T11:06:57.220" v="0"/>
          <ac:spMkLst>
            <pc:docMk/>
            <pc:sldMk cId="4292730035" sldId="308"/>
            <ac:spMk id="4" creationId="{A616C1F2-4886-52B4-FADE-386EE8DB1FD7}"/>
          </ac:spMkLst>
        </pc:spChg>
        <pc:spChg chg="mod">
          <ac:chgData name="José Antonio Ureta Santacreu" userId="e36999d1-2b92-424a-9e8c-5fde0c5fbdd2" providerId="ADAL" clId="{8E1CC941-A529-42BD-91F2-8926E50D0828}" dt="2024-06-25T11:06:58.346" v="20" actId="27636"/>
          <ac:spMkLst>
            <pc:docMk/>
            <pc:sldMk cId="4292730035" sldId="308"/>
            <ac:spMk id="7" creationId="{3518F39D-D090-638F-B929-F3A41F1B7650}"/>
          </ac:spMkLst>
        </pc:spChg>
      </pc:sldChg>
      <pc:sldChg chg="modSp">
        <pc:chgData name="José Antonio Ureta Santacreu" userId="e36999d1-2b92-424a-9e8c-5fde0c5fbdd2" providerId="ADAL" clId="{8E1CC941-A529-42BD-91F2-8926E50D0828}" dt="2024-06-25T11:06:57.220" v="0"/>
        <pc:sldMkLst>
          <pc:docMk/>
          <pc:sldMk cId="1565667465" sldId="309"/>
        </pc:sldMkLst>
        <pc:spChg chg="mod">
          <ac:chgData name="José Antonio Ureta Santacreu" userId="e36999d1-2b92-424a-9e8c-5fde0c5fbdd2" providerId="ADAL" clId="{8E1CC941-A529-42BD-91F2-8926E50D0828}" dt="2024-06-25T11:06:57.220" v="0"/>
          <ac:spMkLst>
            <pc:docMk/>
            <pc:sldMk cId="1565667465" sldId="309"/>
            <ac:spMk id="2" creationId="{B3AF0EE4-E769-5EFC-A195-C67E3AB8E248}"/>
          </ac:spMkLst>
        </pc:spChg>
        <pc:spChg chg="mod">
          <ac:chgData name="José Antonio Ureta Santacreu" userId="e36999d1-2b92-424a-9e8c-5fde0c5fbdd2" providerId="ADAL" clId="{8E1CC941-A529-42BD-91F2-8926E50D0828}" dt="2024-06-25T11:06:57.220" v="0"/>
          <ac:spMkLst>
            <pc:docMk/>
            <pc:sldMk cId="1565667465" sldId="309"/>
            <ac:spMk id="3" creationId="{E70C4B06-7EBB-6430-75A5-D2D93EB4E3CA}"/>
          </ac:spMkLst>
        </pc:spChg>
        <pc:spChg chg="mod">
          <ac:chgData name="José Antonio Ureta Santacreu" userId="e36999d1-2b92-424a-9e8c-5fde0c5fbdd2" providerId="ADAL" clId="{8E1CC941-A529-42BD-91F2-8926E50D0828}" dt="2024-06-25T11:06:57.220" v="0"/>
          <ac:spMkLst>
            <pc:docMk/>
            <pc:sldMk cId="1565667465" sldId="309"/>
            <ac:spMk id="5" creationId="{B3C0EA4C-9003-988A-F226-695524DA4ABB}"/>
          </ac:spMkLst>
        </pc:spChg>
        <pc:spChg chg="mod">
          <ac:chgData name="José Antonio Ureta Santacreu" userId="e36999d1-2b92-424a-9e8c-5fde0c5fbdd2" providerId="ADAL" clId="{8E1CC941-A529-42BD-91F2-8926E50D0828}" dt="2024-06-25T11:06:57.220" v="0"/>
          <ac:spMkLst>
            <pc:docMk/>
            <pc:sldMk cId="1565667465" sldId="309"/>
            <ac:spMk id="6" creationId="{ED78D5CB-869D-1F98-90EA-D73DBA4B0746}"/>
          </ac:spMkLst>
        </pc:spChg>
      </pc:sldChg>
      <pc:sldChg chg="modSp">
        <pc:chgData name="José Antonio Ureta Santacreu" userId="e36999d1-2b92-424a-9e8c-5fde0c5fbdd2" providerId="ADAL" clId="{8E1CC941-A529-42BD-91F2-8926E50D0828}" dt="2024-06-25T11:06:57.220" v="0"/>
        <pc:sldMkLst>
          <pc:docMk/>
          <pc:sldMk cId="2132635803" sldId="313"/>
        </pc:sldMkLst>
        <pc:spChg chg="mod">
          <ac:chgData name="José Antonio Ureta Santacreu" userId="e36999d1-2b92-424a-9e8c-5fde0c5fbdd2" providerId="ADAL" clId="{8E1CC941-A529-42BD-91F2-8926E50D0828}" dt="2024-06-25T11:06:57.220" v="0"/>
          <ac:spMkLst>
            <pc:docMk/>
            <pc:sldMk cId="2132635803" sldId="313"/>
            <ac:spMk id="2" creationId="{EFF119FA-0417-336E-3C2C-C4F338D92464}"/>
          </ac:spMkLst>
        </pc:spChg>
        <pc:spChg chg="mod">
          <ac:chgData name="José Antonio Ureta Santacreu" userId="e36999d1-2b92-424a-9e8c-5fde0c5fbdd2" providerId="ADAL" clId="{8E1CC941-A529-42BD-91F2-8926E50D0828}" dt="2024-06-25T11:06:57.220" v="0"/>
          <ac:spMkLst>
            <pc:docMk/>
            <pc:sldMk cId="2132635803" sldId="313"/>
            <ac:spMk id="3" creationId="{AA75FBA9-CB2D-25F4-E011-B874EEB57E92}"/>
          </ac:spMkLst>
        </pc:spChg>
        <pc:spChg chg="mod">
          <ac:chgData name="José Antonio Ureta Santacreu" userId="e36999d1-2b92-424a-9e8c-5fde0c5fbdd2" providerId="ADAL" clId="{8E1CC941-A529-42BD-91F2-8926E50D0828}" dt="2024-06-25T11:06:57.220" v="0"/>
          <ac:spMkLst>
            <pc:docMk/>
            <pc:sldMk cId="2132635803" sldId="313"/>
            <ac:spMk id="4" creationId="{0DDD8B56-001A-C37B-2467-001FB2B542CC}"/>
          </ac:spMkLst>
        </pc:spChg>
        <pc:spChg chg="mod">
          <ac:chgData name="José Antonio Ureta Santacreu" userId="e36999d1-2b92-424a-9e8c-5fde0c5fbdd2" providerId="ADAL" clId="{8E1CC941-A529-42BD-91F2-8926E50D0828}" dt="2024-06-25T11:06:57.220" v="0"/>
          <ac:spMkLst>
            <pc:docMk/>
            <pc:sldMk cId="2132635803" sldId="313"/>
            <ac:spMk id="5" creationId="{A6E6C191-2A11-061B-0AD7-2EE8F410B30B}"/>
          </ac:spMkLst>
        </pc:spChg>
      </pc:sldChg>
      <pc:sldChg chg="modSp">
        <pc:chgData name="José Antonio Ureta Santacreu" userId="e36999d1-2b92-424a-9e8c-5fde0c5fbdd2" providerId="ADAL" clId="{8E1CC941-A529-42BD-91F2-8926E50D0828}" dt="2024-06-25T11:06:57.220" v="0"/>
        <pc:sldMkLst>
          <pc:docMk/>
          <pc:sldMk cId="3560941779" sldId="314"/>
        </pc:sldMkLst>
        <pc:spChg chg="mod">
          <ac:chgData name="José Antonio Ureta Santacreu" userId="e36999d1-2b92-424a-9e8c-5fde0c5fbdd2" providerId="ADAL" clId="{8E1CC941-A529-42BD-91F2-8926E50D0828}" dt="2024-06-25T11:06:57.220" v="0"/>
          <ac:spMkLst>
            <pc:docMk/>
            <pc:sldMk cId="3560941779" sldId="314"/>
            <ac:spMk id="2" creationId="{59981A69-9C9D-D0F3-E9BC-95FB4BB91E64}"/>
          </ac:spMkLst>
        </pc:spChg>
        <pc:spChg chg="mod">
          <ac:chgData name="José Antonio Ureta Santacreu" userId="e36999d1-2b92-424a-9e8c-5fde0c5fbdd2" providerId="ADAL" clId="{8E1CC941-A529-42BD-91F2-8926E50D0828}" dt="2024-06-25T11:06:57.220" v="0"/>
          <ac:spMkLst>
            <pc:docMk/>
            <pc:sldMk cId="3560941779" sldId="314"/>
            <ac:spMk id="3" creationId="{CF1CDBD7-598D-E71C-1029-66CDF3B5F78B}"/>
          </ac:spMkLst>
        </pc:spChg>
        <pc:spChg chg="mod">
          <ac:chgData name="José Antonio Ureta Santacreu" userId="e36999d1-2b92-424a-9e8c-5fde0c5fbdd2" providerId="ADAL" clId="{8E1CC941-A529-42BD-91F2-8926E50D0828}" dt="2024-06-25T11:06:57.220" v="0"/>
          <ac:spMkLst>
            <pc:docMk/>
            <pc:sldMk cId="3560941779" sldId="314"/>
            <ac:spMk id="4" creationId="{F3EA98ED-51D3-5C21-6840-459AA7262318}"/>
          </ac:spMkLst>
        </pc:spChg>
        <pc:spChg chg="mod">
          <ac:chgData name="José Antonio Ureta Santacreu" userId="e36999d1-2b92-424a-9e8c-5fde0c5fbdd2" providerId="ADAL" clId="{8E1CC941-A529-42BD-91F2-8926E50D0828}" dt="2024-06-25T11:06:57.220" v="0"/>
          <ac:spMkLst>
            <pc:docMk/>
            <pc:sldMk cId="3560941779" sldId="314"/>
            <ac:spMk id="5" creationId="{D3E22E23-A547-6450-4F4A-D27656991983}"/>
          </ac:spMkLst>
        </pc:spChg>
      </pc:sldChg>
      <pc:sldChg chg="modSp">
        <pc:chgData name="José Antonio Ureta Santacreu" userId="e36999d1-2b92-424a-9e8c-5fde0c5fbdd2" providerId="ADAL" clId="{8E1CC941-A529-42BD-91F2-8926E50D0828}" dt="2024-06-25T11:06:57.220" v="0"/>
        <pc:sldMkLst>
          <pc:docMk/>
          <pc:sldMk cId="3710413059" sldId="318"/>
        </pc:sldMkLst>
        <pc:spChg chg="mod">
          <ac:chgData name="José Antonio Ureta Santacreu" userId="e36999d1-2b92-424a-9e8c-5fde0c5fbdd2" providerId="ADAL" clId="{8E1CC941-A529-42BD-91F2-8926E50D0828}" dt="2024-06-25T11:06:57.220" v="0"/>
          <ac:spMkLst>
            <pc:docMk/>
            <pc:sldMk cId="3710413059" sldId="318"/>
            <ac:spMk id="2" creationId="{FBB83775-0B57-AD6B-7B1C-9E8CB8B28D61}"/>
          </ac:spMkLst>
        </pc:spChg>
        <pc:spChg chg="mod">
          <ac:chgData name="José Antonio Ureta Santacreu" userId="e36999d1-2b92-424a-9e8c-5fde0c5fbdd2" providerId="ADAL" clId="{8E1CC941-A529-42BD-91F2-8926E50D0828}" dt="2024-06-25T11:06:57.220" v="0"/>
          <ac:spMkLst>
            <pc:docMk/>
            <pc:sldMk cId="3710413059" sldId="318"/>
            <ac:spMk id="4" creationId="{972B85D5-9188-C650-8E01-A0F950DB0B1B}"/>
          </ac:spMkLst>
        </pc:spChg>
        <pc:spChg chg="mod">
          <ac:chgData name="José Antonio Ureta Santacreu" userId="e36999d1-2b92-424a-9e8c-5fde0c5fbdd2" providerId="ADAL" clId="{8E1CC941-A529-42BD-91F2-8926E50D0828}" dt="2024-06-25T11:06:57.220" v="0"/>
          <ac:spMkLst>
            <pc:docMk/>
            <pc:sldMk cId="3710413059" sldId="318"/>
            <ac:spMk id="5" creationId="{77CFDA77-4349-06B9-30F5-2A93B089E09B}"/>
          </ac:spMkLst>
        </pc:spChg>
        <pc:spChg chg="mod">
          <ac:chgData name="José Antonio Ureta Santacreu" userId="e36999d1-2b92-424a-9e8c-5fde0c5fbdd2" providerId="ADAL" clId="{8E1CC941-A529-42BD-91F2-8926E50D0828}" dt="2024-06-25T11:06:57.220" v="0"/>
          <ac:spMkLst>
            <pc:docMk/>
            <pc:sldMk cId="3710413059" sldId="318"/>
            <ac:spMk id="6" creationId="{E89DDBA1-E07E-854B-B282-BC47BE88695D}"/>
          </ac:spMkLst>
        </pc:spChg>
      </pc:sldChg>
      <pc:sldChg chg="modSp mod">
        <pc:chgData name="José Antonio Ureta Santacreu" userId="e36999d1-2b92-424a-9e8c-5fde0c5fbdd2" providerId="ADAL" clId="{8E1CC941-A529-42BD-91F2-8926E50D0828}" dt="2024-06-25T11:06:59.377" v="48" actId="27636"/>
        <pc:sldMkLst>
          <pc:docMk/>
          <pc:sldMk cId="3936020262" sldId="320"/>
        </pc:sldMkLst>
        <pc:spChg chg="mod">
          <ac:chgData name="José Antonio Ureta Santacreu" userId="e36999d1-2b92-424a-9e8c-5fde0c5fbdd2" providerId="ADAL" clId="{8E1CC941-A529-42BD-91F2-8926E50D0828}" dt="2024-06-25T11:06:57.220" v="0"/>
          <ac:spMkLst>
            <pc:docMk/>
            <pc:sldMk cId="3936020262" sldId="320"/>
            <ac:spMk id="2" creationId="{32B470CE-8CC2-46EB-8174-4D310FB32AE7}"/>
          </ac:spMkLst>
        </pc:spChg>
        <pc:spChg chg="mod">
          <ac:chgData name="José Antonio Ureta Santacreu" userId="e36999d1-2b92-424a-9e8c-5fde0c5fbdd2" providerId="ADAL" clId="{8E1CC941-A529-42BD-91F2-8926E50D0828}" dt="2024-06-25T11:06:59.377" v="48" actId="27636"/>
          <ac:spMkLst>
            <pc:docMk/>
            <pc:sldMk cId="3936020262" sldId="320"/>
            <ac:spMk id="3" creationId="{029CD1EA-AF28-4DBD-9832-514FEA6160C2}"/>
          </ac:spMkLst>
        </pc:spChg>
        <pc:spChg chg="mod">
          <ac:chgData name="José Antonio Ureta Santacreu" userId="e36999d1-2b92-424a-9e8c-5fde0c5fbdd2" providerId="ADAL" clId="{8E1CC941-A529-42BD-91F2-8926E50D0828}" dt="2024-06-25T11:06:57.220" v="0"/>
          <ac:spMkLst>
            <pc:docMk/>
            <pc:sldMk cId="3936020262" sldId="320"/>
            <ac:spMk id="4" creationId="{D1F42DAB-0ACE-4344-BA76-3BCEFFB8AEFF}"/>
          </ac:spMkLst>
        </pc:spChg>
        <pc:spChg chg="mod">
          <ac:chgData name="José Antonio Ureta Santacreu" userId="e36999d1-2b92-424a-9e8c-5fde0c5fbdd2" providerId="ADAL" clId="{8E1CC941-A529-42BD-91F2-8926E50D0828}" dt="2024-06-25T11:06:57.220" v="0"/>
          <ac:spMkLst>
            <pc:docMk/>
            <pc:sldMk cId="3936020262" sldId="320"/>
            <ac:spMk id="7" creationId="{E4D4C3EA-E3FA-423D-AC36-0B5EC1C12658}"/>
          </ac:spMkLst>
        </pc:spChg>
        <pc:spChg chg="mod">
          <ac:chgData name="José Antonio Ureta Santacreu" userId="e36999d1-2b92-424a-9e8c-5fde0c5fbdd2" providerId="ADAL" clId="{8E1CC941-A529-42BD-91F2-8926E50D0828}" dt="2024-06-25T11:06:57.220" v="0"/>
          <ac:spMkLst>
            <pc:docMk/>
            <pc:sldMk cId="3936020262" sldId="320"/>
            <ac:spMk id="8" creationId="{AE016DAE-40E7-4871-A384-DF01831132D8}"/>
          </ac:spMkLst>
        </pc:spChg>
      </pc:sldChg>
      <pc:sldChg chg="modSp">
        <pc:chgData name="José Antonio Ureta Santacreu" userId="e36999d1-2b92-424a-9e8c-5fde0c5fbdd2" providerId="ADAL" clId="{8E1CC941-A529-42BD-91F2-8926E50D0828}" dt="2024-06-25T11:06:57.220" v="0"/>
        <pc:sldMkLst>
          <pc:docMk/>
          <pc:sldMk cId="1147980676" sldId="321"/>
        </pc:sldMkLst>
        <pc:spChg chg="mod">
          <ac:chgData name="José Antonio Ureta Santacreu" userId="e36999d1-2b92-424a-9e8c-5fde0c5fbdd2" providerId="ADAL" clId="{8E1CC941-A529-42BD-91F2-8926E50D0828}" dt="2024-06-25T11:06:57.220" v="0"/>
          <ac:spMkLst>
            <pc:docMk/>
            <pc:sldMk cId="1147980676" sldId="321"/>
            <ac:spMk id="2" creationId="{D3DC13FB-5723-DEB6-A56E-D149B876128D}"/>
          </ac:spMkLst>
        </pc:spChg>
        <pc:spChg chg="mod">
          <ac:chgData name="José Antonio Ureta Santacreu" userId="e36999d1-2b92-424a-9e8c-5fde0c5fbdd2" providerId="ADAL" clId="{8E1CC941-A529-42BD-91F2-8926E50D0828}" dt="2024-06-25T11:06:57.220" v="0"/>
          <ac:spMkLst>
            <pc:docMk/>
            <pc:sldMk cId="1147980676" sldId="321"/>
            <ac:spMk id="3" creationId="{1AC34247-4067-E04E-2A79-966CA45B15E7}"/>
          </ac:spMkLst>
        </pc:spChg>
        <pc:spChg chg="mod">
          <ac:chgData name="José Antonio Ureta Santacreu" userId="e36999d1-2b92-424a-9e8c-5fde0c5fbdd2" providerId="ADAL" clId="{8E1CC941-A529-42BD-91F2-8926E50D0828}" dt="2024-06-25T11:06:57.220" v="0"/>
          <ac:spMkLst>
            <pc:docMk/>
            <pc:sldMk cId="1147980676" sldId="321"/>
            <ac:spMk id="4" creationId="{5618C719-0E22-8C4F-9FA2-F03D96F89121}"/>
          </ac:spMkLst>
        </pc:spChg>
        <pc:spChg chg="mod">
          <ac:chgData name="José Antonio Ureta Santacreu" userId="e36999d1-2b92-424a-9e8c-5fde0c5fbdd2" providerId="ADAL" clId="{8E1CC941-A529-42BD-91F2-8926E50D0828}" dt="2024-06-25T11:06:57.220" v="0"/>
          <ac:spMkLst>
            <pc:docMk/>
            <pc:sldMk cId="1147980676" sldId="321"/>
            <ac:spMk id="5" creationId="{F6B61F87-2F14-E2D5-8C0E-2BD2D5FB0E79}"/>
          </ac:spMkLst>
        </pc:spChg>
      </pc:sldChg>
      <pc:sldChg chg="modSp">
        <pc:chgData name="José Antonio Ureta Santacreu" userId="e36999d1-2b92-424a-9e8c-5fde0c5fbdd2" providerId="ADAL" clId="{8E1CC941-A529-42BD-91F2-8926E50D0828}" dt="2024-06-25T11:06:57.220" v="0"/>
        <pc:sldMkLst>
          <pc:docMk/>
          <pc:sldMk cId="2906390905" sldId="322"/>
        </pc:sldMkLst>
        <pc:spChg chg="mod">
          <ac:chgData name="José Antonio Ureta Santacreu" userId="e36999d1-2b92-424a-9e8c-5fde0c5fbdd2" providerId="ADAL" clId="{8E1CC941-A529-42BD-91F2-8926E50D0828}" dt="2024-06-25T11:06:57.220" v="0"/>
          <ac:spMkLst>
            <pc:docMk/>
            <pc:sldMk cId="2906390905" sldId="322"/>
            <ac:spMk id="2" creationId="{9B8419DC-8036-4401-03D2-EBBF429366C2}"/>
          </ac:spMkLst>
        </pc:spChg>
        <pc:spChg chg="mod">
          <ac:chgData name="José Antonio Ureta Santacreu" userId="e36999d1-2b92-424a-9e8c-5fde0c5fbdd2" providerId="ADAL" clId="{8E1CC941-A529-42BD-91F2-8926E50D0828}" dt="2024-06-25T11:06:57.220" v="0"/>
          <ac:spMkLst>
            <pc:docMk/>
            <pc:sldMk cId="2906390905" sldId="322"/>
            <ac:spMk id="4" creationId="{B69CAF81-5F3F-152C-A3BA-1C14AB46E4A5}"/>
          </ac:spMkLst>
        </pc:spChg>
        <pc:spChg chg="mod">
          <ac:chgData name="José Antonio Ureta Santacreu" userId="e36999d1-2b92-424a-9e8c-5fde0c5fbdd2" providerId="ADAL" clId="{8E1CC941-A529-42BD-91F2-8926E50D0828}" dt="2024-06-25T11:06:57.220" v="0"/>
          <ac:spMkLst>
            <pc:docMk/>
            <pc:sldMk cId="2906390905" sldId="322"/>
            <ac:spMk id="5" creationId="{451D4C0E-56D3-A164-44E1-F82CB51E5EE1}"/>
          </ac:spMkLst>
        </pc:spChg>
        <pc:spChg chg="mod">
          <ac:chgData name="José Antonio Ureta Santacreu" userId="e36999d1-2b92-424a-9e8c-5fde0c5fbdd2" providerId="ADAL" clId="{8E1CC941-A529-42BD-91F2-8926E50D0828}" dt="2024-06-25T11:06:57.220" v="0"/>
          <ac:spMkLst>
            <pc:docMk/>
            <pc:sldMk cId="2906390905" sldId="322"/>
            <ac:spMk id="6" creationId="{5395EC2B-711C-C642-36B0-487BD9B8674D}"/>
          </ac:spMkLst>
        </pc:spChg>
      </pc:sldChg>
      <pc:sldChg chg="modSp mod">
        <pc:chgData name="José Antonio Ureta Santacreu" userId="e36999d1-2b92-424a-9e8c-5fde0c5fbdd2" providerId="ADAL" clId="{8E1CC941-A529-42BD-91F2-8926E50D0828}" dt="2024-06-25T11:06:59.460" v="51" actId="27636"/>
        <pc:sldMkLst>
          <pc:docMk/>
          <pc:sldMk cId="295480662" sldId="323"/>
        </pc:sldMkLst>
        <pc:spChg chg="mod">
          <ac:chgData name="José Antonio Ureta Santacreu" userId="e36999d1-2b92-424a-9e8c-5fde0c5fbdd2" providerId="ADAL" clId="{8E1CC941-A529-42BD-91F2-8926E50D0828}" dt="2024-06-25T11:06:57.220" v="0"/>
          <ac:spMkLst>
            <pc:docMk/>
            <pc:sldMk cId="295480662" sldId="323"/>
            <ac:spMk id="2" creationId="{0733F0F3-540B-43A7-910D-ADB8DC300EB3}"/>
          </ac:spMkLst>
        </pc:spChg>
        <pc:spChg chg="mod">
          <ac:chgData name="José Antonio Ureta Santacreu" userId="e36999d1-2b92-424a-9e8c-5fde0c5fbdd2" providerId="ADAL" clId="{8E1CC941-A529-42BD-91F2-8926E50D0828}" dt="2024-06-25T11:06:59.460" v="51" actId="27636"/>
          <ac:spMkLst>
            <pc:docMk/>
            <pc:sldMk cId="295480662" sldId="323"/>
            <ac:spMk id="3" creationId="{19808B11-5337-4F6F-9071-6A8F96B7DCAE}"/>
          </ac:spMkLst>
        </pc:spChg>
        <pc:spChg chg="mod">
          <ac:chgData name="José Antonio Ureta Santacreu" userId="e36999d1-2b92-424a-9e8c-5fde0c5fbdd2" providerId="ADAL" clId="{8E1CC941-A529-42BD-91F2-8926E50D0828}" dt="2024-06-25T11:06:57.220" v="0"/>
          <ac:spMkLst>
            <pc:docMk/>
            <pc:sldMk cId="295480662" sldId="323"/>
            <ac:spMk id="4" creationId="{3858CD8B-E29A-4237-AD9F-F027AD6C079C}"/>
          </ac:spMkLst>
        </pc:spChg>
        <pc:spChg chg="mod">
          <ac:chgData name="José Antonio Ureta Santacreu" userId="e36999d1-2b92-424a-9e8c-5fde0c5fbdd2" providerId="ADAL" clId="{8E1CC941-A529-42BD-91F2-8926E50D0828}" dt="2024-06-25T11:06:57.220" v="0"/>
          <ac:spMkLst>
            <pc:docMk/>
            <pc:sldMk cId="295480662" sldId="323"/>
            <ac:spMk id="6" creationId="{8565DEA1-C965-4FDD-A81E-70CAC772E56D}"/>
          </ac:spMkLst>
        </pc:spChg>
        <pc:spChg chg="mod">
          <ac:chgData name="José Antonio Ureta Santacreu" userId="e36999d1-2b92-424a-9e8c-5fde0c5fbdd2" providerId="ADAL" clId="{8E1CC941-A529-42BD-91F2-8926E50D0828}" dt="2024-06-25T11:06:57.220" v="0"/>
          <ac:spMkLst>
            <pc:docMk/>
            <pc:sldMk cId="295480662" sldId="323"/>
            <ac:spMk id="7" creationId="{01AD171B-C548-42EA-A112-D859C4CB0639}"/>
          </ac:spMkLst>
        </pc:spChg>
      </pc:sldChg>
      <pc:sldChg chg="modSp">
        <pc:chgData name="José Antonio Ureta Santacreu" userId="e36999d1-2b92-424a-9e8c-5fde0c5fbdd2" providerId="ADAL" clId="{8E1CC941-A529-42BD-91F2-8926E50D0828}" dt="2024-06-25T11:06:57.220" v="0"/>
        <pc:sldMkLst>
          <pc:docMk/>
          <pc:sldMk cId="1024268122" sldId="381"/>
        </pc:sldMkLst>
        <pc:spChg chg="mod">
          <ac:chgData name="José Antonio Ureta Santacreu" userId="e36999d1-2b92-424a-9e8c-5fde0c5fbdd2" providerId="ADAL" clId="{8E1CC941-A529-42BD-91F2-8926E50D0828}" dt="2024-06-25T11:06:57.220" v="0"/>
          <ac:spMkLst>
            <pc:docMk/>
            <pc:sldMk cId="1024268122" sldId="381"/>
            <ac:spMk id="5" creationId="{65A34608-7AB5-49E1-AA41-5815EF811DA4}"/>
          </ac:spMkLst>
        </pc:spChg>
        <pc:spChg chg="mod">
          <ac:chgData name="José Antonio Ureta Santacreu" userId="e36999d1-2b92-424a-9e8c-5fde0c5fbdd2" providerId="ADAL" clId="{8E1CC941-A529-42BD-91F2-8926E50D0828}" dt="2024-06-25T11:06:57.220" v="0"/>
          <ac:spMkLst>
            <pc:docMk/>
            <pc:sldMk cId="1024268122" sldId="381"/>
            <ac:spMk id="7" creationId="{1564EFFC-CD73-46D7-B8FF-916CC593FC5B}"/>
          </ac:spMkLst>
        </pc:spChg>
        <pc:spChg chg="mod">
          <ac:chgData name="José Antonio Ureta Santacreu" userId="e36999d1-2b92-424a-9e8c-5fde0c5fbdd2" providerId="ADAL" clId="{8E1CC941-A529-42BD-91F2-8926E50D0828}" dt="2024-06-25T11:06:57.220" v="0"/>
          <ac:spMkLst>
            <pc:docMk/>
            <pc:sldMk cId="1024268122" sldId="381"/>
            <ac:spMk id="8" creationId="{00000000-0000-0000-0000-000000000000}"/>
          </ac:spMkLst>
        </pc:spChg>
        <pc:spChg chg="mod">
          <ac:chgData name="José Antonio Ureta Santacreu" userId="e36999d1-2b92-424a-9e8c-5fde0c5fbdd2" providerId="ADAL" clId="{8E1CC941-A529-42BD-91F2-8926E50D0828}" dt="2024-06-25T11:06:57.220" v="0"/>
          <ac:spMkLst>
            <pc:docMk/>
            <pc:sldMk cId="1024268122" sldId="381"/>
            <ac:spMk id="9" creationId="{77354FFA-E0B9-41E9-8DC2-93AC8444F1D7}"/>
          </ac:spMkLst>
        </pc:spChg>
        <pc:picChg chg="mod">
          <ac:chgData name="José Antonio Ureta Santacreu" userId="e36999d1-2b92-424a-9e8c-5fde0c5fbdd2" providerId="ADAL" clId="{8E1CC941-A529-42BD-91F2-8926E50D0828}" dt="2024-06-25T11:06:57.220" v="0"/>
          <ac:picMkLst>
            <pc:docMk/>
            <pc:sldMk cId="1024268122" sldId="381"/>
            <ac:picMk id="10" creationId="{C016EF45-41CE-4F7B-91F6-41482005917C}"/>
          </ac:picMkLst>
        </pc:picChg>
      </pc:sldChg>
      <pc:sldChg chg="modSp">
        <pc:chgData name="José Antonio Ureta Santacreu" userId="e36999d1-2b92-424a-9e8c-5fde0c5fbdd2" providerId="ADAL" clId="{8E1CC941-A529-42BD-91F2-8926E50D0828}" dt="2024-06-25T11:06:57.220" v="0"/>
        <pc:sldMkLst>
          <pc:docMk/>
          <pc:sldMk cId="1561952552" sldId="385"/>
        </pc:sldMkLst>
        <pc:spChg chg="mod">
          <ac:chgData name="José Antonio Ureta Santacreu" userId="e36999d1-2b92-424a-9e8c-5fde0c5fbdd2" providerId="ADAL" clId="{8E1CC941-A529-42BD-91F2-8926E50D0828}" dt="2024-06-25T11:06:57.220" v="0"/>
          <ac:spMkLst>
            <pc:docMk/>
            <pc:sldMk cId="1561952552" sldId="385"/>
            <ac:spMk id="5" creationId="{A6958322-02CE-4DEC-9687-2DC9249296A2}"/>
          </ac:spMkLst>
        </pc:spChg>
        <pc:spChg chg="mod">
          <ac:chgData name="José Antonio Ureta Santacreu" userId="e36999d1-2b92-424a-9e8c-5fde0c5fbdd2" providerId="ADAL" clId="{8E1CC941-A529-42BD-91F2-8926E50D0828}" dt="2024-06-25T11:06:57.220" v="0"/>
          <ac:spMkLst>
            <pc:docMk/>
            <pc:sldMk cId="1561952552" sldId="385"/>
            <ac:spMk id="7" creationId="{E51C7129-0375-44D8-8DD9-1F2D5FBE0A18}"/>
          </ac:spMkLst>
        </pc:spChg>
        <pc:spChg chg="mod">
          <ac:chgData name="José Antonio Ureta Santacreu" userId="e36999d1-2b92-424a-9e8c-5fde0c5fbdd2" providerId="ADAL" clId="{8E1CC941-A529-42BD-91F2-8926E50D0828}" dt="2024-06-25T11:06:57.220" v="0"/>
          <ac:spMkLst>
            <pc:docMk/>
            <pc:sldMk cId="1561952552" sldId="385"/>
            <ac:spMk id="8" creationId="{00000000-0000-0000-0000-000000000000}"/>
          </ac:spMkLst>
        </pc:spChg>
        <pc:spChg chg="mod">
          <ac:chgData name="José Antonio Ureta Santacreu" userId="e36999d1-2b92-424a-9e8c-5fde0c5fbdd2" providerId="ADAL" clId="{8E1CC941-A529-42BD-91F2-8926E50D0828}" dt="2024-06-25T11:06:57.220" v="0"/>
          <ac:spMkLst>
            <pc:docMk/>
            <pc:sldMk cId="1561952552" sldId="385"/>
            <ac:spMk id="9" creationId="{6C2D06DF-8D4F-4053-8519-4CA258D1DE7F}"/>
          </ac:spMkLst>
        </pc:spChg>
      </pc:sldChg>
      <pc:sldChg chg="modSp mod">
        <pc:chgData name="José Antonio Ureta Santacreu" userId="e36999d1-2b92-424a-9e8c-5fde0c5fbdd2" providerId="ADAL" clId="{8E1CC941-A529-42BD-91F2-8926E50D0828}" dt="2024-06-25T11:06:58.635" v="26" actId="27636"/>
        <pc:sldMkLst>
          <pc:docMk/>
          <pc:sldMk cId="421750622" sldId="386"/>
        </pc:sldMkLst>
        <pc:spChg chg="mod">
          <ac:chgData name="José Antonio Ureta Santacreu" userId="e36999d1-2b92-424a-9e8c-5fde0c5fbdd2" providerId="ADAL" clId="{8E1CC941-A529-42BD-91F2-8926E50D0828}" dt="2024-06-25T11:06:57.220" v="0"/>
          <ac:spMkLst>
            <pc:docMk/>
            <pc:sldMk cId="421750622" sldId="386"/>
            <ac:spMk id="5" creationId="{33AE7BA6-1973-4AF4-83E3-70ADADDFDED9}"/>
          </ac:spMkLst>
        </pc:spChg>
        <pc:spChg chg="mod">
          <ac:chgData name="José Antonio Ureta Santacreu" userId="e36999d1-2b92-424a-9e8c-5fde0c5fbdd2" providerId="ADAL" clId="{8E1CC941-A529-42BD-91F2-8926E50D0828}" dt="2024-06-25T11:06:57.220" v="0"/>
          <ac:spMkLst>
            <pc:docMk/>
            <pc:sldMk cId="421750622" sldId="386"/>
            <ac:spMk id="6" creationId="{138401C0-E6B5-4FF5-8DC3-23C85D6A70FD}"/>
          </ac:spMkLst>
        </pc:spChg>
        <pc:spChg chg="mod">
          <ac:chgData name="José Antonio Ureta Santacreu" userId="e36999d1-2b92-424a-9e8c-5fde0c5fbdd2" providerId="ADAL" clId="{8E1CC941-A529-42BD-91F2-8926E50D0828}" dt="2024-06-25T11:06:58.635" v="26" actId="27636"/>
          <ac:spMkLst>
            <pc:docMk/>
            <pc:sldMk cId="421750622" sldId="386"/>
            <ac:spMk id="8" creationId="{00000000-0000-0000-0000-000000000000}"/>
          </ac:spMkLst>
        </pc:spChg>
        <pc:spChg chg="mod">
          <ac:chgData name="José Antonio Ureta Santacreu" userId="e36999d1-2b92-424a-9e8c-5fde0c5fbdd2" providerId="ADAL" clId="{8E1CC941-A529-42BD-91F2-8926E50D0828}" dt="2024-06-25T11:06:57.220" v="0"/>
          <ac:spMkLst>
            <pc:docMk/>
            <pc:sldMk cId="421750622" sldId="386"/>
            <ac:spMk id="16" creationId="{B958C90D-D3DD-44FC-B23C-B5AF18C8A2CC}"/>
          </ac:spMkLst>
        </pc:spChg>
      </pc:sldChg>
      <pc:sldChg chg="modSp mod">
        <pc:chgData name="José Antonio Ureta Santacreu" userId="e36999d1-2b92-424a-9e8c-5fde0c5fbdd2" providerId="ADAL" clId="{8E1CC941-A529-42BD-91F2-8926E50D0828}" dt="2024-06-25T11:06:57.991" v="7" actId="27636"/>
        <pc:sldMkLst>
          <pc:docMk/>
          <pc:sldMk cId="243380701" sldId="388"/>
        </pc:sldMkLst>
        <pc:spChg chg="mod">
          <ac:chgData name="José Antonio Ureta Santacreu" userId="e36999d1-2b92-424a-9e8c-5fde0c5fbdd2" providerId="ADAL" clId="{8E1CC941-A529-42BD-91F2-8926E50D0828}" dt="2024-06-25T11:06:57.220" v="0"/>
          <ac:spMkLst>
            <pc:docMk/>
            <pc:sldMk cId="243380701" sldId="388"/>
            <ac:spMk id="2" creationId="{35102012-1844-434B-9083-772D2F007A2F}"/>
          </ac:spMkLst>
        </pc:spChg>
        <pc:spChg chg="mod">
          <ac:chgData name="José Antonio Ureta Santacreu" userId="e36999d1-2b92-424a-9e8c-5fde0c5fbdd2" providerId="ADAL" clId="{8E1CC941-A529-42BD-91F2-8926E50D0828}" dt="2024-06-25T11:06:57.220" v="0"/>
          <ac:spMkLst>
            <pc:docMk/>
            <pc:sldMk cId="243380701" sldId="388"/>
            <ac:spMk id="3" creationId="{973B5B1D-9158-411D-9025-1933C3D29EAA}"/>
          </ac:spMkLst>
        </pc:spChg>
        <pc:spChg chg="mod">
          <ac:chgData name="José Antonio Ureta Santacreu" userId="e36999d1-2b92-424a-9e8c-5fde0c5fbdd2" providerId="ADAL" clId="{8E1CC941-A529-42BD-91F2-8926E50D0828}" dt="2024-06-25T11:06:57.220" v="0"/>
          <ac:spMkLst>
            <pc:docMk/>
            <pc:sldMk cId="243380701" sldId="388"/>
            <ac:spMk id="4" creationId="{B5DDF7F7-3935-4512-8A1B-56DD7E8CC94B}"/>
          </ac:spMkLst>
        </pc:spChg>
        <pc:spChg chg="mod">
          <ac:chgData name="José Antonio Ureta Santacreu" userId="e36999d1-2b92-424a-9e8c-5fde0c5fbdd2" providerId="ADAL" clId="{8E1CC941-A529-42BD-91F2-8926E50D0828}" dt="2024-06-25T11:06:57.991" v="7" actId="27636"/>
          <ac:spMkLst>
            <pc:docMk/>
            <pc:sldMk cId="243380701" sldId="388"/>
            <ac:spMk id="8" creationId="{00000000-0000-0000-0000-000000000000}"/>
          </ac:spMkLst>
        </pc:spChg>
      </pc:sldChg>
      <pc:sldChg chg="modSp">
        <pc:chgData name="José Antonio Ureta Santacreu" userId="e36999d1-2b92-424a-9e8c-5fde0c5fbdd2" providerId="ADAL" clId="{8E1CC941-A529-42BD-91F2-8926E50D0828}" dt="2024-06-25T11:06:57.220" v="0"/>
        <pc:sldMkLst>
          <pc:docMk/>
          <pc:sldMk cId="201637022" sldId="390"/>
        </pc:sldMkLst>
        <pc:spChg chg="mod">
          <ac:chgData name="José Antonio Ureta Santacreu" userId="e36999d1-2b92-424a-9e8c-5fde0c5fbdd2" providerId="ADAL" clId="{8E1CC941-A529-42BD-91F2-8926E50D0828}" dt="2024-06-25T11:06:57.220" v="0"/>
          <ac:spMkLst>
            <pc:docMk/>
            <pc:sldMk cId="201637022" sldId="390"/>
            <ac:spMk id="8" creationId="{DE928035-5417-9755-B4B1-E5CFC79874C5}"/>
          </ac:spMkLst>
        </pc:spChg>
        <pc:spChg chg="mod">
          <ac:chgData name="José Antonio Ureta Santacreu" userId="e36999d1-2b92-424a-9e8c-5fde0c5fbdd2" providerId="ADAL" clId="{8E1CC941-A529-42BD-91F2-8926E50D0828}" dt="2024-06-25T11:06:57.220" v="0"/>
          <ac:spMkLst>
            <pc:docMk/>
            <pc:sldMk cId="201637022" sldId="390"/>
            <ac:spMk id="19" creationId="{E65210CF-C18C-8DA4-702B-27E6FFD4A7F3}"/>
          </ac:spMkLst>
        </pc:spChg>
        <pc:spChg chg="mod">
          <ac:chgData name="José Antonio Ureta Santacreu" userId="e36999d1-2b92-424a-9e8c-5fde0c5fbdd2" providerId="ADAL" clId="{8E1CC941-A529-42BD-91F2-8926E50D0828}" dt="2024-06-25T11:06:57.220" v="0"/>
          <ac:spMkLst>
            <pc:docMk/>
            <pc:sldMk cId="201637022" sldId="390"/>
            <ac:spMk id="21" creationId="{FBE9A9F0-5D82-5971-8FD2-1FCA27402730}"/>
          </ac:spMkLst>
        </pc:spChg>
        <pc:spChg chg="mod">
          <ac:chgData name="José Antonio Ureta Santacreu" userId="e36999d1-2b92-424a-9e8c-5fde0c5fbdd2" providerId="ADAL" clId="{8E1CC941-A529-42BD-91F2-8926E50D0828}" dt="2024-06-25T11:06:57.220" v="0"/>
          <ac:spMkLst>
            <pc:docMk/>
            <pc:sldMk cId="201637022" sldId="390"/>
            <ac:spMk id="23" creationId="{9962FCB5-3DAB-3C93-623D-390F5A1EE1B5}"/>
          </ac:spMkLst>
        </pc:spChg>
        <pc:picChg chg="mod">
          <ac:chgData name="José Antonio Ureta Santacreu" userId="e36999d1-2b92-424a-9e8c-5fde0c5fbdd2" providerId="ADAL" clId="{8E1CC941-A529-42BD-91F2-8926E50D0828}" dt="2024-06-25T11:06:57.220" v="0"/>
          <ac:picMkLst>
            <pc:docMk/>
            <pc:sldMk cId="201637022" sldId="390"/>
            <ac:picMk id="3074" creationId="{693D5965-A850-CAEB-93D0-CD4495A255B4}"/>
          </ac:picMkLst>
        </pc:picChg>
      </pc:sldChg>
      <pc:sldChg chg="modSp mod">
        <pc:chgData name="José Antonio Ureta Santacreu" userId="e36999d1-2b92-424a-9e8c-5fde0c5fbdd2" providerId="ADAL" clId="{8E1CC941-A529-42BD-91F2-8926E50D0828}" dt="2024-07-19T09:54:20.146" v="1227" actId="20577"/>
        <pc:sldMkLst>
          <pc:docMk/>
          <pc:sldMk cId="639239425" sldId="391"/>
        </pc:sldMkLst>
        <pc:spChg chg="mod">
          <ac:chgData name="José Antonio Ureta Santacreu" userId="e36999d1-2b92-424a-9e8c-5fde0c5fbdd2" providerId="ADAL" clId="{8E1CC941-A529-42BD-91F2-8926E50D0828}" dt="2024-06-25T11:06:57.220" v="0"/>
          <ac:spMkLst>
            <pc:docMk/>
            <pc:sldMk cId="639239425" sldId="391"/>
            <ac:spMk id="2" creationId="{0EA2A7CF-3B5F-4773-892C-0D05B86DFAD7}"/>
          </ac:spMkLst>
        </pc:spChg>
        <pc:spChg chg="mod">
          <ac:chgData name="José Antonio Ureta Santacreu" userId="e36999d1-2b92-424a-9e8c-5fde0c5fbdd2" providerId="ADAL" clId="{8E1CC941-A529-42BD-91F2-8926E50D0828}" dt="2024-06-25T11:06:57.220" v="0"/>
          <ac:spMkLst>
            <pc:docMk/>
            <pc:sldMk cId="639239425" sldId="391"/>
            <ac:spMk id="3" creationId="{4ACFD77F-3031-4A39-A417-EB8235DAF52A}"/>
          </ac:spMkLst>
        </pc:spChg>
        <pc:spChg chg="mod">
          <ac:chgData name="José Antonio Ureta Santacreu" userId="e36999d1-2b92-424a-9e8c-5fde0c5fbdd2" providerId="ADAL" clId="{8E1CC941-A529-42BD-91F2-8926E50D0828}" dt="2024-06-25T11:06:57.220" v="0"/>
          <ac:spMkLst>
            <pc:docMk/>
            <pc:sldMk cId="639239425" sldId="391"/>
            <ac:spMk id="4" creationId="{B77D172B-D116-431D-99B8-7875015763AB}"/>
          </ac:spMkLst>
        </pc:spChg>
        <pc:spChg chg="mod">
          <ac:chgData name="José Antonio Ureta Santacreu" userId="e36999d1-2b92-424a-9e8c-5fde0c5fbdd2" providerId="ADAL" clId="{8E1CC941-A529-42BD-91F2-8926E50D0828}" dt="2024-07-19T09:54:20.146" v="1227" actId="20577"/>
          <ac:spMkLst>
            <pc:docMk/>
            <pc:sldMk cId="639239425" sldId="391"/>
            <ac:spMk id="8" creationId="{00000000-0000-0000-0000-000000000000}"/>
          </ac:spMkLst>
        </pc:spChg>
      </pc:sldChg>
      <pc:sldChg chg="modSp">
        <pc:chgData name="José Antonio Ureta Santacreu" userId="e36999d1-2b92-424a-9e8c-5fde0c5fbdd2" providerId="ADAL" clId="{8E1CC941-A529-42BD-91F2-8926E50D0828}" dt="2024-06-25T11:06:57.220" v="0"/>
        <pc:sldMkLst>
          <pc:docMk/>
          <pc:sldMk cId="3759539183" sldId="400"/>
        </pc:sldMkLst>
        <pc:spChg chg="mod">
          <ac:chgData name="José Antonio Ureta Santacreu" userId="e36999d1-2b92-424a-9e8c-5fde0c5fbdd2" providerId="ADAL" clId="{8E1CC941-A529-42BD-91F2-8926E50D0828}" dt="2024-06-25T11:06:57.220" v="0"/>
          <ac:spMkLst>
            <pc:docMk/>
            <pc:sldMk cId="3759539183" sldId="400"/>
            <ac:spMk id="2" creationId="{5C7D6EA3-75E6-9CEF-6E33-FC4E3309AE07}"/>
          </ac:spMkLst>
        </pc:spChg>
        <pc:spChg chg="mod">
          <ac:chgData name="José Antonio Ureta Santacreu" userId="e36999d1-2b92-424a-9e8c-5fde0c5fbdd2" providerId="ADAL" clId="{8E1CC941-A529-42BD-91F2-8926E50D0828}" dt="2024-06-25T11:06:57.220" v="0"/>
          <ac:spMkLst>
            <pc:docMk/>
            <pc:sldMk cId="3759539183" sldId="400"/>
            <ac:spMk id="3" creationId="{D185E74B-6E91-D161-5D96-B5AD8D547B6E}"/>
          </ac:spMkLst>
        </pc:spChg>
        <pc:spChg chg="mod">
          <ac:chgData name="José Antonio Ureta Santacreu" userId="e36999d1-2b92-424a-9e8c-5fde0c5fbdd2" providerId="ADAL" clId="{8E1CC941-A529-42BD-91F2-8926E50D0828}" dt="2024-06-25T11:06:57.220" v="0"/>
          <ac:spMkLst>
            <pc:docMk/>
            <pc:sldMk cId="3759539183" sldId="400"/>
            <ac:spMk id="4" creationId="{A60591FB-BED6-8403-BD36-CFAC84CBEA53}"/>
          </ac:spMkLst>
        </pc:spChg>
        <pc:spChg chg="mod">
          <ac:chgData name="José Antonio Ureta Santacreu" userId="e36999d1-2b92-424a-9e8c-5fde0c5fbdd2" providerId="ADAL" clId="{8E1CC941-A529-42BD-91F2-8926E50D0828}" dt="2024-06-25T11:06:57.220" v="0"/>
          <ac:spMkLst>
            <pc:docMk/>
            <pc:sldMk cId="3759539183" sldId="400"/>
            <ac:spMk id="8" creationId="{278DBE72-96CE-4BD9-3684-1781A0B75200}"/>
          </ac:spMkLst>
        </pc:spChg>
        <pc:picChg chg="mod">
          <ac:chgData name="José Antonio Ureta Santacreu" userId="e36999d1-2b92-424a-9e8c-5fde0c5fbdd2" providerId="ADAL" clId="{8E1CC941-A529-42BD-91F2-8926E50D0828}" dt="2024-06-25T11:06:57.220" v="0"/>
          <ac:picMkLst>
            <pc:docMk/>
            <pc:sldMk cId="3759539183" sldId="400"/>
            <ac:picMk id="12" creationId="{12CC71F4-3797-35A8-0569-033F5301860C}"/>
          </ac:picMkLst>
        </pc:picChg>
      </pc:sldChg>
      <pc:sldChg chg="modSp">
        <pc:chgData name="José Antonio Ureta Santacreu" userId="e36999d1-2b92-424a-9e8c-5fde0c5fbdd2" providerId="ADAL" clId="{8E1CC941-A529-42BD-91F2-8926E50D0828}" dt="2024-06-25T11:06:57.220" v="0"/>
        <pc:sldMkLst>
          <pc:docMk/>
          <pc:sldMk cId="1696799541" sldId="404"/>
        </pc:sldMkLst>
        <pc:spChg chg="mod">
          <ac:chgData name="José Antonio Ureta Santacreu" userId="e36999d1-2b92-424a-9e8c-5fde0c5fbdd2" providerId="ADAL" clId="{8E1CC941-A529-42BD-91F2-8926E50D0828}" dt="2024-06-25T11:06:57.220" v="0"/>
          <ac:spMkLst>
            <pc:docMk/>
            <pc:sldMk cId="1696799541" sldId="404"/>
            <ac:spMk id="2" creationId="{613EC817-403B-9BE3-FD7C-54FCB549629E}"/>
          </ac:spMkLst>
        </pc:spChg>
        <pc:spChg chg="mod">
          <ac:chgData name="José Antonio Ureta Santacreu" userId="e36999d1-2b92-424a-9e8c-5fde0c5fbdd2" providerId="ADAL" clId="{8E1CC941-A529-42BD-91F2-8926E50D0828}" dt="2024-06-25T11:06:57.220" v="0"/>
          <ac:spMkLst>
            <pc:docMk/>
            <pc:sldMk cId="1696799541" sldId="404"/>
            <ac:spMk id="3" creationId="{6245E9BD-99ED-655A-9C09-C52CFC6F3B67}"/>
          </ac:spMkLst>
        </pc:spChg>
        <pc:spChg chg="mod">
          <ac:chgData name="José Antonio Ureta Santacreu" userId="e36999d1-2b92-424a-9e8c-5fde0c5fbdd2" providerId="ADAL" clId="{8E1CC941-A529-42BD-91F2-8926E50D0828}" dt="2024-06-25T11:06:57.220" v="0"/>
          <ac:spMkLst>
            <pc:docMk/>
            <pc:sldMk cId="1696799541" sldId="404"/>
            <ac:spMk id="4" creationId="{31598851-6F28-2A5C-E757-C24A3E3A6801}"/>
          </ac:spMkLst>
        </pc:spChg>
        <pc:spChg chg="mod">
          <ac:chgData name="José Antonio Ureta Santacreu" userId="e36999d1-2b92-424a-9e8c-5fde0c5fbdd2" providerId="ADAL" clId="{8E1CC941-A529-42BD-91F2-8926E50D0828}" dt="2024-06-25T11:06:57.220" v="0"/>
          <ac:spMkLst>
            <pc:docMk/>
            <pc:sldMk cId="1696799541" sldId="404"/>
            <ac:spMk id="8" creationId="{0DA25DDA-752C-CE39-5329-C340792AEDDC}"/>
          </ac:spMkLst>
        </pc:spChg>
      </pc:sldChg>
      <pc:sldChg chg="modSp">
        <pc:chgData name="José Antonio Ureta Santacreu" userId="e36999d1-2b92-424a-9e8c-5fde0c5fbdd2" providerId="ADAL" clId="{8E1CC941-A529-42BD-91F2-8926E50D0828}" dt="2024-06-25T11:06:57.220" v="0"/>
        <pc:sldMkLst>
          <pc:docMk/>
          <pc:sldMk cId="3498336680" sldId="405"/>
        </pc:sldMkLst>
        <pc:spChg chg="mod">
          <ac:chgData name="José Antonio Ureta Santacreu" userId="e36999d1-2b92-424a-9e8c-5fde0c5fbdd2" providerId="ADAL" clId="{8E1CC941-A529-42BD-91F2-8926E50D0828}" dt="2024-06-25T11:06:57.220" v="0"/>
          <ac:spMkLst>
            <pc:docMk/>
            <pc:sldMk cId="3498336680" sldId="405"/>
            <ac:spMk id="2" creationId="{25C4136F-9054-C237-C752-C4FBA3F04E89}"/>
          </ac:spMkLst>
        </pc:spChg>
        <pc:spChg chg="mod">
          <ac:chgData name="José Antonio Ureta Santacreu" userId="e36999d1-2b92-424a-9e8c-5fde0c5fbdd2" providerId="ADAL" clId="{8E1CC941-A529-42BD-91F2-8926E50D0828}" dt="2024-06-25T11:06:57.220" v="0"/>
          <ac:spMkLst>
            <pc:docMk/>
            <pc:sldMk cId="3498336680" sldId="405"/>
            <ac:spMk id="3" creationId="{0E88665E-8509-3609-DD68-4FDB60D657F5}"/>
          </ac:spMkLst>
        </pc:spChg>
        <pc:spChg chg="mod">
          <ac:chgData name="José Antonio Ureta Santacreu" userId="e36999d1-2b92-424a-9e8c-5fde0c5fbdd2" providerId="ADAL" clId="{8E1CC941-A529-42BD-91F2-8926E50D0828}" dt="2024-06-25T11:06:57.220" v="0"/>
          <ac:spMkLst>
            <pc:docMk/>
            <pc:sldMk cId="3498336680" sldId="405"/>
            <ac:spMk id="4" creationId="{F0BE394B-841E-560C-15C2-58CC922BE73F}"/>
          </ac:spMkLst>
        </pc:spChg>
        <pc:spChg chg="mod">
          <ac:chgData name="José Antonio Ureta Santacreu" userId="e36999d1-2b92-424a-9e8c-5fde0c5fbdd2" providerId="ADAL" clId="{8E1CC941-A529-42BD-91F2-8926E50D0828}" dt="2024-06-25T11:06:57.220" v="0"/>
          <ac:spMkLst>
            <pc:docMk/>
            <pc:sldMk cId="3498336680" sldId="405"/>
            <ac:spMk id="5" creationId="{A2D72451-61B5-0869-F794-9F1952AB015B}"/>
          </ac:spMkLst>
        </pc:spChg>
        <pc:spChg chg="mod">
          <ac:chgData name="José Antonio Ureta Santacreu" userId="e36999d1-2b92-424a-9e8c-5fde0c5fbdd2" providerId="ADAL" clId="{8E1CC941-A529-42BD-91F2-8926E50D0828}" dt="2024-06-25T11:06:57.220" v="0"/>
          <ac:spMkLst>
            <pc:docMk/>
            <pc:sldMk cId="3498336680" sldId="405"/>
            <ac:spMk id="8" creationId="{BCC321A8-49FB-72C0-8E59-0D1E34ADFB99}"/>
          </ac:spMkLst>
        </pc:spChg>
        <pc:picChg chg="mod">
          <ac:chgData name="José Antonio Ureta Santacreu" userId="e36999d1-2b92-424a-9e8c-5fde0c5fbdd2" providerId="ADAL" clId="{8E1CC941-A529-42BD-91F2-8926E50D0828}" dt="2024-06-25T11:06:57.220" v="0"/>
          <ac:picMkLst>
            <pc:docMk/>
            <pc:sldMk cId="3498336680" sldId="405"/>
            <ac:picMk id="10" creationId="{3EA71504-B140-AA71-FA57-BBD3B31BD3D7}"/>
          </ac:picMkLst>
        </pc:picChg>
      </pc:sldChg>
      <pc:sldChg chg="modSp">
        <pc:chgData name="José Antonio Ureta Santacreu" userId="e36999d1-2b92-424a-9e8c-5fde0c5fbdd2" providerId="ADAL" clId="{8E1CC941-A529-42BD-91F2-8926E50D0828}" dt="2024-06-25T11:06:57.220" v="0"/>
        <pc:sldMkLst>
          <pc:docMk/>
          <pc:sldMk cId="3009845874" sldId="408"/>
        </pc:sldMkLst>
        <pc:spChg chg="mod">
          <ac:chgData name="José Antonio Ureta Santacreu" userId="e36999d1-2b92-424a-9e8c-5fde0c5fbdd2" providerId="ADAL" clId="{8E1CC941-A529-42BD-91F2-8926E50D0828}" dt="2024-06-25T11:06:57.220" v="0"/>
          <ac:spMkLst>
            <pc:docMk/>
            <pc:sldMk cId="3009845874" sldId="408"/>
            <ac:spMk id="2" creationId="{0754D0F8-1EC3-A81B-7D5D-278AD1D6EBE5}"/>
          </ac:spMkLst>
        </pc:spChg>
        <pc:spChg chg="mod">
          <ac:chgData name="José Antonio Ureta Santacreu" userId="e36999d1-2b92-424a-9e8c-5fde0c5fbdd2" providerId="ADAL" clId="{8E1CC941-A529-42BD-91F2-8926E50D0828}" dt="2024-06-25T11:06:57.220" v="0"/>
          <ac:spMkLst>
            <pc:docMk/>
            <pc:sldMk cId="3009845874" sldId="408"/>
            <ac:spMk id="3" creationId="{C16D2717-7613-C2C8-B527-459DF6E7731F}"/>
          </ac:spMkLst>
        </pc:spChg>
        <pc:spChg chg="mod">
          <ac:chgData name="José Antonio Ureta Santacreu" userId="e36999d1-2b92-424a-9e8c-5fde0c5fbdd2" providerId="ADAL" clId="{8E1CC941-A529-42BD-91F2-8926E50D0828}" dt="2024-06-25T11:06:57.220" v="0"/>
          <ac:spMkLst>
            <pc:docMk/>
            <pc:sldMk cId="3009845874" sldId="408"/>
            <ac:spMk id="4" creationId="{BA73C103-7D77-FF29-98F2-E1B2606E3DD1}"/>
          </ac:spMkLst>
        </pc:spChg>
        <pc:spChg chg="mod">
          <ac:chgData name="José Antonio Ureta Santacreu" userId="e36999d1-2b92-424a-9e8c-5fde0c5fbdd2" providerId="ADAL" clId="{8E1CC941-A529-42BD-91F2-8926E50D0828}" dt="2024-06-25T11:06:57.220" v="0"/>
          <ac:spMkLst>
            <pc:docMk/>
            <pc:sldMk cId="3009845874" sldId="408"/>
            <ac:spMk id="8" creationId="{C566EC88-B223-7D77-E009-B3A894547D44}"/>
          </ac:spMkLst>
        </pc:spChg>
      </pc:sldChg>
      <pc:sldChg chg="modSp">
        <pc:chgData name="José Antonio Ureta Santacreu" userId="e36999d1-2b92-424a-9e8c-5fde0c5fbdd2" providerId="ADAL" clId="{8E1CC941-A529-42BD-91F2-8926E50D0828}" dt="2024-06-25T11:06:57.220" v="0"/>
        <pc:sldMkLst>
          <pc:docMk/>
          <pc:sldMk cId="3762233155" sldId="409"/>
        </pc:sldMkLst>
        <pc:spChg chg="mod">
          <ac:chgData name="José Antonio Ureta Santacreu" userId="e36999d1-2b92-424a-9e8c-5fde0c5fbdd2" providerId="ADAL" clId="{8E1CC941-A529-42BD-91F2-8926E50D0828}" dt="2024-06-25T11:06:57.220" v="0"/>
          <ac:spMkLst>
            <pc:docMk/>
            <pc:sldMk cId="3762233155" sldId="409"/>
            <ac:spMk id="3" creationId="{B7F08D84-FE24-4211-9DD9-853F6B8ED047}"/>
          </ac:spMkLst>
        </pc:spChg>
        <pc:spChg chg="mod">
          <ac:chgData name="José Antonio Ureta Santacreu" userId="e36999d1-2b92-424a-9e8c-5fde0c5fbdd2" providerId="ADAL" clId="{8E1CC941-A529-42BD-91F2-8926E50D0828}" dt="2024-06-25T11:06:57.220" v="0"/>
          <ac:spMkLst>
            <pc:docMk/>
            <pc:sldMk cId="3762233155" sldId="409"/>
            <ac:spMk id="7" creationId="{DF28F63D-860C-62F0-308E-E188657B1D46}"/>
          </ac:spMkLst>
        </pc:spChg>
        <pc:spChg chg="mod">
          <ac:chgData name="José Antonio Ureta Santacreu" userId="e36999d1-2b92-424a-9e8c-5fde0c5fbdd2" providerId="ADAL" clId="{8E1CC941-A529-42BD-91F2-8926E50D0828}" dt="2024-06-25T11:06:57.220" v="0"/>
          <ac:spMkLst>
            <pc:docMk/>
            <pc:sldMk cId="3762233155" sldId="409"/>
            <ac:spMk id="8" creationId="{9410A014-9FB7-7F4A-F933-337A113BC40C}"/>
          </ac:spMkLst>
        </pc:spChg>
        <pc:spChg chg="mod">
          <ac:chgData name="José Antonio Ureta Santacreu" userId="e36999d1-2b92-424a-9e8c-5fde0c5fbdd2" providerId="ADAL" clId="{8E1CC941-A529-42BD-91F2-8926E50D0828}" dt="2024-06-25T11:06:57.220" v="0"/>
          <ac:spMkLst>
            <pc:docMk/>
            <pc:sldMk cId="3762233155" sldId="409"/>
            <ac:spMk id="9" creationId="{FCA6E5B9-3407-E360-2E53-508701377863}"/>
          </ac:spMkLst>
        </pc:spChg>
      </pc:sldChg>
      <pc:sldChg chg="modSp">
        <pc:chgData name="José Antonio Ureta Santacreu" userId="e36999d1-2b92-424a-9e8c-5fde0c5fbdd2" providerId="ADAL" clId="{8E1CC941-A529-42BD-91F2-8926E50D0828}" dt="2024-06-25T11:06:57.220" v="0"/>
        <pc:sldMkLst>
          <pc:docMk/>
          <pc:sldMk cId="4112470455" sldId="410"/>
        </pc:sldMkLst>
        <pc:spChg chg="mod">
          <ac:chgData name="José Antonio Ureta Santacreu" userId="e36999d1-2b92-424a-9e8c-5fde0c5fbdd2" providerId="ADAL" clId="{8E1CC941-A529-42BD-91F2-8926E50D0828}" dt="2024-06-25T11:06:57.220" v="0"/>
          <ac:spMkLst>
            <pc:docMk/>
            <pc:sldMk cId="4112470455" sldId="410"/>
            <ac:spMk id="2" creationId="{8B9181B5-CA2E-2A59-6EC3-31666F1C157F}"/>
          </ac:spMkLst>
        </pc:spChg>
        <pc:spChg chg="mod">
          <ac:chgData name="José Antonio Ureta Santacreu" userId="e36999d1-2b92-424a-9e8c-5fde0c5fbdd2" providerId="ADAL" clId="{8E1CC941-A529-42BD-91F2-8926E50D0828}" dt="2024-06-25T11:06:57.220" v="0"/>
          <ac:spMkLst>
            <pc:docMk/>
            <pc:sldMk cId="4112470455" sldId="410"/>
            <ac:spMk id="3" creationId="{0BE69EE0-655F-9192-172A-3A46B5343F34}"/>
          </ac:spMkLst>
        </pc:spChg>
        <pc:spChg chg="mod">
          <ac:chgData name="José Antonio Ureta Santacreu" userId="e36999d1-2b92-424a-9e8c-5fde0c5fbdd2" providerId="ADAL" clId="{8E1CC941-A529-42BD-91F2-8926E50D0828}" dt="2024-06-25T11:06:57.220" v="0"/>
          <ac:spMkLst>
            <pc:docMk/>
            <pc:sldMk cId="4112470455" sldId="410"/>
            <ac:spMk id="4" creationId="{9046E9B3-AD1A-1267-F3B2-66D7712A45B8}"/>
          </ac:spMkLst>
        </pc:spChg>
        <pc:spChg chg="mod">
          <ac:chgData name="José Antonio Ureta Santacreu" userId="e36999d1-2b92-424a-9e8c-5fde0c5fbdd2" providerId="ADAL" clId="{8E1CC941-A529-42BD-91F2-8926E50D0828}" dt="2024-06-25T11:06:57.220" v="0"/>
          <ac:spMkLst>
            <pc:docMk/>
            <pc:sldMk cId="4112470455" sldId="410"/>
            <ac:spMk id="8" creationId="{74DF3388-29AC-9CC3-21BB-156702E85D0A}"/>
          </ac:spMkLst>
        </pc:spChg>
      </pc:sldChg>
      <pc:sldChg chg="modSp">
        <pc:chgData name="José Antonio Ureta Santacreu" userId="e36999d1-2b92-424a-9e8c-5fde0c5fbdd2" providerId="ADAL" clId="{8E1CC941-A529-42BD-91F2-8926E50D0828}" dt="2024-06-25T11:06:57.220" v="0"/>
        <pc:sldMkLst>
          <pc:docMk/>
          <pc:sldMk cId="602884094" sldId="415"/>
        </pc:sldMkLst>
        <pc:spChg chg="mod">
          <ac:chgData name="José Antonio Ureta Santacreu" userId="e36999d1-2b92-424a-9e8c-5fde0c5fbdd2" providerId="ADAL" clId="{8E1CC941-A529-42BD-91F2-8926E50D0828}" dt="2024-06-25T11:06:57.220" v="0"/>
          <ac:spMkLst>
            <pc:docMk/>
            <pc:sldMk cId="602884094" sldId="415"/>
            <ac:spMk id="7" creationId="{5AD5B981-485B-4C0A-AAA9-4F911826E566}"/>
          </ac:spMkLst>
        </pc:spChg>
        <pc:spChg chg="mod">
          <ac:chgData name="José Antonio Ureta Santacreu" userId="e36999d1-2b92-424a-9e8c-5fde0c5fbdd2" providerId="ADAL" clId="{8E1CC941-A529-42BD-91F2-8926E50D0828}" dt="2024-06-25T11:06:57.220" v="0"/>
          <ac:spMkLst>
            <pc:docMk/>
            <pc:sldMk cId="602884094" sldId="415"/>
            <ac:spMk id="8" creationId="{00000000-0000-0000-0000-000000000000}"/>
          </ac:spMkLst>
        </pc:spChg>
        <pc:spChg chg="mod">
          <ac:chgData name="José Antonio Ureta Santacreu" userId="e36999d1-2b92-424a-9e8c-5fde0c5fbdd2" providerId="ADAL" clId="{8E1CC941-A529-42BD-91F2-8926E50D0828}" dt="2024-06-25T11:06:57.220" v="0"/>
          <ac:spMkLst>
            <pc:docMk/>
            <pc:sldMk cId="602884094" sldId="415"/>
            <ac:spMk id="9" creationId="{04708D12-2D58-4070-9184-38E05536570A}"/>
          </ac:spMkLst>
        </pc:spChg>
        <pc:spChg chg="mod">
          <ac:chgData name="José Antonio Ureta Santacreu" userId="e36999d1-2b92-424a-9e8c-5fde0c5fbdd2" providerId="ADAL" clId="{8E1CC941-A529-42BD-91F2-8926E50D0828}" dt="2024-06-25T11:06:57.220" v="0"/>
          <ac:spMkLst>
            <pc:docMk/>
            <pc:sldMk cId="602884094" sldId="415"/>
            <ac:spMk id="11" creationId="{C7914A7B-2CC1-484F-80E3-383F4712AC63}"/>
          </ac:spMkLst>
        </pc:spChg>
      </pc:sldChg>
      <pc:sldChg chg="modSp">
        <pc:chgData name="José Antonio Ureta Santacreu" userId="e36999d1-2b92-424a-9e8c-5fde0c5fbdd2" providerId="ADAL" clId="{8E1CC941-A529-42BD-91F2-8926E50D0828}" dt="2024-06-25T11:06:57.220" v="0"/>
        <pc:sldMkLst>
          <pc:docMk/>
          <pc:sldMk cId="2751818114" sldId="416"/>
        </pc:sldMkLst>
        <pc:spChg chg="mod">
          <ac:chgData name="José Antonio Ureta Santacreu" userId="e36999d1-2b92-424a-9e8c-5fde0c5fbdd2" providerId="ADAL" clId="{8E1CC941-A529-42BD-91F2-8926E50D0828}" dt="2024-06-25T11:06:57.220" v="0"/>
          <ac:spMkLst>
            <pc:docMk/>
            <pc:sldMk cId="2751818114" sldId="416"/>
            <ac:spMk id="6" creationId="{963E0D11-E02D-441F-8C70-16B38EBDA67C}"/>
          </ac:spMkLst>
        </pc:spChg>
        <pc:spChg chg="mod">
          <ac:chgData name="José Antonio Ureta Santacreu" userId="e36999d1-2b92-424a-9e8c-5fde0c5fbdd2" providerId="ADAL" clId="{8E1CC941-A529-42BD-91F2-8926E50D0828}" dt="2024-06-25T11:06:57.220" v="0"/>
          <ac:spMkLst>
            <pc:docMk/>
            <pc:sldMk cId="2751818114" sldId="416"/>
            <ac:spMk id="8" creationId="{00000000-0000-0000-0000-000000000000}"/>
          </ac:spMkLst>
        </pc:spChg>
        <pc:spChg chg="mod">
          <ac:chgData name="José Antonio Ureta Santacreu" userId="e36999d1-2b92-424a-9e8c-5fde0c5fbdd2" providerId="ADAL" clId="{8E1CC941-A529-42BD-91F2-8926E50D0828}" dt="2024-06-25T11:06:57.220" v="0"/>
          <ac:spMkLst>
            <pc:docMk/>
            <pc:sldMk cId="2751818114" sldId="416"/>
            <ac:spMk id="9" creationId="{1BFFF039-4DDB-4D2F-9E80-F03A156014BC}"/>
          </ac:spMkLst>
        </pc:spChg>
        <pc:spChg chg="mod">
          <ac:chgData name="José Antonio Ureta Santacreu" userId="e36999d1-2b92-424a-9e8c-5fde0c5fbdd2" providerId="ADAL" clId="{8E1CC941-A529-42BD-91F2-8926E50D0828}" dt="2024-06-25T11:06:57.220" v="0"/>
          <ac:spMkLst>
            <pc:docMk/>
            <pc:sldMk cId="2751818114" sldId="416"/>
            <ac:spMk id="11" creationId="{E4B0B908-52CB-4A6D-ADCD-A8A07E5B288C}"/>
          </ac:spMkLst>
        </pc:spChg>
      </pc:sldChg>
      <pc:sldChg chg="modSp">
        <pc:chgData name="José Antonio Ureta Santacreu" userId="e36999d1-2b92-424a-9e8c-5fde0c5fbdd2" providerId="ADAL" clId="{8E1CC941-A529-42BD-91F2-8926E50D0828}" dt="2024-06-25T11:06:57.220" v="0"/>
        <pc:sldMkLst>
          <pc:docMk/>
          <pc:sldMk cId="3791599659" sldId="417"/>
        </pc:sldMkLst>
        <pc:spChg chg="mod">
          <ac:chgData name="José Antonio Ureta Santacreu" userId="e36999d1-2b92-424a-9e8c-5fde0c5fbdd2" providerId="ADAL" clId="{8E1CC941-A529-42BD-91F2-8926E50D0828}" dt="2024-06-25T11:06:57.220" v="0"/>
          <ac:spMkLst>
            <pc:docMk/>
            <pc:sldMk cId="3791599659" sldId="417"/>
            <ac:spMk id="7" creationId="{4394B435-2442-4167-8323-6C194CC4A4D2}"/>
          </ac:spMkLst>
        </pc:spChg>
        <pc:spChg chg="mod">
          <ac:chgData name="José Antonio Ureta Santacreu" userId="e36999d1-2b92-424a-9e8c-5fde0c5fbdd2" providerId="ADAL" clId="{8E1CC941-A529-42BD-91F2-8926E50D0828}" dt="2024-06-25T11:06:57.220" v="0"/>
          <ac:spMkLst>
            <pc:docMk/>
            <pc:sldMk cId="3791599659" sldId="417"/>
            <ac:spMk id="8" creationId="{00000000-0000-0000-0000-000000000000}"/>
          </ac:spMkLst>
        </pc:spChg>
        <pc:spChg chg="mod">
          <ac:chgData name="José Antonio Ureta Santacreu" userId="e36999d1-2b92-424a-9e8c-5fde0c5fbdd2" providerId="ADAL" clId="{8E1CC941-A529-42BD-91F2-8926E50D0828}" dt="2024-06-25T11:06:57.220" v="0"/>
          <ac:spMkLst>
            <pc:docMk/>
            <pc:sldMk cId="3791599659" sldId="417"/>
            <ac:spMk id="9" creationId="{A77E2EC9-2FDC-4A3C-90ED-7892604B5227}"/>
          </ac:spMkLst>
        </pc:spChg>
        <pc:spChg chg="mod">
          <ac:chgData name="José Antonio Ureta Santacreu" userId="e36999d1-2b92-424a-9e8c-5fde0c5fbdd2" providerId="ADAL" clId="{8E1CC941-A529-42BD-91F2-8926E50D0828}" dt="2024-06-25T11:06:57.220" v="0"/>
          <ac:spMkLst>
            <pc:docMk/>
            <pc:sldMk cId="3791599659" sldId="417"/>
            <ac:spMk id="11" creationId="{4D957D38-965C-4D80-9CBE-CE6615147C8E}"/>
          </ac:spMkLst>
        </pc:spChg>
      </pc:sldChg>
      <pc:sldChg chg="modSp">
        <pc:chgData name="José Antonio Ureta Santacreu" userId="e36999d1-2b92-424a-9e8c-5fde0c5fbdd2" providerId="ADAL" clId="{8E1CC941-A529-42BD-91F2-8926E50D0828}" dt="2024-06-25T11:06:57.220" v="0"/>
        <pc:sldMkLst>
          <pc:docMk/>
          <pc:sldMk cId="2092086486" sldId="418"/>
        </pc:sldMkLst>
        <pc:spChg chg="mod">
          <ac:chgData name="José Antonio Ureta Santacreu" userId="e36999d1-2b92-424a-9e8c-5fde0c5fbdd2" providerId="ADAL" clId="{8E1CC941-A529-42BD-91F2-8926E50D0828}" dt="2024-06-25T11:06:57.220" v="0"/>
          <ac:spMkLst>
            <pc:docMk/>
            <pc:sldMk cId="2092086486" sldId="418"/>
            <ac:spMk id="7" creationId="{A9B8C704-C4BD-4476-8871-FF3A2425134C}"/>
          </ac:spMkLst>
        </pc:spChg>
        <pc:spChg chg="mod">
          <ac:chgData name="José Antonio Ureta Santacreu" userId="e36999d1-2b92-424a-9e8c-5fde0c5fbdd2" providerId="ADAL" clId="{8E1CC941-A529-42BD-91F2-8926E50D0828}" dt="2024-06-25T11:06:57.220" v="0"/>
          <ac:spMkLst>
            <pc:docMk/>
            <pc:sldMk cId="2092086486" sldId="418"/>
            <ac:spMk id="8" creationId="{00000000-0000-0000-0000-000000000000}"/>
          </ac:spMkLst>
        </pc:spChg>
        <pc:spChg chg="mod">
          <ac:chgData name="José Antonio Ureta Santacreu" userId="e36999d1-2b92-424a-9e8c-5fde0c5fbdd2" providerId="ADAL" clId="{8E1CC941-A529-42BD-91F2-8926E50D0828}" dt="2024-06-25T11:06:57.220" v="0"/>
          <ac:spMkLst>
            <pc:docMk/>
            <pc:sldMk cId="2092086486" sldId="418"/>
            <ac:spMk id="9" creationId="{0E439F19-5EC8-44FC-835E-0F2A127E279E}"/>
          </ac:spMkLst>
        </pc:spChg>
        <pc:spChg chg="mod">
          <ac:chgData name="José Antonio Ureta Santacreu" userId="e36999d1-2b92-424a-9e8c-5fde0c5fbdd2" providerId="ADAL" clId="{8E1CC941-A529-42BD-91F2-8926E50D0828}" dt="2024-06-25T11:06:57.220" v="0"/>
          <ac:spMkLst>
            <pc:docMk/>
            <pc:sldMk cId="2092086486" sldId="418"/>
            <ac:spMk id="10" creationId="{0CB92465-E8D6-4BAD-8766-467BDCF974B5}"/>
          </ac:spMkLst>
        </pc:spChg>
      </pc:sldChg>
      <pc:sldChg chg="modSp">
        <pc:chgData name="José Antonio Ureta Santacreu" userId="e36999d1-2b92-424a-9e8c-5fde0c5fbdd2" providerId="ADAL" clId="{8E1CC941-A529-42BD-91F2-8926E50D0828}" dt="2024-06-25T11:06:57.220" v="0"/>
        <pc:sldMkLst>
          <pc:docMk/>
          <pc:sldMk cId="262441693" sldId="419"/>
        </pc:sldMkLst>
        <pc:spChg chg="mod">
          <ac:chgData name="José Antonio Ureta Santacreu" userId="e36999d1-2b92-424a-9e8c-5fde0c5fbdd2" providerId="ADAL" clId="{8E1CC941-A529-42BD-91F2-8926E50D0828}" dt="2024-06-25T11:06:57.220" v="0"/>
          <ac:spMkLst>
            <pc:docMk/>
            <pc:sldMk cId="262441693" sldId="419"/>
            <ac:spMk id="2" creationId="{FD2AC506-16A9-49A2-9CA7-867594046EA9}"/>
          </ac:spMkLst>
        </pc:spChg>
        <pc:spChg chg="mod">
          <ac:chgData name="José Antonio Ureta Santacreu" userId="e36999d1-2b92-424a-9e8c-5fde0c5fbdd2" providerId="ADAL" clId="{8E1CC941-A529-42BD-91F2-8926E50D0828}" dt="2024-06-25T11:06:57.220" v="0"/>
          <ac:spMkLst>
            <pc:docMk/>
            <pc:sldMk cId="262441693" sldId="419"/>
            <ac:spMk id="3" creationId="{2134083C-F828-45AA-9A8C-7FDC38A6BE6D}"/>
          </ac:spMkLst>
        </pc:spChg>
        <pc:spChg chg="mod">
          <ac:chgData name="José Antonio Ureta Santacreu" userId="e36999d1-2b92-424a-9e8c-5fde0c5fbdd2" providerId="ADAL" clId="{8E1CC941-A529-42BD-91F2-8926E50D0828}" dt="2024-06-25T11:06:57.220" v="0"/>
          <ac:spMkLst>
            <pc:docMk/>
            <pc:sldMk cId="262441693" sldId="419"/>
            <ac:spMk id="6" creationId="{35E23370-7090-4496-92B2-B98A169AD017}"/>
          </ac:spMkLst>
        </pc:spChg>
        <pc:spChg chg="mod">
          <ac:chgData name="José Antonio Ureta Santacreu" userId="e36999d1-2b92-424a-9e8c-5fde0c5fbdd2" providerId="ADAL" clId="{8E1CC941-A529-42BD-91F2-8926E50D0828}" dt="2024-06-25T11:06:57.220" v="0"/>
          <ac:spMkLst>
            <pc:docMk/>
            <pc:sldMk cId="262441693" sldId="419"/>
            <ac:spMk id="8" creationId="{00000000-0000-0000-0000-000000000000}"/>
          </ac:spMkLst>
        </pc:spChg>
      </pc:sldChg>
      <pc:sldChg chg="modSp">
        <pc:chgData name="José Antonio Ureta Santacreu" userId="e36999d1-2b92-424a-9e8c-5fde0c5fbdd2" providerId="ADAL" clId="{8E1CC941-A529-42BD-91F2-8926E50D0828}" dt="2024-06-25T11:06:57.220" v="0"/>
        <pc:sldMkLst>
          <pc:docMk/>
          <pc:sldMk cId="2230747214" sldId="424"/>
        </pc:sldMkLst>
        <pc:spChg chg="mod">
          <ac:chgData name="José Antonio Ureta Santacreu" userId="e36999d1-2b92-424a-9e8c-5fde0c5fbdd2" providerId="ADAL" clId="{8E1CC941-A529-42BD-91F2-8926E50D0828}" dt="2024-06-25T11:06:57.220" v="0"/>
          <ac:spMkLst>
            <pc:docMk/>
            <pc:sldMk cId="2230747214" sldId="424"/>
            <ac:spMk id="2" creationId="{8CDCE058-4B99-439D-9DD2-99601D5C2279}"/>
          </ac:spMkLst>
        </pc:spChg>
        <pc:spChg chg="mod">
          <ac:chgData name="José Antonio Ureta Santacreu" userId="e36999d1-2b92-424a-9e8c-5fde0c5fbdd2" providerId="ADAL" clId="{8E1CC941-A529-42BD-91F2-8926E50D0828}" dt="2024-06-25T11:06:57.220" v="0"/>
          <ac:spMkLst>
            <pc:docMk/>
            <pc:sldMk cId="2230747214" sldId="424"/>
            <ac:spMk id="3" creationId="{1F5EA129-5619-4DAF-83B0-EBED1E47BCA5}"/>
          </ac:spMkLst>
        </pc:spChg>
        <pc:spChg chg="mod">
          <ac:chgData name="José Antonio Ureta Santacreu" userId="e36999d1-2b92-424a-9e8c-5fde0c5fbdd2" providerId="ADAL" clId="{8E1CC941-A529-42BD-91F2-8926E50D0828}" dt="2024-06-25T11:06:57.220" v="0"/>
          <ac:spMkLst>
            <pc:docMk/>
            <pc:sldMk cId="2230747214" sldId="424"/>
            <ac:spMk id="4" creationId="{B1C75D7B-83C9-4930-B22A-FFA8C3748B9A}"/>
          </ac:spMkLst>
        </pc:spChg>
        <pc:spChg chg="mod">
          <ac:chgData name="José Antonio Ureta Santacreu" userId="e36999d1-2b92-424a-9e8c-5fde0c5fbdd2" providerId="ADAL" clId="{8E1CC941-A529-42BD-91F2-8926E50D0828}" dt="2024-06-25T11:06:57.220" v="0"/>
          <ac:spMkLst>
            <pc:docMk/>
            <pc:sldMk cId="2230747214" sldId="424"/>
            <ac:spMk id="8" creationId="{00000000-0000-0000-0000-000000000000}"/>
          </ac:spMkLst>
        </pc:spChg>
      </pc:sldChg>
      <pc:sldChg chg="modSp mod">
        <pc:chgData name="José Antonio Ureta Santacreu" userId="e36999d1-2b92-424a-9e8c-5fde0c5fbdd2" providerId="ADAL" clId="{8E1CC941-A529-42BD-91F2-8926E50D0828}" dt="2024-06-25T11:06:58.802" v="30" actId="27636"/>
        <pc:sldMkLst>
          <pc:docMk/>
          <pc:sldMk cId="3926749612" sldId="426"/>
        </pc:sldMkLst>
        <pc:spChg chg="mod">
          <ac:chgData name="José Antonio Ureta Santacreu" userId="e36999d1-2b92-424a-9e8c-5fde0c5fbdd2" providerId="ADAL" clId="{8E1CC941-A529-42BD-91F2-8926E50D0828}" dt="2024-06-25T11:06:57.220" v="0"/>
          <ac:spMkLst>
            <pc:docMk/>
            <pc:sldMk cId="3926749612" sldId="426"/>
            <ac:spMk id="2" creationId="{E6CC5522-3CBD-492E-9E3F-8B82CFA066EA}"/>
          </ac:spMkLst>
        </pc:spChg>
        <pc:spChg chg="mod">
          <ac:chgData name="José Antonio Ureta Santacreu" userId="e36999d1-2b92-424a-9e8c-5fde0c5fbdd2" providerId="ADAL" clId="{8E1CC941-A529-42BD-91F2-8926E50D0828}" dt="2024-06-25T11:06:57.220" v="0"/>
          <ac:spMkLst>
            <pc:docMk/>
            <pc:sldMk cId="3926749612" sldId="426"/>
            <ac:spMk id="3" creationId="{EC4EA9CF-04EB-4888-AF76-B38DA7EF0D88}"/>
          </ac:spMkLst>
        </pc:spChg>
        <pc:spChg chg="mod">
          <ac:chgData name="José Antonio Ureta Santacreu" userId="e36999d1-2b92-424a-9e8c-5fde0c5fbdd2" providerId="ADAL" clId="{8E1CC941-A529-42BD-91F2-8926E50D0828}" dt="2024-06-25T11:06:57.220" v="0"/>
          <ac:spMkLst>
            <pc:docMk/>
            <pc:sldMk cId="3926749612" sldId="426"/>
            <ac:spMk id="4" creationId="{B4EF38AF-F06F-40A0-A9EB-D6B174FE2970}"/>
          </ac:spMkLst>
        </pc:spChg>
        <pc:spChg chg="mod">
          <ac:chgData name="José Antonio Ureta Santacreu" userId="e36999d1-2b92-424a-9e8c-5fde0c5fbdd2" providerId="ADAL" clId="{8E1CC941-A529-42BD-91F2-8926E50D0828}" dt="2024-06-25T11:06:57.220" v="0"/>
          <ac:spMkLst>
            <pc:docMk/>
            <pc:sldMk cId="3926749612" sldId="426"/>
            <ac:spMk id="8" creationId="{00000000-0000-0000-0000-000000000000}"/>
          </ac:spMkLst>
        </pc:spChg>
        <pc:spChg chg="mod">
          <ac:chgData name="José Antonio Ureta Santacreu" userId="e36999d1-2b92-424a-9e8c-5fde0c5fbdd2" providerId="ADAL" clId="{8E1CC941-A529-42BD-91F2-8926E50D0828}" dt="2024-06-25T11:06:58.802" v="30" actId="27636"/>
          <ac:spMkLst>
            <pc:docMk/>
            <pc:sldMk cId="3926749612" sldId="426"/>
            <ac:spMk id="11" creationId="{B07553F3-B666-426F-BC76-2A327DAEA62F}"/>
          </ac:spMkLst>
        </pc:spChg>
      </pc:sldChg>
      <pc:sldChg chg="modSp">
        <pc:chgData name="José Antonio Ureta Santacreu" userId="e36999d1-2b92-424a-9e8c-5fde0c5fbdd2" providerId="ADAL" clId="{8E1CC941-A529-42BD-91F2-8926E50D0828}" dt="2024-06-25T11:06:57.220" v="0"/>
        <pc:sldMkLst>
          <pc:docMk/>
          <pc:sldMk cId="1740233982" sldId="661"/>
        </pc:sldMkLst>
        <pc:spChg chg="mod">
          <ac:chgData name="José Antonio Ureta Santacreu" userId="e36999d1-2b92-424a-9e8c-5fde0c5fbdd2" providerId="ADAL" clId="{8E1CC941-A529-42BD-91F2-8926E50D0828}" dt="2024-06-25T11:06:57.220" v="0"/>
          <ac:spMkLst>
            <pc:docMk/>
            <pc:sldMk cId="1740233982" sldId="661"/>
            <ac:spMk id="2" creationId="{1FE60CD7-04F5-4DC2-BA5A-08F80A034F6E}"/>
          </ac:spMkLst>
        </pc:spChg>
        <pc:spChg chg="mod">
          <ac:chgData name="José Antonio Ureta Santacreu" userId="e36999d1-2b92-424a-9e8c-5fde0c5fbdd2" providerId="ADAL" clId="{8E1CC941-A529-42BD-91F2-8926E50D0828}" dt="2024-06-25T11:06:57.220" v="0"/>
          <ac:spMkLst>
            <pc:docMk/>
            <pc:sldMk cId="1740233982" sldId="661"/>
            <ac:spMk id="3" creationId="{1D89C0E1-B45F-4B50-A5BC-B66F730E6BE4}"/>
          </ac:spMkLst>
        </pc:spChg>
        <pc:spChg chg="mod">
          <ac:chgData name="José Antonio Ureta Santacreu" userId="e36999d1-2b92-424a-9e8c-5fde0c5fbdd2" providerId="ADAL" clId="{8E1CC941-A529-42BD-91F2-8926E50D0828}" dt="2024-06-25T11:06:57.220" v="0"/>
          <ac:spMkLst>
            <pc:docMk/>
            <pc:sldMk cId="1740233982" sldId="661"/>
            <ac:spMk id="5" creationId="{DFF33A2C-6AF2-4018-A922-D37603292B06}"/>
          </ac:spMkLst>
        </pc:spChg>
        <pc:spChg chg="mod">
          <ac:chgData name="José Antonio Ureta Santacreu" userId="e36999d1-2b92-424a-9e8c-5fde0c5fbdd2" providerId="ADAL" clId="{8E1CC941-A529-42BD-91F2-8926E50D0828}" dt="2024-06-25T11:06:57.220" v="0"/>
          <ac:spMkLst>
            <pc:docMk/>
            <pc:sldMk cId="1740233982" sldId="661"/>
            <ac:spMk id="7" creationId="{00000000-0000-0000-0000-000000000000}"/>
          </ac:spMkLst>
        </pc:spChg>
      </pc:sldChg>
      <pc:sldChg chg="modSp">
        <pc:chgData name="José Antonio Ureta Santacreu" userId="e36999d1-2b92-424a-9e8c-5fde0c5fbdd2" providerId="ADAL" clId="{8E1CC941-A529-42BD-91F2-8926E50D0828}" dt="2024-06-25T11:06:57.220" v="0"/>
        <pc:sldMkLst>
          <pc:docMk/>
          <pc:sldMk cId="392069016" sldId="676"/>
        </pc:sldMkLst>
        <pc:spChg chg="mod">
          <ac:chgData name="José Antonio Ureta Santacreu" userId="e36999d1-2b92-424a-9e8c-5fde0c5fbdd2" providerId="ADAL" clId="{8E1CC941-A529-42BD-91F2-8926E50D0828}" dt="2024-06-25T11:06:57.220" v="0"/>
          <ac:spMkLst>
            <pc:docMk/>
            <pc:sldMk cId="392069016" sldId="676"/>
            <ac:spMk id="2" creationId="{00000000-0000-0000-0000-000000000000}"/>
          </ac:spMkLst>
        </pc:spChg>
        <pc:spChg chg="mod">
          <ac:chgData name="José Antonio Ureta Santacreu" userId="e36999d1-2b92-424a-9e8c-5fde0c5fbdd2" providerId="ADAL" clId="{8E1CC941-A529-42BD-91F2-8926E50D0828}" dt="2024-06-25T11:06:57.220" v="0"/>
          <ac:spMkLst>
            <pc:docMk/>
            <pc:sldMk cId="392069016" sldId="676"/>
            <ac:spMk id="10" creationId="{FF49AD06-5A97-4FC9-94A0-35DB939D9501}"/>
          </ac:spMkLst>
        </pc:spChg>
        <pc:spChg chg="mod">
          <ac:chgData name="José Antonio Ureta Santacreu" userId="e36999d1-2b92-424a-9e8c-5fde0c5fbdd2" providerId="ADAL" clId="{8E1CC941-A529-42BD-91F2-8926E50D0828}" dt="2024-06-25T11:06:57.220" v="0"/>
          <ac:spMkLst>
            <pc:docMk/>
            <pc:sldMk cId="392069016" sldId="676"/>
            <ac:spMk id="12" creationId="{79438565-69E1-4077-8F1B-FED3D6DC0D92}"/>
          </ac:spMkLst>
        </pc:spChg>
      </pc:sldChg>
      <pc:sldChg chg="modSp">
        <pc:chgData name="José Antonio Ureta Santacreu" userId="e36999d1-2b92-424a-9e8c-5fde0c5fbdd2" providerId="ADAL" clId="{8E1CC941-A529-42BD-91F2-8926E50D0828}" dt="2024-06-25T11:06:57.220" v="0"/>
        <pc:sldMkLst>
          <pc:docMk/>
          <pc:sldMk cId="3316670370" sldId="677"/>
        </pc:sldMkLst>
        <pc:spChg chg="mod">
          <ac:chgData name="José Antonio Ureta Santacreu" userId="e36999d1-2b92-424a-9e8c-5fde0c5fbdd2" providerId="ADAL" clId="{8E1CC941-A529-42BD-91F2-8926E50D0828}" dt="2024-06-25T11:06:57.220" v="0"/>
          <ac:spMkLst>
            <pc:docMk/>
            <pc:sldMk cId="3316670370" sldId="677"/>
            <ac:spMk id="2" creationId="{0632C22F-4179-946F-D179-3FB66A15101A}"/>
          </ac:spMkLst>
        </pc:spChg>
        <pc:spChg chg="mod">
          <ac:chgData name="José Antonio Ureta Santacreu" userId="e36999d1-2b92-424a-9e8c-5fde0c5fbdd2" providerId="ADAL" clId="{8E1CC941-A529-42BD-91F2-8926E50D0828}" dt="2024-06-25T11:06:57.220" v="0"/>
          <ac:spMkLst>
            <pc:docMk/>
            <pc:sldMk cId="3316670370" sldId="677"/>
            <ac:spMk id="14" creationId="{7149A942-6E83-C2E9-D3AE-B1D20C9E8E9D}"/>
          </ac:spMkLst>
        </pc:spChg>
        <pc:spChg chg="mod">
          <ac:chgData name="José Antonio Ureta Santacreu" userId="e36999d1-2b92-424a-9e8c-5fde0c5fbdd2" providerId="ADAL" clId="{8E1CC941-A529-42BD-91F2-8926E50D0828}" dt="2024-06-25T11:06:57.220" v="0"/>
          <ac:spMkLst>
            <pc:docMk/>
            <pc:sldMk cId="3316670370" sldId="677"/>
            <ac:spMk id="15" creationId="{8082E34E-94A8-6C13-FB6C-099AC8FA0043}"/>
          </ac:spMkLst>
        </pc:spChg>
      </pc:sldChg>
      <pc:sldChg chg="modSp">
        <pc:chgData name="José Antonio Ureta Santacreu" userId="e36999d1-2b92-424a-9e8c-5fde0c5fbdd2" providerId="ADAL" clId="{8E1CC941-A529-42BD-91F2-8926E50D0828}" dt="2024-06-25T11:06:57.220" v="0"/>
        <pc:sldMkLst>
          <pc:docMk/>
          <pc:sldMk cId="2763957364" sldId="678"/>
        </pc:sldMkLst>
        <pc:spChg chg="mod">
          <ac:chgData name="José Antonio Ureta Santacreu" userId="e36999d1-2b92-424a-9e8c-5fde0c5fbdd2" providerId="ADAL" clId="{8E1CC941-A529-42BD-91F2-8926E50D0828}" dt="2024-06-25T11:06:57.220" v="0"/>
          <ac:spMkLst>
            <pc:docMk/>
            <pc:sldMk cId="2763957364" sldId="678"/>
            <ac:spMk id="9" creationId="{7EA8EBE5-2178-F21D-657A-E36295BE3ABB}"/>
          </ac:spMkLst>
        </pc:spChg>
        <pc:spChg chg="mod">
          <ac:chgData name="José Antonio Ureta Santacreu" userId="e36999d1-2b92-424a-9e8c-5fde0c5fbdd2" providerId="ADAL" clId="{8E1CC941-A529-42BD-91F2-8926E50D0828}" dt="2024-06-25T11:06:57.220" v="0"/>
          <ac:spMkLst>
            <pc:docMk/>
            <pc:sldMk cId="2763957364" sldId="678"/>
            <ac:spMk id="13" creationId="{5F4E4763-22C4-BEF2-5FC3-273B62203F98}"/>
          </ac:spMkLst>
        </pc:spChg>
      </pc:sldChg>
      <pc:sldChg chg="modSp">
        <pc:chgData name="José Antonio Ureta Santacreu" userId="e36999d1-2b92-424a-9e8c-5fde0c5fbdd2" providerId="ADAL" clId="{8E1CC941-A529-42BD-91F2-8926E50D0828}" dt="2024-06-25T11:06:57.220" v="0"/>
        <pc:sldMkLst>
          <pc:docMk/>
          <pc:sldMk cId="1745182156" sldId="690"/>
        </pc:sldMkLst>
        <pc:spChg chg="mod">
          <ac:chgData name="José Antonio Ureta Santacreu" userId="e36999d1-2b92-424a-9e8c-5fde0c5fbdd2" providerId="ADAL" clId="{8E1CC941-A529-42BD-91F2-8926E50D0828}" dt="2024-06-25T11:06:57.220" v="0"/>
          <ac:spMkLst>
            <pc:docMk/>
            <pc:sldMk cId="1745182156" sldId="690"/>
            <ac:spMk id="2" creationId="{48C7D2B3-7455-991E-2322-CF7670499EC2}"/>
          </ac:spMkLst>
        </pc:spChg>
        <pc:spChg chg="mod">
          <ac:chgData name="José Antonio Ureta Santacreu" userId="e36999d1-2b92-424a-9e8c-5fde0c5fbdd2" providerId="ADAL" clId="{8E1CC941-A529-42BD-91F2-8926E50D0828}" dt="2024-06-25T11:06:57.220" v="0"/>
          <ac:spMkLst>
            <pc:docMk/>
            <pc:sldMk cId="1745182156" sldId="690"/>
            <ac:spMk id="3" creationId="{3F454FFF-C41A-A225-02BE-656FA39D1485}"/>
          </ac:spMkLst>
        </pc:spChg>
        <pc:spChg chg="mod">
          <ac:chgData name="José Antonio Ureta Santacreu" userId="e36999d1-2b92-424a-9e8c-5fde0c5fbdd2" providerId="ADAL" clId="{8E1CC941-A529-42BD-91F2-8926E50D0828}" dt="2024-06-25T11:06:57.220" v="0"/>
          <ac:spMkLst>
            <pc:docMk/>
            <pc:sldMk cId="1745182156" sldId="690"/>
            <ac:spMk id="5" creationId="{8DFF026E-BBE2-7161-CAEB-306305B7227D}"/>
          </ac:spMkLst>
        </pc:spChg>
        <pc:spChg chg="mod">
          <ac:chgData name="José Antonio Ureta Santacreu" userId="e36999d1-2b92-424a-9e8c-5fde0c5fbdd2" providerId="ADAL" clId="{8E1CC941-A529-42BD-91F2-8926E50D0828}" dt="2024-06-25T11:06:57.220" v="0"/>
          <ac:spMkLst>
            <pc:docMk/>
            <pc:sldMk cId="1745182156" sldId="690"/>
            <ac:spMk id="7" creationId="{A65D5DE5-0B49-7B6B-76ED-47F1B51D47A6}"/>
          </ac:spMkLst>
        </pc:spChg>
        <pc:spChg chg="mod">
          <ac:chgData name="José Antonio Ureta Santacreu" userId="e36999d1-2b92-424a-9e8c-5fde0c5fbdd2" providerId="ADAL" clId="{8E1CC941-A529-42BD-91F2-8926E50D0828}" dt="2024-06-25T11:06:57.220" v="0"/>
          <ac:spMkLst>
            <pc:docMk/>
            <pc:sldMk cId="1745182156" sldId="690"/>
            <ac:spMk id="8" creationId="{85997A1F-5623-CBAA-C69E-0F72C1991048}"/>
          </ac:spMkLst>
        </pc:spChg>
        <pc:spChg chg="mod">
          <ac:chgData name="José Antonio Ureta Santacreu" userId="e36999d1-2b92-424a-9e8c-5fde0c5fbdd2" providerId="ADAL" clId="{8E1CC941-A529-42BD-91F2-8926E50D0828}" dt="2024-06-25T11:06:57.220" v="0"/>
          <ac:spMkLst>
            <pc:docMk/>
            <pc:sldMk cId="1745182156" sldId="690"/>
            <ac:spMk id="16" creationId="{60C9B8A9-0FD7-6A58-F14C-C55B95894FB8}"/>
          </ac:spMkLst>
        </pc:spChg>
        <pc:picChg chg="mod">
          <ac:chgData name="José Antonio Ureta Santacreu" userId="e36999d1-2b92-424a-9e8c-5fde0c5fbdd2" providerId="ADAL" clId="{8E1CC941-A529-42BD-91F2-8926E50D0828}" dt="2024-06-25T11:06:57.220" v="0"/>
          <ac:picMkLst>
            <pc:docMk/>
            <pc:sldMk cId="1745182156" sldId="690"/>
            <ac:picMk id="17" creationId="{77E12FA3-D69F-16AB-4485-0F3BB320EB8D}"/>
          </ac:picMkLst>
        </pc:picChg>
      </pc:sldChg>
      <pc:sldChg chg="modSp">
        <pc:chgData name="José Antonio Ureta Santacreu" userId="e36999d1-2b92-424a-9e8c-5fde0c5fbdd2" providerId="ADAL" clId="{8E1CC941-A529-42BD-91F2-8926E50D0828}" dt="2024-06-25T11:06:57.220" v="0"/>
        <pc:sldMkLst>
          <pc:docMk/>
          <pc:sldMk cId="762651195" sldId="717"/>
        </pc:sldMkLst>
        <pc:spChg chg="mod">
          <ac:chgData name="José Antonio Ureta Santacreu" userId="e36999d1-2b92-424a-9e8c-5fde0c5fbdd2" providerId="ADAL" clId="{8E1CC941-A529-42BD-91F2-8926E50D0828}" dt="2024-06-25T11:06:57.220" v="0"/>
          <ac:spMkLst>
            <pc:docMk/>
            <pc:sldMk cId="762651195" sldId="717"/>
            <ac:spMk id="2" creationId="{00000000-0000-0000-0000-000000000000}"/>
          </ac:spMkLst>
        </pc:spChg>
        <pc:spChg chg="mod">
          <ac:chgData name="José Antonio Ureta Santacreu" userId="e36999d1-2b92-424a-9e8c-5fde0c5fbdd2" providerId="ADAL" clId="{8E1CC941-A529-42BD-91F2-8926E50D0828}" dt="2024-06-25T11:06:57.220" v="0"/>
          <ac:spMkLst>
            <pc:docMk/>
            <pc:sldMk cId="762651195" sldId="717"/>
            <ac:spMk id="32" creationId="{E3606C0B-0CFB-41EA-9D9D-6A3BF2FEBC90}"/>
          </ac:spMkLst>
        </pc:spChg>
        <pc:spChg chg="mod">
          <ac:chgData name="José Antonio Ureta Santacreu" userId="e36999d1-2b92-424a-9e8c-5fde0c5fbdd2" providerId="ADAL" clId="{8E1CC941-A529-42BD-91F2-8926E50D0828}" dt="2024-06-25T11:06:57.220" v="0"/>
          <ac:spMkLst>
            <pc:docMk/>
            <pc:sldMk cId="762651195" sldId="717"/>
            <ac:spMk id="33" creationId="{9279A430-227B-43B2-9069-19899DB851C2}"/>
          </ac:spMkLst>
        </pc:spChg>
        <pc:spChg chg="mod">
          <ac:chgData name="José Antonio Ureta Santacreu" userId="e36999d1-2b92-424a-9e8c-5fde0c5fbdd2" providerId="ADAL" clId="{8E1CC941-A529-42BD-91F2-8926E50D0828}" dt="2024-06-25T11:06:57.220" v="0"/>
          <ac:spMkLst>
            <pc:docMk/>
            <pc:sldMk cId="762651195" sldId="717"/>
            <ac:spMk id="34" creationId="{433B991E-C6F6-4971-A170-384871B1CFDA}"/>
          </ac:spMkLst>
        </pc:spChg>
        <pc:picChg chg="mod">
          <ac:chgData name="José Antonio Ureta Santacreu" userId="e36999d1-2b92-424a-9e8c-5fde0c5fbdd2" providerId="ADAL" clId="{8E1CC941-A529-42BD-91F2-8926E50D0828}" dt="2024-06-25T11:06:57.220" v="0"/>
          <ac:picMkLst>
            <pc:docMk/>
            <pc:sldMk cId="762651195" sldId="717"/>
            <ac:picMk id="6" creationId="{4BD68037-8454-ED70-706E-615BC32025ED}"/>
          </ac:picMkLst>
        </pc:picChg>
      </pc:sldChg>
      <pc:sldChg chg="modSp">
        <pc:chgData name="José Antonio Ureta Santacreu" userId="e36999d1-2b92-424a-9e8c-5fde0c5fbdd2" providerId="ADAL" clId="{8E1CC941-A529-42BD-91F2-8926E50D0828}" dt="2024-06-25T11:06:57.220" v="0"/>
        <pc:sldMkLst>
          <pc:docMk/>
          <pc:sldMk cId="3402981763" sldId="725"/>
        </pc:sldMkLst>
        <pc:spChg chg="mod">
          <ac:chgData name="José Antonio Ureta Santacreu" userId="e36999d1-2b92-424a-9e8c-5fde0c5fbdd2" providerId="ADAL" clId="{8E1CC941-A529-42BD-91F2-8926E50D0828}" dt="2024-06-25T11:06:57.220" v="0"/>
          <ac:spMkLst>
            <pc:docMk/>
            <pc:sldMk cId="3402981763" sldId="725"/>
            <ac:spMk id="5" creationId="{BDD96D99-1E69-435F-831F-A3FA7AA54349}"/>
          </ac:spMkLst>
        </pc:spChg>
        <pc:spChg chg="mod">
          <ac:chgData name="José Antonio Ureta Santacreu" userId="e36999d1-2b92-424a-9e8c-5fde0c5fbdd2" providerId="ADAL" clId="{8E1CC941-A529-42BD-91F2-8926E50D0828}" dt="2024-06-25T11:06:57.220" v="0"/>
          <ac:spMkLst>
            <pc:docMk/>
            <pc:sldMk cId="3402981763" sldId="725"/>
            <ac:spMk id="6" creationId="{17D1EE0B-83B2-8BED-0BC0-3859190B8D33}"/>
          </ac:spMkLst>
        </pc:spChg>
        <pc:spChg chg="mod">
          <ac:chgData name="José Antonio Ureta Santacreu" userId="e36999d1-2b92-424a-9e8c-5fde0c5fbdd2" providerId="ADAL" clId="{8E1CC941-A529-42BD-91F2-8926E50D0828}" dt="2024-06-25T11:06:57.220" v="0"/>
          <ac:spMkLst>
            <pc:docMk/>
            <pc:sldMk cId="3402981763" sldId="725"/>
            <ac:spMk id="7" creationId="{64FAB62B-085E-F2BA-34CD-63EE3969FDA1}"/>
          </ac:spMkLst>
        </pc:spChg>
      </pc:sldChg>
      <pc:sldChg chg="modSp">
        <pc:chgData name="José Antonio Ureta Santacreu" userId="e36999d1-2b92-424a-9e8c-5fde0c5fbdd2" providerId="ADAL" clId="{8E1CC941-A529-42BD-91F2-8926E50D0828}" dt="2024-06-25T11:06:57.220" v="0"/>
        <pc:sldMkLst>
          <pc:docMk/>
          <pc:sldMk cId="3503527207" sldId="733"/>
        </pc:sldMkLst>
        <pc:spChg chg="mod">
          <ac:chgData name="José Antonio Ureta Santacreu" userId="e36999d1-2b92-424a-9e8c-5fde0c5fbdd2" providerId="ADAL" clId="{8E1CC941-A529-42BD-91F2-8926E50D0828}" dt="2024-06-25T11:06:57.220" v="0"/>
          <ac:spMkLst>
            <pc:docMk/>
            <pc:sldMk cId="3503527207" sldId="733"/>
            <ac:spMk id="2" creationId="{14821783-DAC9-AA6A-B399-EE346F068A4E}"/>
          </ac:spMkLst>
        </pc:spChg>
        <pc:spChg chg="mod">
          <ac:chgData name="José Antonio Ureta Santacreu" userId="e36999d1-2b92-424a-9e8c-5fde0c5fbdd2" providerId="ADAL" clId="{8E1CC941-A529-42BD-91F2-8926E50D0828}" dt="2024-06-25T11:06:57.220" v="0"/>
          <ac:spMkLst>
            <pc:docMk/>
            <pc:sldMk cId="3503527207" sldId="733"/>
            <ac:spMk id="3" creationId="{DBE2C884-0009-3533-9791-0CC5C80BD735}"/>
          </ac:spMkLst>
        </pc:spChg>
        <pc:spChg chg="mod">
          <ac:chgData name="José Antonio Ureta Santacreu" userId="e36999d1-2b92-424a-9e8c-5fde0c5fbdd2" providerId="ADAL" clId="{8E1CC941-A529-42BD-91F2-8926E50D0828}" dt="2024-06-25T11:06:57.220" v="0"/>
          <ac:spMkLst>
            <pc:docMk/>
            <pc:sldMk cId="3503527207" sldId="733"/>
            <ac:spMk id="4" creationId="{F223BC60-759C-EB60-4B8C-16F516E2622F}"/>
          </ac:spMkLst>
        </pc:spChg>
        <pc:spChg chg="mod">
          <ac:chgData name="José Antonio Ureta Santacreu" userId="e36999d1-2b92-424a-9e8c-5fde0c5fbdd2" providerId="ADAL" clId="{8E1CC941-A529-42BD-91F2-8926E50D0828}" dt="2024-06-25T11:06:57.220" v="0"/>
          <ac:spMkLst>
            <pc:docMk/>
            <pc:sldMk cId="3503527207" sldId="733"/>
            <ac:spMk id="5" creationId="{D1E6C8BB-FBCE-8E50-EECA-7B0BC392A91B}"/>
          </ac:spMkLst>
        </pc:spChg>
      </pc:sldChg>
      <pc:sldChg chg="modSp">
        <pc:chgData name="José Antonio Ureta Santacreu" userId="e36999d1-2b92-424a-9e8c-5fde0c5fbdd2" providerId="ADAL" clId="{8E1CC941-A529-42BD-91F2-8926E50D0828}" dt="2024-06-25T11:06:57.220" v="0"/>
        <pc:sldMkLst>
          <pc:docMk/>
          <pc:sldMk cId="849378129" sldId="737"/>
        </pc:sldMkLst>
        <pc:spChg chg="mod">
          <ac:chgData name="José Antonio Ureta Santacreu" userId="e36999d1-2b92-424a-9e8c-5fde0c5fbdd2" providerId="ADAL" clId="{8E1CC941-A529-42BD-91F2-8926E50D0828}" dt="2024-06-25T11:06:57.220" v="0"/>
          <ac:spMkLst>
            <pc:docMk/>
            <pc:sldMk cId="849378129" sldId="737"/>
            <ac:spMk id="2" creationId="{D391E574-536E-13E4-1C7F-33CF8AEBB02E}"/>
          </ac:spMkLst>
        </pc:spChg>
        <pc:spChg chg="mod">
          <ac:chgData name="José Antonio Ureta Santacreu" userId="e36999d1-2b92-424a-9e8c-5fde0c5fbdd2" providerId="ADAL" clId="{8E1CC941-A529-42BD-91F2-8926E50D0828}" dt="2024-06-25T11:06:57.220" v="0"/>
          <ac:spMkLst>
            <pc:docMk/>
            <pc:sldMk cId="849378129" sldId="737"/>
            <ac:spMk id="5" creationId="{8BE8090F-DE59-CA76-DF2A-D539E947AA9E}"/>
          </ac:spMkLst>
        </pc:spChg>
        <pc:spChg chg="mod">
          <ac:chgData name="José Antonio Ureta Santacreu" userId="e36999d1-2b92-424a-9e8c-5fde0c5fbdd2" providerId="ADAL" clId="{8E1CC941-A529-42BD-91F2-8926E50D0828}" dt="2024-06-25T11:06:57.220" v="0"/>
          <ac:spMkLst>
            <pc:docMk/>
            <pc:sldMk cId="849378129" sldId="737"/>
            <ac:spMk id="6" creationId="{0373733A-231E-537F-5F84-C40D81384385}"/>
          </ac:spMkLst>
        </pc:spChg>
        <pc:spChg chg="mod">
          <ac:chgData name="José Antonio Ureta Santacreu" userId="e36999d1-2b92-424a-9e8c-5fde0c5fbdd2" providerId="ADAL" clId="{8E1CC941-A529-42BD-91F2-8926E50D0828}" dt="2024-06-25T11:06:57.220" v="0"/>
          <ac:spMkLst>
            <pc:docMk/>
            <pc:sldMk cId="849378129" sldId="737"/>
            <ac:spMk id="7" creationId="{D7235C15-A2AC-F9F5-E21A-CD247946C38F}"/>
          </ac:spMkLst>
        </pc:spChg>
      </pc:sldChg>
      <pc:sldChg chg="modSp">
        <pc:chgData name="José Antonio Ureta Santacreu" userId="e36999d1-2b92-424a-9e8c-5fde0c5fbdd2" providerId="ADAL" clId="{8E1CC941-A529-42BD-91F2-8926E50D0828}" dt="2024-06-25T11:06:57.220" v="0"/>
        <pc:sldMkLst>
          <pc:docMk/>
          <pc:sldMk cId="1831238358" sldId="741"/>
        </pc:sldMkLst>
        <pc:spChg chg="mod">
          <ac:chgData name="José Antonio Ureta Santacreu" userId="e36999d1-2b92-424a-9e8c-5fde0c5fbdd2" providerId="ADAL" clId="{8E1CC941-A529-42BD-91F2-8926E50D0828}" dt="2024-06-25T11:06:57.220" v="0"/>
          <ac:spMkLst>
            <pc:docMk/>
            <pc:sldMk cId="1831238358" sldId="741"/>
            <ac:spMk id="2" creationId="{BB7BAF4E-7939-6697-4B74-44E52C36B8E7}"/>
          </ac:spMkLst>
        </pc:spChg>
        <pc:spChg chg="mod">
          <ac:chgData name="José Antonio Ureta Santacreu" userId="e36999d1-2b92-424a-9e8c-5fde0c5fbdd2" providerId="ADAL" clId="{8E1CC941-A529-42BD-91F2-8926E50D0828}" dt="2024-06-25T11:06:57.220" v="0"/>
          <ac:spMkLst>
            <pc:docMk/>
            <pc:sldMk cId="1831238358" sldId="741"/>
            <ac:spMk id="4" creationId="{FD29C529-4AA5-6123-7E2B-8A4017F6FC15}"/>
          </ac:spMkLst>
        </pc:spChg>
        <pc:spChg chg="mod">
          <ac:chgData name="José Antonio Ureta Santacreu" userId="e36999d1-2b92-424a-9e8c-5fde0c5fbdd2" providerId="ADAL" clId="{8E1CC941-A529-42BD-91F2-8926E50D0828}" dt="2024-06-25T11:06:57.220" v="0"/>
          <ac:spMkLst>
            <pc:docMk/>
            <pc:sldMk cId="1831238358" sldId="741"/>
            <ac:spMk id="9" creationId="{42C1D181-4B76-4429-F999-88F710C787F9}"/>
          </ac:spMkLst>
        </pc:spChg>
        <pc:spChg chg="mod">
          <ac:chgData name="José Antonio Ureta Santacreu" userId="e36999d1-2b92-424a-9e8c-5fde0c5fbdd2" providerId="ADAL" clId="{8E1CC941-A529-42BD-91F2-8926E50D0828}" dt="2024-06-25T11:06:57.220" v="0"/>
          <ac:spMkLst>
            <pc:docMk/>
            <pc:sldMk cId="1831238358" sldId="741"/>
            <ac:spMk id="10" creationId="{236CC488-4093-B07E-1135-AD9AB350F95A}"/>
          </ac:spMkLst>
        </pc:spChg>
      </pc:sldChg>
      <pc:sldChg chg="modSp">
        <pc:chgData name="José Antonio Ureta Santacreu" userId="e36999d1-2b92-424a-9e8c-5fde0c5fbdd2" providerId="ADAL" clId="{8E1CC941-A529-42BD-91F2-8926E50D0828}" dt="2024-06-25T11:06:57.220" v="0"/>
        <pc:sldMkLst>
          <pc:docMk/>
          <pc:sldMk cId="1554916861" sldId="742"/>
        </pc:sldMkLst>
        <pc:spChg chg="mod">
          <ac:chgData name="José Antonio Ureta Santacreu" userId="e36999d1-2b92-424a-9e8c-5fde0c5fbdd2" providerId="ADAL" clId="{8E1CC941-A529-42BD-91F2-8926E50D0828}" dt="2024-06-25T11:06:57.220" v="0"/>
          <ac:spMkLst>
            <pc:docMk/>
            <pc:sldMk cId="1554916861" sldId="742"/>
            <ac:spMk id="3" creationId="{FD8CF1C1-F91B-B76E-2E57-8D860CBBCC95}"/>
          </ac:spMkLst>
        </pc:spChg>
        <pc:spChg chg="mod">
          <ac:chgData name="José Antonio Ureta Santacreu" userId="e36999d1-2b92-424a-9e8c-5fde0c5fbdd2" providerId="ADAL" clId="{8E1CC941-A529-42BD-91F2-8926E50D0828}" dt="2024-06-25T11:06:57.220" v="0"/>
          <ac:spMkLst>
            <pc:docMk/>
            <pc:sldMk cId="1554916861" sldId="742"/>
            <ac:spMk id="5" creationId="{E8782501-611B-4AFC-86ED-42F502CE1C27}"/>
          </ac:spMkLst>
        </pc:spChg>
        <pc:spChg chg="mod">
          <ac:chgData name="José Antonio Ureta Santacreu" userId="e36999d1-2b92-424a-9e8c-5fde0c5fbdd2" providerId="ADAL" clId="{8E1CC941-A529-42BD-91F2-8926E50D0828}" dt="2024-06-25T11:06:57.220" v="0"/>
          <ac:spMkLst>
            <pc:docMk/>
            <pc:sldMk cId="1554916861" sldId="742"/>
            <ac:spMk id="13" creationId="{5D583E83-7E6C-0D6D-AD5C-E11AC3E48148}"/>
          </ac:spMkLst>
        </pc:spChg>
      </pc:sldChg>
      <pc:sldChg chg="modSp">
        <pc:chgData name="José Antonio Ureta Santacreu" userId="e36999d1-2b92-424a-9e8c-5fde0c5fbdd2" providerId="ADAL" clId="{8E1CC941-A529-42BD-91F2-8926E50D0828}" dt="2024-06-25T11:06:57.220" v="0"/>
        <pc:sldMkLst>
          <pc:docMk/>
          <pc:sldMk cId="4137072091" sldId="743"/>
        </pc:sldMkLst>
        <pc:spChg chg="mod">
          <ac:chgData name="José Antonio Ureta Santacreu" userId="e36999d1-2b92-424a-9e8c-5fde0c5fbdd2" providerId="ADAL" clId="{8E1CC941-A529-42BD-91F2-8926E50D0828}" dt="2024-06-25T11:06:57.220" v="0"/>
          <ac:spMkLst>
            <pc:docMk/>
            <pc:sldMk cId="4137072091" sldId="743"/>
            <ac:spMk id="2" creationId="{73B5D36A-F127-5D47-AFD4-E4A6F655F1AD}"/>
          </ac:spMkLst>
        </pc:spChg>
        <pc:spChg chg="mod">
          <ac:chgData name="José Antonio Ureta Santacreu" userId="e36999d1-2b92-424a-9e8c-5fde0c5fbdd2" providerId="ADAL" clId="{8E1CC941-A529-42BD-91F2-8926E50D0828}" dt="2024-06-25T11:06:57.220" v="0"/>
          <ac:spMkLst>
            <pc:docMk/>
            <pc:sldMk cId="4137072091" sldId="743"/>
            <ac:spMk id="3" creationId="{EF4326CF-7CF0-3051-89D2-4CE5E09FA9D7}"/>
          </ac:spMkLst>
        </pc:spChg>
        <pc:spChg chg="mod">
          <ac:chgData name="José Antonio Ureta Santacreu" userId="e36999d1-2b92-424a-9e8c-5fde0c5fbdd2" providerId="ADAL" clId="{8E1CC941-A529-42BD-91F2-8926E50D0828}" dt="2024-06-25T11:06:57.220" v="0"/>
          <ac:spMkLst>
            <pc:docMk/>
            <pc:sldMk cId="4137072091" sldId="743"/>
            <ac:spMk id="4" creationId="{1611EABF-6ED3-4803-9AD3-6BE2D350DD74}"/>
          </ac:spMkLst>
        </pc:spChg>
        <pc:spChg chg="mod">
          <ac:chgData name="José Antonio Ureta Santacreu" userId="e36999d1-2b92-424a-9e8c-5fde0c5fbdd2" providerId="ADAL" clId="{8E1CC941-A529-42BD-91F2-8926E50D0828}" dt="2024-06-25T11:06:57.220" v="0"/>
          <ac:spMkLst>
            <pc:docMk/>
            <pc:sldMk cId="4137072091" sldId="743"/>
            <ac:spMk id="13" creationId="{1022CA5E-BFA7-55C1-DFA3-D563893698EE}"/>
          </ac:spMkLst>
        </pc:spChg>
        <pc:spChg chg="mod">
          <ac:chgData name="José Antonio Ureta Santacreu" userId="e36999d1-2b92-424a-9e8c-5fde0c5fbdd2" providerId="ADAL" clId="{8E1CC941-A529-42BD-91F2-8926E50D0828}" dt="2024-06-25T11:06:57.220" v="0"/>
          <ac:spMkLst>
            <pc:docMk/>
            <pc:sldMk cId="4137072091" sldId="743"/>
            <ac:spMk id="14" creationId="{81D14849-E848-C4EC-9156-66C7BFF0538A}"/>
          </ac:spMkLst>
        </pc:spChg>
        <pc:spChg chg="mod">
          <ac:chgData name="José Antonio Ureta Santacreu" userId="e36999d1-2b92-424a-9e8c-5fde0c5fbdd2" providerId="ADAL" clId="{8E1CC941-A529-42BD-91F2-8926E50D0828}" dt="2024-06-25T11:06:57.220" v="0"/>
          <ac:spMkLst>
            <pc:docMk/>
            <pc:sldMk cId="4137072091" sldId="743"/>
            <ac:spMk id="16" creationId="{698A4E15-916F-0A68-6B54-7DE00B5F96C4}"/>
          </ac:spMkLst>
        </pc:spChg>
        <pc:picChg chg="mod">
          <ac:chgData name="José Antonio Ureta Santacreu" userId="e36999d1-2b92-424a-9e8c-5fde0c5fbdd2" providerId="ADAL" clId="{8E1CC941-A529-42BD-91F2-8926E50D0828}" dt="2024-06-25T11:06:57.220" v="0"/>
          <ac:picMkLst>
            <pc:docMk/>
            <pc:sldMk cId="4137072091" sldId="743"/>
            <ac:picMk id="12" creationId="{49D58BC3-BEA5-1261-3040-8D07E01CA84A}"/>
          </ac:picMkLst>
        </pc:picChg>
      </pc:sldChg>
      <pc:sldChg chg="modSp mod">
        <pc:chgData name="José Antonio Ureta Santacreu" userId="e36999d1-2b92-424a-9e8c-5fde0c5fbdd2" providerId="ADAL" clId="{8E1CC941-A529-42BD-91F2-8926E50D0828}" dt="2024-06-25T11:06:58.126" v="14" actId="27636"/>
        <pc:sldMkLst>
          <pc:docMk/>
          <pc:sldMk cId="1430510902" sldId="745"/>
        </pc:sldMkLst>
        <pc:spChg chg="mod">
          <ac:chgData name="José Antonio Ureta Santacreu" userId="e36999d1-2b92-424a-9e8c-5fde0c5fbdd2" providerId="ADAL" clId="{8E1CC941-A529-42BD-91F2-8926E50D0828}" dt="2024-06-25T11:06:57.220" v="0"/>
          <ac:spMkLst>
            <pc:docMk/>
            <pc:sldMk cId="1430510902" sldId="745"/>
            <ac:spMk id="2" creationId="{B75688A7-A90D-2B0A-27C2-2AA085CBA19A}"/>
          </ac:spMkLst>
        </pc:spChg>
        <pc:spChg chg="mod">
          <ac:chgData name="José Antonio Ureta Santacreu" userId="e36999d1-2b92-424a-9e8c-5fde0c5fbdd2" providerId="ADAL" clId="{8E1CC941-A529-42BD-91F2-8926E50D0828}" dt="2024-06-25T11:06:57.220" v="0"/>
          <ac:spMkLst>
            <pc:docMk/>
            <pc:sldMk cId="1430510902" sldId="745"/>
            <ac:spMk id="3" creationId="{FC6F78FC-2056-AEBB-B6A7-E9EFAFBA5DD8}"/>
          </ac:spMkLst>
        </pc:spChg>
        <pc:spChg chg="mod">
          <ac:chgData name="José Antonio Ureta Santacreu" userId="e36999d1-2b92-424a-9e8c-5fde0c5fbdd2" providerId="ADAL" clId="{8E1CC941-A529-42BD-91F2-8926E50D0828}" dt="2024-06-25T11:06:58.126" v="14" actId="27636"/>
          <ac:spMkLst>
            <pc:docMk/>
            <pc:sldMk cId="1430510902" sldId="745"/>
            <ac:spMk id="4" creationId="{9E3F80BF-422F-F1D6-424C-076E6B2E9387}"/>
          </ac:spMkLst>
        </pc:spChg>
        <pc:spChg chg="mod">
          <ac:chgData name="José Antonio Ureta Santacreu" userId="e36999d1-2b92-424a-9e8c-5fde0c5fbdd2" providerId="ADAL" clId="{8E1CC941-A529-42BD-91F2-8926E50D0828}" dt="2024-06-25T11:06:57.220" v="0"/>
          <ac:spMkLst>
            <pc:docMk/>
            <pc:sldMk cId="1430510902" sldId="745"/>
            <ac:spMk id="5" creationId="{4347F63F-C5FB-67C0-F4CF-E10779682225}"/>
          </ac:spMkLst>
        </pc:spChg>
        <pc:spChg chg="mod">
          <ac:chgData name="José Antonio Ureta Santacreu" userId="e36999d1-2b92-424a-9e8c-5fde0c5fbdd2" providerId="ADAL" clId="{8E1CC941-A529-42BD-91F2-8926E50D0828}" dt="2024-06-25T11:06:57.220" v="0"/>
          <ac:spMkLst>
            <pc:docMk/>
            <pc:sldMk cId="1430510902" sldId="745"/>
            <ac:spMk id="6" creationId="{7EBE8820-E050-4DF8-EAC9-F8074816D4BE}"/>
          </ac:spMkLst>
        </pc:spChg>
        <pc:spChg chg="mod">
          <ac:chgData name="José Antonio Ureta Santacreu" userId="e36999d1-2b92-424a-9e8c-5fde0c5fbdd2" providerId="ADAL" clId="{8E1CC941-A529-42BD-91F2-8926E50D0828}" dt="2024-06-25T11:06:57.220" v="0"/>
          <ac:spMkLst>
            <pc:docMk/>
            <pc:sldMk cId="1430510902" sldId="745"/>
            <ac:spMk id="7" creationId="{73C825B2-DFE1-9F03-C3BA-3A9E2CC87C19}"/>
          </ac:spMkLst>
        </pc:spChg>
        <pc:picChg chg="mod">
          <ac:chgData name="José Antonio Ureta Santacreu" userId="e36999d1-2b92-424a-9e8c-5fde0c5fbdd2" providerId="ADAL" clId="{8E1CC941-A529-42BD-91F2-8926E50D0828}" dt="2024-06-25T11:06:57.220" v="0"/>
          <ac:picMkLst>
            <pc:docMk/>
            <pc:sldMk cId="1430510902" sldId="745"/>
            <ac:picMk id="9" creationId="{2F57A187-341D-6846-1452-3274F95BBE23}"/>
          </ac:picMkLst>
        </pc:picChg>
      </pc:sldChg>
      <pc:sldChg chg="modSp">
        <pc:chgData name="José Antonio Ureta Santacreu" userId="e36999d1-2b92-424a-9e8c-5fde0c5fbdd2" providerId="ADAL" clId="{8E1CC941-A529-42BD-91F2-8926E50D0828}" dt="2024-06-25T11:06:57.220" v="0"/>
        <pc:sldMkLst>
          <pc:docMk/>
          <pc:sldMk cId="2286303145" sldId="750"/>
        </pc:sldMkLst>
        <pc:spChg chg="mod">
          <ac:chgData name="José Antonio Ureta Santacreu" userId="e36999d1-2b92-424a-9e8c-5fde0c5fbdd2" providerId="ADAL" clId="{8E1CC941-A529-42BD-91F2-8926E50D0828}" dt="2024-06-25T11:06:57.220" v="0"/>
          <ac:spMkLst>
            <pc:docMk/>
            <pc:sldMk cId="2286303145" sldId="750"/>
            <ac:spMk id="2" creationId="{A16DB73B-3371-F5C0-CF10-940AEF2C6325}"/>
          </ac:spMkLst>
        </pc:spChg>
        <pc:spChg chg="mod">
          <ac:chgData name="José Antonio Ureta Santacreu" userId="e36999d1-2b92-424a-9e8c-5fde0c5fbdd2" providerId="ADAL" clId="{8E1CC941-A529-42BD-91F2-8926E50D0828}" dt="2024-06-25T11:06:57.220" v="0"/>
          <ac:spMkLst>
            <pc:docMk/>
            <pc:sldMk cId="2286303145" sldId="750"/>
            <ac:spMk id="3" creationId="{C042A72F-90E8-57CE-E22B-1746F4FAC082}"/>
          </ac:spMkLst>
        </pc:spChg>
        <pc:spChg chg="mod">
          <ac:chgData name="José Antonio Ureta Santacreu" userId="e36999d1-2b92-424a-9e8c-5fde0c5fbdd2" providerId="ADAL" clId="{8E1CC941-A529-42BD-91F2-8926E50D0828}" dt="2024-06-25T11:06:57.220" v="0"/>
          <ac:spMkLst>
            <pc:docMk/>
            <pc:sldMk cId="2286303145" sldId="750"/>
            <ac:spMk id="4" creationId="{685068EF-9B61-1A6A-9517-971E713FB241}"/>
          </ac:spMkLst>
        </pc:spChg>
        <pc:spChg chg="mod">
          <ac:chgData name="José Antonio Ureta Santacreu" userId="e36999d1-2b92-424a-9e8c-5fde0c5fbdd2" providerId="ADAL" clId="{8E1CC941-A529-42BD-91F2-8926E50D0828}" dt="2024-06-25T11:06:57.220" v="0"/>
          <ac:spMkLst>
            <pc:docMk/>
            <pc:sldMk cId="2286303145" sldId="750"/>
            <ac:spMk id="5" creationId="{ADB58516-C38B-CD62-AF6D-221F01044A48}"/>
          </ac:spMkLst>
        </pc:spChg>
      </pc:sldChg>
      <pc:sldChg chg="modSp mod">
        <pc:chgData name="José Antonio Ureta Santacreu" userId="e36999d1-2b92-424a-9e8c-5fde0c5fbdd2" providerId="ADAL" clId="{8E1CC941-A529-42BD-91F2-8926E50D0828}" dt="2024-06-25T11:06:58.109" v="13" actId="27636"/>
        <pc:sldMkLst>
          <pc:docMk/>
          <pc:sldMk cId="1065480147" sldId="758"/>
        </pc:sldMkLst>
        <pc:spChg chg="mod">
          <ac:chgData name="José Antonio Ureta Santacreu" userId="e36999d1-2b92-424a-9e8c-5fde0c5fbdd2" providerId="ADAL" clId="{8E1CC941-A529-42BD-91F2-8926E50D0828}" dt="2024-06-25T11:06:57.220" v="0"/>
          <ac:spMkLst>
            <pc:docMk/>
            <pc:sldMk cId="1065480147" sldId="758"/>
            <ac:spMk id="2" creationId="{049C4259-D8FF-0C80-342B-2E2261336C77}"/>
          </ac:spMkLst>
        </pc:spChg>
        <pc:spChg chg="mod">
          <ac:chgData name="José Antonio Ureta Santacreu" userId="e36999d1-2b92-424a-9e8c-5fde0c5fbdd2" providerId="ADAL" clId="{8E1CC941-A529-42BD-91F2-8926E50D0828}" dt="2024-06-25T11:06:57.220" v="0"/>
          <ac:spMkLst>
            <pc:docMk/>
            <pc:sldMk cId="1065480147" sldId="758"/>
            <ac:spMk id="3" creationId="{578A52F3-CD7F-E487-161C-1E14219110B9}"/>
          </ac:spMkLst>
        </pc:spChg>
        <pc:spChg chg="mod">
          <ac:chgData name="José Antonio Ureta Santacreu" userId="e36999d1-2b92-424a-9e8c-5fde0c5fbdd2" providerId="ADAL" clId="{8E1CC941-A529-42BD-91F2-8926E50D0828}" dt="2024-06-25T11:06:57.220" v="0"/>
          <ac:spMkLst>
            <pc:docMk/>
            <pc:sldMk cId="1065480147" sldId="758"/>
            <ac:spMk id="4" creationId="{3CF28EAE-A44B-6CED-CE5F-937CB90A2E78}"/>
          </ac:spMkLst>
        </pc:spChg>
        <pc:spChg chg="mod">
          <ac:chgData name="José Antonio Ureta Santacreu" userId="e36999d1-2b92-424a-9e8c-5fde0c5fbdd2" providerId="ADAL" clId="{8E1CC941-A529-42BD-91F2-8926E50D0828}" dt="2024-06-25T11:06:58.109" v="13" actId="27636"/>
          <ac:spMkLst>
            <pc:docMk/>
            <pc:sldMk cId="1065480147" sldId="758"/>
            <ac:spMk id="5" creationId="{00B6AB3B-9D44-138C-9F29-FA121BE5DD8B}"/>
          </ac:spMkLst>
        </pc:spChg>
        <pc:spChg chg="mod">
          <ac:chgData name="José Antonio Ureta Santacreu" userId="e36999d1-2b92-424a-9e8c-5fde0c5fbdd2" providerId="ADAL" clId="{8E1CC941-A529-42BD-91F2-8926E50D0828}" dt="2024-06-25T11:06:57.220" v="0"/>
          <ac:spMkLst>
            <pc:docMk/>
            <pc:sldMk cId="1065480147" sldId="758"/>
            <ac:spMk id="7" creationId="{9AD807E5-0AE7-B083-ECE8-DCFAAE154435}"/>
          </ac:spMkLst>
        </pc:spChg>
        <pc:spChg chg="mod">
          <ac:chgData name="José Antonio Ureta Santacreu" userId="e36999d1-2b92-424a-9e8c-5fde0c5fbdd2" providerId="ADAL" clId="{8E1CC941-A529-42BD-91F2-8926E50D0828}" dt="2024-06-25T11:06:57.220" v="0"/>
          <ac:spMkLst>
            <pc:docMk/>
            <pc:sldMk cId="1065480147" sldId="758"/>
            <ac:spMk id="8" creationId="{EABD6CF2-460E-74E3-4D41-518159D6968C}"/>
          </ac:spMkLst>
        </pc:spChg>
        <pc:picChg chg="mod">
          <ac:chgData name="José Antonio Ureta Santacreu" userId="e36999d1-2b92-424a-9e8c-5fde0c5fbdd2" providerId="ADAL" clId="{8E1CC941-A529-42BD-91F2-8926E50D0828}" dt="2024-06-25T11:06:57.220" v="0"/>
          <ac:picMkLst>
            <pc:docMk/>
            <pc:sldMk cId="1065480147" sldId="758"/>
            <ac:picMk id="6" creationId="{BD54A346-F060-87EA-CD6B-8A28C7AEB2A0}"/>
          </ac:picMkLst>
        </pc:picChg>
      </pc:sldChg>
      <pc:sldChg chg="modSp mod">
        <pc:chgData name="José Antonio Ureta Santacreu" userId="e36999d1-2b92-424a-9e8c-5fde0c5fbdd2" providerId="ADAL" clId="{8E1CC941-A529-42BD-91F2-8926E50D0828}" dt="2024-06-25T11:06:58.023" v="10" actId="27636"/>
        <pc:sldMkLst>
          <pc:docMk/>
          <pc:sldMk cId="2790198620" sldId="760"/>
        </pc:sldMkLst>
        <pc:spChg chg="mod">
          <ac:chgData name="José Antonio Ureta Santacreu" userId="e36999d1-2b92-424a-9e8c-5fde0c5fbdd2" providerId="ADAL" clId="{8E1CC941-A529-42BD-91F2-8926E50D0828}" dt="2024-06-25T11:06:57.220" v="0"/>
          <ac:spMkLst>
            <pc:docMk/>
            <pc:sldMk cId="2790198620" sldId="760"/>
            <ac:spMk id="2" creationId="{D601A298-46A1-46CB-8640-1F3F59AE9DAD}"/>
          </ac:spMkLst>
        </pc:spChg>
        <pc:spChg chg="mod">
          <ac:chgData name="José Antonio Ureta Santacreu" userId="e36999d1-2b92-424a-9e8c-5fde0c5fbdd2" providerId="ADAL" clId="{8E1CC941-A529-42BD-91F2-8926E50D0828}" dt="2024-06-25T11:06:58.007" v="9" actId="27636"/>
          <ac:spMkLst>
            <pc:docMk/>
            <pc:sldMk cId="2790198620" sldId="760"/>
            <ac:spMk id="6" creationId="{62EAE47E-6B2C-4464-B6B7-7D56B3FE7062}"/>
          </ac:spMkLst>
        </pc:spChg>
        <pc:spChg chg="mod">
          <ac:chgData name="José Antonio Ureta Santacreu" userId="e36999d1-2b92-424a-9e8c-5fde0c5fbdd2" providerId="ADAL" clId="{8E1CC941-A529-42BD-91F2-8926E50D0828}" dt="2024-06-25T11:06:58.023" v="10" actId="27636"/>
          <ac:spMkLst>
            <pc:docMk/>
            <pc:sldMk cId="2790198620" sldId="760"/>
            <ac:spMk id="9" creationId="{2CE86970-D988-4C8A-B130-DFAC2BCE55C0}"/>
          </ac:spMkLst>
        </pc:spChg>
        <pc:spChg chg="mod">
          <ac:chgData name="José Antonio Ureta Santacreu" userId="e36999d1-2b92-424a-9e8c-5fde0c5fbdd2" providerId="ADAL" clId="{8E1CC941-A529-42BD-91F2-8926E50D0828}" dt="2024-06-25T11:06:57.220" v="0"/>
          <ac:spMkLst>
            <pc:docMk/>
            <pc:sldMk cId="2790198620" sldId="760"/>
            <ac:spMk id="21" creationId="{7F076342-D29E-421E-905F-E76B9AA08B95}"/>
          </ac:spMkLst>
        </pc:spChg>
        <pc:spChg chg="mod">
          <ac:chgData name="José Antonio Ureta Santacreu" userId="e36999d1-2b92-424a-9e8c-5fde0c5fbdd2" providerId="ADAL" clId="{8E1CC941-A529-42BD-91F2-8926E50D0828}" dt="2024-06-25T11:06:57.220" v="0"/>
          <ac:spMkLst>
            <pc:docMk/>
            <pc:sldMk cId="2790198620" sldId="760"/>
            <ac:spMk id="22" creationId="{93386B9B-4B4A-46C3-B4C9-DA6093431A6E}"/>
          </ac:spMkLst>
        </pc:spChg>
        <pc:picChg chg="mod">
          <ac:chgData name="José Antonio Ureta Santacreu" userId="e36999d1-2b92-424a-9e8c-5fde0c5fbdd2" providerId="ADAL" clId="{8E1CC941-A529-42BD-91F2-8926E50D0828}" dt="2024-06-25T11:06:57.220" v="0"/>
          <ac:picMkLst>
            <pc:docMk/>
            <pc:sldMk cId="2790198620" sldId="760"/>
            <ac:picMk id="1026" creationId="{00000000-0000-0000-0000-000000000000}"/>
          </ac:picMkLst>
        </pc:picChg>
        <pc:picChg chg="mod">
          <ac:chgData name="José Antonio Ureta Santacreu" userId="e36999d1-2b92-424a-9e8c-5fde0c5fbdd2" providerId="ADAL" clId="{8E1CC941-A529-42BD-91F2-8926E50D0828}" dt="2024-06-25T11:06:57.220" v="0"/>
          <ac:picMkLst>
            <pc:docMk/>
            <pc:sldMk cId="2790198620" sldId="760"/>
            <ac:picMk id="1028" creationId="{00000000-0000-0000-0000-000000000000}"/>
          </ac:picMkLst>
        </pc:picChg>
      </pc:sldChg>
      <pc:sldChg chg="modSp">
        <pc:chgData name="José Antonio Ureta Santacreu" userId="e36999d1-2b92-424a-9e8c-5fde0c5fbdd2" providerId="ADAL" clId="{8E1CC941-A529-42BD-91F2-8926E50D0828}" dt="2024-06-25T11:06:57.220" v="0"/>
        <pc:sldMkLst>
          <pc:docMk/>
          <pc:sldMk cId="1268529493" sldId="761"/>
        </pc:sldMkLst>
        <pc:spChg chg="mod">
          <ac:chgData name="José Antonio Ureta Santacreu" userId="e36999d1-2b92-424a-9e8c-5fde0c5fbdd2" providerId="ADAL" clId="{8E1CC941-A529-42BD-91F2-8926E50D0828}" dt="2024-06-25T11:06:57.220" v="0"/>
          <ac:spMkLst>
            <pc:docMk/>
            <pc:sldMk cId="1268529493" sldId="761"/>
            <ac:spMk id="2" creationId="{7C1CE78C-9BEA-6214-211F-54CEBC93EB69}"/>
          </ac:spMkLst>
        </pc:spChg>
        <pc:spChg chg="mod">
          <ac:chgData name="José Antonio Ureta Santacreu" userId="e36999d1-2b92-424a-9e8c-5fde0c5fbdd2" providerId="ADAL" clId="{8E1CC941-A529-42BD-91F2-8926E50D0828}" dt="2024-06-25T11:06:57.220" v="0"/>
          <ac:spMkLst>
            <pc:docMk/>
            <pc:sldMk cId="1268529493" sldId="761"/>
            <ac:spMk id="3" creationId="{A70DC7F6-2661-4048-9690-DDFEB34F2B4E}"/>
          </ac:spMkLst>
        </pc:spChg>
        <pc:spChg chg="mod">
          <ac:chgData name="José Antonio Ureta Santacreu" userId="e36999d1-2b92-424a-9e8c-5fde0c5fbdd2" providerId="ADAL" clId="{8E1CC941-A529-42BD-91F2-8926E50D0828}" dt="2024-06-25T11:06:57.220" v="0"/>
          <ac:spMkLst>
            <pc:docMk/>
            <pc:sldMk cId="1268529493" sldId="761"/>
            <ac:spMk id="4" creationId="{A2D89D04-24F0-A2A1-0A23-0838F9A445DF}"/>
          </ac:spMkLst>
        </pc:spChg>
        <pc:spChg chg="mod">
          <ac:chgData name="José Antonio Ureta Santacreu" userId="e36999d1-2b92-424a-9e8c-5fde0c5fbdd2" providerId="ADAL" clId="{8E1CC941-A529-42BD-91F2-8926E50D0828}" dt="2024-06-25T11:06:57.220" v="0"/>
          <ac:spMkLst>
            <pc:docMk/>
            <pc:sldMk cId="1268529493" sldId="761"/>
            <ac:spMk id="5" creationId="{98699CCE-A51B-9CDC-0AF0-A046F78AC702}"/>
          </ac:spMkLst>
        </pc:spChg>
        <pc:spChg chg="mod">
          <ac:chgData name="José Antonio Ureta Santacreu" userId="e36999d1-2b92-424a-9e8c-5fde0c5fbdd2" providerId="ADAL" clId="{8E1CC941-A529-42BD-91F2-8926E50D0828}" dt="2024-06-25T11:06:57.220" v="0"/>
          <ac:spMkLst>
            <pc:docMk/>
            <pc:sldMk cId="1268529493" sldId="761"/>
            <ac:spMk id="6" creationId="{3956A073-41FA-6E43-6664-387CDAA2FC4D}"/>
          </ac:spMkLst>
        </pc:spChg>
        <pc:spChg chg="mod">
          <ac:chgData name="José Antonio Ureta Santacreu" userId="e36999d1-2b92-424a-9e8c-5fde0c5fbdd2" providerId="ADAL" clId="{8E1CC941-A529-42BD-91F2-8926E50D0828}" dt="2024-06-25T11:06:57.220" v="0"/>
          <ac:spMkLst>
            <pc:docMk/>
            <pc:sldMk cId="1268529493" sldId="761"/>
            <ac:spMk id="7" creationId="{F581116B-DF54-EADE-8ACE-04DD213E9C4C}"/>
          </ac:spMkLst>
        </pc:spChg>
        <pc:picChg chg="mod">
          <ac:chgData name="José Antonio Ureta Santacreu" userId="e36999d1-2b92-424a-9e8c-5fde0c5fbdd2" providerId="ADAL" clId="{8E1CC941-A529-42BD-91F2-8926E50D0828}" dt="2024-06-25T11:06:57.220" v="0"/>
          <ac:picMkLst>
            <pc:docMk/>
            <pc:sldMk cId="1268529493" sldId="761"/>
            <ac:picMk id="6146" creationId="{C8840150-3A39-8427-70A5-5B915F1C7F4E}"/>
          </ac:picMkLst>
        </pc:picChg>
      </pc:sldChg>
      <pc:sldChg chg="modSp">
        <pc:chgData name="José Antonio Ureta Santacreu" userId="e36999d1-2b92-424a-9e8c-5fde0c5fbdd2" providerId="ADAL" clId="{8E1CC941-A529-42BD-91F2-8926E50D0828}" dt="2024-06-25T11:06:57.220" v="0"/>
        <pc:sldMkLst>
          <pc:docMk/>
          <pc:sldMk cId="2280314011" sldId="764"/>
        </pc:sldMkLst>
        <pc:spChg chg="mod">
          <ac:chgData name="José Antonio Ureta Santacreu" userId="e36999d1-2b92-424a-9e8c-5fde0c5fbdd2" providerId="ADAL" clId="{8E1CC941-A529-42BD-91F2-8926E50D0828}" dt="2024-06-25T11:06:57.220" v="0"/>
          <ac:spMkLst>
            <pc:docMk/>
            <pc:sldMk cId="2280314011" sldId="764"/>
            <ac:spMk id="2" creationId="{4F217C93-6BC4-B8DF-1673-460B31A281D5}"/>
          </ac:spMkLst>
        </pc:spChg>
        <pc:spChg chg="mod">
          <ac:chgData name="José Antonio Ureta Santacreu" userId="e36999d1-2b92-424a-9e8c-5fde0c5fbdd2" providerId="ADAL" clId="{8E1CC941-A529-42BD-91F2-8926E50D0828}" dt="2024-06-25T11:06:57.220" v="0"/>
          <ac:spMkLst>
            <pc:docMk/>
            <pc:sldMk cId="2280314011" sldId="764"/>
            <ac:spMk id="3" creationId="{33E152DF-C4CF-E193-6837-F8985517B849}"/>
          </ac:spMkLst>
        </pc:spChg>
        <pc:spChg chg="mod">
          <ac:chgData name="José Antonio Ureta Santacreu" userId="e36999d1-2b92-424a-9e8c-5fde0c5fbdd2" providerId="ADAL" clId="{8E1CC941-A529-42BD-91F2-8926E50D0828}" dt="2024-06-25T11:06:57.220" v="0"/>
          <ac:spMkLst>
            <pc:docMk/>
            <pc:sldMk cId="2280314011" sldId="764"/>
            <ac:spMk id="5" creationId="{F93EBF61-7F72-04A2-3569-332BC2D74F71}"/>
          </ac:spMkLst>
        </pc:spChg>
        <pc:spChg chg="mod">
          <ac:chgData name="José Antonio Ureta Santacreu" userId="e36999d1-2b92-424a-9e8c-5fde0c5fbdd2" providerId="ADAL" clId="{8E1CC941-A529-42BD-91F2-8926E50D0828}" dt="2024-06-25T11:06:57.220" v="0"/>
          <ac:spMkLst>
            <pc:docMk/>
            <pc:sldMk cId="2280314011" sldId="764"/>
            <ac:spMk id="6" creationId="{9029F291-F80D-F31C-675D-D772DD5E8025}"/>
          </ac:spMkLst>
        </pc:spChg>
        <pc:spChg chg="mod">
          <ac:chgData name="José Antonio Ureta Santacreu" userId="e36999d1-2b92-424a-9e8c-5fde0c5fbdd2" providerId="ADAL" clId="{8E1CC941-A529-42BD-91F2-8926E50D0828}" dt="2024-06-25T11:06:57.220" v="0"/>
          <ac:spMkLst>
            <pc:docMk/>
            <pc:sldMk cId="2280314011" sldId="764"/>
            <ac:spMk id="7" creationId="{730A6D15-8120-DB15-191C-21A1EA2F7DFF}"/>
          </ac:spMkLst>
        </pc:spChg>
        <pc:spChg chg="mod">
          <ac:chgData name="José Antonio Ureta Santacreu" userId="e36999d1-2b92-424a-9e8c-5fde0c5fbdd2" providerId="ADAL" clId="{8E1CC941-A529-42BD-91F2-8926E50D0828}" dt="2024-06-25T11:06:57.220" v="0"/>
          <ac:spMkLst>
            <pc:docMk/>
            <pc:sldMk cId="2280314011" sldId="764"/>
            <ac:spMk id="8" creationId="{3D165ED8-A38F-47F1-556E-6C0D61FAD121}"/>
          </ac:spMkLst>
        </pc:spChg>
        <pc:picChg chg="mod">
          <ac:chgData name="José Antonio Ureta Santacreu" userId="e36999d1-2b92-424a-9e8c-5fde0c5fbdd2" providerId="ADAL" clId="{8E1CC941-A529-42BD-91F2-8926E50D0828}" dt="2024-06-25T11:06:57.220" v="0"/>
          <ac:picMkLst>
            <pc:docMk/>
            <pc:sldMk cId="2280314011" sldId="764"/>
            <ac:picMk id="28" creationId="{E33A0E2F-E494-89F2-1E93-A780DCFB0C2E}"/>
          </ac:picMkLst>
        </pc:picChg>
      </pc:sldChg>
      <pc:sldChg chg="modSp mod">
        <pc:chgData name="José Antonio Ureta Santacreu" userId="e36999d1-2b92-424a-9e8c-5fde0c5fbdd2" providerId="ADAL" clId="{8E1CC941-A529-42BD-91F2-8926E50D0828}" dt="2024-06-25T11:06:58.174" v="15" actId="27636"/>
        <pc:sldMkLst>
          <pc:docMk/>
          <pc:sldMk cId="1032194021" sldId="766"/>
        </pc:sldMkLst>
        <pc:spChg chg="mod">
          <ac:chgData name="José Antonio Ureta Santacreu" userId="e36999d1-2b92-424a-9e8c-5fde0c5fbdd2" providerId="ADAL" clId="{8E1CC941-A529-42BD-91F2-8926E50D0828}" dt="2024-06-25T11:06:57.220" v="0"/>
          <ac:spMkLst>
            <pc:docMk/>
            <pc:sldMk cId="1032194021" sldId="766"/>
            <ac:spMk id="2" creationId="{AD3B8954-0D20-3745-DB46-C04FD91C2C05}"/>
          </ac:spMkLst>
        </pc:spChg>
        <pc:spChg chg="mod">
          <ac:chgData name="José Antonio Ureta Santacreu" userId="e36999d1-2b92-424a-9e8c-5fde0c5fbdd2" providerId="ADAL" clId="{8E1CC941-A529-42BD-91F2-8926E50D0828}" dt="2024-06-25T11:06:58.174" v="15" actId="27636"/>
          <ac:spMkLst>
            <pc:docMk/>
            <pc:sldMk cId="1032194021" sldId="766"/>
            <ac:spMk id="3" creationId="{9AF57B93-0631-EE65-9C56-DE3187C27FF8}"/>
          </ac:spMkLst>
        </pc:spChg>
        <pc:spChg chg="mod">
          <ac:chgData name="José Antonio Ureta Santacreu" userId="e36999d1-2b92-424a-9e8c-5fde0c5fbdd2" providerId="ADAL" clId="{8E1CC941-A529-42BD-91F2-8926E50D0828}" dt="2024-06-25T11:06:57.220" v="0"/>
          <ac:spMkLst>
            <pc:docMk/>
            <pc:sldMk cId="1032194021" sldId="766"/>
            <ac:spMk id="5" creationId="{68D8833C-5D45-D136-D091-7E8BBA3095B3}"/>
          </ac:spMkLst>
        </pc:spChg>
        <pc:spChg chg="mod">
          <ac:chgData name="José Antonio Ureta Santacreu" userId="e36999d1-2b92-424a-9e8c-5fde0c5fbdd2" providerId="ADAL" clId="{8E1CC941-A529-42BD-91F2-8926E50D0828}" dt="2024-06-25T11:06:57.220" v="0"/>
          <ac:spMkLst>
            <pc:docMk/>
            <pc:sldMk cId="1032194021" sldId="766"/>
            <ac:spMk id="6" creationId="{6088D6D2-D830-C0FC-FB3D-7DB959FE6DC7}"/>
          </ac:spMkLst>
        </pc:spChg>
        <pc:spChg chg="mod">
          <ac:chgData name="José Antonio Ureta Santacreu" userId="e36999d1-2b92-424a-9e8c-5fde0c5fbdd2" providerId="ADAL" clId="{8E1CC941-A529-42BD-91F2-8926E50D0828}" dt="2024-06-25T11:06:57.220" v="0"/>
          <ac:spMkLst>
            <pc:docMk/>
            <pc:sldMk cId="1032194021" sldId="766"/>
            <ac:spMk id="7" creationId="{F6C945D4-3247-6260-8186-EA154C42C80C}"/>
          </ac:spMkLst>
        </pc:spChg>
        <pc:spChg chg="mod">
          <ac:chgData name="José Antonio Ureta Santacreu" userId="e36999d1-2b92-424a-9e8c-5fde0c5fbdd2" providerId="ADAL" clId="{8E1CC941-A529-42BD-91F2-8926E50D0828}" dt="2024-06-25T11:06:57.220" v="0"/>
          <ac:spMkLst>
            <pc:docMk/>
            <pc:sldMk cId="1032194021" sldId="766"/>
            <ac:spMk id="8" creationId="{469F6ABB-8200-E64C-AA13-D3F7BA18E4ED}"/>
          </ac:spMkLst>
        </pc:spChg>
        <pc:picChg chg="mod">
          <ac:chgData name="José Antonio Ureta Santacreu" userId="e36999d1-2b92-424a-9e8c-5fde0c5fbdd2" providerId="ADAL" clId="{8E1CC941-A529-42BD-91F2-8926E50D0828}" dt="2024-06-25T11:06:57.220" v="0"/>
          <ac:picMkLst>
            <pc:docMk/>
            <pc:sldMk cId="1032194021" sldId="766"/>
            <ac:picMk id="11" creationId="{41AFBFAB-A246-5309-2DC0-0CF9267EA620}"/>
          </ac:picMkLst>
        </pc:picChg>
      </pc:sldChg>
      <pc:sldChg chg="modSp">
        <pc:chgData name="José Antonio Ureta Santacreu" userId="e36999d1-2b92-424a-9e8c-5fde0c5fbdd2" providerId="ADAL" clId="{8E1CC941-A529-42BD-91F2-8926E50D0828}" dt="2024-06-25T11:06:57.220" v="0"/>
        <pc:sldMkLst>
          <pc:docMk/>
          <pc:sldMk cId="423743977" sldId="777"/>
        </pc:sldMkLst>
        <pc:spChg chg="mod">
          <ac:chgData name="José Antonio Ureta Santacreu" userId="e36999d1-2b92-424a-9e8c-5fde0c5fbdd2" providerId="ADAL" clId="{8E1CC941-A529-42BD-91F2-8926E50D0828}" dt="2024-06-25T11:06:57.220" v="0"/>
          <ac:spMkLst>
            <pc:docMk/>
            <pc:sldMk cId="423743977" sldId="777"/>
            <ac:spMk id="2" creationId="{CCDBA840-8A42-45B1-809A-BC7D3DD1EFF8}"/>
          </ac:spMkLst>
        </pc:spChg>
        <pc:spChg chg="mod">
          <ac:chgData name="José Antonio Ureta Santacreu" userId="e36999d1-2b92-424a-9e8c-5fde0c5fbdd2" providerId="ADAL" clId="{8E1CC941-A529-42BD-91F2-8926E50D0828}" dt="2024-06-25T11:06:57.220" v="0"/>
          <ac:spMkLst>
            <pc:docMk/>
            <pc:sldMk cId="423743977" sldId="777"/>
            <ac:spMk id="3" creationId="{EB1ABBE5-1FAA-440F-93A7-745E14350B2E}"/>
          </ac:spMkLst>
        </pc:spChg>
        <pc:spChg chg="mod">
          <ac:chgData name="José Antonio Ureta Santacreu" userId="e36999d1-2b92-424a-9e8c-5fde0c5fbdd2" providerId="ADAL" clId="{8E1CC941-A529-42BD-91F2-8926E50D0828}" dt="2024-06-25T11:06:57.220" v="0"/>
          <ac:spMkLst>
            <pc:docMk/>
            <pc:sldMk cId="423743977" sldId="777"/>
            <ac:spMk id="4" creationId="{083105EC-33B5-4EF3-A4C0-EE4B143E311D}"/>
          </ac:spMkLst>
        </pc:spChg>
        <pc:spChg chg="mod">
          <ac:chgData name="José Antonio Ureta Santacreu" userId="e36999d1-2b92-424a-9e8c-5fde0c5fbdd2" providerId="ADAL" clId="{8E1CC941-A529-42BD-91F2-8926E50D0828}" dt="2024-06-25T11:06:57.220" v="0"/>
          <ac:spMkLst>
            <pc:docMk/>
            <pc:sldMk cId="423743977" sldId="777"/>
            <ac:spMk id="5" creationId="{3BC546E2-6265-4A99-9710-DB45F3536076}"/>
          </ac:spMkLst>
        </pc:spChg>
      </pc:sldChg>
      <pc:sldChg chg="modSp">
        <pc:chgData name="José Antonio Ureta Santacreu" userId="e36999d1-2b92-424a-9e8c-5fde0c5fbdd2" providerId="ADAL" clId="{8E1CC941-A529-42BD-91F2-8926E50D0828}" dt="2024-06-25T11:06:57.220" v="0"/>
        <pc:sldMkLst>
          <pc:docMk/>
          <pc:sldMk cId="248046394" sldId="778"/>
        </pc:sldMkLst>
        <pc:spChg chg="mod">
          <ac:chgData name="José Antonio Ureta Santacreu" userId="e36999d1-2b92-424a-9e8c-5fde0c5fbdd2" providerId="ADAL" clId="{8E1CC941-A529-42BD-91F2-8926E50D0828}" dt="2024-06-25T11:06:57.220" v="0"/>
          <ac:spMkLst>
            <pc:docMk/>
            <pc:sldMk cId="248046394" sldId="778"/>
            <ac:spMk id="2" creationId="{D0922E94-5756-840C-7000-A202AB0A4532}"/>
          </ac:spMkLst>
        </pc:spChg>
        <pc:spChg chg="mod">
          <ac:chgData name="José Antonio Ureta Santacreu" userId="e36999d1-2b92-424a-9e8c-5fde0c5fbdd2" providerId="ADAL" clId="{8E1CC941-A529-42BD-91F2-8926E50D0828}" dt="2024-06-25T11:06:57.220" v="0"/>
          <ac:spMkLst>
            <pc:docMk/>
            <pc:sldMk cId="248046394" sldId="778"/>
            <ac:spMk id="3" creationId="{8A0145E7-1D42-FF71-7C8E-B4426D4F8D23}"/>
          </ac:spMkLst>
        </pc:spChg>
        <pc:spChg chg="mod">
          <ac:chgData name="José Antonio Ureta Santacreu" userId="e36999d1-2b92-424a-9e8c-5fde0c5fbdd2" providerId="ADAL" clId="{8E1CC941-A529-42BD-91F2-8926E50D0828}" dt="2024-06-25T11:06:57.220" v="0"/>
          <ac:spMkLst>
            <pc:docMk/>
            <pc:sldMk cId="248046394" sldId="778"/>
            <ac:spMk id="4" creationId="{30BB7CD2-7582-B455-49ED-25E021752FD1}"/>
          </ac:spMkLst>
        </pc:spChg>
        <pc:spChg chg="mod">
          <ac:chgData name="José Antonio Ureta Santacreu" userId="e36999d1-2b92-424a-9e8c-5fde0c5fbdd2" providerId="ADAL" clId="{8E1CC941-A529-42BD-91F2-8926E50D0828}" dt="2024-06-25T11:06:57.220" v="0"/>
          <ac:spMkLst>
            <pc:docMk/>
            <pc:sldMk cId="248046394" sldId="778"/>
            <ac:spMk id="5" creationId="{939D17E2-6676-9447-5A5A-A2E4CA215CE0}"/>
          </ac:spMkLst>
        </pc:spChg>
        <pc:picChg chg="mod">
          <ac:chgData name="José Antonio Ureta Santacreu" userId="e36999d1-2b92-424a-9e8c-5fde0c5fbdd2" providerId="ADAL" clId="{8E1CC941-A529-42BD-91F2-8926E50D0828}" dt="2024-06-25T11:06:57.220" v="0"/>
          <ac:picMkLst>
            <pc:docMk/>
            <pc:sldMk cId="248046394" sldId="778"/>
            <ac:picMk id="10" creationId="{EFA82501-A12A-55E6-55A1-8DC6C87B0270}"/>
          </ac:picMkLst>
        </pc:picChg>
      </pc:sldChg>
      <pc:sldChg chg="modSp">
        <pc:chgData name="José Antonio Ureta Santacreu" userId="e36999d1-2b92-424a-9e8c-5fde0c5fbdd2" providerId="ADAL" clId="{8E1CC941-A529-42BD-91F2-8926E50D0828}" dt="2024-06-25T11:06:57.220" v="0"/>
        <pc:sldMkLst>
          <pc:docMk/>
          <pc:sldMk cId="37517824" sldId="781"/>
        </pc:sldMkLst>
        <pc:spChg chg="mod">
          <ac:chgData name="José Antonio Ureta Santacreu" userId="e36999d1-2b92-424a-9e8c-5fde0c5fbdd2" providerId="ADAL" clId="{8E1CC941-A529-42BD-91F2-8926E50D0828}" dt="2024-06-25T11:06:57.220" v="0"/>
          <ac:spMkLst>
            <pc:docMk/>
            <pc:sldMk cId="37517824" sldId="781"/>
            <ac:spMk id="2" creationId="{ABE81133-A984-415B-9644-366022A72528}"/>
          </ac:spMkLst>
        </pc:spChg>
        <pc:spChg chg="mod">
          <ac:chgData name="José Antonio Ureta Santacreu" userId="e36999d1-2b92-424a-9e8c-5fde0c5fbdd2" providerId="ADAL" clId="{8E1CC941-A529-42BD-91F2-8926E50D0828}" dt="2024-06-25T11:06:57.220" v="0"/>
          <ac:spMkLst>
            <pc:docMk/>
            <pc:sldMk cId="37517824" sldId="781"/>
            <ac:spMk id="3" creationId="{D1C1EABF-7B6C-469E-85C2-7FDCBA811A1C}"/>
          </ac:spMkLst>
        </pc:spChg>
        <pc:spChg chg="mod">
          <ac:chgData name="José Antonio Ureta Santacreu" userId="e36999d1-2b92-424a-9e8c-5fde0c5fbdd2" providerId="ADAL" clId="{8E1CC941-A529-42BD-91F2-8926E50D0828}" dt="2024-06-25T11:06:57.220" v="0"/>
          <ac:spMkLst>
            <pc:docMk/>
            <pc:sldMk cId="37517824" sldId="781"/>
            <ac:spMk id="4" creationId="{46509CA9-20BD-4EBF-8A8B-511399987A73}"/>
          </ac:spMkLst>
        </pc:spChg>
      </pc:sldChg>
      <pc:sldChg chg="modSp">
        <pc:chgData name="José Antonio Ureta Santacreu" userId="e36999d1-2b92-424a-9e8c-5fde0c5fbdd2" providerId="ADAL" clId="{8E1CC941-A529-42BD-91F2-8926E50D0828}" dt="2024-06-25T11:06:57.220" v="0"/>
        <pc:sldMkLst>
          <pc:docMk/>
          <pc:sldMk cId="3029041876" sldId="788"/>
        </pc:sldMkLst>
        <pc:spChg chg="mod">
          <ac:chgData name="José Antonio Ureta Santacreu" userId="e36999d1-2b92-424a-9e8c-5fde0c5fbdd2" providerId="ADAL" clId="{8E1CC941-A529-42BD-91F2-8926E50D0828}" dt="2024-06-25T11:06:57.220" v="0"/>
          <ac:spMkLst>
            <pc:docMk/>
            <pc:sldMk cId="3029041876" sldId="788"/>
            <ac:spMk id="2" creationId="{DD4AF854-06A3-5544-451A-F3D0E8D3248A}"/>
          </ac:spMkLst>
        </pc:spChg>
        <pc:spChg chg="mod">
          <ac:chgData name="José Antonio Ureta Santacreu" userId="e36999d1-2b92-424a-9e8c-5fde0c5fbdd2" providerId="ADAL" clId="{8E1CC941-A529-42BD-91F2-8926E50D0828}" dt="2024-06-25T11:06:57.220" v="0"/>
          <ac:spMkLst>
            <pc:docMk/>
            <pc:sldMk cId="3029041876" sldId="788"/>
            <ac:spMk id="3" creationId="{8810A302-FFE7-677F-B0E0-A0550939E328}"/>
          </ac:spMkLst>
        </pc:spChg>
        <pc:spChg chg="mod">
          <ac:chgData name="José Antonio Ureta Santacreu" userId="e36999d1-2b92-424a-9e8c-5fde0c5fbdd2" providerId="ADAL" clId="{8E1CC941-A529-42BD-91F2-8926E50D0828}" dt="2024-06-25T11:06:57.220" v="0"/>
          <ac:spMkLst>
            <pc:docMk/>
            <pc:sldMk cId="3029041876" sldId="788"/>
            <ac:spMk id="4" creationId="{D96333A2-649C-6BB9-2828-1EE5F3552D3D}"/>
          </ac:spMkLst>
        </pc:spChg>
      </pc:sldChg>
      <pc:sldChg chg="modSp">
        <pc:chgData name="José Antonio Ureta Santacreu" userId="e36999d1-2b92-424a-9e8c-5fde0c5fbdd2" providerId="ADAL" clId="{8E1CC941-A529-42BD-91F2-8926E50D0828}" dt="2024-06-25T11:06:57.220" v="0"/>
        <pc:sldMkLst>
          <pc:docMk/>
          <pc:sldMk cId="3592722719" sldId="798"/>
        </pc:sldMkLst>
        <pc:spChg chg="mod">
          <ac:chgData name="José Antonio Ureta Santacreu" userId="e36999d1-2b92-424a-9e8c-5fde0c5fbdd2" providerId="ADAL" clId="{8E1CC941-A529-42BD-91F2-8926E50D0828}" dt="2024-06-25T11:06:57.220" v="0"/>
          <ac:spMkLst>
            <pc:docMk/>
            <pc:sldMk cId="3592722719" sldId="798"/>
            <ac:spMk id="2" creationId="{5EAF3F50-BD9C-4B0B-98B5-25F49982ABDF}"/>
          </ac:spMkLst>
        </pc:spChg>
        <pc:spChg chg="mod">
          <ac:chgData name="José Antonio Ureta Santacreu" userId="e36999d1-2b92-424a-9e8c-5fde0c5fbdd2" providerId="ADAL" clId="{8E1CC941-A529-42BD-91F2-8926E50D0828}" dt="2024-06-25T11:06:57.220" v="0"/>
          <ac:spMkLst>
            <pc:docMk/>
            <pc:sldMk cId="3592722719" sldId="798"/>
            <ac:spMk id="3" creationId="{3927B23E-DC02-4037-9B4E-F2D4047C22AE}"/>
          </ac:spMkLst>
        </pc:spChg>
        <pc:spChg chg="mod">
          <ac:chgData name="José Antonio Ureta Santacreu" userId="e36999d1-2b92-424a-9e8c-5fde0c5fbdd2" providerId="ADAL" clId="{8E1CC941-A529-42BD-91F2-8926E50D0828}" dt="2024-06-25T11:06:57.220" v="0"/>
          <ac:spMkLst>
            <pc:docMk/>
            <pc:sldMk cId="3592722719" sldId="798"/>
            <ac:spMk id="4" creationId="{3C4B857E-D171-4885-9BC0-1CD78D03AAE1}"/>
          </ac:spMkLst>
        </pc:spChg>
      </pc:sldChg>
      <pc:sldChg chg="modSp">
        <pc:chgData name="José Antonio Ureta Santacreu" userId="e36999d1-2b92-424a-9e8c-5fde0c5fbdd2" providerId="ADAL" clId="{8E1CC941-A529-42BD-91F2-8926E50D0828}" dt="2024-06-25T11:06:57.220" v="0"/>
        <pc:sldMkLst>
          <pc:docMk/>
          <pc:sldMk cId="983069842" sldId="808"/>
        </pc:sldMkLst>
        <pc:spChg chg="mod">
          <ac:chgData name="José Antonio Ureta Santacreu" userId="e36999d1-2b92-424a-9e8c-5fde0c5fbdd2" providerId="ADAL" clId="{8E1CC941-A529-42BD-91F2-8926E50D0828}" dt="2024-06-25T11:06:57.220" v="0"/>
          <ac:spMkLst>
            <pc:docMk/>
            <pc:sldMk cId="983069842" sldId="808"/>
            <ac:spMk id="2" creationId="{C9033118-05A9-4E4F-B014-7A03D1E0808A}"/>
          </ac:spMkLst>
        </pc:spChg>
        <pc:spChg chg="mod">
          <ac:chgData name="José Antonio Ureta Santacreu" userId="e36999d1-2b92-424a-9e8c-5fde0c5fbdd2" providerId="ADAL" clId="{8E1CC941-A529-42BD-91F2-8926E50D0828}" dt="2024-06-25T11:06:57.220" v="0"/>
          <ac:spMkLst>
            <pc:docMk/>
            <pc:sldMk cId="983069842" sldId="808"/>
            <ac:spMk id="3" creationId="{EC495C22-40F1-42C5-861F-60B81B27FA95}"/>
          </ac:spMkLst>
        </pc:spChg>
        <pc:spChg chg="mod">
          <ac:chgData name="José Antonio Ureta Santacreu" userId="e36999d1-2b92-424a-9e8c-5fde0c5fbdd2" providerId="ADAL" clId="{8E1CC941-A529-42BD-91F2-8926E50D0828}" dt="2024-06-25T11:06:57.220" v="0"/>
          <ac:spMkLst>
            <pc:docMk/>
            <pc:sldMk cId="983069842" sldId="808"/>
            <ac:spMk id="4" creationId="{A14C73D9-C38A-4542-962C-DC7A4BB3FC24}"/>
          </ac:spMkLst>
        </pc:spChg>
      </pc:sldChg>
      <pc:sldChg chg="modSp">
        <pc:chgData name="José Antonio Ureta Santacreu" userId="e36999d1-2b92-424a-9e8c-5fde0c5fbdd2" providerId="ADAL" clId="{8E1CC941-A529-42BD-91F2-8926E50D0828}" dt="2024-06-25T11:06:57.220" v="0"/>
        <pc:sldMkLst>
          <pc:docMk/>
          <pc:sldMk cId="1917666586" sldId="815"/>
        </pc:sldMkLst>
        <pc:spChg chg="mod">
          <ac:chgData name="José Antonio Ureta Santacreu" userId="e36999d1-2b92-424a-9e8c-5fde0c5fbdd2" providerId="ADAL" clId="{8E1CC941-A529-42BD-91F2-8926E50D0828}" dt="2024-06-25T11:06:57.220" v="0"/>
          <ac:spMkLst>
            <pc:docMk/>
            <pc:sldMk cId="1917666586" sldId="815"/>
            <ac:spMk id="5" creationId="{73662AFA-226B-478D-B23C-2F1154E53F05}"/>
          </ac:spMkLst>
        </pc:spChg>
        <pc:spChg chg="mod">
          <ac:chgData name="José Antonio Ureta Santacreu" userId="e36999d1-2b92-424a-9e8c-5fde0c5fbdd2" providerId="ADAL" clId="{8E1CC941-A529-42BD-91F2-8926E50D0828}" dt="2024-06-25T11:06:57.220" v="0"/>
          <ac:spMkLst>
            <pc:docMk/>
            <pc:sldMk cId="1917666586" sldId="815"/>
            <ac:spMk id="6" creationId="{C123CCF4-76BA-41D3-AB60-16FE7A755F3C}"/>
          </ac:spMkLst>
        </pc:spChg>
        <pc:spChg chg="mod">
          <ac:chgData name="José Antonio Ureta Santacreu" userId="e36999d1-2b92-424a-9e8c-5fde0c5fbdd2" providerId="ADAL" clId="{8E1CC941-A529-42BD-91F2-8926E50D0828}" dt="2024-06-25T11:06:57.220" v="0"/>
          <ac:spMkLst>
            <pc:docMk/>
            <pc:sldMk cId="1917666586" sldId="815"/>
            <ac:spMk id="13" creationId="{2877F976-AA91-43E3-AAE5-077E4C6B22F5}"/>
          </ac:spMkLst>
        </pc:spChg>
      </pc:sldChg>
      <pc:sldChg chg="modSp">
        <pc:chgData name="José Antonio Ureta Santacreu" userId="e36999d1-2b92-424a-9e8c-5fde0c5fbdd2" providerId="ADAL" clId="{8E1CC941-A529-42BD-91F2-8926E50D0828}" dt="2024-06-25T11:06:57.220" v="0"/>
        <pc:sldMkLst>
          <pc:docMk/>
          <pc:sldMk cId="604158193" sldId="816"/>
        </pc:sldMkLst>
        <pc:spChg chg="mod">
          <ac:chgData name="José Antonio Ureta Santacreu" userId="e36999d1-2b92-424a-9e8c-5fde0c5fbdd2" providerId="ADAL" clId="{8E1CC941-A529-42BD-91F2-8926E50D0828}" dt="2024-06-25T11:06:57.220" v="0"/>
          <ac:spMkLst>
            <pc:docMk/>
            <pc:sldMk cId="604158193" sldId="816"/>
            <ac:spMk id="2" creationId="{BD839C32-EEB1-4A1A-BB7C-071605A90D86}"/>
          </ac:spMkLst>
        </pc:spChg>
        <pc:spChg chg="mod">
          <ac:chgData name="José Antonio Ureta Santacreu" userId="e36999d1-2b92-424a-9e8c-5fde0c5fbdd2" providerId="ADAL" clId="{8E1CC941-A529-42BD-91F2-8926E50D0828}" dt="2024-06-25T11:06:57.220" v="0"/>
          <ac:spMkLst>
            <pc:docMk/>
            <pc:sldMk cId="604158193" sldId="816"/>
            <ac:spMk id="3" creationId="{F8FDAB65-2A08-434A-9785-ED90AEFA7AA5}"/>
          </ac:spMkLst>
        </pc:spChg>
        <pc:spChg chg="mod">
          <ac:chgData name="José Antonio Ureta Santacreu" userId="e36999d1-2b92-424a-9e8c-5fde0c5fbdd2" providerId="ADAL" clId="{8E1CC941-A529-42BD-91F2-8926E50D0828}" dt="2024-06-25T11:06:57.220" v="0"/>
          <ac:spMkLst>
            <pc:docMk/>
            <pc:sldMk cId="604158193" sldId="816"/>
            <ac:spMk id="4" creationId="{C9355F7C-6088-4872-8CDE-F1050BA0243D}"/>
          </ac:spMkLst>
        </pc:spChg>
        <pc:spChg chg="mod">
          <ac:chgData name="José Antonio Ureta Santacreu" userId="e36999d1-2b92-424a-9e8c-5fde0c5fbdd2" providerId="ADAL" clId="{8E1CC941-A529-42BD-91F2-8926E50D0828}" dt="2024-06-25T11:06:57.220" v="0"/>
          <ac:spMkLst>
            <pc:docMk/>
            <pc:sldMk cId="604158193" sldId="816"/>
            <ac:spMk id="5" creationId="{F3B0EB2F-7E51-4931-8180-F3AF5AC4AB3E}"/>
          </ac:spMkLst>
        </pc:spChg>
      </pc:sldChg>
      <pc:sldChg chg="modSp">
        <pc:chgData name="José Antonio Ureta Santacreu" userId="e36999d1-2b92-424a-9e8c-5fde0c5fbdd2" providerId="ADAL" clId="{8E1CC941-A529-42BD-91F2-8926E50D0828}" dt="2024-06-25T11:06:57.220" v="0"/>
        <pc:sldMkLst>
          <pc:docMk/>
          <pc:sldMk cId="534935501" sldId="817"/>
        </pc:sldMkLst>
        <pc:spChg chg="mod">
          <ac:chgData name="José Antonio Ureta Santacreu" userId="e36999d1-2b92-424a-9e8c-5fde0c5fbdd2" providerId="ADAL" clId="{8E1CC941-A529-42BD-91F2-8926E50D0828}" dt="2024-06-25T11:06:57.220" v="0"/>
          <ac:spMkLst>
            <pc:docMk/>
            <pc:sldMk cId="534935501" sldId="817"/>
            <ac:spMk id="35" creationId="{0C586223-ABFD-4458-A585-8B5FEC38AE49}"/>
          </ac:spMkLst>
        </pc:spChg>
        <pc:spChg chg="mod">
          <ac:chgData name="José Antonio Ureta Santacreu" userId="e36999d1-2b92-424a-9e8c-5fde0c5fbdd2" providerId="ADAL" clId="{8E1CC941-A529-42BD-91F2-8926E50D0828}" dt="2024-06-25T11:06:57.220" v="0"/>
          <ac:spMkLst>
            <pc:docMk/>
            <pc:sldMk cId="534935501" sldId="817"/>
            <ac:spMk id="36" creationId="{285ED4BE-0401-4D8C-A254-DB8E04569350}"/>
          </ac:spMkLst>
        </pc:spChg>
      </pc:sldChg>
      <pc:sldChg chg="modSp">
        <pc:chgData name="José Antonio Ureta Santacreu" userId="e36999d1-2b92-424a-9e8c-5fde0c5fbdd2" providerId="ADAL" clId="{8E1CC941-A529-42BD-91F2-8926E50D0828}" dt="2024-06-25T11:06:57.220" v="0"/>
        <pc:sldMkLst>
          <pc:docMk/>
          <pc:sldMk cId="23959129" sldId="821"/>
        </pc:sldMkLst>
        <pc:spChg chg="mod">
          <ac:chgData name="José Antonio Ureta Santacreu" userId="e36999d1-2b92-424a-9e8c-5fde0c5fbdd2" providerId="ADAL" clId="{8E1CC941-A529-42BD-91F2-8926E50D0828}" dt="2024-06-25T11:06:57.220" v="0"/>
          <ac:spMkLst>
            <pc:docMk/>
            <pc:sldMk cId="23959129" sldId="821"/>
            <ac:spMk id="6" creationId="{7D223BB5-5E06-4B4D-A5E2-79F69CEAA6D7}"/>
          </ac:spMkLst>
        </pc:spChg>
        <pc:spChg chg="mod">
          <ac:chgData name="José Antonio Ureta Santacreu" userId="e36999d1-2b92-424a-9e8c-5fde0c5fbdd2" providerId="ADAL" clId="{8E1CC941-A529-42BD-91F2-8926E50D0828}" dt="2024-06-25T11:06:57.220" v="0"/>
          <ac:spMkLst>
            <pc:docMk/>
            <pc:sldMk cId="23959129" sldId="821"/>
            <ac:spMk id="7" creationId="{6AB557BD-A073-4C97-9DDD-5FE37CDAB450}"/>
          </ac:spMkLst>
        </pc:spChg>
      </pc:sldChg>
      <pc:sldChg chg="modSp">
        <pc:chgData name="José Antonio Ureta Santacreu" userId="e36999d1-2b92-424a-9e8c-5fde0c5fbdd2" providerId="ADAL" clId="{8E1CC941-A529-42BD-91F2-8926E50D0828}" dt="2024-06-25T11:06:57.220" v="0"/>
        <pc:sldMkLst>
          <pc:docMk/>
          <pc:sldMk cId="34072401" sldId="822"/>
        </pc:sldMkLst>
        <pc:spChg chg="mod">
          <ac:chgData name="José Antonio Ureta Santacreu" userId="e36999d1-2b92-424a-9e8c-5fde0c5fbdd2" providerId="ADAL" clId="{8E1CC941-A529-42BD-91F2-8926E50D0828}" dt="2024-06-25T11:06:57.220" v="0"/>
          <ac:spMkLst>
            <pc:docMk/>
            <pc:sldMk cId="34072401" sldId="822"/>
            <ac:spMk id="2" creationId="{FE4FB687-256B-4E31-A119-8A89A5AB4CC0}"/>
          </ac:spMkLst>
        </pc:spChg>
        <pc:spChg chg="mod">
          <ac:chgData name="José Antonio Ureta Santacreu" userId="e36999d1-2b92-424a-9e8c-5fde0c5fbdd2" providerId="ADAL" clId="{8E1CC941-A529-42BD-91F2-8926E50D0828}" dt="2024-06-25T11:06:57.220" v="0"/>
          <ac:spMkLst>
            <pc:docMk/>
            <pc:sldMk cId="34072401" sldId="822"/>
            <ac:spMk id="12" creationId="{DF4794DC-61D5-467F-B423-84294764D365}"/>
          </ac:spMkLst>
        </pc:spChg>
        <pc:spChg chg="mod">
          <ac:chgData name="José Antonio Ureta Santacreu" userId="e36999d1-2b92-424a-9e8c-5fde0c5fbdd2" providerId="ADAL" clId="{8E1CC941-A529-42BD-91F2-8926E50D0828}" dt="2024-06-25T11:06:57.220" v="0"/>
          <ac:spMkLst>
            <pc:docMk/>
            <pc:sldMk cId="34072401" sldId="822"/>
            <ac:spMk id="13" creationId="{440B496F-931B-4AA8-A87B-EB1A28ADCA71}"/>
          </ac:spMkLst>
        </pc:spChg>
      </pc:sldChg>
      <pc:sldChg chg="modSp">
        <pc:chgData name="José Antonio Ureta Santacreu" userId="e36999d1-2b92-424a-9e8c-5fde0c5fbdd2" providerId="ADAL" clId="{8E1CC941-A529-42BD-91F2-8926E50D0828}" dt="2024-06-25T11:06:57.220" v="0"/>
        <pc:sldMkLst>
          <pc:docMk/>
          <pc:sldMk cId="3220129292" sldId="823"/>
        </pc:sldMkLst>
        <pc:spChg chg="mod">
          <ac:chgData name="José Antonio Ureta Santacreu" userId="e36999d1-2b92-424a-9e8c-5fde0c5fbdd2" providerId="ADAL" clId="{8E1CC941-A529-42BD-91F2-8926E50D0828}" dt="2024-06-25T11:06:57.220" v="0"/>
          <ac:spMkLst>
            <pc:docMk/>
            <pc:sldMk cId="3220129292" sldId="823"/>
            <ac:spMk id="2" creationId="{89B11885-E30C-1F82-E0E6-454FA8058295}"/>
          </ac:spMkLst>
        </pc:spChg>
        <pc:spChg chg="mod">
          <ac:chgData name="José Antonio Ureta Santacreu" userId="e36999d1-2b92-424a-9e8c-5fde0c5fbdd2" providerId="ADAL" clId="{8E1CC941-A529-42BD-91F2-8926E50D0828}" dt="2024-06-25T11:06:57.220" v="0"/>
          <ac:spMkLst>
            <pc:docMk/>
            <pc:sldMk cId="3220129292" sldId="823"/>
            <ac:spMk id="13" creationId="{4D2538B0-03BE-5FE7-FD8A-9C011267C4B7}"/>
          </ac:spMkLst>
        </pc:spChg>
        <pc:spChg chg="mod">
          <ac:chgData name="José Antonio Ureta Santacreu" userId="e36999d1-2b92-424a-9e8c-5fde0c5fbdd2" providerId="ADAL" clId="{8E1CC941-A529-42BD-91F2-8926E50D0828}" dt="2024-06-25T11:06:57.220" v="0"/>
          <ac:spMkLst>
            <pc:docMk/>
            <pc:sldMk cId="3220129292" sldId="823"/>
            <ac:spMk id="14" creationId="{37FCC542-2BE8-0FE2-4A58-6090AB57D8AD}"/>
          </ac:spMkLst>
        </pc:spChg>
        <pc:spChg chg="mod">
          <ac:chgData name="José Antonio Ureta Santacreu" userId="e36999d1-2b92-424a-9e8c-5fde0c5fbdd2" providerId="ADAL" clId="{8E1CC941-A529-42BD-91F2-8926E50D0828}" dt="2024-06-25T11:06:57.220" v="0"/>
          <ac:spMkLst>
            <pc:docMk/>
            <pc:sldMk cId="3220129292" sldId="823"/>
            <ac:spMk id="15" creationId="{EFC56CD8-02DC-B24C-F029-A2A99B18F3CD}"/>
          </ac:spMkLst>
        </pc:spChg>
        <pc:picChg chg="mod">
          <ac:chgData name="José Antonio Ureta Santacreu" userId="e36999d1-2b92-424a-9e8c-5fde0c5fbdd2" providerId="ADAL" clId="{8E1CC941-A529-42BD-91F2-8926E50D0828}" dt="2024-06-25T11:06:57.220" v="0"/>
          <ac:picMkLst>
            <pc:docMk/>
            <pc:sldMk cId="3220129292" sldId="823"/>
            <ac:picMk id="1026" creationId="{1624F62E-4E58-FBA6-3FE0-376EBE1FCCC7}"/>
          </ac:picMkLst>
        </pc:picChg>
      </pc:sldChg>
      <pc:sldChg chg="modSp">
        <pc:chgData name="José Antonio Ureta Santacreu" userId="e36999d1-2b92-424a-9e8c-5fde0c5fbdd2" providerId="ADAL" clId="{8E1CC941-A529-42BD-91F2-8926E50D0828}" dt="2024-06-25T11:06:57.220" v="0"/>
        <pc:sldMkLst>
          <pc:docMk/>
          <pc:sldMk cId="2629491632" sldId="824"/>
        </pc:sldMkLst>
        <pc:spChg chg="mod">
          <ac:chgData name="José Antonio Ureta Santacreu" userId="e36999d1-2b92-424a-9e8c-5fde0c5fbdd2" providerId="ADAL" clId="{8E1CC941-A529-42BD-91F2-8926E50D0828}" dt="2024-06-25T11:06:57.220" v="0"/>
          <ac:spMkLst>
            <pc:docMk/>
            <pc:sldMk cId="2629491632" sldId="824"/>
            <ac:spMk id="2" creationId="{3805F19F-D324-7A05-065D-40C18B2C7519}"/>
          </ac:spMkLst>
        </pc:spChg>
        <pc:spChg chg="mod">
          <ac:chgData name="José Antonio Ureta Santacreu" userId="e36999d1-2b92-424a-9e8c-5fde0c5fbdd2" providerId="ADAL" clId="{8E1CC941-A529-42BD-91F2-8926E50D0828}" dt="2024-06-25T11:06:57.220" v="0"/>
          <ac:spMkLst>
            <pc:docMk/>
            <pc:sldMk cId="2629491632" sldId="824"/>
            <ac:spMk id="3" creationId="{CA021685-E075-E478-9C84-82F348F28B93}"/>
          </ac:spMkLst>
        </pc:spChg>
        <pc:spChg chg="mod">
          <ac:chgData name="José Antonio Ureta Santacreu" userId="e36999d1-2b92-424a-9e8c-5fde0c5fbdd2" providerId="ADAL" clId="{8E1CC941-A529-42BD-91F2-8926E50D0828}" dt="2024-06-25T11:06:57.220" v="0"/>
          <ac:spMkLst>
            <pc:docMk/>
            <pc:sldMk cId="2629491632" sldId="824"/>
            <ac:spMk id="5" creationId="{E7AB1456-0A49-F18C-5358-5E2D87D5CBE0}"/>
          </ac:spMkLst>
        </pc:spChg>
        <pc:spChg chg="mod">
          <ac:chgData name="José Antonio Ureta Santacreu" userId="e36999d1-2b92-424a-9e8c-5fde0c5fbdd2" providerId="ADAL" clId="{8E1CC941-A529-42BD-91F2-8926E50D0828}" dt="2024-06-25T11:06:57.220" v="0"/>
          <ac:spMkLst>
            <pc:docMk/>
            <pc:sldMk cId="2629491632" sldId="824"/>
            <ac:spMk id="15" creationId="{7D52E668-E1BC-8387-7C7E-1463BFCFB546}"/>
          </ac:spMkLst>
        </pc:spChg>
        <pc:spChg chg="mod">
          <ac:chgData name="José Antonio Ureta Santacreu" userId="e36999d1-2b92-424a-9e8c-5fde0c5fbdd2" providerId="ADAL" clId="{8E1CC941-A529-42BD-91F2-8926E50D0828}" dt="2024-06-25T11:06:57.220" v="0"/>
          <ac:spMkLst>
            <pc:docMk/>
            <pc:sldMk cId="2629491632" sldId="824"/>
            <ac:spMk id="16" creationId="{85156FCE-9957-AC21-CD1D-4F7F46F76E72}"/>
          </ac:spMkLst>
        </pc:spChg>
        <pc:spChg chg="mod">
          <ac:chgData name="José Antonio Ureta Santacreu" userId="e36999d1-2b92-424a-9e8c-5fde0c5fbdd2" providerId="ADAL" clId="{8E1CC941-A529-42BD-91F2-8926E50D0828}" dt="2024-06-25T11:06:57.220" v="0"/>
          <ac:spMkLst>
            <pc:docMk/>
            <pc:sldMk cId="2629491632" sldId="824"/>
            <ac:spMk id="17" creationId="{C00C3471-371D-8045-CEA6-57E0945ECE17}"/>
          </ac:spMkLst>
        </pc:spChg>
        <pc:graphicFrameChg chg="mod">
          <ac:chgData name="José Antonio Ureta Santacreu" userId="e36999d1-2b92-424a-9e8c-5fde0c5fbdd2" providerId="ADAL" clId="{8E1CC941-A529-42BD-91F2-8926E50D0828}" dt="2024-06-25T11:06:57.220" v="0"/>
          <ac:graphicFrameMkLst>
            <pc:docMk/>
            <pc:sldMk cId="2629491632" sldId="824"/>
            <ac:graphicFrameMk id="13" creationId="{4DBCB0E6-6807-C92E-A1B1-65C637C85784}"/>
          </ac:graphicFrameMkLst>
        </pc:graphicFrameChg>
        <pc:graphicFrameChg chg="mod">
          <ac:chgData name="José Antonio Ureta Santacreu" userId="e36999d1-2b92-424a-9e8c-5fde0c5fbdd2" providerId="ADAL" clId="{8E1CC941-A529-42BD-91F2-8926E50D0828}" dt="2024-06-25T11:06:57.220" v="0"/>
          <ac:graphicFrameMkLst>
            <pc:docMk/>
            <pc:sldMk cId="2629491632" sldId="824"/>
            <ac:graphicFrameMk id="18" creationId="{7B5D79BC-9CB2-D48B-F348-E53A79C40967}"/>
          </ac:graphicFrameMkLst>
        </pc:graphicFrameChg>
      </pc:sldChg>
      <pc:sldChg chg="modSp">
        <pc:chgData name="José Antonio Ureta Santacreu" userId="e36999d1-2b92-424a-9e8c-5fde0c5fbdd2" providerId="ADAL" clId="{8E1CC941-A529-42BD-91F2-8926E50D0828}" dt="2024-06-25T11:06:57.220" v="0"/>
        <pc:sldMkLst>
          <pc:docMk/>
          <pc:sldMk cId="1847230398" sldId="825"/>
        </pc:sldMkLst>
        <pc:spChg chg="mod">
          <ac:chgData name="José Antonio Ureta Santacreu" userId="e36999d1-2b92-424a-9e8c-5fde0c5fbdd2" providerId="ADAL" clId="{8E1CC941-A529-42BD-91F2-8926E50D0828}" dt="2024-06-25T11:06:57.220" v="0"/>
          <ac:spMkLst>
            <pc:docMk/>
            <pc:sldMk cId="1847230398" sldId="825"/>
            <ac:spMk id="2" creationId="{45D6869F-988A-4DA4-9B9B-1024A19ACEC0}"/>
          </ac:spMkLst>
        </pc:spChg>
        <pc:spChg chg="mod">
          <ac:chgData name="José Antonio Ureta Santacreu" userId="e36999d1-2b92-424a-9e8c-5fde0c5fbdd2" providerId="ADAL" clId="{8E1CC941-A529-42BD-91F2-8926E50D0828}" dt="2024-06-25T11:06:57.220" v="0"/>
          <ac:spMkLst>
            <pc:docMk/>
            <pc:sldMk cId="1847230398" sldId="825"/>
            <ac:spMk id="55" creationId="{A7C87614-0D26-4595-ADE7-0F5251738930}"/>
          </ac:spMkLst>
        </pc:spChg>
        <pc:spChg chg="mod">
          <ac:chgData name="José Antonio Ureta Santacreu" userId="e36999d1-2b92-424a-9e8c-5fde0c5fbdd2" providerId="ADAL" clId="{8E1CC941-A529-42BD-91F2-8926E50D0828}" dt="2024-06-25T11:06:57.220" v="0"/>
          <ac:spMkLst>
            <pc:docMk/>
            <pc:sldMk cId="1847230398" sldId="825"/>
            <ac:spMk id="56" creationId="{11277FAC-3817-43CA-B23B-3A7F216B9EEF}"/>
          </ac:spMkLst>
        </pc:spChg>
      </pc:sldChg>
      <pc:sldChg chg="modSp">
        <pc:chgData name="José Antonio Ureta Santacreu" userId="e36999d1-2b92-424a-9e8c-5fde0c5fbdd2" providerId="ADAL" clId="{8E1CC941-A529-42BD-91F2-8926E50D0828}" dt="2024-06-25T11:06:57.220" v="0"/>
        <pc:sldMkLst>
          <pc:docMk/>
          <pc:sldMk cId="3058508598" sldId="826"/>
        </pc:sldMkLst>
        <pc:spChg chg="mod">
          <ac:chgData name="José Antonio Ureta Santacreu" userId="e36999d1-2b92-424a-9e8c-5fde0c5fbdd2" providerId="ADAL" clId="{8E1CC941-A529-42BD-91F2-8926E50D0828}" dt="2024-06-25T11:06:57.220" v="0"/>
          <ac:spMkLst>
            <pc:docMk/>
            <pc:sldMk cId="3058508598" sldId="826"/>
            <ac:spMk id="2" creationId="{04A1ADBC-8B27-407B-9DB4-EF5BE1D20273}"/>
          </ac:spMkLst>
        </pc:spChg>
        <pc:spChg chg="mod">
          <ac:chgData name="José Antonio Ureta Santacreu" userId="e36999d1-2b92-424a-9e8c-5fde0c5fbdd2" providerId="ADAL" clId="{8E1CC941-A529-42BD-91F2-8926E50D0828}" dt="2024-06-25T11:06:57.220" v="0"/>
          <ac:spMkLst>
            <pc:docMk/>
            <pc:sldMk cId="3058508598" sldId="826"/>
            <ac:spMk id="16" creationId="{886E60B1-6150-47FD-8A8E-23C49D971FA6}"/>
          </ac:spMkLst>
        </pc:spChg>
        <pc:spChg chg="mod">
          <ac:chgData name="José Antonio Ureta Santacreu" userId="e36999d1-2b92-424a-9e8c-5fde0c5fbdd2" providerId="ADAL" clId="{8E1CC941-A529-42BD-91F2-8926E50D0828}" dt="2024-06-25T11:06:57.220" v="0"/>
          <ac:spMkLst>
            <pc:docMk/>
            <pc:sldMk cId="3058508598" sldId="826"/>
            <ac:spMk id="17" creationId="{B46A3C05-D402-4B00-B43E-14EE895C2181}"/>
          </ac:spMkLst>
        </pc:spChg>
      </pc:sldChg>
      <pc:sldChg chg="modSp">
        <pc:chgData name="José Antonio Ureta Santacreu" userId="e36999d1-2b92-424a-9e8c-5fde0c5fbdd2" providerId="ADAL" clId="{8E1CC941-A529-42BD-91F2-8926E50D0828}" dt="2024-06-25T11:06:57.220" v="0"/>
        <pc:sldMkLst>
          <pc:docMk/>
          <pc:sldMk cId="2369174897" sldId="830"/>
        </pc:sldMkLst>
        <pc:spChg chg="mod">
          <ac:chgData name="José Antonio Ureta Santacreu" userId="e36999d1-2b92-424a-9e8c-5fde0c5fbdd2" providerId="ADAL" clId="{8E1CC941-A529-42BD-91F2-8926E50D0828}" dt="2024-06-25T11:06:57.220" v="0"/>
          <ac:spMkLst>
            <pc:docMk/>
            <pc:sldMk cId="2369174897" sldId="830"/>
            <ac:spMk id="2" creationId="{D37B7C85-7FF9-41AA-8627-92B3DACD70DC}"/>
          </ac:spMkLst>
        </pc:spChg>
        <pc:spChg chg="mod">
          <ac:chgData name="José Antonio Ureta Santacreu" userId="e36999d1-2b92-424a-9e8c-5fde0c5fbdd2" providerId="ADAL" clId="{8E1CC941-A529-42BD-91F2-8926E50D0828}" dt="2024-06-25T11:06:57.220" v="0"/>
          <ac:spMkLst>
            <pc:docMk/>
            <pc:sldMk cId="2369174897" sldId="830"/>
            <ac:spMk id="3" creationId="{99591A51-9E73-4AFF-AFBC-EE2138AD1632}"/>
          </ac:spMkLst>
        </pc:spChg>
        <pc:spChg chg="mod">
          <ac:chgData name="José Antonio Ureta Santacreu" userId="e36999d1-2b92-424a-9e8c-5fde0c5fbdd2" providerId="ADAL" clId="{8E1CC941-A529-42BD-91F2-8926E50D0828}" dt="2024-06-25T11:06:57.220" v="0"/>
          <ac:spMkLst>
            <pc:docMk/>
            <pc:sldMk cId="2369174897" sldId="830"/>
            <ac:spMk id="4" creationId="{AEC9BF29-54DC-4231-8153-741E9CF4BD0C}"/>
          </ac:spMkLst>
        </pc:spChg>
      </pc:sldChg>
      <pc:sldChg chg="modSp">
        <pc:chgData name="José Antonio Ureta Santacreu" userId="e36999d1-2b92-424a-9e8c-5fde0c5fbdd2" providerId="ADAL" clId="{8E1CC941-A529-42BD-91F2-8926E50D0828}" dt="2024-06-25T11:06:57.220" v="0"/>
        <pc:sldMkLst>
          <pc:docMk/>
          <pc:sldMk cId="759859330" sldId="836"/>
        </pc:sldMkLst>
        <pc:spChg chg="mod">
          <ac:chgData name="José Antonio Ureta Santacreu" userId="e36999d1-2b92-424a-9e8c-5fde0c5fbdd2" providerId="ADAL" clId="{8E1CC941-A529-42BD-91F2-8926E50D0828}" dt="2024-06-25T11:06:57.220" v="0"/>
          <ac:spMkLst>
            <pc:docMk/>
            <pc:sldMk cId="759859330" sldId="836"/>
            <ac:spMk id="2" creationId="{22CDF0E9-1CC0-45B5-A47C-C071104B8FA3}"/>
          </ac:spMkLst>
        </pc:spChg>
        <pc:spChg chg="mod">
          <ac:chgData name="José Antonio Ureta Santacreu" userId="e36999d1-2b92-424a-9e8c-5fde0c5fbdd2" providerId="ADAL" clId="{8E1CC941-A529-42BD-91F2-8926E50D0828}" dt="2024-06-25T11:06:57.220" v="0"/>
          <ac:spMkLst>
            <pc:docMk/>
            <pc:sldMk cId="759859330" sldId="836"/>
            <ac:spMk id="4" creationId="{24E381A0-2D52-4A6E-B7EC-EB7DF7239D08}"/>
          </ac:spMkLst>
        </pc:spChg>
        <pc:spChg chg="mod">
          <ac:chgData name="José Antonio Ureta Santacreu" userId="e36999d1-2b92-424a-9e8c-5fde0c5fbdd2" providerId="ADAL" clId="{8E1CC941-A529-42BD-91F2-8926E50D0828}" dt="2024-06-25T11:06:57.220" v="0"/>
          <ac:spMkLst>
            <pc:docMk/>
            <pc:sldMk cId="759859330" sldId="836"/>
            <ac:spMk id="5" creationId="{BFD1462B-4B91-424B-A3B1-A3F076F1B66A}"/>
          </ac:spMkLst>
        </pc:spChg>
      </pc:sldChg>
      <pc:sldChg chg="modSp mod">
        <pc:chgData name="José Antonio Ureta Santacreu" userId="e36999d1-2b92-424a-9e8c-5fde0c5fbdd2" providerId="ADAL" clId="{8E1CC941-A529-42BD-91F2-8926E50D0828}" dt="2024-06-25T11:06:59.503" v="53" actId="27636"/>
        <pc:sldMkLst>
          <pc:docMk/>
          <pc:sldMk cId="3558456817" sldId="846"/>
        </pc:sldMkLst>
        <pc:spChg chg="mod">
          <ac:chgData name="José Antonio Ureta Santacreu" userId="e36999d1-2b92-424a-9e8c-5fde0c5fbdd2" providerId="ADAL" clId="{8E1CC941-A529-42BD-91F2-8926E50D0828}" dt="2024-06-25T11:06:57.220" v="0"/>
          <ac:spMkLst>
            <pc:docMk/>
            <pc:sldMk cId="3558456817" sldId="846"/>
            <ac:spMk id="4" creationId="{00000000-0000-0000-0000-000000000000}"/>
          </ac:spMkLst>
        </pc:spChg>
        <pc:spChg chg="mod">
          <ac:chgData name="José Antonio Ureta Santacreu" userId="e36999d1-2b92-424a-9e8c-5fde0c5fbdd2" providerId="ADAL" clId="{8E1CC941-A529-42BD-91F2-8926E50D0828}" dt="2024-06-25T11:06:59.503" v="53" actId="27636"/>
          <ac:spMkLst>
            <pc:docMk/>
            <pc:sldMk cId="3558456817" sldId="846"/>
            <ac:spMk id="12" creationId="{80734441-B630-4A08-9A31-93E8850457B5}"/>
          </ac:spMkLst>
        </pc:spChg>
      </pc:sldChg>
      <pc:sldChg chg="modSp">
        <pc:chgData name="José Antonio Ureta Santacreu" userId="e36999d1-2b92-424a-9e8c-5fde0c5fbdd2" providerId="ADAL" clId="{8E1CC941-A529-42BD-91F2-8926E50D0828}" dt="2024-07-19T09:57:01" v="1245" actId="207"/>
        <pc:sldMkLst>
          <pc:docMk/>
          <pc:sldMk cId="1026595820" sldId="849"/>
        </pc:sldMkLst>
        <pc:spChg chg="mod">
          <ac:chgData name="José Antonio Ureta Santacreu" userId="e36999d1-2b92-424a-9e8c-5fde0c5fbdd2" providerId="ADAL" clId="{8E1CC941-A529-42BD-91F2-8926E50D0828}" dt="2024-06-25T11:06:57.220" v="0"/>
          <ac:spMkLst>
            <pc:docMk/>
            <pc:sldMk cId="1026595820" sldId="849"/>
            <ac:spMk id="3" creationId="{B038C0EF-2D2D-4B2A-8A57-FB854C7E3F12}"/>
          </ac:spMkLst>
        </pc:spChg>
        <pc:spChg chg="mod">
          <ac:chgData name="José Antonio Ureta Santacreu" userId="e36999d1-2b92-424a-9e8c-5fde0c5fbdd2" providerId="ADAL" clId="{8E1CC941-A529-42BD-91F2-8926E50D0828}" dt="2024-06-25T11:06:57.220" v="0"/>
          <ac:spMkLst>
            <pc:docMk/>
            <pc:sldMk cId="1026595820" sldId="849"/>
            <ac:spMk id="5" creationId="{F054B0AC-3628-4D03-B296-86CCD009EBC2}"/>
          </ac:spMkLst>
        </pc:spChg>
        <pc:spChg chg="mod">
          <ac:chgData name="José Antonio Ureta Santacreu" userId="e36999d1-2b92-424a-9e8c-5fde0c5fbdd2" providerId="ADAL" clId="{8E1CC941-A529-42BD-91F2-8926E50D0828}" dt="2024-06-25T11:06:57.220" v="0"/>
          <ac:spMkLst>
            <pc:docMk/>
            <pc:sldMk cId="1026595820" sldId="849"/>
            <ac:spMk id="6" creationId="{FFC966D5-8377-4B0B-AD99-93EE2BAED6D9}"/>
          </ac:spMkLst>
        </pc:spChg>
        <pc:spChg chg="mod">
          <ac:chgData name="José Antonio Ureta Santacreu" userId="e36999d1-2b92-424a-9e8c-5fde0c5fbdd2" providerId="ADAL" clId="{8E1CC941-A529-42BD-91F2-8926E50D0828}" dt="2024-06-25T11:06:57.220" v="0"/>
          <ac:spMkLst>
            <pc:docMk/>
            <pc:sldMk cId="1026595820" sldId="849"/>
            <ac:spMk id="7" creationId="{33D0E556-CB29-42F7-93A0-A5DC2D903B45}"/>
          </ac:spMkLst>
        </pc:spChg>
        <pc:graphicFrameChg chg="mod">
          <ac:chgData name="José Antonio Ureta Santacreu" userId="e36999d1-2b92-424a-9e8c-5fde0c5fbdd2" providerId="ADAL" clId="{8E1CC941-A529-42BD-91F2-8926E50D0828}" dt="2024-07-19T09:57:01" v="1245" actId="207"/>
          <ac:graphicFrameMkLst>
            <pc:docMk/>
            <pc:sldMk cId="1026595820" sldId="849"/>
            <ac:graphicFrameMk id="2" creationId="{D9AE01EB-8A87-47E2-AD5F-2EF0C1C300A3}"/>
          </ac:graphicFrameMkLst>
        </pc:graphicFrameChg>
      </pc:sldChg>
      <pc:sldChg chg="modSp">
        <pc:chgData name="José Antonio Ureta Santacreu" userId="e36999d1-2b92-424a-9e8c-5fde0c5fbdd2" providerId="ADAL" clId="{8E1CC941-A529-42BD-91F2-8926E50D0828}" dt="2024-06-25T11:06:57.220" v="0"/>
        <pc:sldMkLst>
          <pc:docMk/>
          <pc:sldMk cId="3166988122" sldId="853"/>
        </pc:sldMkLst>
        <pc:spChg chg="mod">
          <ac:chgData name="José Antonio Ureta Santacreu" userId="e36999d1-2b92-424a-9e8c-5fde0c5fbdd2" providerId="ADAL" clId="{8E1CC941-A529-42BD-91F2-8926E50D0828}" dt="2024-06-25T11:06:57.220" v="0"/>
          <ac:spMkLst>
            <pc:docMk/>
            <pc:sldMk cId="3166988122" sldId="853"/>
            <ac:spMk id="2" creationId="{FA2FB377-8362-D60E-1664-4DDFC4B88BDA}"/>
          </ac:spMkLst>
        </pc:spChg>
        <pc:spChg chg="mod">
          <ac:chgData name="José Antonio Ureta Santacreu" userId="e36999d1-2b92-424a-9e8c-5fde0c5fbdd2" providerId="ADAL" clId="{8E1CC941-A529-42BD-91F2-8926E50D0828}" dt="2024-06-25T11:06:57.220" v="0"/>
          <ac:spMkLst>
            <pc:docMk/>
            <pc:sldMk cId="3166988122" sldId="853"/>
            <ac:spMk id="3" creationId="{58ACF803-56FA-7DB7-E1E2-356AACE3F278}"/>
          </ac:spMkLst>
        </pc:spChg>
        <pc:spChg chg="mod">
          <ac:chgData name="José Antonio Ureta Santacreu" userId="e36999d1-2b92-424a-9e8c-5fde0c5fbdd2" providerId="ADAL" clId="{8E1CC941-A529-42BD-91F2-8926E50D0828}" dt="2024-06-25T11:06:57.220" v="0"/>
          <ac:spMkLst>
            <pc:docMk/>
            <pc:sldMk cId="3166988122" sldId="853"/>
            <ac:spMk id="4" creationId="{C99E7EC0-D308-5300-948F-D33C3590E63C}"/>
          </ac:spMkLst>
        </pc:spChg>
      </pc:sldChg>
      <pc:sldChg chg="modSp">
        <pc:chgData name="José Antonio Ureta Santacreu" userId="e36999d1-2b92-424a-9e8c-5fde0c5fbdd2" providerId="ADAL" clId="{8E1CC941-A529-42BD-91F2-8926E50D0828}" dt="2024-06-25T11:06:57.220" v="0"/>
        <pc:sldMkLst>
          <pc:docMk/>
          <pc:sldMk cId="2117553179" sldId="855"/>
        </pc:sldMkLst>
        <pc:spChg chg="mod">
          <ac:chgData name="José Antonio Ureta Santacreu" userId="e36999d1-2b92-424a-9e8c-5fde0c5fbdd2" providerId="ADAL" clId="{8E1CC941-A529-42BD-91F2-8926E50D0828}" dt="2024-06-25T11:06:57.220" v="0"/>
          <ac:spMkLst>
            <pc:docMk/>
            <pc:sldMk cId="2117553179" sldId="855"/>
            <ac:spMk id="2" creationId="{1A0AFCD1-7C3A-B56B-A072-CA3E7520662E}"/>
          </ac:spMkLst>
        </pc:spChg>
        <pc:spChg chg="mod">
          <ac:chgData name="José Antonio Ureta Santacreu" userId="e36999d1-2b92-424a-9e8c-5fde0c5fbdd2" providerId="ADAL" clId="{8E1CC941-A529-42BD-91F2-8926E50D0828}" dt="2024-06-25T11:06:57.220" v="0"/>
          <ac:spMkLst>
            <pc:docMk/>
            <pc:sldMk cId="2117553179" sldId="855"/>
            <ac:spMk id="3" creationId="{D6C3B55B-97E5-3DD8-2CAA-D2F3D632D271}"/>
          </ac:spMkLst>
        </pc:spChg>
        <pc:spChg chg="mod">
          <ac:chgData name="José Antonio Ureta Santacreu" userId="e36999d1-2b92-424a-9e8c-5fde0c5fbdd2" providerId="ADAL" clId="{8E1CC941-A529-42BD-91F2-8926E50D0828}" dt="2024-06-25T11:06:57.220" v="0"/>
          <ac:spMkLst>
            <pc:docMk/>
            <pc:sldMk cId="2117553179" sldId="855"/>
            <ac:spMk id="4" creationId="{A59A27E0-1678-E276-51E4-B94950A8CA16}"/>
          </ac:spMkLst>
        </pc:spChg>
      </pc:sldChg>
      <pc:sldChg chg="modSp mod">
        <pc:chgData name="José Antonio Ureta Santacreu" userId="e36999d1-2b92-424a-9e8c-5fde0c5fbdd2" providerId="ADAL" clId="{8E1CC941-A529-42BD-91F2-8926E50D0828}" dt="2024-06-25T11:06:59.006" v="37" actId="27636"/>
        <pc:sldMkLst>
          <pc:docMk/>
          <pc:sldMk cId="2222189156" sldId="859"/>
        </pc:sldMkLst>
        <pc:spChg chg="mod">
          <ac:chgData name="José Antonio Ureta Santacreu" userId="e36999d1-2b92-424a-9e8c-5fde0c5fbdd2" providerId="ADAL" clId="{8E1CC941-A529-42BD-91F2-8926E50D0828}" dt="2024-06-25T11:06:59.006" v="37" actId="27636"/>
          <ac:spMkLst>
            <pc:docMk/>
            <pc:sldMk cId="2222189156" sldId="859"/>
            <ac:spMk id="2" creationId="{D83324E8-4ACF-0A32-4258-2438AB0B7366}"/>
          </ac:spMkLst>
        </pc:spChg>
      </pc:sldChg>
      <pc:sldChg chg="modSp">
        <pc:chgData name="José Antonio Ureta Santacreu" userId="e36999d1-2b92-424a-9e8c-5fde0c5fbdd2" providerId="ADAL" clId="{8E1CC941-A529-42BD-91F2-8926E50D0828}" dt="2024-06-25T11:06:57.220" v="0"/>
        <pc:sldMkLst>
          <pc:docMk/>
          <pc:sldMk cId="3592052697" sldId="861"/>
        </pc:sldMkLst>
        <pc:spChg chg="mod">
          <ac:chgData name="José Antonio Ureta Santacreu" userId="e36999d1-2b92-424a-9e8c-5fde0c5fbdd2" providerId="ADAL" clId="{8E1CC941-A529-42BD-91F2-8926E50D0828}" dt="2024-06-25T11:06:57.220" v="0"/>
          <ac:spMkLst>
            <pc:docMk/>
            <pc:sldMk cId="3592052697" sldId="861"/>
            <ac:spMk id="2" creationId="{FC859E9A-30EF-AB5C-98C7-C9B0E7816083}"/>
          </ac:spMkLst>
        </pc:spChg>
        <pc:spChg chg="mod">
          <ac:chgData name="José Antonio Ureta Santacreu" userId="e36999d1-2b92-424a-9e8c-5fde0c5fbdd2" providerId="ADAL" clId="{8E1CC941-A529-42BD-91F2-8926E50D0828}" dt="2024-06-25T11:06:57.220" v="0"/>
          <ac:spMkLst>
            <pc:docMk/>
            <pc:sldMk cId="3592052697" sldId="861"/>
            <ac:spMk id="3" creationId="{72EA5B61-E5A3-0F51-2430-7A5D61D4E5BC}"/>
          </ac:spMkLst>
        </pc:spChg>
        <pc:spChg chg="mod">
          <ac:chgData name="José Antonio Ureta Santacreu" userId="e36999d1-2b92-424a-9e8c-5fde0c5fbdd2" providerId="ADAL" clId="{8E1CC941-A529-42BD-91F2-8926E50D0828}" dt="2024-06-25T11:06:57.220" v="0"/>
          <ac:spMkLst>
            <pc:docMk/>
            <pc:sldMk cId="3592052697" sldId="861"/>
            <ac:spMk id="4" creationId="{77D374A5-B026-D621-808E-EADA4C50FD69}"/>
          </ac:spMkLst>
        </pc:spChg>
      </pc:sldChg>
      <pc:sldChg chg="modSp">
        <pc:chgData name="José Antonio Ureta Santacreu" userId="e36999d1-2b92-424a-9e8c-5fde0c5fbdd2" providerId="ADAL" clId="{8E1CC941-A529-42BD-91F2-8926E50D0828}" dt="2024-06-25T11:06:57.220" v="0"/>
        <pc:sldMkLst>
          <pc:docMk/>
          <pc:sldMk cId="1509518486" sldId="862"/>
        </pc:sldMkLst>
        <pc:spChg chg="mod">
          <ac:chgData name="José Antonio Ureta Santacreu" userId="e36999d1-2b92-424a-9e8c-5fde0c5fbdd2" providerId="ADAL" clId="{8E1CC941-A529-42BD-91F2-8926E50D0828}" dt="2024-06-25T11:06:57.220" v="0"/>
          <ac:spMkLst>
            <pc:docMk/>
            <pc:sldMk cId="1509518486" sldId="862"/>
            <ac:spMk id="2" creationId="{00000000-0000-0000-0000-000000000000}"/>
          </ac:spMkLst>
        </pc:spChg>
        <pc:spChg chg="mod">
          <ac:chgData name="José Antonio Ureta Santacreu" userId="e36999d1-2b92-424a-9e8c-5fde0c5fbdd2" providerId="ADAL" clId="{8E1CC941-A529-42BD-91F2-8926E50D0828}" dt="2024-06-25T11:06:57.220" v="0"/>
          <ac:spMkLst>
            <pc:docMk/>
            <pc:sldMk cId="1509518486" sldId="862"/>
            <ac:spMk id="3" creationId="{00000000-0000-0000-0000-000000000000}"/>
          </ac:spMkLst>
        </pc:spChg>
        <pc:spChg chg="mod">
          <ac:chgData name="José Antonio Ureta Santacreu" userId="e36999d1-2b92-424a-9e8c-5fde0c5fbdd2" providerId="ADAL" clId="{8E1CC941-A529-42BD-91F2-8926E50D0828}" dt="2024-06-25T11:06:57.220" v="0"/>
          <ac:spMkLst>
            <pc:docMk/>
            <pc:sldMk cId="1509518486" sldId="862"/>
            <ac:spMk id="4" creationId="{00000000-0000-0000-0000-000000000000}"/>
          </ac:spMkLst>
        </pc:spChg>
        <pc:spChg chg="mod">
          <ac:chgData name="José Antonio Ureta Santacreu" userId="e36999d1-2b92-424a-9e8c-5fde0c5fbdd2" providerId="ADAL" clId="{8E1CC941-A529-42BD-91F2-8926E50D0828}" dt="2024-06-25T11:06:57.220" v="0"/>
          <ac:spMkLst>
            <pc:docMk/>
            <pc:sldMk cId="1509518486" sldId="862"/>
            <ac:spMk id="5" creationId="{00000000-0000-0000-0000-000000000000}"/>
          </ac:spMkLst>
        </pc:spChg>
        <pc:picChg chg="mod">
          <ac:chgData name="José Antonio Ureta Santacreu" userId="e36999d1-2b92-424a-9e8c-5fde0c5fbdd2" providerId="ADAL" clId="{8E1CC941-A529-42BD-91F2-8926E50D0828}" dt="2024-06-25T11:06:57.220" v="0"/>
          <ac:picMkLst>
            <pc:docMk/>
            <pc:sldMk cId="1509518486" sldId="862"/>
            <ac:picMk id="11" creationId="{8DCF7623-D389-49CD-B698-085F41170ED9}"/>
          </ac:picMkLst>
        </pc:picChg>
      </pc:sldChg>
      <pc:sldChg chg="modSp mod">
        <pc:chgData name="José Antonio Ureta Santacreu" userId="e36999d1-2b92-424a-9e8c-5fde0c5fbdd2" providerId="ADAL" clId="{8E1CC941-A529-42BD-91F2-8926E50D0828}" dt="2024-06-25T11:06:58.974" v="36" actId="27636"/>
        <pc:sldMkLst>
          <pc:docMk/>
          <pc:sldMk cId="2538564728" sldId="863"/>
        </pc:sldMkLst>
        <pc:spChg chg="mod">
          <ac:chgData name="José Antonio Ureta Santacreu" userId="e36999d1-2b92-424a-9e8c-5fde0c5fbdd2" providerId="ADAL" clId="{8E1CC941-A529-42BD-91F2-8926E50D0828}" dt="2024-06-25T11:06:57.220" v="0"/>
          <ac:spMkLst>
            <pc:docMk/>
            <pc:sldMk cId="2538564728" sldId="863"/>
            <ac:spMk id="2" creationId="{A88A3E6F-8CFC-F335-0C3D-D90793FC761B}"/>
          </ac:spMkLst>
        </pc:spChg>
        <pc:spChg chg="mod">
          <ac:chgData name="José Antonio Ureta Santacreu" userId="e36999d1-2b92-424a-9e8c-5fde0c5fbdd2" providerId="ADAL" clId="{8E1CC941-A529-42BD-91F2-8926E50D0828}" dt="2024-06-25T11:06:57.220" v="0"/>
          <ac:spMkLst>
            <pc:docMk/>
            <pc:sldMk cId="2538564728" sldId="863"/>
            <ac:spMk id="3" creationId="{6B37D265-8D10-2E2C-980D-3BB06955F17D}"/>
          </ac:spMkLst>
        </pc:spChg>
        <pc:spChg chg="mod">
          <ac:chgData name="José Antonio Ureta Santacreu" userId="e36999d1-2b92-424a-9e8c-5fde0c5fbdd2" providerId="ADAL" clId="{8E1CC941-A529-42BD-91F2-8926E50D0828}" dt="2024-06-25T11:06:57.220" v="0"/>
          <ac:spMkLst>
            <pc:docMk/>
            <pc:sldMk cId="2538564728" sldId="863"/>
            <ac:spMk id="4" creationId="{7B5F1012-5EF4-8F22-41CF-FBCB37FF20E3}"/>
          </ac:spMkLst>
        </pc:spChg>
        <pc:spChg chg="mod">
          <ac:chgData name="José Antonio Ureta Santacreu" userId="e36999d1-2b92-424a-9e8c-5fde0c5fbdd2" providerId="ADAL" clId="{8E1CC941-A529-42BD-91F2-8926E50D0828}" dt="2024-06-25T11:06:57.220" v="0"/>
          <ac:spMkLst>
            <pc:docMk/>
            <pc:sldMk cId="2538564728" sldId="863"/>
            <ac:spMk id="5" creationId="{B5C241CA-EFD9-1AF9-B603-72C80D4173C1}"/>
          </ac:spMkLst>
        </pc:spChg>
        <pc:spChg chg="mod">
          <ac:chgData name="José Antonio Ureta Santacreu" userId="e36999d1-2b92-424a-9e8c-5fde0c5fbdd2" providerId="ADAL" clId="{8E1CC941-A529-42BD-91F2-8926E50D0828}" dt="2024-06-25T11:06:58.974" v="36" actId="27636"/>
          <ac:spMkLst>
            <pc:docMk/>
            <pc:sldMk cId="2538564728" sldId="863"/>
            <ac:spMk id="10" creationId="{21F483E0-D341-66EB-0D1B-2D8043F3D9AC}"/>
          </ac:spMkLst>
        </pc:spChg>
        <pc:picChg chg="mod">
          <ac:chgData name="José Antonio Ureta Santacreu" userId="e36999d1-2b92-424a-9e8c-5fde0c5fbdd2" providerId="ADAL" clId="{8E1CC941-A529-42BD-91F2-8926E50D0828}" dt="2024-06-25T11:06:57.220" v="0"/>
          <ac:picMkLst>
            <pc:docMk/>
            <pc:sldMk cId="2538564728" sldId="863"/>
            <ac:picMk id="11" creationId="{F4FBF0E4-2489-7048-3320-965F14FCC2F0}"/>
          </ac:picMkLst>
        </pc:picChg>
      </pc:sldChg>
      <pc:sldChg chg="modSp">
        <pc:chgData name="José Antonio Ureta Santacreu" userId="e36999d1-2b92-424a-9e8c-5fde0c5fbdd2" providerId="ADAL" clId="{8E1CC941-A529-42BD-91F2-8926E50D0828}" dt="2024-06-25T11:06:57.220" v="0"/>
        <pc:sldMkLst>
          <pc:docMk/>
          <pc:sldMk cId="2640063697" sldId="864"/>
        </pc:sldMkLst>
        <pc:spChg chg="mod">
          <ac:chgData name="José Antonio Ureta Santacreu" userId="e36999d1-2b92-424a-9e8c-5fde0c5fbdd2" providerId="ADAL" clId="{8E1CC941-A529-42BD-91F2-8926E50D0828}" dt="2024-06-25T11:06:57.220" v="0"/>
          <ac:spMkLst>
            <pc:docMk/>
            <pc:sldMk cId="2640063697" sldId="864"/>
            <ac:spMk id="2" creationId="{2F88C34F-A1E6-EBA8-21CA-9A64BCCEDC79}"/>
          </ac:spMkLst>
        </pc:spChg>
        <pc:spChg chg="mod">
          <ac:chgData name="José Antonio Ureta Santacreu" userId="e36999d1-2b92-424a-9e8c-5fde0c5fbdd2" providerId="ADAL" clId="{8E1CC941-A529-42BD-91F2-8926E50D0828}" dt="2024-06-25T11:06:57.220" v="0"/>
          <ac:spMkLst>
            <pc:docMk/>
            <pc:sldMk cId="2640063697" sldId="864"/>
            <ac:spMk id="3" creationId="{86888682-E5F8-6388-3278-D2D7F3D8F941}"/>
          </ac:spMkLst>
        </pc:spChg>
        <pc:spChg chg="mod">
          <ac:chgData name="José Antonio Ureta Santacreu" userId="e36999d1-2b92-424a-9e8c-5fde0c5fbdd2" providerId="ADAL" clId="{8E1CC941-A529-42BD-91F2-8926E50D0828}" dt="2024-06-25T11:06:57.220" v="0"/>
          <ac:spMkLst>
            <pc:docMk/>
            <pc:sldMk cId="2640063697" sldId="864"/>
            <ac:spMk id="4" creationId="{FCAE81A5-2A97-F9CB-8B91-6FD42CFA56FC}"/>
          </ac:spMkLst>
        </pc:spChg>
      </pc:sldChg>
      <pc:sldChg chg="modSp">
        <pc:chgData name="José Antonio Ureta Santacreu" userId="e36999d1-2b92-424a-9e8c-5fde0c5fbdd2" providerId="ADAL" clId="{8E1CC941-A529-42BD-91F2-8926E50D0828}" dt="2024-06-25T11:06:57.220" v="0"/>
        <pc:sldMkLst>
          <pc:docMk/>
          <pc:sldMk cId="1310697976" sldId="865"/>
        </pc:sldMkLst>
        <pc:spChg chg="mod">
          <ac:chgData name="José Antonio Ureta Santacreu" userId="e36999d1-2b92-424a-9e8c-5fde0c5fbdd2" providerId="ADAL" clId="{8E1CC941-A529-42BD-91F2-8926E50D0828}" dt="2024-06-25T11:06:57.220" v="0"/>
          <ac:spMkLst>
            <pc:docMk/>
            <pc:sldMk cId="1310697976" sldId="865"/>
            <ac:spMk id="3" creationId="{CC6002E4-9B19-A5E2-DDE4-59E23F0547F0}"/>
          </ac:spMkLst>
        </pc:spChg>
        <pc:spChg chg="mod">
          <ac:chgData name="José Antonio Ureta Santacreu" userId="e36999d1-2b92-424a-9e8c-5fde0c5fbdd2" providerId="ADAL" clId="{8E1CC941-A529-42BD-91F2-8926E50D0828}" dt="2024-06-25T11:06:57.220" v="0"/>
          <ac:spMkLst>
            <pc:docMk/>
            <pc:sldMk cId="1310697976" sldId="865"/>
            <ac:spMk id="4" creationId="{65471D73-D950-2638-C39C-53204DF214BB}"/>
          </ac:spMkLst>
        </pc:spChg>
        <pc:spChg chg="mod">
          <ac:chgData name="José Antonio Ureta Santacreu" userId="e36999d1-2b92-424a-9e8c-5fde0c5fbdd2" providerId="ADAL" clId="{8E1CC941-A529-42BD-91F2-8926E50D0828}" dt="2024-06-25T11:06:57.220" v="0"/>
          <ac:spMkLst>
            <pc:docMk/>
            <pc:sldMk cId="1310697976" sldId="865"/>
            <ac:spMk id="5" creationId="{CAEAFE89-0D5E-86BE-0429-30ACA531BCE9}"/>
          </ac:spMkLst>
        </pc:spChg>
        <pc:spChg chg="mod">
          <ac:chgData name="José Antonio Ureta Santacreu" userId="e36999d1-2b92-424a-9e8c-5fde0c5fbdd2" providerId="ADAL" clId="{8E1CC941-A529-42BD-91F2-8926E50D0828}" dt="2024-06-25T11:06:57.220" v="0"/>
          <ac:spMkLst>
            <pc:docMk/>
            <pc:sldMk cId="1310697976" sldId="865"/>
            <ac:spMk id="6" creationId="{6C4C2B7C-0755-070A-63ED-90E07FFD9C74}"/>
          </ac:spMkLst>
        </pc:spChg>
      </pc:sldChg>
      <pc:sldChg chg="modSp">
        <pc:chgData name="José Antonio Ureta Santacreu" userId="e36999d1-2b92-424a-9e8c-5fde0c5fbdd2" providerId="ADAL" clId="{8E1CC941-A529-42BD-91F2-8926E50D0828}" dt="2024-06-25T11:06:57.220" v="0"/>
        <pc:sldMkLst>
          <pc:docMk/>
          <pc:sldMk cId="2408372559" sldId="866"/>
        </pc:sldMkLst>
        <pc:spChg chg="mod">
          <ac:chgData name="José Antonio Ureta Santacreu" userId="e36999d1-2b92-424a-9e8c-5fde0c5fbdd2" providerId="ADAL" clId="{8E1CC941-A529-42BD-91F2-8926E50D0828}" dt="2024-06-25T11:06:57.220" v="0"/>
          <ac:spMkLst>
            <pc:docMk/>
            <pc:sldMk cId="2408372559" sldId="866"/>
            <ac:spMk id="2" creationId="{A953C942-FF00-9885-70C4-38B2D239E058}"/>
          </ac:spMkLst>
        </pc:spChg>
        <pc:spChg chg="mod">
          <ac:chgData name="José Antonio Ureta Santacreu" userId="e36999d1-2b92-424a-9e8c-5fde0c5fbdd2" providerId="ADAL" clId="{8E1CC941-A529-42BD-91F2-8926E50D0828}" dt="2024-06-25T11:06:57.220" v="0"/>
          <ac:spMkLst>
            <pc:docMk/>
            <pc:sldMk cId="2408372559" sldId="866"/>
            <ac:spMk id="3" creationId="{0B10BB07-8D32-31C9-269A-D6EFDDB059D8}"/>
          </ac:spMkLst>
        </pc:spChg>
        <pc:spChg chg="mod">
          <ac:chgData name="José Antonio Ureta Santacreu" userId="e36999d1-2b92-424a-9e8c-5fde0c5fbdd2" providerId="ADAL" clId="{8E1CC941-A529-42BD-91F2-8926E50D0828}" dt="2024-06-25T11:06:57.220" v="0"/>
          <ac:spMkLst>
            <pc:docMk/>
            <pc:sldMk cId="2408372559" sldId="866"/>
            <ac:spMk id="4" creationId="{D3DDB676-6C5D-75B8-52AA-4F7EB02598FC}"/>
          </ac:spMkLst>
        </pc:spChg>
      </pc:sldChg>
      <pc:sldChg chg="modSp">
        <pc:chgData name="José Antonio Ureta Santacreu" userId="e36999d1-2b92-424a-9e8c-5fde0c5fbdd2" providerId="ADAL" clId="{8E1CC941-A529-42BD-91F2-8926E50D0828}" dt="2024-06-25T11:06:57.220" v="0"/>
        <pc:sldMkLst>
          <pc:docMk/>
          <pc:sldMk cId="3104249969" sldId="867"/>
        </pc:sldMkLst>
        <pc:spChg chg="mod">
          <ac:chgData name="José Antonio Ureta Santacreu" userId="e36999d1-2b92-424a-9e8c-5fde0c5fbdd2" providerId="ADAL" clId="{8E1CC941-A529-42BD-91F2-8926E50D0828}" dt="2024-06-25T11:06:57.220" v="0"/>
          <ac:spMkLst>
            <pc:docMk/>
            <pc:sldMk cId="3104249969" sldId="867"/>
            <ac:spMk id="2" creationId="{131802C8-633F-34AC-3F9E-804F6C8FEACF}"/>
          </ac:spMkLst>
        </pc:spChg>
        <pc:spChg chg="mod">
          <ac:chgData name="José Antonio Ureta Santacreu" userId="e36999d1-2b92-424a-9e8c-5fde0c5fbdd2" providerId="ADAL" clId="{8E1CC941-A529-42BD-91F2-8926E50D0828}" dt="2024-06-25T11:06:57.220" v="0"/>
          <ac:spMkLst>
            <pc:docMk/>
            <pc:sldMk cId="3104249969" sldId="867"/>
            <ac:spMk id="3" creationId="{6933A5E3-9B6A-5B39-404E-AC6E6080466B}"/>
          </ac:spMkLst>
        </pc:spChg>
        <pc:spChg chg="mod">
          <ac:chgData name="José Antonio Ureta Santacreu" userId="e36999d1-2b92-424a-9e8c-5fde0c5fbdd2" providerId="ADAL" clId="{8E1CC941-A529-42BD-91F2-8926E50D0828}" dt="2024-06-25T11:06:57.220" v="0"/>
          <ac:spMkLst>
            <pc:docMk/>
            <pc:sldMk cId="3104249969" sldId="867"/>
            <ac:spMk id="4" creationId="{4261B484-98CE-8A5A-9B52-D44C81C06A53}"/>
          </ac:spMkLst>
        </pc:spChg>
        <pc:spChg chg="mod">
          <ac:chgData name="José Antonio Ureta Santacreu" userId="e36999d1-2b92-424a-9e8c-5fde0c5fbdd2" providerId="ADAL" clId="{8E1CC941-A529-42BD-91F2-8926E50D0828}" dt="2024-06-25T11:06:57.220" v="0"/>
          <ac:spMkLst>
            <pc:docMk/>
            <pc:sldMk cId="3104249969" sldId="867"/>
            <ac:spMk id="5" creationId="{6A2AB0E0-053F-D80D-316F-E0ADE58E775E}"/>
          </ac:spMkLst>
        </pc:spChg>
        <pc:picChg chg="mod">
          <ac:chgData name="José Antonio Ureta Santacreu" userId="e36999d1-2b92-424a-9e8c-5fde0c5fbdd2" providerId="ADAL" clId="{8E1CC941-A529-42BD-91F2-8926E50D0828}" dt="2024-06-25T11:06:57.220" v="0"/>
          <ac:picMkLst>
            <pc:docMk/>
            <pc:sldMk cId="3104249969" sldId="867"/>
            <ac:picMk id="10" creationId="{83304ABB-B7AA-6E29-3210-6EF5B06E21A6}"/>
          </ac:picMkLst>
        </pc:picChg>
      </pc:sldChg>
      <pc:sldChg chg="modSp">
        <pc:chgData name="José Antonio Ureta Santacreu" userId="e36999d1-2b92-424a-9e8c-5fde0c5fbdd2" providerId="ADAL" clId="{8E1CC941-A529-42BD-91F2-8926E50D0828}" dt="2024-06-25T11:06:57.220" v="0"/>
        <pc:sldMkLst>
          <pc:docMk/>
          <pc:sldMk cId="1016385027" sldId="870"/>
        </pc:sldMkLst>
        <pc:spChg chg="mod">
          <ac:chgData name="José Antonio Ureta Santacreu" userId="e36999d1-2b92-424a-9e8c-5fde0c5fbdd2" providerId="ADAL" clId="{8E1CC941-A529-42BD-91F2-8926E50D0828}" dt="2024-06-25T11:06:57.220" v="0"/>
          <ac:spMkLst>
            <pc:docMk/>
            <pc:sldMk cId="1016385027" sldId="870"/>
            <ac:spMk id="2" creationId="{04FB1E4A-EBBA-4EE5-9AC1-AC137CE81A25}"/>
          </ac:spMkLst>
        </pc:spChg>
        <pc:spChg chg="mod">
          <ac:chgData name="José Antonio Ureta Santacreu" userId="e36999d1-2b92-424a-9e8c-5fde0c5fbdd2" providerId="ADAL" clId="{8E1CC941-A529-42BD-91F2-8926E50D0828}" dt="2024-06-25T11:06:57.220" v="0"/>
          <ac:spMkLst>
            <pc:docMk/>
            <pc:sldMk cId="1016385027" sldId="870"/>
            <ac:spMk id="3" creationId="{3A30F915-7685-416F-8298-1953FF90DF88}"/>
          </ac:spMkLst>
        </pc:spChg>
        <pc:spChg chg="mod">
          <ac:chgData name="José Antonio Ureta Santacreu" userId="e36999d1-2b92-424a-9e8c-5fde0c5fbdd2" providerId="ADAL" clId="{8E1CC941-A529-42BD-91F2-8926E50D0828}" dt="2024-06-25T11:06:57.220" v="0"/>
          <ac:spMkLst>
            <pc:docMk/>
            <pc:sldMk cId="1016385027" sldId="870"/>
            <ac:spMk id="4" creationId="{650999FA-99BB-459A-A5F2-9D05332EE815}"/>
          </ac:spMkLst>
        </pc:spChg>
        <pc:spChg chg="mod">
          <ac:chgData name="José Antonio Ureta Santacreu" userId="e36999d1-2b92-424a-9e8c-5fde0c5fbdd2" providerId="ADAL" clId="{8E1CC941-A529-42BD-91F2-8926E50D0828}" dt="2024-06-25T11:06:57.220" v="0"/>
          <ac:spMkLst>
            <pc:docMk/>
            <pc:sldMk cId="1016385027" sldId="870"/>
            <ac:spMk id="5" creationId="{57C838B5-39D8-49B8-9F76-A629A7E6424C}"/>
          </ac:spMkLst>
        </pc:spChg>
        <pc:picChg chg="mod">
          <ac:chgData name="José Antonio Ureta Santacreu" userId="e36999d1-2b92-424a-9e8c-5fde0c5fbdd2" providerId="ADAL" clId="{8E1CC941-A529-42BD-91F2-8926E50D0828}" dt="2024-06-25T11:06:57.220" v="0"/>
          <ac:picMkLst>
            <pc:docMk/>
            <pc:sldMk cId="1016385027" sldId="870"/>
            <ac:picMk id="1026" creationId="{243CDA26-F3EA-4412-8E6F-EE4B22CC0B24}"/>
          </ac:picMkLst>
        </pc:picChg>
      </pc:sldChg>
      <pc:sldChg chg="modSp">
        <pc:chgData name="José Antonio Ureta Santacreu" userId="e36999d1-2b92-424a-9e8c-5fde0c5fbdd2" providerId="ADAL" clId="{8E1CC941-A529-42BD-91F2-8926E50D0828}" dt="2024-06-25T11:06:57.220" v="0"/>
        <pc:sldMkLst>
          <pc:docMk/>
          <pc:sldMk cId="1530466764" sldId="871"/>
        </pc:sldMkLst>
        <pc:spChg chg="mod">
          <ac:chgData name="José Antonio Ureta Santacreu" userId="e36999d1-2b92-424a-9e8c-5fde0c5fbdd2" providerId="ADAL" clId="{8E1CC941-A529-42BD-91F2-8926E50D0828}" dt="2024-06-25T11:06:57.220" v="0"/>
          <ac:spMkLst>
            <pc:docMk/>
            <pc:sldMk cId="1530466764" sldId="871"/>
            <ac:spMk id="2" creationId="{BD5B7927-15A1-4245-BA49-E2F95B721451}"/>
          </ac:spMkLst>
        </pc:spChg>
        <pc:spChg chg="mod">
          <ac:chgData name="José Antonio Ureta Santacreu" userId="e36999d1-2b92-424a-9e8c-5fde0c5fbdd2" providerId="ADAL" clId="{8E1CC941-A529-42BD-91F2-8926E50D0828}" dt="2024-06-25T11:06:57.220" v="0"/>
          <ac:spMkLst>
            <pc:docMk/>
            <pc:sldMk cId="1530466764" sldId="871"/>
            <ac:spMk id="3" creationId="{ECB0F5CB-0FC5-411F-9BD7-030C25A4A59F}"/>
          </ac:spMkLst>
        </pc:spChg>
        <pc:spChg chg="mod">
          <ac:chgData name="José Antonio Ureta Santacreu" userId="e36999d1-2b92-424a-9e8c-5fde0c5fbdd2" providerId="ADAL" clId="{8E1CC941-A529-42BD-91F2-8926E50D0828}" dt="2024-06-25T11:06:57.220" v="0"/>
          <ac:spMkLst>
            <pc:docMk/>
            <pc:sldMk cId="1530466764" sldId="871"/>
            <ac:spMk id="4" creationId="{0C2BDC60-E3AE-420C-821A-38D94DBF1A4A}"/>
          </ac:spMkLst>
        </pc:spChg>
        <pc:spChg chg="mod">
          <ac:chgData name="José Antonio Ureta Santacreu" userId="e36999d1-2b92-424a-9e8c-5fde0c5fbdd2" providerId="ADAL" clId="{8E1CC941-A529-42BD-91F2-8926E50D0828}" dt="2024-06-25T11:06:57.220" v="0"/>
          <ac:spMkLst>
            <pc:docMk/>
            <pc:sldMk cId="1530466764" sldId="871"/>
            <ac:spMk id="5" creationId="{C1D7E7B0-AF01-4596-B0FF-4058C5AA0A36}"/>
          </ac:spMkLst>
        </pc:spChg>
      </pc:sldChg>
      <pc:sldChg chg="modSp">
        <pc:chgData name="José Antonio Ureta Santacreu" userId="e36999d1-2b92-424a-9e8c-5fde0c5fbdd2" providerId="ADAL" clId="{8E1CC941-A529-42BD-91F2-8926E50D0828}" dt="2024-06-25T11:06:57.220" v="0"/>
        <pc:sldMkLst>
          <pc:docMk/>
          <pc:sldMk cId="2259189685" sldId="874"/>
        </pc:sldMkLst>
        <pc:spChg chg="mod">
          <ac:chgData name="José Antonio Ureta Santacreu" userId="e36999d1-2b92-424a-9e8c-5fde0c5fbdd2" providerId="ADAL" clId="{8E1CC941-A529-42BD-91F2-8926E50D0828}" dt="2024-06-25T11:06:57.220" v="0"/>
          <ac:spMkLst>
            <pc:docMk/>
            <pc:sldMk cId="2259189685" sldId="874"/>
            <ac:spMk id="2" creationId="{10BA3A65-9C14-46B1-9F0B-D987DF486022}"/>
          </ac:spMkLst>
        </pc:spChg>
        <pc:spChg chg="mod">
          <ac:chgData name="José Antonio Ureta Santacreu" userId="e36999d1-2b92-424a-9e8c-5fde0c5fbdd2" providerId="ADAL" clId="{8E1CC941-A529-42BD-91F2-8926E50D0828}" dt="2024-06-25T11:06:57.220" v="0"/>
          <ac:spMkLst>
            <pc:docMk/>
            <pc:sldMk cId="2259189685" sldId="874"/>
            <ac:spMk id="3" creationId="{06E0AC6D-8F53-4366-9182-9E19D1BD2AD5}"/>
          </ac:spMkLst>
        </pc:spChg>
        <pc:spChg chg="mod">
          <ac:chgData name="José Antonio Ureta Santacreu" userId="e36999d1-2b92-424a-9e8c-5fde0c5fbdd2" providerId="ADAL" clId="{8E1CC941-A529-42BD-91F2-8926E50D0828}" dt="2024-06-25T11:06:57.220" v="0"/>
          <ac:spMkLst>
            <pc:docMk/>
            <pc:sldMk cId="2259189685" sldId="874"/>
            <ac:spMk id="4" creationId="{462DD458-49F1-4E47-A540-677AA44D722D}"/>
          </ac:spMkLst>
        </pc:spChg>
        <pc:spChg chg="mod">
          <ac:chgData name="José Antonio Ureta Santacreu" userId="e36999d1-2b92-424a-9e8c-5fde0c5fbdd2" providerId="ADAL" clId="{8E1CC941-A529-42BD-91F2-8926E50D0828}" dt="2024-06-25T11:06:57.220" v="0"/>
          <ac:spMkLst>
            <pc:docMk/>
            <pc:sldMk cId="2259189685" sldId="874"/>
            <ac:spMk id="5" creationId="{044DBE49-0C1A-4343-B77E-306FA7FED718}"/>
          </ac:spMkLst>
        </pc:spChg>
      </pc:sldChg>
      <pc:sldChg chg="modSp">
        <pc:chgData name="José Antonio Ureta Santacreu" userId="e36999d1-2b92-424a-9e8c-5fde0c5fbdd2" providerId="ADAL" clId="{8E1CC941-A529-42BD-91F2-8926E50D0828}" dt="2024-06-25T11:06:57.220" v="0"/>
        <pc:sldMkLst>
          <pc:docMk/>
          <pc:sldMk cId="2435701173" sldId="879"/>
        </pc:sldMkLst>
        <pc:spChg chg="mod">
          <ac:chgData name="José Antonio Ureta Santacreu" userId="e36999d1-2b92-424a-9e8c-5fde0c5fbdd2" providerId="ADAL" clId="{8E1CC941-A529-42BD-91F2-8926E50D0828}" dt="2024-06-25T11:06:57.220" v="0"/>
          <ac:spMkLst>
            <pc:docMk/>
            <pc:sldMk cId="2435701173" sldId="879"/>
            <ac:spMk id="2" creationId="{A621E0B3-E22A-9C9B-2328-688E55377D73}"/>
          </ac:spMkLst>
        </pc:spChg>
        <pc:spChg chg="mod">
          <ac:chgData name="José Antonio Ureta Santacreu" userId="e36999d1-2b92-424a-9e8c-5fde0c5fbdd2" providerId="ADAL" clId="{8E1CC941-A529-42BD-91F2-8926E50D0828}" dt="2024-06-25T11:06:57.220" v="0"/>
          <ac:spMkLst>
            <pc:docMk/>
            <pc:sldMk cId="2435701173" sldId="879"/>
            <ac:spMk id="4" creationId="{3C3F7105-F4EF-FC62-5EA3-849D5A32FA59}"/>
          </ac:spMkLst>
        </pc:spChg>
        <pc:spChg chg="mod">
          <ac:chgData name="José Antonio Ureta Santacreu" userId="e36999d1-2b92-424a-9e8c-5fde0c5fbdd2" providerId="ADAL" clId="{8E1CC941-A529-42BD-91F2-8926E50D0828}" dt="2024-06-25T11:06:57.220" v="0"/>
          <ac:spMkLst>
            <pc:docMk/>
            <pc:sldMk cId="2435701173" sldId="879"/>
            <ac:spMk id="5" creationId="{1815078A-173D-AAC0-DC2D-0319A2AE1CC6}"/>
          </ac:spMkLst>
        </pc:spChg>
      </pc:sldChg>
      <pc:sldChg chg="modSp">
        <pc:chgData name="José Antonio Ureta Santacreu" userId="e36999d1-2b92-424a-9e8c-5fde0c5fbdd2" providerId="ADAL" clId="{8E1CC941-A529-42BD-91F2-8926E50D0828}" dt="2024-06-25T11:06:57.220" v="0"/>
        <pc:sldMkLst>
          <pc:docMk/>
          <pc:sldMk cId="3345068705" sldId="880"/>
        </pc:sldMkLst>
        <pc:spChg chg="mod">
          <ac:chgData name="José Antonio Ureta Santacreu" userId="e36999d1-2b92-424a-9e8c-5fde0c5fbdd2" providerId="ADAL" clId="{8E1CC941-A529-42BD-91F2-8926E50D0828}" dt="2024-06-25T11:06:57.220" v="0"/>
          <ac:spMkLst>
            <pc:docMk/>
            <pc:sldMk cId="3345068705" sldId="880"/>
            <ac:spMk id="2" creationId="{20E32AED-72F5-20FE-765E-773FF505839B}"/>
          </ac:spMkLst>
        </pc:spChg>
        <pc:spChg chg="mod">
          <ac:chgData name="José Antonio Ureta Santacreu" userId="e36999d1-2b92-424a-9e8c-5fde0c5fbdd2" providerId="ADAL" clId="{8E1CC941-A529-42BD-91F2-8926E50D0828}" dt="2024-06-25T11:06:57.220" v="0"/>
          <ac:spMkLst>
            <pc:docMk/>
            <pc:sldMk cId="3345068705" sldId="880"/>
            <ac:spMk id="3" creationId="{4B2BBBC1-69CB-C8D5-9976-3C290D430BEC}"/>
          </ac:spMkLst>
        </pc:spChg>
        <pc:spChg chg="mod">
          <ac:chgData name="José Antonio Ureta Santacreu" userId="e36999d1-2b92-424a-9e8c-5fde0c5fbdd2" providerId="ADAL" clId="{8E1CC941-A529-42BD-91F2-8926E50D0828}" dt="2024-06-25T11:06:57.220" v="0"/>
          <ac:spMkLst>
            <pc:docMk/>
            <pc:sldMk cId="3345068705" sldId="880"/>
            <ac:spMk id="4" creationId="{FF4A30ED-2640-B8EC-ED82-374303134CCB}"/>
          </ac:spMkLst>
        </pc:spChg>
      </pc:sldChg>
      <pc:sldChg chg="modSp">
        <pc:chgData name="José Antonio Ureta Santacreu" userId="e36999d1-2b92-424a-9e8c-5fde0c5fbdd2" providerId="ADAL" clId="{8E1CC941-A529-42BD-91F2-8926E50D0828}" dt="2024-06-25T11:06:57.220" v="0"/>
        <pc:sldMkLst>
          <pc:docMk/>
          <pc:sldMk cId="2120188991" sldId="881"/>
        </pc:sldMkLst>
        <pc:spChg chg="mod">
          <ac:chgData name="José Antonio Ureta Santacreu" userId="e36999d1-2b92-424a-9e8c-5fde0c5fbdd2" providerId="ADAL" clId="{8E1CC941-A529-42BD-91F2-8926E50D0828}" dt="2024-06-25T11:06:57.220" v="0"/>
          <ac:spMkLst>
            <pc:docMk/>
            <pc:sldMk cId="2120188991" sldId="881"/>
            <ac:spMk id="2" creationId="{B0BC6F23-9DAC-3919-4BA0-6C1FC793173D}"/>
          </ac:spMkLst>
        </pc:spChg>
        <pc:spChg chg="mod">
          <ac:chgData name="José Antonio Ureta Santacreu" userId="e36999d1-2b92-424a-9e8c-5fde0c5fbdd2" providerId="ADAL" clId="{8E1CC941-A529-42BD-91F2-8926E50D0828}" dt="2024-06-25T11:06:57.220" v="0"/>
          <ac:spMkLst>
            <pc:docMk/>
            <pc:sldMk cId="2120188991" sldId="881"/>
            <ac:spMk id="3" creationId="{4A3269DB-5489-CE00-B420-081CB16105F8}"/>
          </ac:spMkLst>
        </pc:spChg>
        <pc:spChg chg="mod">
          <ac:chgData name="José Antonio Ureta Santacreu" userId="e36999d1-2b92-424a-9e8c-5fde0c5fbdd2" providerId="ADAL" clId="{8E1CC941-A529-42BD-91F2-8926E50D0828}" dt="2024-06-25T11:06:57.220" v="0"/>
          <ac:spMkLst>
            <pc:docMk/>
            <pc:sldMk cId="2120188991" sldId="881"/>
            <ac:spMk id="4" creationId="{F4C7BC52-B2B1-3B9E-F2D8-D7B3834697A7}"/>
          </ac:spMkLst>
        </pc:spChg>
        <pc:spChg chg="mod">
          <ac:chgData name="José Antonio Ureta Santacreu" userId="e36999d1-2b92-424a-9e8c-5fde0c5fbdd2" providerId="ADAL" clId="{8E1CC941-A529-42BD-91F2-8926E50D0828}" dt="2024-06-25T11:06:57.220" v="0"/>
          <ac:spMkLst>
            <pc:docMk/>
            <pc:sldMk cId="2120188991" sldId="881"/>
            <ac:spMk id="5" creationId="{3CB85498-55FA-0619-D45B-4D15D0B4121D}"/>
          </ac:spMkLst>
        </pc:spChg>
      </pc:sldChg>
      <pc:sldChg chg="modSp">
        <pc:chgData name="José Antonio Ureta Santacreu" userId="e36999d1-2b92-424a-9e8c-5fde0c5fbdd2" providerId="ADAL" clId="{8E1CC941-A529-42BD-91F2-8926E50D0828}" dt="2024-06-25T11:06:57.220" v="0"/>
        <pc:sldMkLst>
          <pc:docMk/>
          <pc:sldMk cId="3242803943" sldId="883"/>
        </pc:sldMkLst>
        <pc:spChg chg="mod">
          <ac:chgData name="José Antonio Ureta Santacreu" userId="e36999d1-2b92-424a-9e8c-5fde0c5fbdd2" providerId="ADAL" clId="{8E1CC941-A529-42BD-91F2-8926E50D0828}" dt="2024-06-25T11:06:57.220" v="0"/>
          <ac:spMkLst>
            <pc:docMk/>
            <pc:sldMk cId="3242803943" sldId="883"/>
            <ac:spMk id="2" creationId="{ABC8A1B8-0548-07AA-2DE8-EE2FBA6BCC5F}"/>
          </ac:spMkLst>
        </pc:spChg>
        <pc:spChg chg="mod">
          <ac:chgData name="José Antonio Ureta Santacreu" userId="e36999d1-2b92-424a-9e8c-5fde0c5fbdd2" providerId="ADAL" clId="{8E1CC941-A529-42BD-91F2-8926E50D0828}" dt="2024-06-25T11:06:57.220" v="0"/>
          <ac:spMkLst>
            <pc:docMk/>
            <pc:sldMk cId="3242803943" sldId="883"/>
            <ac:spMk id="3" creationId="{DDBE7A9E-476A-3831-2C92-D9B89F8512AB}"/>
          </ac:spMkLst>
        </pc:spChg>
        <pc:spChg chg="mod">
          <ac:chgData name="José Antonio Ureta Santacreu" userId="e36999d1-2b92-424a-9e8c-5fde0c5fbdd2" providerId="ADAL" clId="{8E1CC941-A529-42BD-91F2-8926E50D0828}" dt="2024-06-25T11:06:57.220" v="0"/>
          <ac:spMkLst>
            <pc:docMk/>
            <pc:sldMk cId="3242803943" sldId="883"/>
            <ac:spMk id="4" creationId="{C96919FB-A038-9173-9023-889E3640C9FC}"/>
          </ac:spMkLst>
        </pc:spChg>
        <pc:spChg chg="mod">
          <ac:chgData name="José Antonio Ureta Santacreu" userId="e36999d1-2b92-424a-9e8c-5fde0c5fbdd2" providerId="ADAL" clId="{8E1CC941-A529-42BD-91F2-8926E50D0828}" dt="2024-06-25T11:06:57.220" v="0"/>
          <ac:spMkLst>
            <pc:docMk/>
            <pc:sldMk cId="3242803943" sldId="883"/>
            <ac:spMk id="5" creationId="{F816D2A8-1217-A3C4-B4BA-24DBE84E6FC3}"/>
          </ac:spMkLst>
        </pc:spChg>
      </pc:sldChg>
      <pc:sldChg chg="modSp">
        <pc:chgData name="José Antonio Ureta Santacreu" userId="e36999d1-2b92-424a-9e8c-5fde0c5fbdd2" providerId="ADAL" clId="{8E1CC941-A529-42BD-91F2-8926E50D0828}" dt="2024-06-25T11:06:57.220" v="0"/>
        <pc:sldMkLst>
          <pc:docMk/>
          <pc:sldMk cId="2654703023" sldId="884"/>
        </pc:sldMkLst>
        <pc:spChg chg="mod">
          <ac:chgData name="José Antonio Ureta Santacreu" userId="e36999d1-2b92-424a-9e8c-5fde0c5fbdd2" providerId="ADAL" clId="{8E1CC941-A529-42BD-91F2-8926E50D0828}" dt="2024-06-25T11:06:57.220" v="0"/>
          <ac:spMkLst>
            <pc:docMk/>
            <pc:sldMk cId="2654703023" sldId="884"/>
            <ac:spMk id="2" creationId="{079E570A-9D95-AFD7-C292-24D0829D391B}"/>
          </ac:spMkLst>
        </pc:spChg>
      </pc:sldChg>
      <pc:sldChg chg="modSp">
        <pc:chgData name="José Antonio Ureta Santacreu" userId="e36999d1-2b92-424a-9e8c-5fde0c5fbdd2" providerId="ADAL" clId="{8E1CC941-A529-42BD-91F2-8926E50D0828}" dt="2024-06-25T11:06:57.220" v="0"/>
        <pc:sldMkLst>
          <pc:docMk/>
          <pc:sldMk cId="3161192024" sldId="885"/>
        </pc:sldMkLst>
        <pc:spChg chg="mod">
          <ac:chgData name="José Antonio Ureta Santacreu" userId="e36999d1-2b92-424a-9e8c-5fde0c5fbdd2" providerId="ADAL" clId="{8E1CC941-A529-42BD-91F2-8926E50D0828}" dt="2024-06-25T11:06:57.220" v="0"/>
          <ac:spMkLst>
            <pc:docMk/>
            <pc:sldMk cId="3161192024" sldId="885"/>
            <ac:spMk id="2" creationId="{876122A6-DEC0-629A-310A-338CF74B2461}"/>
          </ac:spMkLst>
        </pc:spChg>
        <pc:spChg chg="mod">
          <ac:chgData name="José Antonio Ureta Santacreu" userId="e36999d1-2b92-424a-9e8c-5fde0c5fbdd2" providerId="ADAL" clId="{8E1CC941-A529-42BD-91F2-8926E50D0828}" dt="2024-06-25T11:06:57.220" v="0"/>
          <ac:spMkLst>
            <pc:docMk/>
            <pc:sldMk cId="3161192024" sldId="885"/>
            <ac:spMk id="4" creationId="{1C19F417-95D4-953E-FB43-A88F34A208F9}"/>
          </ac:spMkLst>
        </pc:spChg>
        <pc:spChg chg="mod">
          <ac:chgData name="José Antonio Ureta Santacreu" userId="e36999d1-2b92-424a-9e8c-5fde0c5fbdd2" providerId="ADAL" clId="{8E1CC941-A529-42BD-91F2-8926E50D0828}" dt="2024-06-25T11:06:57.220" v="0"/>
          <ac:spMkLst>
            <pc:docMk/>
            <pc:sldMk cId="3161192024" sldId="885"/>
            <ac:spMk id="5" creationId="{DB40B7DA-3FDB-10FF-44B2-CE08282B59F2}"/>
          </ac:spMkLst>
        </pc:spChg>
        <pc:spChg chg="mod">
          <ac:chgData name="José Antonio Ureta Santacreu" userId="e36999d1-2b92-424a-9e8c-5fde0c5fbdd2" providerId="ADAL" clId="{8E1CC941-A529-42BD-91F2-8926E50D0828}" dt="2024-06-25T11:06:57.220" v="0"/>
          <ac:spMkLst>
            <pc:docMk/>
            <pc:sldMk cId="3161192024" sldId="885"/>
            <ac:spMk id="6" creationId="{0E4C1DE4-949C-E421-14CE-6C707986144E}"/>
          </ac:spMkLst>
        </pc:spChg>
      </pc:sldChg>
      <pc:sldChg chg="modSp mod">
        <pc:chgData name="José Antonio Ureta Santacreu" userId="e36999d1-2b92-424a-9e8c-5fde0c5fbdd2" providerId="ADAL" clId="{8E1CC941-A529-42BD-91F2-8926E50D0828}" dt="2024-06-25T11:06:58.038" v="11" actId="27636"/>
        <pc:sldMkLst>
          <pc:docMk/>
          <pc:sldMk cId="1633513032" sldId="889"/>
        </pc:sldMkLst>
        <pc:spChg chg="mod">
          <ac:chgData name="José Antonio Ureta Santacreu" userId="e36999d1-2b92-424a-9e8c-5fde0c5fbdd2" providerId="ADAL" clId="{8E1CC941-A529-42BD-91F2-8926E50D0828}" dt="2024-06-25T11:06:57.220" v="0"/>
          <ac:spMkLst>
            <pc:docMk/>
            <pc:sldMk cId="1633513032" sldId="889"/>
            <ac:spMk id="2" creationId="{B8E2A17B-9C26-C0A9-472B-92788AE00DB2}"/>
          </ac:spMkLst>
        </pc:spChg>
        <pc:spChg chg="mod">
          <ac:chgData name="José Antonio Ureta Santacreu" userId="e36999d1-2b92-424a-9e8c-5fde0c5fbdd2" providerId="ADAL" clId="{8E1CC941-A529-42BD-91F2-8926E50D0828}" dt="2024-06-25T11:06:57.220" v="0"/>
          <ac:spMkLst>
            <pc:docMk/>
            <pc:sldMk cId="1633513032" sldId="889"/>
            <ac:spMk id="3" creationId="{AF18826D-3750-95C4-4F17-F0CA50B0C06B}"/>
          </ac:spMkLst>
        </pc:spChg>
        <pc:spChg chg="mod">
          <ac:chgData name="José Antonio Ureta Santacreu" userId="e36999d1-2b92-424a-9e8c-5fde0c5fbdd2" providerId="ADAL" clId="{8E1CC941-A529-42BD-91F2-8926E50D0828}" dt="2024-06-25T11:06:57.220" v="0"/>
          <ac:spMkLst>
            <pc:docMk/>
            <pc:sldMk cId="1633513032" sldId="889"/>
            <ac:spMk id="4" creationId="{56A9521E-8EAD-F7B4-4318-E9F44C3224A1}"/>
          </ac:spMkLst>
        </pc:spChg>
        <pc:spChg chg="mod">
          <ac:chgData name="José Antonio Ureta Santacreu" userId="e36999d1-2b92-424a-9e8c-5fde0c5fbdd2" providerId="ADAL" clId="{8E1CC941-A529-42BD-91F2-8926E50D0828}" dt="2024-06-25T11:06:57.220" v="0"/>
          <ac:spMkLst>
            <pc:docMk/>
            <pc:sldMk cId="1633513032" sldId="889"/>
            <ac:spMk id="5" creationId="{D732C327-8AA0-4B64-1DD8-3F849F80DAA2}"/>
          </ac:spMkLst>
        </pc:spChg>
        <pc:spChg chg="mod">
          <ac:chgData name="José Antonio Ureta Santacreu" userId="e36999d1-2b92-424a-9e8c-5fde0c5fbdd2" providerId="ADAL" clId="{8E1CC941-A529-42BD-91F2-8926E50D0828}" dt="2024-06-25T11:06:58.038" v="11" actId="27636"/>
          <ac:spMkLst>
            <pc:docMk/>
            <pc:sldMk cId="1633513032" sldId="889"/>
            <ac:spMk id="8" creationId="{91A4C372-EA07-08F5-1012-3BF67DAFAC04}"/>
          </ac:spMkLst>
        </pc:spChg>
      </pc:sldChg>
      <pc:sldChg chg="modSp">
        <pc:chgData name="José Antonio Ureta Santacreu" userId="e36999d1-2b92-424a-9e8c-5fde0c5fbdd2" providerId="ADAL" clId="{8E1CC941-A529-42BD-91F2-8926E50D0828}" dt="2024-06-25T11:06:57.220" v="0"/>
        <pc:sldMkLst>
          <pc:docMk/>
          <pc:sldMk cId="2144677237" sldId="890"/>
        </pc:sldMkLst>
        <pc:spChg chg="mod">
          <ac:chgData name="José Antonio Ureta Santacreu" userId="e36999d1-2b92-424a-9e8c-5fde0c5fbdd2" providerId="ADAL" clId="{8E1CC941-A529-42BD-91F2-8926E50D0828}" dt="2024-06-25T11:06:57.220" v="0"/>
          <ac:spMkLst>
            <pc:docMk/>
            <pc:sldMk cId="2144677237" sldId="890"/>
            <ac:spMk id="2" creationId="{5AD956EA-C898-2915-0A02-66B60692BCF3}"/>
          </ac:spMkLst>
        </pc:spChg>
        <pc:spChg chg="mod">
          <ac:chgData name="José Antonio Ureta Santacreu" userId="e36999d1-2b92-424a-9e8c-5fde0c5fbdd2" providerId="ADAL" clId="{8E1CC941-A529-42BD-91F2-8926E50D0828}" dt="2024-06-25T11:06:57.220" v="0"/>
          <ac:spMkLst>
            <pc:docMk/>
            <pc:sldMk cId="2144677237" sldId="890"/>
            <ac:spMk id="4" creationId="{4A010EC3-C961-8EBE-7DEB-9EE7BA361F7E}"/>
          </ac:spMkLst>
        </pc:spChg>
        <pc:spChg chg="mod">
          <ac:chgData name="José Antonio Ureta Santacreu" userId="e36999d1-2b92-424a-9e8c-5fde0c5fbdd2" providerId="ADAL" clId="{8E1CC941-A529-42BD-91F2-8926E50D0828}" dt="2024-06-25T11:06:57.220" v="0"/>
          <ac:spMkLst>
            <pc:docMk/>
            <pc:sldMk cId="2144677237" sldId="890"/>
            <ac:spMk id="5" creationId="{9AAEE6CA-662A-3934-87E2-867AFAFDD42E}"/>
          </ac:spMkLst>
        </pc:spChg>
      </pc:sldChg>
      <pc:sldChg chg="modSp">
        <pc:chgData name="José Antonio Ureta Santacreu" userId="e36999d1-2b92-424a-9e8c-5fde0c5fbdd2" providerId="ADAL" clId="{8E1CC941-A529-42BD-91F2-8926E50D0828}" dt="2024-06-25T11:06:57.220" v="0"/>
        <pc:sldMkLst>
          <pc:docMk/>
          <pc:sldMk cId="1141953646" sldId="891"/>
        </pc:sldMkLst>
        <pc:spChg chg="mod">
          <ac:chgData name="José Antonio Ureta Santacreu" userId="e36999d1-2b92-424a-9e8c-5fde0c5fbdd2" providerId="ADAL" clId="{8E1CC941-A529-42BD-91F2-8926E50D0828}" dt="2024-06-25T11:06:57.220" v="0"/>
          <ac:spMkLst>
            <pc:docMk/>
            <pc:sldMk cId="1141953646" sldId="891"/>
            <ac:spMk id="2" creationId="{06C2C5B8-018C-9565-4ED6-462A1A0172DD}"/>
          </ac:spMkLst>
        </pc:spChg>
        <pc:spChg chg="mod">
          <ac:chgData name="José Antonio Ureta Santacreu" userId="e36999d1-2b92-424a-9e8c-5fde0c5fbdd2" providerId="ADAL" clId="{8E1CC941-A529-42BD-91F2-8926E50D0828}" dt="2024-06-25T11:06:57.220" v="0"/>
          <ac:spMkLst>
            <pc:docMk/>
            <pc:sldMk cId="1141953646" sldId="891"/>
            <ac:spMk id="3" creationId="{0B867BFF-AEAA-030C-89F0-675B0D8F56D9}"/>
          </ac:spMkLst>
        </pc:spChg>
        <pc:spChg chg="mod">
          <ac:chgData name="José Antonio Ureta Santacreu" userId="e36999d1-2b92-424a-9e8c-5fde0c5fbdd2" providerId="ADAL" clId="{8E1CC941-A529-42BD-91F2-8926E50D0828}" dt="2024-06-25T11:06:57.220" v="0"/>
          <ac:spMkLst>
            <pc:docMk/>
            <pc:sldMk cId="1141953646" sldId="891"/>
            <ac:spMk id="4" creationId="{52BA3178-D27A-F9BF-B31B-769F8819F4FE}"/>
          </ac:spMkLst>
        </pc:spChg>
        <pc:spChg chg="mod">
          <ac:chgData name="José Antonio Ureta Santacreu" userId="e36999d1-2b92-424a-9e8c-5fde0c5fbdd2" providerId="ADAL" clId="{8E1CC941-A529-42BD-91F2-8926E50D0828}" dt="2024-06-25T11:06:57.220" v="0"/>
          <ac:spMkLst>
            <pc:docMk/>
            <pc:sldMk cId="1141953646" sldId="891"/>
            <ac:spMk id="5" creationId="{FCD088FC-8CBA-4369-A721-48D8E4EEDFAF}"/>
          </ac:spMkLst>
        </pc:spChg>
      </pc:sldChg>
      <pc:sldChg chg="modSp">
        <pc:chgData name="José Antonio Ureta Santacreu" userId="e36999d1-2b92-424a-9e8c-5fde0c5fbdd2" providerId="ADAL" clId="{8E1CC941-A529-42BD-91F2-8926E50D0828}" dt="2024-07-19T09:06:37.221" v="703" actId="12100"/>
        <pc:sldMkLst>
          <pc:docMk/>
          <pc:sldMk cId="2436441535" sldId="894"/>
        </pc:sldMkLst>
        <pc:spChg chg="mod">
          <ac:chgData name="José Antonio Ureta Santacreu" userId="e36999d1-2b92-424a-9e8c-5fde0c5fbdd2" providerId="ADAL" clId="{8E1CC941-A529-42BD-91F2-8926E50D0828}" dt="2024-06-25T11:06:57.220" v="0"/>
          <ac:spMkLst>
            <pc:docMk/>
            <pc:sldMk cId="2436441535" sldId="894"/>
            <ac:spMk id="2" creationId="{5379D406-4628-4789-9532-DF0961DFED34}"/>
          </ac:spMkLst>
        </pc:spChg>
        <pc:spChg chg="mod">
          <ac:chgData name="José Antonio Ureta Santacreu" userId="e36999d1-2b92-424a-9e8c-5fde0c5fbdd2" providerId="ADAL" clId="{8E1CC941-A529-42BD-91F2-8926E50D0828}" dt="2024-06-25T11:06:57.220" v="0"/>
          <ac:spMkLst>
            <pc:docMk/>
            <pc:sldMk cId="2436441535" sldId="894"/>
            <ac:spMk id="4" creationId="{1518861D-54D8-46B7-A6BB-11993DB94E18}"/>
          </ac:spMkLst>
        </pc:spChg>
        <pc:spChg chg="mod">
          <ac:chgData name="José Antonio Ureta Santacreu" userId="e36999d1-2b92-424a-9e8c-5fde0c5fbdd2" providerId="ADAL" clId="{8E1CC941-A529-42BD-91F2-8926E50D0828}" dt="2024-06-25T11:06:57.220" v="0"/>
          <ac:spMkLst>
            <pc:docMk/>
            <pc:sldMk cId="2436441535" sldId="894"/>
            <ac:spMk id="5" creationId="{D4F881D2-0EE7-4CC1-B998-C0C8D0D00382}"/>
          </ac:spMkLst>
        </pc:spChg>
        <pc:spChg chg="mod">
          <ac:chgData name="José Antonio Ureta Santacreu" userId="e36999d1-2b92-424a-9e8c-5fde0c5fbdd2" providerId="ADAL" clId="{8E1CC941-A529-42BD-91F2-8926E50D0828}" dt="2024-06-25T11:06:57.220" v="0"/>
          <ac:spMkLst>
            <pc:docMk/>
            <pc:sldMk cId="2436441535" sldId="894"/>
            <ac:spMk id="6" creationId="{4511B7AA-6D2A-4406-87F0-6D457EB50D0B}"/>
          </ac:spMkLst>
        </pc:spChg>
        <pc:graphicFrameChg chg="mod">
          <ac:chgData name="José Antonio Ureta Santacreu" userId="e36999d1-2b92-424a-9e8c-5fde0c5fbdd2" providerId="ADAL" clId="{8E1CC941-A529-42BD-91F2-8926E50D0828}" dt="2024-07-19T09:06:37.221" v="703" actId="12100"/>
          <ac:graphicFrameMkLst>
            <pc:docMk/>
            <pc:sldMk cId="2436441535" sldId="894"/>
            <ac:graphicFrameMk id="11" creationId="{79499EFB-27E7-4561-9078-0DEC70D64206}"/>
          </ac:graphicFrameMkLst>
        </pc:graphicFrameChg>
      </pc:sldChg>
      <pc:sldChg chg="modSp">
        <pc:chgData name="José Antonio Ureta Santacreu" userId="e36999d1-2b92-424a-9e8c-5fde0c5fbdd2" providerId="ADAL" clId="{8E1CC941-A529-42BD-91F2-8926E50D0828}" dt="2024-06-25T11:06:57.220" v="0"/>
        <pc:sldMkLst>
          <pc:docMk/>
          <pc:sldMk cId="2022670775" sldId="903"/>
        </pc:sldMkLst>
        <pc:spChg chg="mod">
          <ac:chgData name="José Antonio Ureta Santacreu" userId="e36999d1-2b92-424a-9e8c-5fde0c5fbdd2" providerId="ADAL" clId="{8E1CC941-A529-42BD-91F2-8926E50D0828}" dt="2024-06-25T11:06:57.220" v="0"/>
          <ac:spMkLst>
            <pc:docMk/>
            <pc:sldMk cId="2022670775" sldId="903"/>
            <ac:spMk id="2" creationId="{A0171F31-1618-CF6B-4120-8DCB0B7C251F}"/>
          </ac:spMkLst>
        </pc:spChg>
        <pc:spChg chg="mod">
          <ac:chgData name="José Antonio Ureta Santacreu" userId="e36999d1-2b92-424a-9e8c-5fde0c5fbdd2" providerId="ADAL" clId="{8E1CC941-A529-42BD-91F2-8926E50D0828}" dt="2024-06-25T11:06:57.220" v="0"/>
          <ac:spMkLst>
            <pc:docMk/>
            <pc:sldMk cId="2022670775" sldId="903"/>
            <ac:spMk id="3" creationId="{C31BE410-351A-B11E-1CCC-949591A954C0}"/>
          </ac:spMkLst>
        </pc:spChg>
        <pc:spChg chg="mod">
          <ac:chgData name="José Antonio Ureta Santacreu" userId="e36999d1-2b92-424a-9e8c-5fde0c5fbdd2" providerId="ADAL" clId="{8E1CC941-A529-42BD-91F2-8926E50D0828}" dt="2024-06-25T11:06:57.220" v="0"/>
          <ac:spMkLst>
            <pc:docMk/>
            <pc:sldMk cId="2022670775" sldId="903"/>
            <ac:spMk id="4" creationId="{E1F142DA-3803-3BF9-3647-59992DC6FE33}"/>
          </ac:spMkLst>
        </pc:spChg>
        <pc:spChg chg="mod">
          <ac:chgData name="José Antonio Ureta Santacreu" userId="e36999d1-2b92-424a-9e8c-5fde0c5fbdd2" providerId="ADAL" clId="{8E1CC941-A529-42BD-91F2-8926E50D0828}" dt="2024-06-25T11:06:57.220" v="0"/>
          <ac:spMkLst>
            <pc:docMk/>
            <pc:sldMk cId="2022670775" sldId="903"/>
            <ac:spMk id="5" creationId="{3E86D2F2-5C50-C73E-80DD-77AE7EA22D09}"/>
          </ac:spMkLst>
        </pc:spChg>
      </pc:sldChg>
      <pc:sldChg chg="modSp">
        <pc:chgData name="José Antonio Ureta Santacreu" userId="e36999d1-2b92-424a-9e8c-5fde0c5fbdd2" providerId="ADAL" clId="{8E1CC941-A529-42BD-91F2-8926E50D0828}" dt="2024-06-25T11:06:57.220" v="0"/>
        <pc:sldMkLst>
          <pc:docMk/>
          <pc:sldMk cId="279797271" sldId="904"/>
        </pc:sldMkLst>
        <pc:spChg chg="mod">
          <ac:chgData name="José Antonio Ureta Santacreu" userId="e36999d1-2b92-424a-9e8c-5fde0c5fbdd2" providerId="ADAL" clId="{8E1CC941-A529-42BD-91F2-8926E50D0828}" dt="2024-06-25T11:06:57.220" v="0"/>
          <ac:spMkLst>
            <pc:docMk/>
            <pc:sldMk cId="279797271" sldId="904"/>
            <ac:spMk id="2" creationId="{11084FDF-CAA2-6FD4-4F3B-11D41119910E}"/>
          </ac:spMkLst>
        </pc:spChg>
        <pc:spChg chg="mod">
          <ac:chgData name="José Antonio Ureta Santacreu" userId="e36999d1-2b92-424a-9e8c-5fde0c5fbdd2" providerId="ADAL" clId="{8E1CC941-A529-42BD-91F2-8926E50D0828}" dt="2024-06-25T11:06:57.220" v="0"/>
          <ac:spMkLst>
            <pc:docMk/>
            <pc:sldMk cId="279797271" sldId="904"/>
            <ac:spMk id="3" creationId="{9FD429AE-79D7-5687-CBEF-BE6B7F8BBF36}"/>
          </ac:spMkLst>
        </pc:spChg>
        <pc:spChg chg="mod">
          <ac:chgData name="José Antonio Ureta Santacreu" userId="e36999d1-2b92-424a-9e8c-5fde0c5fbdd2" providerId="ADAL" clId="{8E1CC941-A529-42BD-91F2-8926E50D0828}" dt="2024-06-25T11:06:57.220" v="0"/>
          <ac:spMkLst>
            <pc:docMk/>
            <pc:sldMk cId="279797271" sldId="904"/>
            <ac:spMk id="4" creationId="{40F1DDBD-B30A-7149-4035-B8CE8C25DEB2}"/>
          </ac:spMkLst>
        </pc:spChg>
        <pc:spChg chg="mod">
          <ac:chgData name="José Antonio Ureta Santacreu" userId="e36999d1-2b92-424a-9e8c-5fde0c5fbdd2" providerId="ADAL" clId="{8E1CC941-A529-42BD-91F2-8926E50D0828}" dt="2024-06-25T11:06:57.220" v="0"/>
          <ac:spMkLst>
            <pc:docMk/>
            <pc:sldMk cId="279797271" sldId="904"/>
            <ac:spMk id="5" creationId="{FD6F17B6-4DE0-636B-2CB9-14FFA0664807}"/>
          </ac:spMkLst>
        </pc:spChg>
      </pc:sldChg>
      <pc:sldChg chg="modSp">
        <pc:chgData name="José Antonio Ureta Santacreu" userId="e36999d1-2b92-424a-9e8c-5fde0c5fbdd2" providerId="ADAL" clId="{8E1CC941-A529-42BD-91F2-8926E50D0828}" dt="2024-06-25T11:06:57.220" v="0"/>
        <pc:sldMkLst>
          <pc:docMk/>
          <pc:sldMk cId="2061733752" sldId="905"/>
        </pc:sldMkLst>
        <pc:spChg chg="mod">
          <ac:chgData name="José Antonio Ureta Santacreu" userId="e36999d1-2b92-424a-9e8c-5fde0c5fbdd2" providerId="ADAL" clId="{8E1CC941-A529-42BD-91F2-8926E50D0828}" dt="2024-06-25T11:06:57.220" v="0"/>
          <ac:spMkLst>
            <pc:docMk/>
            <pc:sldMk cId="2061733752" sldId="905"/>
            <ac:spMk id="2" creationId="{2E78BE03-2A14-3317-5EB7-BFA08365C7B5}"/>
          </ac:spMkLst>
        </pc:spChg>
        <pc:spChg chg="mod">
          <ac:chgData name="José Antonio Ureta Santacreu" userId="e36999d1-2b92-424a-9e8c-5fde0c5fbdd2" providerId="ADAL" clId="{8E1CC941-A529-42BD-91F2-8926E50D0828}" dt="2024-06-25T11:06:57.220" v="0"/>
          <ac:spMkLst>
            <pc:docMk/>
            <pc:sldMk cId="2061733752" sldId="905"/>
            <ac:spMk id="3" creationId="{54FA1FC5-5079-9823-B061-46D52B5150D8}"/>
          </ac:spMkLst>
        </pc:spChg>
        <pc:spChg chg="mod">
          <ac:chgData name="José Antonio Ureta Santacreu" userId="e36999d1-2b92-424a-9e8c-5fde0c5fbdd2" providerId="ADAL" clId="{8E1CC941-A529-42BD-91F2-8926E50D0828}" dt="2024-06-25T11:06:57.220" v="0"/>
          <ac:spMkLst>
            <pc:docMk/>
            <pc:sldMk cId="2061733752" sldId="905"/>
            <ac:spMk id="4" creationId="{121D1051-CBAE-A8F9-B3ED-F24F78B734D1}"/>
          </ac:spMkLst>
        </pc:spChg>
        <pc:spChg chg="mod">
          <ac:chgData name="José Antonio Ureta Santacreu" userId="e36999d1-2b92-424a-9e8c-5fde0c5fbdd2" providerId="ADAL" clId="{8E1CC941-A529-42BD-91F2-8926E50D0828}" dt="2024-06-25T11:06:57.220" v="0"/>
          <ac:spMkLst>
            <pc:docMk/>
            <pc:sldMk cId="2061733752" sldId="905"/>
            <ac:spMk id="5" creationId="{EB7950FB-5FB9-A108-5A37-9A327F7131B7}"/>
          </ac:spMkLst>
        </pc:spChg>
      </pc:sldChg>
      <pc:sldChg chg="modSp">
        <pc:chgData name="José Antonio Ureta Santacreu" userId="e36999d1-2b92-424a-9e8c-5fde0c5fbdd2" providerId="ADAL" clId="{8E1CC941-A529-42BD-91F2-8926E50D0828}" dt="2024-06-25T11:06:57.220" v="0"/>
        <pc:sldMkLst>
          <pc:docMk/>
          <pc:sldMk cId="2750931206" sldId="906"/>
        </pc:sldMkLst>
        <pc:spChg chg="mod">
          <ac:chgData name="José Antonio Ureta Santacreu" userId="e36999d1-2b92-424a-9e8c-5fde0c5fbdd2" providerId="ADAL" clId="{8E1CC941-A529-42BD-91F2-8926E50D0828}" dt="2024-06-25T11:06:57.220" v="0"/>
          <ac:spMkLst>
            <pc:docMk/>
            <pc:sldMk cId="2750931206" sldId="906"/>
            <ac:spMk id="2" creationId="{BBD37DEF-2997-EA7C-5C0D-B544DFF2ED55}"/>
          </ac:spMkLst>
        </pc:spChg>
        <pc:spChg chg="mod">
          <ac:chgData name="José Antonio Ureta Santacreu" userId="e36999d1-2b92-424a-9e8c-5fde0c5fbdd2" providerId="ADAL" clId="{8E1CC941-A529-42BD-91F2-8926E50D0828}" dt="2024-06-25T11:06:57.220" v="0"/>
          <ac:spMkLst>
            <pc:docMk/>
            <pc:sldMk cId="2750931206" sldId="906"/>
            <ac:spMk id="3" creationId="{CAC651AB-FF6C-2373-0328-3A70CAB1A8A6}"/>
          </ac:spMkLst>
        </pc:spChg>
        <pc:spChg chg="mod">
          <ac:chgData name="José Antonio Ureta Santacreu" userId="e36999d1-2b92-424a-9e8c-5fde0c5fbdd2" providerId="ADAL" clId="{8E1CC941-A529-42BD-91F2-8926E50D0828}" dt="2024-06-25T11:06:57.220" v="0"/>
          <ac:spMkLst>
            <pc:docMk/>
            <pc:sldMk cId="2750931206" sldId="906"/>
            <ac:spMk id="4" creationId="{DEA274F0-765D-6903-4EE4-49AD6CE532DD}"/>
          </ac:spMkLst>
        </pc:spChg>
        <pc:spChg chg="mod">
          <ac:chgData name="José Antonio Ureta Santacreu" userId="e36999d1-2b92-424a-9e8c-5fde0c5fbdd2" providerId="ADAL" clId="{8E1CC941-A529-42BD-91F2-8926E50D0828}" dt="2024-06-25T11:06:57.220" v="0"/>
          <ac:spMkLst>
            <pc:docMk/>
            <pc:sldMk cId="2750931206" sldId="906"/>
            <ac:spMk id="5" creationId="{B5E88153-C29B-DA96-95CA-F7913E76F3AE}"/>
          </ac:spMkLst>
        </pc:spChg>
      </pc:sldChg>
      <pc:sldChg chg="modSp">
        <pc:chgData name="José Antonio Ureta Santacreu" userId="e36999d1-2b92-424a-9e8c-5fde0c5fbdd2" providerId="ADAL" clId="{8E1CC941-A529-42BD-91F2-8926E50D0828}" dt="2024-06-25T11:06:57.220" v="0"/>
        <pc:sldMkLst>
          <pc:docMk/>
          <pc:sldMk cId="1213169994" sldId="907"/>
        </pc:sldMkLst>
        <pc:spChg chg="mod">
          <ac:chgData name="José Antonio Ureta Santacreu" userId="e36999d1-2b92-424a-9e8c-5fde0c5fbdd2" providerId="ADAL" clId="{8E1CC941-A529-42BD-91F2-8926E50D0828}" dt="2024-06-25T11:06:57.220" v="0"/>
          <ac:spMkLst>
            <pc:docMk/>
            <pc:sldMk cId="1213169994" sldId="907"/>
            <ac:spMk id="2" creationId="{26D9FE85-055E-44DA-AB6D-985DEEA6E0E4}"/>
          </ac:spMkLst>
        </pc:spChg>
        <pc:spChg chg="mod">
          <ac:chgData name="José Antonio Ureta Santacreu" userId="e36999d1-2b92-424a-9e8c-5fde0c5fbdd2" providerId="ADAL" clId="{8E1CC941-A529-42BD-91F2-8926E50D0828}" dt="2024-06-25T11:06:57.220" v="0"/>
          <ac:spMkLst>
            <pc:docMk/>
            <pc:sldMk cId="1213169994" sldId="907"/>
            <ac:spMk id="3" creationId="{C31D5E54-D7C8-407B-BDA7-1A5FF64426AE}"/>
          </ac:spMkLst>
        </pc:spChg>
        <pc:spChg chg="mod">
          <ac:chgData name="José Antonio Ureta Santacreu" userId="e36999d1-2b92-424a-9e8c-5fde0c5fbdd2" providerId="ADAL" clId="{8E1CC941-A529-42BD-91F2-8926E50D0828}" dt="2024-06-25T11:06:57.220" v="0"/>
          <ac:spMkLst>
            <pc:docMk/>
            <pc:sldMk cId="1213169994" sldId="907"/>
            <ac:spMk id="4" creationId="{C636ECC7-AE7E-48F1-A33A-1321714D9915}"/>
          </ac:spMkLst>
        </pc:spChg>
        <pc:spChg chg="mod">
          <ac:chgData name="José Antonio Ureta Santacreu" userId="e36999d1-2b92-424a-9e8c-5fde0c5fbdd2" providerId="ADAL" clId="{8E1CC941-A529-42BD-91F2-8926E50D0828}" dt="2024-06-25T11:06:57.220" v="0"/>
          <ac:spMkLst>
            <pc:docMk/>
            <pc:sldMk cId="1213169994" sldId="907"/>
            <ac:spMk id="5" creationId="{E5AC6EA3-01C1-4F46-9ED5-DD0CFF8EF365}"/>
          </ac:spMkLst>
        </pc:spChg>
      </pc:sldChg>
      <pc:sldChg chg="modSp mod">
        <pc:chgData name="José Antonio Ureta Santacreu" userId="e36999d1-2b92-424a-9e8c-5fde0c5fbdd2" providerId="ADAL" clId="{8E1CC941-A529-42BD-91F2-8926E50D0828}" dt="2024-06-25T11:06:57.944" v="3" actId="27636"/>
        <pc:sldMkLst>
          <pc:docMk/>
          <pc:sldMk cId="1990410930" sldId="908"/>
        </pc:sldMkLst>
        <pc:spChg chg="mod">
          <ac:chgData name="José Antonio Ureta Santacreu" userId="e36999d1-2b92-424a-9e8c-5fde0c5fbdd2" providerId="ADAL" clId="{8E1CC941-A529-42BD-91F2-8926E50D0828}" dt="2024-06-25T11:06:57.220" v="0"/>
          <ac:spMkLst>
            <pc:docMk/>
            <pc:sldMk cId="1990410930" sldId="908"/>
            <ac:spMk id="2" creationId="{CF5A9E75-722E-44BC-BA57-FFBD26A8D07A}"/>
          </ac:spMkLst>
        </pc:spChg>
        <pc:spChg chg="mod">
          <ac:chgData name="José Antonio Ureta Santacreu" userId="e36999d1-2b92-424a-9e8c-5fde0c5fbdd2" providerId="ADAL" clId="{8E1CC941-A529-42BD-91F2-8926E50D0828}" dt="2024-06-25T11:06:57.936" v="2" actId="27636"/>
          <ac:spMkLst>
            <pc:docMk/>
            <pc:sldMk cId="1990410930" sldId="908"/>
            <ac:spMk id="3" creationId="{F47D1B97-FA02-470B-94C4-FBDAF1E75682}"/>
          </ac:spMkLst>
        </pc:spChg>
        <pc:spChg chg="mod">
          <ac:chgData name="José Antonio Ureta Santacreu" userId="e36999d1-2b92-424a-9e8c-5fde0c5fbdd2" providerId="ADAL" clId="{8E1CC941-A529-42BD-91F2-8926E50D0828}" dt="2024-06-25T11:06:57.944" v="3" actId="27636"/>
          <ac:spMkLst>
            <pc:docMk/>
            <pc:sldMk cId="1990410930" sldId="908"/>
            <ac:spMk id="4" creationId="{A5EAE511-E3FE-4E7B-A3B1-851DFEF5D58D}"/>
          </ac:spMkLst>
        </pc:spChg>
        <pc:spChg chg="mod">
          <ac:chgData name="José Antonio Ureta Santacreu" userId="e36999d1-2b92-424a-9e8c-5fde0c5fbdd2" providerId="ADAL" clId="{8E1CC941-A529-42BD-91F2-8926E50D0828}" dt="2024-06-25T11:06:57.220" v="0"/>
          <ac:spMkLst>
            <pc:docMk/>
            <pc:sldMk cId="1990410930" sldId="908"/>
            <ac:spMk id="5" creationId="{7EFDA8DE-A9D5-4BCB-A495-56FBA2450FD3}"/>
          </ac:spMkLst>
        </pc:spChg>
      </pc:sldChg>
      <pc:sldChg chg="modSp mod">
        <pc:chgData name="José Antonio Ureta Santacreu" userId="e36999d1-2b92-424a-9e8c-5fde0c5fbdd2" providerId="ADAL" clId="{8E1CC941-A529-42BD-91F2-8926E50D0828}" dt="2024-06-25T11:06:57.972" v="5" actId="27636"/>
        <pc:sldMkLst>
          <pc:docMk/>
          <pc:sldMk cId="1548247916" sldId="909"/>
        </pc:sldMkLst>
        <pc:spChg chg="mod">
          <ac:chgData name="José Antonio Ureta Santacreu" userId="e36999d1-2b92-424a-9e8c-5fde0c5fbdd2" providerId="ADAL" clId="{8E1CC941-A529-42BD-91F2-8926E50D0828}" dt="2024-06-25T11:06:57.220" v="0"/>
          <ac:spMkLst>
            <pc:docMk/>
            <pc:sldMk cId="1548247916" sldId="909"/>
            <ac:spMk id="2" creationId="{CF5A9E75-722E-44BC-BA57-FFBD26A8D07A}"/>
          </ac:spMkLst>
        </pc:spChg>
        <pc:spChg chg="mod">
          <ac:chgData name="José Antonio Ureta Santacreu" userId="e36999d1-2b92-424a-9e8c-5fde0c5fbdd2" providerId="ADAL" clId="{8E1CC941-A529-42BD-91F2-8926E50D0828}" dt="2024-06-25T11:06:57.965" v="4" actId="27636"/>
          <ac:spMkLst>
            <pc:docMk/>
            <pc:sldMk cId="1548247916" sldId="909"/>
            <ac:spMk id="3" creationId="{F47D1B97-FA02-470B-94C4-FBDAF1E75682}"/>
          </ac:spMkLst>
        </pc:spChg>
        <pc:spChg chg="mod">
          <ac:chgData name="José Antonio Ureta Santacreu" userId="e36999d1-2b92-424a-9e8c-5fde0c5fbdd2" providerId="ADAL" clId="{8E1CC941-A529-42BD-91F2-8926E50D0828}" dt="2024-06-25T11:06:57.972" v="5" actId="27636"/>
          <ac:spMkLst>
            <pc:docMk/>
            <pc:sldMk cId="1548247916" sldId="909"/>
            <ac:spMk id="4" creationId="{A5EAE511-E3FE-4E7B-A3B1-851DFEF5D58D}"/>
          </ac:spMkLst>
        </pc:spChg>
        <pc:spChg chg="mod">
          <ac:chgData name="José Antonio Ureta Santacreu" userId="e36999d1-2b92-424a-9e8c-5fde0c5fbdd2" providerId="ADAL" clId="{8E1CC941-A529-42BD-91F2-8926E50D0828}" dt="2024-06-25T11:06:57.220" v="0"/>
          <ac:spMkLst>
            <pc:docMk/>
            <pc:sldMk cId="1548247916" sldId="909"/>
            <ac:spMk id="5" creationId="{7EFDA8DE-A9D5-4BCB-A495-56FBA2450FD3}"/>
          </ac:spMkLst>
        </pc:spChg>
      </pc:sldChg>
      <pc:sldChg chg="modSp">
        <pc:chgData name="José Antonio Ureta Santacreu" userId="e36999d1-2b92-424a-9e8c-5fde0c5fbdd2" providerId="ADAL" clId="{8E1CC941-A529-42BD-91F2-8926E50D0828}" dt="2024-06-25T11:06:57.220" v="0"/>
        <pc:sldMkLst>
          <pc:docMk/>
          <pc:sldMk cId="3725159009" sldId="910"/>
        </pc:sldMkLst>
        <pc:spChg chg="mod">
          <ac:chgData name="José Antonio Ureta Santacreu" userId="e36999d1-2b92-424a-9e8c-5fde0c5fbdd2" providerId="ADAL" clId="{8E1CC941-A529-42BD-91F2-8926E50D0828}" dt="2024-06-25T11:06:57.220" v="0"/>
          <ac:spMkLst>
            <pc:docMk/>
            <pc:sldMk cId="3725159009" sldId="910"/>
            <ac:spMk id="2" creationId="{53269E99-23DB-4A5A-8BEE-D63C6531A026}"/>
          </ac:spMkLst>
        </pc:spChg>
        <pc:spChg chg="mod">
          <ac:chgData name="José Antonio Ureta Santacreu" userId="e36999d1-2b92-424a-9e8c-5fde0c5fbdd2" providerId="ADAL" clId="{8E1CC941-A529-42BD-91F2-8926E50D0828}" dt="2024-06-25T11:06:57.220" v="0"/>
          <ac:spMkLst>
            <pc:docMk/>
            <pc:sldMk cId="3725159009" sldId="910"/>
            <ac:spMk id="3" creationId="{BD75F0F3-AAA1-4E9F-931B-37684F0A153D}"/>
          </ac:spMkLst>
        </pc:spChg>
        <pc:spChg chg="mod">
          <ac:chgData name="José Antonio Ureta Santacreu" userId="e36999d1-2b92-424a-9e8c-5fde0c5fbdd2" providerId="ADAL" clId="{8E1CC941-A529-42BD-91F2-8926E50D0828}" dt="2024-06-25T11:06:57.220" v="0"/>
          <ac:spMkLst>
            <pc:docMk/>
            <pc:sldMk cId="3725159009" sldId="910"/>
            <ac:spMk id="4" creationId="{014E9F65-139D-4AE3-B633-FD2F754C74F1}"/>
          </ac:spMkLst>
        </pc:spChg>
        <pc:spChg chg="mod">
          <ac:chgData name="José Antonio Ureta Santacreu" userId="e36999d1-2b92-424a-9e8c-5fde0c5fbdd2" providerId="ADAL" clId="{8E1CC941-A529-42BD-91F2-8926E50D0828}" dt="2024-06-25T11:06:57.220" v="0"/>
          <ac:spMkLst>
            <pc:docMk/>
            <pc:sldMk cId="3725159009" sldId="910"/>
            <ac:spMk id="5" creationId="{F3BB0BCB-B7E1-46B2-8459-F98E12B19452}"/>
          </ac:spMkLst>
        </pc:spChg>
      </pc:sldChg>
      <pc:sldChg chg="modSp">
        <pc:chgData name="José Antonio Ureta Santacreu" userId="e36999d1-2b92-424a-9e8c-5fde0c5fbdd2" providerId="ADAL" clId="{8E1CC941-A529-42BD-91F2-8926E50D0828}" dt="2024-06-25T11:06:57.220" v="0"/>
        <pc:sldMkLst>
          <pc:docMk/>
          <pc:sldMk cId="737495132" sldId="912"/>
        </pc:sldMkLst>
        <pc:spChg chg="mod">
          <ac:chgData name="José Antonio Ureta Santacreu" userId="e36999d1-2b92-424a-9e8c-5fde0c5fbdd2" providerId="ADAL" clId="{8E1CC941-A529-42BD-91F2-8926E50D0828}" dt="2024-06-25T11:06:57.220" v="0"/>
          <ac:spMkLst>
            <pc:docMk/>
            <pc:sldMk cId="737495132" sldId="912"/>
            <ac:spMk id="2" creationId="{A9756B79-BE8D-478C-AA2D-564C38590E6C}"/>
          </ac:spMkLst>
        </pc:spChg>
        <pc:spChg chg="mod">
          <ac:chgData name="José Antonio Ureta Santacreu" userId="e36999d1-2b92-424a-9e8c-5fde0c5fbdd2" providerId="ADAL" clId="{8E1CC941-A529-42BD-91F2-8926E50D0828}" dt="2024-06-25T11:06:57.220" v="0"/>
          <ac:spMkLst>
            <pc:docMk/>
            <pc:sldMk cId="737495132" sldId="912"/>
            <ac:spMk id="4" creationId="{28F5F10F-E7D7-46DC-A1C1-CB830E4ED13D}"/>
          </ac:spMkLst>
        </pc:spChg>
        <pc:spChg chg="mod">
          <ac:chgData name="José Antonio Ureta Santacreu" userId="e36999d1-2b92-424a-9e8c-5fde0c5fbdd2" providerId="ADAL" clId="{8E1CC941-A529-42BD-91F2-8926E50D0828}" dt="2024-06-25T11:06:57.220" v="0"/>
          <ac:spMkLst>
            <pc:docMk/>
            <pc:sldMk cId="737495132" sldId="912"/>
            <ac:spMk id="5" creationId="{90A2C3CB-1FA9-489B-9291-347BCE2AD536}"/>
          </ac:spMkLst>
        </pc:spChg>
        <pc:spChg chg="mod">
          <ac:chgData name="José Antonio Ureta Santacreu" userId="e36999d1-2b92-424a-9e8c-5fde0c5fbdd2" providerId="ADAL" clId="{8E1CC941-A529-42BD-91F2-8926E50D0828}" dt="2024-06-25T11:06:57.220" v="0"/>
          <ac:spMkLst>
            <pc:docMk/>
            <pc:sldMk cId="737495132" sldId="912"/>
            <ac:spMk id="6" creationId="{AED1F7F3-62FC-4413-B4D7-75E982FC7D37}"/>
          </ac:spMkLst>
        </pc:spChg>
        <pc:graphicFrameChg chg="mod">
          <ac:chgData name="José Antonio Ureta Santacreu" userId="e36999d1-2b92-424a-9e8c-5fde0c5fbdd2" providerId="ADAL" clId="{8E1CC941-A529-42BD-91F2-8926E50D0828}" dt="2024-06-25T11:06:57.220" v="0"/>
          <ac:graphicFrameMkLst>
            <pc:docMk/>
            <pc:sldMk cId="737495132" sldId="912"/>
            <ac:graphicFrameMk id="13" creationId="{512D6513-9548-4634-9F4A-7E937A1D4EAC}"/>
          </ac:graphicFrameMkLst>
        </pc:graphicFrameChg>
      </pc:sldChg>
      <pc:sldChg chg="delSp modSp mod modShow">
        <pc:chgData name="José Antonio Ureta Santacreu" userId="e36999d1-2b92-424a-9e8c-5fde0c5fbdd2" providerId="ADAL" clId="{8E1CC941-A529-42BD-91F2-8926E50D0828}" dt="2024-07-19T09:07:05.964" v="711" actId="20577"/>
        <pc:sldMkLst>
          <pc:docMk/>
          <pc:sldMk cId="2698360823" sldId="913"/>
        </pc:sldMkLst>
        <pc:spChg chg="mod">
          <ac:chgData name="José Antonio Ureta Santacreu" userId="e36999d1-2b92-424a-9e8c-5fde0c5fbdd2" providerId="ADAL" clId="{8E1CC941-A529-42BD-91F2-8926E50D0828}" dt="2024-07-19T09:07:05.964" v="711" actId="20577"/>
          <ac:spMkLst>
            <pc:docMk/>
            <pc:sldMk cId="2698360823" sldId="913"/>
            <ac:spMk id="2" creationId="{3DABDBC5-8900-4574-9648-57BBD204FA6A}"/>
          </ac:spMkLst>
        </pc:spChg>
        <pc:spChg chg="mod">
          <ac:chgData name="José Antonio Ureta Santacreu" userId="e36999d1-2b92-424a-9e8c-5fde0c5fbdd2" providerId="ADAL" clId="{8E1CC941-A529-42BD-91F2-8926E50D0828}" dt="2024-06-25T11:06:57.220" v="0"/>
          <ac:spMkLst>
            <pc:docMk/>
            <pc:sldMk cId="2698360823" sldId="913"/>
            <ac:spMk id="3" creationId="{7D7ACF33-42F9-4D51-8DDE-4E54949130A6}"/>
          </ac:spMkLst>
        </pc:spChg>
        <pc:spChg chg="mod">
          <ac:chgData name="José Antonio Ureta Santacreu" userId="e36999d1-2b92-424a-9e8c-5fde0c5fbdd2" providerId="ADAL" clId="{8E1CC941-A529-42BD-91F2-8926E50D0828}" dt="2024-06-25T11:06:57.220" v="0"/>
          <ac:spMkLst>
            <pc:docMk/>
            <pc:sldMk cId="2698360823" sldId="913"/>
            <ac:spMk id="4" creationId="{BC9B28E4-2C38-4798-93C7-6752F42F0831}"/>
          </ac:spMkLst>
        </pc:spChg>
        <pc:spChg chg="mod">
          <ac:chgData name="José Antonio Ureta Santacreu" userId="e36999d1-2b92-424a-9e8c-5fde0c5fbdd2" providerId="ADAL" clId="{8E1CC941-A529-42BD-91F2-8926E50D0828}" dt="2024-06-25T11:06:57.220" v="0"/>
          <ac:spMkLst>
            <pc:docMk/>
            <pc:sldMk cId="2698360823" sldId="913"/>
            <ac:spMk id="5" creationId="{67927803-6BB5-4202-B7CB-22121E4A6CD2}"/>
          </ac:spMkLst>
        </pc:spChg>
        <pc:picChg chg="del">
          <ac:chgData name="José Antonio Ureta Santacreu" userId="e36999d1-2b92-424a-9e8c-5fde0c5fbdd2" providerId="ADAL" clId="{8E1CC941-A529-42BD-91F2-8926E50D0828}" dt="2024-07-19T09:06:52.476" v="704" actId="478"/>
          <ac:picMkLst>
            <pc:docMk/>
            <pc:sldMk cId="2698360823" sldId="913"/>
            <ac:picMk id="1026" creationId="{77A2D1CD-23D8-4A85-92F1-C7ECBE4C7753}"/>
          </ac:picMkLst>
        </pc:picChg>
      </pc:sldChg>
      <pc:sldChg chg="modSp mod">
        <pc:chgData name="José Antonio Ureta Santacreu" userId="e36999d1-2b92-424a-9e8c-5fde0c5fbdd2" providerId="ADAL" clId="{8E1CC941-A529-42BD-91F2-8926E50D0828}" dt="2024-06-25T11:06:59.244" v="44" actId="27636"/>
        <pc:sldMkLst>
          <pc:docMk/>
          <pc:sldMk cId="3086503909" sldId="914"/>
        </pc:sldMkLst>
        <pc:spChg chg="mod">
          <ac:chgData name="José Antonio Ureta Santacreu" userId="e36999d1-2b92-424a-9e8c-5fde0c5fbdd2" providerId="ADAL" clId="{8E1CC941-A529-42BD-91F2-8926E50D0828}" dt="2024-06-25T11:06:57.220" v="0"/>
          <ac:spMkLst>
            <pc:docMk/>
            <pc:sldMk cId="3086503909" sldId="914"/>
            <ac:spMk id="2" creationId="{789F8FA2-8CB5-4479-876C-D4D7345F109E}"/>
          </ac:spMkLst>
        </pc:spChg>
        <pc:spChg chg="mod">
          <ac:chgData name="José Antonio Ureta Santacreu" userId="e36999d1-2b92-424a-9e8c-5fde0c5fbdd2" providerId="ADAL" clId="{8E1CC941-A529-42BD-91F2-8926E50D0828}" dt="2024-06-25T11:06:59.240" v="43" actId="27636"/>
          <ac:spMkLst>
            <pc:docMk/>
            <pc:sldMk cId="3086503909" sldId="914"/>
            <ac:spMk id="3" creationId="{0B3DB139-0A9C-4900-A7C6-979330195FC3}"/>
          </ac:spMkLst>
        </pc:spChg>
        <pc:spChg chg="mod">
          <ac:chgData name="José Antonio Ureta Santacreu" userId="e36999d1-2b92-424a-9e8c-5fde0c5fbdd2" providerId="ADAL" clId="{8E1CC941-A529-42BD-91F2-8926E50D0828}" dt="2024-06-25T11:06:59.244" v="44" actId="27636"/>
          <ac:spMkLst>
            <pc:docMk/>
            <pc:sldMk cId="3086503909" sldId="914"/>
            <ac:spMk id="4" creationId="{5351F24B-3405-479E-89E7-2466AF615ADB}"/>
          </ac:spMkLst>
        </pc:spChg>
      </pc:sldChg>
      <pc:sldChg chg="modSp">
        <pc:chgData name="José Antonio Ureta Santacreu" userId="e36999d1-2b92-424a-9e8c-5fde0c5fbdd2" providerId="ADAL" clId="{8E1CC941-A529-42BD-91F2-8926E50D0828}" dt="2024-06-25T11:06:57.220" v="0"/>
        <pc:sldMkLst>
          <pc:docMk/>
          <pc:sldMk cId="376848835" sldId="915"/>
        </pc:sldMkLst>
        <pc:spChg chg="mod">
          <ac:chgData name="José Antonio Ureta Santacreu" userId="e36999d1-2b92-424a-9e8c-5fde0c5fbdd2" providerId="ADAL" clId="{8E1CC941-A529-42BD-91F2-8926E50D0828}" dt="2024-06-25T11:06:57.220" v="0"/>
          <ac:spMkLst>
            <pc:docMk/>
            <pc:sldMk cId="376848835" sldId="915"/>
            <ac:spMk id="2" creationId="{88394DE8-5492-474E-9C4B-1760D93B1B66}"/>
          </ac:spMkLst>
        </pc:spChg>
        <pc:spChg chg="mod">
          <ac:chgData name="José Antonio Ureta Santacreu" userId="e36999d1-2b92-424a-9e8c-5fde0c5fbdd2" providerId="ADAL" clId="{8E1CC941-A529-42BD-91F2-8926E50D0828}" dt="2024-06-25T11:06:57.220" v="0"/>
          <ac:spMkLst>
            <pc:docMk/>
            <pc:sldMk cId="376848835" sldId="915"/>
            <ac:spMk id="3" creationId="{6D75ABDD-ABC4-4209-89CF-E2143E4F8602}"/>
          </ac:spMkLst>
        </pc:spChg>
        <pc:spChg chg="mod">
          <ac:chgData name="José Antonio Ureta Santacreu" userId="e36999d1-2b92-424a-9e8c-5fde0c5fbdd2" providerId="ADAL" clId="{8E1CC941-A529-42BD-91F2-8926E50D0828}" dt="2024-06-25T11:06:57.220" v="0"/>
          <ac:spMkLst>
            <pc:docMk/>
            <pc:sldMk cId="376848835" sldId="915"/>
            <ac:spMk id="4" creationId="{6D7A758A-1441-43E5-9D5D-A7B278A6A2E2}"/>
          </ac:spMkLst>
        </pc:spChg>
        <pc:spChg chg="mod">
          <ac:chgData name="José Antonio Ureta Santacreu" userId="e36999d1-2b92-424a-9e8c-5fde0c5fbdd2" providerId="ADAL" clId="{8E1CC941-A529-42BD-91F2-8926E50D0828}" dt="2024-06-25T11:06:57.220" v="0"/>
          <ac:spMkLst>
            <pc:docMk/>
            <pc:sldMk cId="376848835" sldId="915"/>
            <ac:spMk id="5" creationId="{3FFFA8A1-9A45-4833-A225-A209759E98DF}"/>
          </ac:spMkLst>
        </pc:spChg>
      </pc:sldChg>
      <pc:sldChg chg="modSp">
        <pc:chgData name="José Antonio Ureta Santacreu" userId="e36999d1-2b92-424a-9e8c-5fde0c5fbdd2" providerId="ADAL" clId="{8E1CC941-A529-42BD-91F2-8926E50D0828}" dt="2024-06-25T11:06:57.220" v="0"/>
        <pc:sldMkLst>
          <pc:docMk/>
          <pc:sldMk cId="2506744013" sldId="916"/>
        </pc:sldMkLst>
        <pc:spChg chg="mod">
          <ac:chgData name="José Antonio Ureta Santacreu" userId="e36999d1-2b92-424a-9e8c-5fde0c5fbdd2" providerId="ADAL" clId="{8E1CC941-A529-42BD-91F2-8926E50D0828}" dt="2024-06-25T11:06:57.220" v="0"/>
          <ac:spMkLst>
            <pc:docMk/>
            <pc:sldMk cId="2506744013" sldId="916"/>
            <ac:spMk id="2" creationId="{9DFE9CE0-870B-4D89-8F9F-A55287F166B8}"/>
          </ac:spMkLst>
        </pc:spChg>
        <pc:spChg chg="mod">
          <ac:chgData name="José Antonio Ureta Santacreu" userId="e36999d1-2b92-424a-9e8c-5fde0c5fbdd2" providerId="ADAL" clId="{8E1CC941-A529-42BD-91F2-8926E50D0828}" dt="2024-06-25T11:06:57.220" v="0"/>
          <ac:spMkLst>
            <pc:docMk/>
            <pc:sldMk cId="2506744013" sldId="916"/>
            <ac:spMk id="3" creationId="{2CACE4D4-981A-471B-A228-639AD82EEDBD}"/>
          </ac:spMkLst>
        </pc:spChg>
        <pc:spChg chg="mod">
          <ac:chgData name="José Antonio Ureta Santacreu" userId="e36999d1-2b92-424a-9e8c-5fde0c5fbdd2" providerId="ADAL" clId="{8E1CC941-A529-42BD-91F2-8926E50D0828}" dt="2024-06-25T11:06:57.220" v="0"/>
          <ac:spMkLst>
            <pc:docMk/>
            <pc:sldMk cId="2506744013" sldId="916"/>
            <ac:spMk id="4" creationId="{42E926B1-2F8F-4D87-9FC9-CECA53F355AF}"/>
          </ac:spMkLst>
        </pc:spChg>
        <pc:spChg chg="mod">
          <ac:chgData name="José Antonio Ureta Santacreu" userId="e36999d1-2b92-424a-9e8c-5fde0c5fbdd2" providerId="ADAL" clId="{8E1CC941-A529-42BD-91F2-8926E50D0828}" dt="2024-06-25T11:06:57.220" v="0"/>
          <ac:spMkLst>
            <pc:docMk/>
            <pc:sldMk cId="2506744013" sldId="916"/>
            <ac:spMk id="5" creationId="{5A261224-1E49-42D1-A015-462F79CD2148}"/>
          </ac:spMkLst>
        </pc:spChg>
      </pc:sldChg>
      <pc:sldChg chg="modSp">
        <pc:chgData name="José Antonio Ureta Santacreu" userId="e36999d1-2b92-424a-9e8c-5fde0c5fbdd2" providerId="ADAL" clId="{8E1CC941-A529-42BD-91F2-8926E50D0828}" dt="2024-06-25T11:06:57.220" v="0"/>
        <pc:sldMkLst>
          <pc:docMk/>
          <pc:sldMk cId="2974846749" sldId="922"/>
        </pc:sldMkLst>
        <pc:spChg chg="mod">
          <ac:chgData name="José Antonio Ureta Santacreu" userId="e36999d1-2b92-424a-9e8c-5fde0c5fbdd2" providerId="ADAL" clId="{8E1CC941-A529-42BD-91F2-8926E50D0828}" dt="2024-06-25T11:06:57.220" v="0"/>
          <ac:spMkLst>
            <pc:docMk/>
            <pc:sldMk cId="2974846749" sldId="922"/>
            <ac:spMk id="2" creationId="{B5FF0D9B-CFB7-81F2-F915-1D65A6BCA225}"/>
          </ac:spMkLst>
        </pc:spChg>
        <pc:spChg chg="mod">
          <ac:chgData name="José Antonio Ureta Santacreu" userId="e36999d1-2b92-424a-9e8c-5fde0c5fbdd2" providerId="ADAL" clId="{8E1CC941-A529-42BD-91F2-8926E50D0828}" dt="2024-06-25T11:06:57.220" v="0"/>
          <ac:spMkLst>
            <pc:docMk/>
            <pc:sldMk cId="2974846749" sldId="922"/>
            <ac:spMk id="4" creationId="{4CCF178A-5CCD-A4D3-602C-C9CCF0C4C12A}"/>
          </ac:spMkLst>
        </pc:spChg>
        <pc:spChg chg="mod">
          <ac:chgData name="José Antonio Ureta Santacreu" userId="e36999d1-2b92-424a-9e8c-5fde0c5fbdd2" providerId="ADAL" clId="{8E1CC941-A529-42BD-91F2-8926E50D0828}" dt="2024-06-25T11:06:57.220" v="0"/>
          <ac:spMkLst>
            <pc:docMk/>
            <pc:sldMk cId="2974846749" sldId="922"/>
            <ac:spMk id="5" creationId="{36C0EBEF-ADCC-06C7-6768-48893FE092C2}"/>
          </ac:spMkLst>
        </pc:spChg>
        <pc:spChg chg="mod">
          <ac:chgData name="José Antonio Ureta Santacreu" userId="e36999d1-2b92-424a-9e8c-5fde0c5fbdd2" providerId="ADAL" clId="{8E1CC941-A529-42BD-91F2-8926E50D0828}" dt="2024-06-25T11:06:57.220" v="0"/>
          <ac:spMkLst>
            <pc:docMk/>
            <pc:sldMk cId="2974846749" sldId="922"/>
            <ac:spMk id="6" creationId="{DD376297-134D-6181-961F-0D5689639BFD}"/>
          </ac:spMkLst>
        </pc:spChg>
        <pc:spChg chg="mod">
          <ac:chgData name="José Antonio Ureta Santacreu" userId="e36999d1-2b92-424a-9e8c-5fde0c5fbdd2" providerId="ADAL" clId="{8E1CC941-A529-42BD-91F2-8926E50D0828}" dt="2024-06-25T11:06:57.220" v="0"/>
          <ac:spMkLst>
            <pc:docMk/>
            <pc:sldMk cId="2974846749" sldId="922"/>
            <ac:spMk id="7" creationId="{C8627FB4-A3D7-59F4-95DE-1E39CDBCF6EB}"/>
          </ac:spMkLst>
        </pc:spChg>
        <pc:spChg chg="mod">
          <ac:chgData name="José Antonio Ureta Santacreu" userId="e36999d1-2b92-424a-9e8c-5fde0c5fbdd2" providerId="ADAL" clId="{8E1CC941-A529-42BD-91F2-8926E50D0828}" dt="2024-06-25T11:06:57.220" v="0"/>
          <ac:spMkLst>
            <pc:docMk/>
            <pc:sldMk cId="2974846749" sldId="922"/>
            <ac:spMk id="8" creationId="{D41D2CC9-4611-6C04-4642-EEB987B24B8B}"/>
          </ac:spMkLst>
        </pc:spChg>
        <pc:picChg chg="mod">
          <ac:chgData name="José Antonio Ureta Santacreu" userId="e36999d1-2b92-424a-9e8c-5fde0c5fbdd2" providerId="ADAL" clId="{8E1CC941-A529-42BD-91F2-8926E50D0828}" dt="2024-06-25T11:06:57.220" v="0"/>
          <ac:picMkLst>
            <pc:docMk/>
            <pc:sldMk cId="2974846749" sldId="922"/>
            <ac:picMk id="9" creationId="{FEA4C25D-4ADE-9897-B013-5FA048796735}"/>
          </ac:picMkLst>
        </pc:picChg>
      </pc:sldChg>
      <pc:sldChg chg="modSp mod">
        <pc:chgData name="José Antonio Ureta Santacreu" userId="e36999d1-2b92-424a-9e8c-5fde0c5fbdd2" providerId="ADAL" clId="{8E1CC941-A529-42BD-91F2-8926E50D0828}" dt="2024-06-25T11:06:58.682" v="27" actId="27636"/>
        <pc:sldMkLst>
          <pc:docMk/>
          <pc:sldMk cId="920132976" sldId="923"/>
        </pc:sldMkLst>
        <pc:spChg chg="mod">
          <ac:chgData name="José Antonio Ureta Santacreu" userId="e36999d1-2b92-424a-9e8c-5fde0c5fbdd2" providerId="ADAL" clId="{8E1CC941-A529-42BD-91F2-8926E50D0828}" dt="2024-06-25T11:06:57.220" v="0"/>
          <ac:spMkLst>
            <pc:docMk/>
            <pc:sldMk cId="920132976" sldId="923"/>
            <ac:spMk id="2" creationId="{25A5855E-D851-430F-AEF0-6CCA2E29BAA1}"/>
          </ac:spMkLst>
        </pc:spChg>
        <pc:spChg chg="mod">
          <ac:chgData name="José Antonio Ureta Santacreu" userId="e36999d1-2b92-424a-9e8c-5fde0c5fbdd2" providerId="ADAL" clId="{8E1CC941-A529-42BD-91F2-8926E50D0828}" dt="2024-06-25T11:06:57.220" v="0"/>
          <ac:spMkLst>
            <pc:docMk/>
            <pc:sldMk cId="920132976" sldId="923"/>
            <ac:spMk id="5" creationId="{872A2A5D-68C0-46FF-91D0-98DE550B78CC}"/>
          </ac:spMkLst>
        </pc:spChg>
        <pc:spChg chg="mod">
          <ac:chgData name="José Antonio Ureta Santacreu" userId="e36999d1-2b92-424a-9e8c-5fde0c5fbdd2" providerId="ADAL" clId="{8E1CC941-A529-42BD-91F2-8926E50D0828}" dt="2024-06-25T11:06:57.220" v="0"/>
          <ac:spMkLst>
            <pc:docMk/>
            <pc:sldMk cId="920132976" sldId="923"/>
            <ac:spMk id="6" creationId="{C06D0E52-66DD-4B7D-BB00-03A6DA18D3BF}"/>
          </ac:spMkLst>
        </pc:spChg>
        <pc:spChg chg="mod">
          <ac:chgData name="José Antonio Ureta Santacreu" userId="e36999d1-2b92-424a-9e8c-5fde0c5fbdd2" providerId="ADAL" clId="{8E1CC941-A529-42BD-91F2-8926E50D0828}" dt="2024-06-25T11:06:57.220" v="0"/>
          <ac:spMkLst>
            <pc:docMk/>
            <pc:sldMk cId="920132976" sldId="923"/>
            <ac:spMk id="7" creationId="{1EC83081-D015-472A-AA31-2F18C3D80BBE}"/>
          </ac:spMkLst>
        </pc:spChg>
        <pc:spChg chg="mod">
          <ac:chgData name="José Antonio Ureta Santacreu" userId="e36999d1-2b92-424a-9e8c-5fde0c5fbdd2" providerId="ADAL" clId="{8E1CC941-A529-42BD-91F2-8926E50D0828}" dt="2024-06-25T11:06:58.682" v="27" actId="27636"/>
          <ac:spMkLst>
            <pc:docMk/>
            <pc:sldMk cId="920132976" sldId="923"/>
            <ac:spMk id="8" creationId="{1CAA4E78-02BF-4C32-8AAF-0D37FCC2653F}"/>
          </ac:spMkLst>
        </pc:spChg>
        <pc:picChg chg="mod">
          <ac:chgData name="José Antonio Ureta Santacreu" userId="e36999d1-2b92-424a-9e8c-5fde0c5fbdd2" providerId="ADAL" clId="{8E1CC941-A529-42BD-91F2-8926E50D0828}" dt="2024-06-25T11:06:57.220" v="0"/>
          <ac:picMkLst>
            <pc:docMk/>
            <pc:sldMk cId="920132976" sldId="923"/>
            <ac:picMk id="10" creationId="{A4BD5958-4F71-412D-A5B4-0A531FAD31F3}"/>
          </ac:picMkLst>
        </pc:picChg>
      </pc:sldChg>
      <pc:sldChg chg="modSp">
        <pc:chgData name="José Antonio Ureta Santacreu" userId="e36999d1-2b92-424a-9e8c-5fde0c5fbdd2" providerId="ADAL" clId="{8E1CC941-A529-42BD-91F2-8926E50D0828}" dt="2024-06-25T11:06:57.220" v="0"/>
        <pc:sldMkLst>
          <pc:docMk/>
          <pc:sldMk cId="2353857604" sldId="924"/>
        </pc:sldMkLst>
        <pc:spChg chg="mod">
          <ac:chgData name="José Antonio Ureta Santacreu" userId="e36999d1-2b92-424a-9e8c-5fde0c5fbdd2" providerId="ADAL" clId="{8E1CC941-A529-42BD-91F2-8926E50D0828}" dt="2024-06-25T11:06:57.220" v="0"/>
          <ac:spMkLst>
            <pc:docMk/>
            <pc:sldMk cId="2353857604" sldId="924"/>
            <ac:spMk id="2" creationId="{F8B2831C-2338-4286-A14E-7089B7D55329}"/>
          </ac:spMkLst>
        </pc:spChg>
        <pc:spChg chg="mod">
          <ac:chgData name="José Antonio Ureta Santacreu" userId="e36999d1-2b92-424a-9e8c-5fde0c5fbdd2" providerId="ADAL" clId="{8E1CC941-A529-42BD-91F2-8926E50D0828}" dt="2024-06-25T11:06:57.220" v="0"/>
          <ac:spMkLst>
            <pc:docMk/>
            <pc:sldMk cId="2353857604" sldId="924"/>
            <ac:spMk id="3" creationId="{A201B0F0-4252-496E-84F2-675E830896D9}"/>
          </ac:spMkLst>
        </pc:spChg>
        <pc:spChg chg="mod">
          <ac:chgData name="José Antonio Ureta Santacreu" userId="e36999d1-2b92-424a-9e8c-5fde0c5fbdd2" providerId="ADAL" clId="{8E1CC941-A529-42BD-91F2-8926E50D0828}" dt="2024-06-25T11:06:57.220" v="0"/>
          <ac:spMkLst>
            <pc:docMk/>
            <pc:sldMk cId="2353857604" sldId="924"/>
            <ac:spMk id="4" creationId="{8E37C4B6-41D8-4E76-8913-6D4C2504D352}"/>
          </ac:spMkLst>
        </pc:spChg>
        <pc:spChg chg="mod">
          <ac:chgData name="José Antonio Ureta Santacreu" userId="e36999d1-2b92-424a-9e8c-5fde0c5fbdd2" providerId="ADAL" clId="{8E1CC941-A529-42BD-91F2-8926E50D0828}" dt="2024-06-25T11:06:57.220" v="0"/>
          <ac:spMkLst>
            <pc:docMk/>
            <pc:sldMk cId="2353857604" sldId="924"/>
            <ac:spMk id="5" creationId="{328ED3F3-3331-4A39-9151-97AD9F41DB44}"/>
          </ac:spMkLst>
        </pc:spChg>
      </pc:sldChg>
      <pc:sldChg chg="modSp">
        <pc:chgData name="José Antonio Ureta Santacreu" userId="e36999d1-2b92-424a-9e8c-5fde0c5fbdd2" providerId="ADAL" clId="{8E1CC941-A529-42BD-91F2-8926E50D0828}" dt="2024-06-25T11:06:57.220" v="0"/>
        <pc:sldMkLst>
          <pc:docMk/>
          <pc:sldMk cId="426856897" sldId="925"/>
        </pc:sldMkLst>
        <pc:spChg chg="mod">
          <ac:chgData name="José Antonio Ureta Santacreu" userId="e36999d1-2b92-424a-9e8c-5fde0c5fbdd2" providerId="ADAL" clId="{8E1CC941-A529-42BD-91F2-8926E50D0828}" dt="2024-06-25T11:06:57.220" v="0"/>
          <ac:spMkLst>
            <pc:docMk/>
            <pc:sldMk cId="426856897" sldId="925"/>
            <ac:spMk id="2" creationId="{91AA312B-12DC-4581-805E-22E5CD69B98B}"/>
          </ac:spMkLst>
        </pc:spChg>
        <pc:spChg chg="mod">
          <ac:chgData name="José Antonio Ureta Santacreu" userId="e36999d1-2b92-424a-9e8c-5fde0c5fbdd2" providerId="ADAL" clId="{8E1CC941-A529-42BD-91F2-8926E50D0828}" dt="2024-06-25T11:06:57.220" v="0"/>
          <ac:spMkLst>
            <pc:docMk/>
            <pc:sldMk cId="426856897" sldId="925"/>
            <ac:spMk id="3" creationId="{2C6A8C79-4ACB-49BB-B387-519FDC59D89A}"/>
          </ac:spMkLst>
        </pc:spChg>
        <pc:spChg chg="mod">
          <ac:chgData name="José Antonio Ureta Santacreu" userId="e36999d1-2b92-424a-9e8c-5fde0c5fbdd2" providerId="ADAL" clId="{8E1CC941-A529-42BD-91F2-8926E50D0828}" dt="2024-06-25T11:06:57.220" v="0"/>
          <ac:spMkLst>
            <pc:docMk/>
            <pc:sldMk cId="426856897" sldId="925"/>
            <ac:spMk id="4" creationId="{FF2F36C9-3B51-4D4B-B57E-BDFC73F1CB05}"/>
          </ac:spMkLst>
        </pc:spChg>
        <pc:spChg chg="mod">
          <ac:chgData name="José Antonio Ureta Santacreu" userId="e36999d1-2b92-424a-9e8c-5fde0c5fbdd2" providerId="ADAL" clId="{8E1CC941-A529-42BD-91F2-8926E50D0828}" dt="2024-06-25T11:06:57.220" v="0"/>
          <ac:spMkLst>
            <pc:docMk/>
            <pc:sldMk cId="426856897" sldId="925"/>
            <ac:spMk id="5" creationId="{AB5770EF-6ABA-45E2-A973-72D1D26B085D}"/>
          </ac:spMkLst>
        </pc:spChg>
      </pc:sldChg>
      <pc:sldChg chg="modSp mod">
        <pc:chgData name="José Antonio Ureta Santacreu" userId="e36999d1-2b92-424a-9e8c-5fde0c5fbdd2" providerId="ADAL" clId="{8E1CC941-A529-42BD-91F2-8926E50D0828}" dt="2024-06-25T11:06:58.205" v="16" actId="27636"/>
        <pc:sldMkLst>
          <pc:docMk/>
          <pc:sldMk cId="2329608386" sldId="929"/>
        </pc:sldMkLst>
        <pc:spChg chg="mod">
          <ac:chgData name="José Antonio Ureta Santacreu" userId="e36999d1-2b92-424a-9e8c-5fde0c5fbdd2" providerId="ADAL" clId="{8E1CC941-A529-42BD-91F2-8926E50D0828}" dt="2024-06-25T11:06:57.220" v="0"/>
          <ac:spMkLst>
            <pc:docMk/>
            <pc:sldMk cId="2329608386" sldId="929"/>
            <ac:spMk id="2" creationId="{AEE65988-F8DE-F4E7-0870-FFF8C0872690}"/>
          </ac:spMkLst>
        </pc:spChg>
        <pc:spChg chg="mod">
          <ac:chgData name="José Antonio Ureta Santacreu" userId="e36999d1-2b92-424a-9e8c-5fde0c5fbdd2" providerId="ADAL" clId="{8E1CC941-A529-42BD-91F2-8926E50D0828}" dt="2024-06-25T11:06:58.205" v="16" actId="27636"/>
          <ac:spMkLst>
            <pc:docMk/>
            <pc:sldMk cId="2329608386" sldId="929"/>
            <ac:spMk id="4" creationId="{30630979-A8FE-89A5-CDAA-B7C074E77816}"/>
          </ac:spMkLst>
        </pc:spChg>
        <pc:spChg chg="mod">
          <ac:chgData name="José Antonio Ureta Santacreu" userId="e36999d1-2b92-424a-9e8c-5fde0c5fbdd2" providerId="ADAL" clId="{8E1CC941-A529-42BD-91F2-8926E50D0828}" dt="2024-06-25T11:06:57.220" v="0"/>
          <ac:spMkLst>
            <pc:docMk/>
            <pc:sldMk cId="2329608386" sldId="929"/>
            <ac:spMk id="5" creationId="{144F1D5B-1810-4C73-0FDB-8F0635DF5F0D}"/>
          </ac:spMkLst>
        </pc:spChg>
        <pc:spChg chg="mod">
          <ac:chgData name="José Antonio Ureta Santacreu" userId="e36999d1-2b92-424a-9e8c-5fde0c5fbdd2" providerId="ADAL" clId="{8E1CC941-A529-42BD-91F2-8926E50D0828}" dt="2024-06-25T11:06:57.220" v="0"/>
          <ac:spMkLst>
            <pc:docMk/>
            <pc:sldMk cId="2329608386" sldId="929"/>
            <ac:spMk id="6" creationId="{D407B693-F501-DE57-A313-C42A138F1A30}"/>
          </ac:spMkLst>
        </pc:spChg>
        <pc:spChg chg="mod">
          <ac:chgData name="José Antonio Ureta Santacreu" userId="e36999d1-2b92-424a-9e8c-5fde0c5fbdd2" providerId="ADAL" clId="{8E1CC941-A529-42BD-91F2-8926E50D0828}" dt="2024-06-25T11:06:57.220" v="0"/>
          <ac:spMkLst>
            <pc:docMk/>
            <pc:sldMk cId="2329608386" sldId="929"/>
            <ac:spMk id="7" creationId="{F1C7F2FA-3F20-3D6E-413F-9EF01F567EAD}"/>
          </ac:spMkLst>
        </pc:spChg>
        <pc:spChg chg="mod">
          <ac:chgData name="José Antonio Ureta Santacreu" userId="e36999d1-2b92-424a-9e8c-5fde0c5fbdd2" providerId="ADAL" clId="{8E1CC941-A529-42BD-91F2-8926E50D0828}" dt="2024-06-25T11:06:57.220" v="0"/>
          <ac:spMkLst>
            <pc:docMk/>
            <pc:sldMk cId="2329608386" sldId="929"/>
            <ac:spMk id="8" creationId="{23D193C9-F029-2343-E1A6-4351B6BAAABC}"/>
          </ac:spMkLst>
        </pc:spChg>
        <pc:picChg chg="mod">
          <ac:chgData name="José Antonio Ureta Santacreu" userId="e36999d1-2b92-424a-9e8c-5fde0c5fbdd2" providerId="ADAL" clId="{8E1CC941-A529-42BD-91F2-8926E50D0828}" dt="2024-06-25T11:06:57.220" v="0"/>
          <ac:picMkLst>
            <pc:docMk/>
            <pc:sldMk cId="2329608386" sldId="929"/>
            <ac:picMk id="9" creationId="{F0468041-6132-DA6F-43CC-BDEA32DFD0A7}"/>
          </ac:picMkLst>
        </pc:picChg>
      </pc:sldChg>
      <pc:sldChg chg="modSp">
        <pc:chgData name="José Antonio Ureta Santacreu" userId="e36999d1-2b92-424a-9e8c-5fde0c5fbdd2" providerId="ADAL" clId="{8E1CC941-A529-42BD-91F2-8926E50D0828}" dt="2024-06-25T11:06:57.220" v="0"/>
        <pc:sldMkLst>
          <pc:docMk/>
          <pc:sldMk cId="3728386926" sldId="930"/>
        </pc:sldMkLst>
        <pc:spChg chg="mod">
          <ac:chgData name="José Antonio Ureta Santacreu" userId="e36999d1-2b92-424a-9e8c-5fde0c5fbdd2" providerId="ADAL" clId="{8E1CC941-A529-42BD-91F2-8926E50D0828}" dt="2024-06-25T11:06:57.220" v="0"/>
          <ac:spMkLst>
            <pc:docMk/>
            <pc:sldMk cId="3728386926" sldId="930"/>
            <ac:spMk id="2" creationId="{C620C0A4-63F2-CF26-11C6-EF0CAA35ABAF}"/>
          </ac:spMkLst>
        </pc:spChg>
        <pc:spChg chg="mod">
          <ac:chgData name="José Antonio Ureta Santacreu" userId="e36999d1-2b92-424a-9e8c-5fde0c5fbdd2" providerId="ADAL" clId="{8E1CC941-A529-42BD-91F2-8926E50D0828}" dt="2024-06-25T11:06:57.220" v="0"/>
          <ac:spMkLst>
            <pc:docMk/>
            <pc:sldMk cId="3728386926" sldId="930"/>
            <ac:spMk id="4" creationId="{E8A90B40-E0FA-0025-DEA1-560FA99B324F}"/>
          </ac:spMkLst>
        </pc:spChg>
        <pc:spChg chg="mod">
          <ac:chgData name="José Antonio Ureta Santacreu" userId="e36999d1-2b92-424a-9e8c-5fde0c5fbdd2" providerId="ADAL" clId="{8E1CC941-A529-42BD-91F2-8926E50D0828}" dt="2024-06-25T11:06:57.220" v="0"/>
          <ac:spMkLst>
            <pc:docMk/>
            <pc:sldMk cId="3728386926" sldId="930"/>
            <ac:spMk id="5" creationId="{3C045AEE-7B83-22AA-62EE-C53149EFF145}"/>
          </ac:spMkLst>
        </pc:spChg>
        <pc:spChg chg="mod">
          <ac:chgData name="José Antonio Ureta Santacreu" userId="e36999d1-2b92-424a-9e8c-5fde0c5fbdd2" providerId="ADAL" clId="{8E1CC941-A529-42BD-91F2-8926E50D0828}" dt="2024-06-25T11:06:57.220" v="0"/>
          <ac:spMkLst>
            <pc:docMk/>
            <pc:sldMk cId="3728386926" sldId="930"/>
            <ac:spMk id="6" creationId="{ACCD6981-E674-15B7-AD21-5A301CC70D46}"/>
          </ac:spMkLst>
        </pc:spChg>
        <pc:spChg chg="mod">
          <ac:chgData name="José Antonio Ureta Santacreu" userId="e36999d1-2b92-424a-9e8c-5fde0c5fbdd2" providerId="ADAL" clId="{8E1CC941-A529-42BD-91F2-8926E50D0828}" dt="2024-06-25T11:06:57.220" v="0"/>
          <ac:spMkLst>
            <pc:docMk/>
            <pc:sldMk cId="3728386926" sldId="930"/>
            <ac:spMk id="7" creationId="{7625197F-A13B-B5A5-8E11-AFC7B107D9B1}"/>
          </ac:spMkLst>
        </pc:spChg>
        <pc:spChg chg="mod">
          <ac:chgData name="José Antonio Ureta Santacreu" userId="e36999d1-2b92-424a-9e8c-5fde0c5fbdd2" providerId="ADAL" clId="{8E1CC941-A529-42BD-91F2-8926E50D0828}" dt="2024-06-25T11:06:57.220" v="0"/>
          <ac:spMkLst>
            <pc:docMk/>
            <pc:sldMk cId="3728386926" sldId="930"/>
            <ac:spMk id="8" creationId="{E268DF93-91BC-9134-E849-672ABE496C7D}"/>
          </ac:spMkLst>
        </pc:spChg>
        <pc:picChg chg="mod">
          <ac:chgData name="José Antonio Ureta Santacreu" userId="e36999d1-2b92-424a-9e8c-5fde0c5fbdd2" providerId="ADAL" clId="{8E1CC941-A529-42BD-91F2-8926E50D0828}" dt="2024-06-25T11:06:57.220" v="0"/>
          <ac:picMkLst>
            <pc:docMk/>
            <pc:sldMk cId="3728386926" sldId="930"/>
            <ac:picMk id="3074" creationId="{F0E12E86-4C00-5798-58B3-8336560D3BF8}"/>
          </ac:picMkLst>
        </pc:picChg>
      </pc:sldChg>
      <pc:sldChg chg="modSp">
        <pc:chgData name="José Antonio Ureta Santacreu" userId="e36999d1-2b92-424a-9e8c-5fde0c5fbdd2" providerId="ADAL" clId="{8E1CC941-A529-42BD-91F2-8926E50D0828}" dt="2024-06-25T11:06:57.220" v="0"/>
        <pc:sldMkLst>
          <pc:docMk/>
          <pc:sldMk cId="695555796" sldId="931"/>
        </pc:sldMkLst>
        <pc:spChg chg="mod">
          <ac:chgData name="José Antonio Ureta Santacreu" userId="e36999d1-2b92-424a-9e8c-5fde0c5fbdd2" providerId="ADAL" clId="{8E1CC941-A529-42BD-91F2-8926E50D0828}" dt="2024-06-25T11:06:57.220" v="0"/>
          <ac:spMkLst>
            <pc:docMk/>
            <pc:sldMk cId="695555796" sldId="931"/>
            <ac:spMk id="2" creationId="{677CC392-A374-1EA2-F7AA-0868C408021E}"/>
          </ac:spMkLst>
        </pc:spChg>
        <pc:spChg chg="mod">
          <ac:chgData name="José Antonio Ureta Santacreu" userId="e36999d1-2b92-424a-9e8c-5fde0c5fbdd2" providerId="ADAL" clId="{8E1CC941-A529-42BD-91F2-8926E50D0828}" dt="2024-06-25T11:06:57.220" v="0"/>
          <ac:spMkLst>
            <pc:docMk/>
            <pc:sldMk cId="695555796" sldId="931"/>
            <ac:spMk id="4" creationId="{BC940CF5-7537-B915-BF72-8B0FF0E14036}"/>
          </ac:spMkLst>
        </pc:spChg>
        <pc:spChg chg="mod">
          <ac:chgData name="José Antonio Ureta Santacreu" userId="e36999d1-2b92-424a-9e8c-5fde0c5fbdd2" providerId="ADAL" clId="{8E1CC941-A529-42BD-91F2-8926E50D0828}" dt="2024-06-25T11:06:57.220" v="0"/>
          <ac:spMkLst>
            <pc:docMk/>
            <pc:sldMk cId="695555796" sldId="931"/>
            <ac:spMk id="5" creationId="{C64903EB-E6EC-1CDC-C759-B6EE9072141B}"/>
          </ac:spMkLst>
        </pc:spChg>
        <pc:spChg chg="mod">
          <ac:chgData name="José Antonio Ureta Santacreu" userId="e36999d1-2b92-424a-9e8c-5fde0c5fbdd2" providerId="ADAL" clId="{8E1CC941-A529-42BD-91F2-8926E50D0828}" dt="2024-06-25T11:06:57.220" v="0"/>
          <ac:spMkLst>
            <pc:docMk/>
            <pc:sldMk cId="695555796" sldId="931"/>
            <ac:spMk id="6" creationId="{232FFF4F-0552-4705-F642-AE9B04066375}"/>
          </ac:spMkLst>
        </pc:spChg>
        <pc:spChg chg="mod">
          <ac:chgData name="José Antonio Ureta Santacreu" userId="e36999d1-2b92-424a-9e8c-5fde0c5fbdd2" providerId="ADAL" clId="{8E1CC941-A529-42BD-91F2-8926E50D0828}" dt="2024-06-25T11:06:57.220" v="0"/>
          <ac:spMkLst>
            <pc:docMk/>
            <pc:sldMk cId="695555796" sldId="931"/>
            <ac:spMk id="7" creationId="{6175D80C-E634-FCAF-F88A-63FB1C544D98}"/>
          </ac:spMkLst>
        </pc:spChg>
        <pc:spChg chg="mod">
          <ac:chgData name="José Antonio Ureta Santacreu" userId="e36999d1-2b92-424a-9e8c-5fde0c5fbdd2" providerId="ADAL" clId="{8E1CC941-A529-42BD-91F2-8926E50D0828}" dt="2024-06-25T11:06:57.220" v="0"/>
          <ac:spMkLst>
            <pc:docMk/>
            <pc:sldMk cId="695555796" sldId="931"/>
            <ac:spMk id="8" creationId="{10F3A8DA-D3EE-3B7E-4FAC-B7D6AE20EEA2}"/>
          </ac:spMkLst>
        </pc:spChg>
        <pc:picChg chg="mod">
          <ac:chgData name="José Antonio Ureta Santacreu" userId="e36999d1-2b92-424a-9e8c-5fde0c5fbdd2" providerId="ADAL" clId="{8E1CC941-A529-42BD-91F2-8926E50D0828}" dt="2024-06-25T11:06:57.220" v="0"/>
          <ac:picMkLst>
            <pc:docMk/>
            <pc:sldMk cId="695555796" sldId="931"/>
            <ac:picMk id="9" creationId="{A9D82E9C-DB0B-CD09-1FA6-E588DCFF973E}"/>
          </ac:picMkLst>
        </pc:picChg>
      </pc:sldChg>
      <pc:sldChg chg="modSp">
        <pc:chgData name="José Antonio Ureta Santacreu" userId="e36999d1-2b92-424a-9e8c-5fde0c5fbdd2" providerId="ADAL" clId="{8E1CC941-A529-42BD-91F2-8926E50D0828}" dt="2024-06-25T11:06:57.220" v="0"/>
        <pc:sldMkLst>
          <pc:docMk/>
          <pc:sldMk cId="788222971" sldId="932"/>
        </pc:sldMkLst>
        <pc:spChg chg="mod">
          <ac:chgData name="José Antonio Ureta Santacreu" userId="e36999d1-2b92-424a-9e8c-5fde0c5fbdd2" providerId="ADAL" clId="{8E1CC941-A529-42BD-91F2-8926E50D0828}" dt="2024-06-25T11:06:57.220" v="0"/>
          <ac:spMkLst>
            <pc:docMk/>
            <pc:sldMk cId="788222971" sldId="932"/>
            <ac:spMk id="2" creationId="{7349E494-F92C-C84E-683B-750700AC2042}"/>
          </ac:spMkLst>
        </pc:spChg>
        <pc:spChg chg="mod">
          <ac:chgData name="José Antonio Ureta Santacreu" userId="e36999d1-2b92-424a-9e8c-5fde0c5fbdd2" providerId="ADAL" clId="{8E1CC941-A529-42BD-91F2-8926E50D0828}" dt="2024-06-25T11:06:57.220" v="0"/>
          <ac:spMkLst>
            <pc:docMk/>
            <pc:sldMk cId="788222971" sldId="932"/>
            <ac:spMk id="4" creationId="{8C3B18C2-CB36-966A-29F2-474D36AA8675}"/>
          </ac:spMkLst>
        </pc:spChg>
        <pc:spChg chg="mod">
          <ac:chgData name="José Antonio Ureta Santacreu" userId="e36999d1-2b92-424a-9e8c-5fde0c5fbdd2" providerId="ADAL" clId="{8E1CC941-A529-42BD-91F2-8926E50D0828}" dt="2024-06-25T11:06:57.220" v="0"/>
          <ac:spMkLst>
            <pc:docMk/>
            <pc:sldMk cId="788222971" sldId="932"/>
            <ac:spMk id="5" creationId="{BE556CA6-7FBC-6987-F7D3-09BBCAE50893}"/>
          </ac:spMkLst>
        </pc:spChg>
        <pc:spChg chg="mod">
          <ac:chgData name="José Antonio Ureta Santacreu" userId="e36999d1-2b92-424a-9e8c-5fde0c5fbdd2" providerId="ADAL" clId="{8E1CC941-A529-42BD-91F2-8926E50D0828}" dt="2024-06-25T11:06:57.220" v="0"/>
          <ac:spMkLst>
            <pc:docMk/>
            <pc:sldMk cId="788222971" sldId="932"/>
            <ac:spMk id="6" creationId="{2D290328-0106-9CBB-8190-2C17D4D94696}"/>
          </ac:spMkLst>
        </pc:spChg>
        <pc:spChg chg="mod">
          <ac:chgData name="José Antonio Ureta Santacreu" userId="e36999d1-2b92-424a-9e8c-5fde0c5fbdd2" providerId="ADAL" clId="{8E1CC941-A529-42BD-91F2-8926E50D0828}" dt="2024-06-25T11:06:57.220" v="0"/>
          <ac:spMkLst>
            <pc:docMk/>
            <pc:sldMk cId="788222971" sldId="932"/>
            <ac:spMk id="7" creationId="{EFBA4FA9-A0D0-9120-1D7C-6D7288DD6B50}"/>
          </ac:spMkLst>
        </pc:spChg>
        <pc:spChg chg="mod">
          <ac:chgData name="José Antonio Ureta Santacreu" userId="e36999d1-2b92-424a-9e8c-5fde0c5fbdd2" providerId="ADAL" clId="{8E1CC941-A529-42BD-91F2-8926E50D0828}" dt="2024-06-25T11:06:57.220" v="0"/>
          <ac:spMkLst>
            <pc:docMk/>
            <pc:sldMk cId="788222971" sldId="932"/>
            <ac:spMk id="8" creationId="{E92B07AD-7157-F8A0-892A-B8DC3D86F137}"/>
          </ac:spMkLst>
        </pc:spChg>
        <pc:picChg chg="mod">
          <ac:chgData name="José Antonio Ureta Santacreu" userId="e36999d1-2b92-424a-9e8c-5fde0c5fbdd2" providerId="ADAL" clId="{8E1CC941-A529-42BD-91F2-8926E50D0828}" dt="2024-06-25T11:06:57.220" v="0"/>
          <ac:picMkLst>
            <pc:docMk/>
            <pc:sldMk cId="788222971" sldId="932"/>
            <ac:picMk id="2050" creationId="{5022A480-7FF7-5F61-3E40-C6662130A209}"/>
          </ac:picMkLst>
        </pc:picChg>
      </pc:sldChg>
      <pc:sldChg chg="modSp">
        <pc:chgData name="José Antonio Ureta Santacreu" userId="e36999d1-2b92-424a-9e8c-5fde0c5fbdd2" providerId="ADAL" clId="{8E1CC941-A529-42BD-91F2-8926E50D0828}" dt="2024-06-25T11:06:57.220" v="0"/>
        <pc:sldMkLst>
          <pc:docMk/>
          <pc:sldMk cId="1187540785" sldId="933"/>
        </pc:sldMkLst>
        <pc:spChg chg="mod">
          <ac:chgData name="José Antonio Ureta Santacreu" userId="e36999d1-2b92-424a-9e8c-5fde0c5fbdd2" providerId="ADAL" clId="{8E1CC941-A529-42BD-91F2-8926E50D0828}" dt="2024-06-25T11:06:57.220" v="0"/>
          <ac:spMkLst>
            <pc:docMk/>
            <pc:sldMk cId="1187540785" sldId="933"/>
            <ac:spMk id="2" creationId="{6A487A77-BB4B-4E13-BDCC-16DB903D1087}"/>
          </ac:spMkLst>
        </pc:spChg>
        <pc:spChg chg="mod">
          <ac:chgData name="José Antonio Ureta Santacreu" userId="e36999d1-2b92-424a-9e8c-5fde0c5fbdd2" providerId="ADAL" clId="{8E1CC941-A529-42BD-91F2-8926E50D0828}" dt="2024-06-25T11:06:57.220" v="0"/>
          <ac:spMkLst>
            <pc:docMk/>
            <pc:sldMk cId="1187540785" sldId="933"/>
            <ac:spMk id="3" creationId="{564CE5DA-F6AC-482A-86B3-587F432C68AE}"/>
          </ac:spMkLst>
        </pc:spChg>
        <pc:spChg chg="mod">
          <ac:chgData name="José Antonio Ureta Santacreu" userId="e36999d1-2b92-424a-9e8c-5fde0c5fbdd2" providerId="ADAL" clId="{8E1CC941-A529-42BD-91F2-8926E50D0828}" dt="2024-06-25T11:06:57.220" v="0"/>
          <ac:spMkLst>
            <pc:docMk/>
            <pc:sldMk cId="1187540785" sldId="933"/>
            <ac:spMk id="4" creationId="{AC0C659F-3698-408D-845E-9EF5BB3364A8}"/>
          </ac:spMkLst>
        </pc:spChg>
        <pc:spChg chg="mod">
          <ac:chgData name="José Antonio Ureta Santacreu" userId="e36999d1-2b92-424a-9e8c-5fde0c5fbdd2" providerId="ADAL" clId="{8E1CC941-A529-42BD-91F2-8926E50D0828}" dt="2024-06-25T11:06:57.220" v="0"/>
          <ac:spMkLst>
            <pc:docMk/>
            <pc:sldMk cId="1187540785" sldId="933"/>
            <ac:spMk id="5" creationId="{813551B2-16B2-46BA-8968-ED64FBC9C186}"/>
          </ac:spMkLst>
        </pc:spChg>
      </pc:sldChg>
      <pc:sldChg chg="modSp">
        <pc:chgData name="José Antonio Ureta Santacreu" userId="e36999d1-2b92-424a-9e8c-5fde0c5fbdd2" providerId="ADAL" clId="{8E1CC941-A529-42BD-91F2-8926E50D0828}" dt="2024-06-25T11:06:57.220" v="0"/>
        <pc:sldMkLst>
          <pc:docMk/>
          <pc:sldMk cId="208038382" sldId="934"/>
        </pc:sldMkLst>
        <pc:spChg chg="mod">
          <ac:chgData name="José Antonio Ureta Santacreu" userId="e36999d1-2b92-424a-9e8c-5fde0c5fbdd2" providerId="ADAL" clId="{8E1CC941-A529-42BD-91F2-8926E50D0828}" dt="2024-06-25T11:06:57.220" v="0"/>
          <ac:spMkLst>
            <pc:docMk/>
            <pc:sldMk cId="208038382" sldId="934"/>
            <ac:spMk id="2" creationId="{22CDF0E9-1CC0-45B5-A47C-C071104B8FA3}"/>
          </ac:spMkLst>
        </pc:spChg>
        <pc:spChg chg="mod">
          <ac:chgData name="José Antonio Ureta Santacreu" userId="e36999d1-2b92-424a-9e8c-5fde0c5fbdd2" providerId="ADAL" clId="{8E1CC941-A529-42BD-91F2-8926E50D0828}" dt="2024-06-25T11:06:57.220" v="0"/>
          <ac:spMkLst>
            <pc:docMk/>
            <pc:sldMk cId="208038382" sldId="934"/>
            <ac:spMk id="4" creationId="{24E381A0-2D52-4A6E-B7EC-EB7DF7239D08}"/>
          </ac:spMkLst>
        </pc:spChg>
        <pc:spChg chg="mod">
          <ac:chgData name="José Antonio Ureta Santacreu" userId="e36999d1-2b92-424a-9e8c-5fde0c5fbdd2" providerId="ADAL" clId="{8E1CC941-A529-42BD-91F2-8926E50D0828}" dt="2024-06-25T11:06:57.220" v="0"/>
          <ac:spMkLst>
            <pc:docMk/>
            <pc:sldMk cId="208038382" sldId="934"/>
            <ac:spMk id="5" creationId="{BFD1462B-4B91-424B-A3B1-A3F076F1B66A}"/>
          </ac:spMkLst>
        </pc:spChg>
        <pc:spChg chg="mod">
          <ac:chgData name="José Antonio Ureta Santacreu" userId="e36999d1-2b92-424a-9e8c-5fde0c5fbdd2" providerId="ADAL" clId="{8E1CC941-A529-42BD-91F2-8926E50D0828}" dt="2024-06-25T11:06:57.220" v="0"/>
          <ac:spMkLst>
            <pc:docMk/>
            <pc:sldMk cId="208038382" sldId="934"/>
            <ac:spMk id="6" creationId="{EDBCEEF0-9B9B-4E4F-9F80-9C5763AF76B3}"/>
          </ac:spMkLst>
        </pc:spChg>
      </pc:sldChg>
      <pc:sldChg chg="modSp mod">
        <pc:chgData name="José Antonio Ureta Santacreu" userId="e36999d1-2b92-424a-9e8c-5fde0c5fbdd2" providerId="ADAL" clId="{8E1CC941-A529-42BD-91F2-8926E50D0828}" dt="2024-06-25T11:06:58.278" v="17" actId="27636"/>
        <pc:sldMkLst>
          <pc:docMk/>
          <pc:sldMk cId="124857213" sldId="936"/>
        </pc:sldMkLst>
        <pc:spChg chg="mod">
          <ac:chgData name="José Antonio Ureta Santacreu" userId="e36999d1-2b92-424a-9e8c-5fde0c5fbdd2" providerId="ADAL" clId="{8E1CC941-A529-42BD-91F2-8926E50D0828}" dt="2024-06-25T11:06:57.220" v="0"/>
          <ac:spMkLst>
            <pc:docMk/>
            <pc:sldMk cId="124857213" sldId="936"/>
            <ac:spMk id="2" creationId="{4F976921-0A8A-5E65-A919-EF741FD3B4D3}"/>
          </ac:spMkLst>
        </pc:spChg>
        <pc:spChg chg="mod">
          <ac:chgData name="José Antonio Ureta Santacreu" userId="e36999d1-2b92-424a-9e8c-5fde0c5fbdd2" providerId="ADAL" clId="{8E1CC941-A529-42BD-91F2-8926E50D0828}" dt="2024-06-25T11:06:58.278" v="17" actId="27636"/>
          <ac:spMkLst>
            <pc:docMk/>
            <pc:sldMk cId="124857213" sldId="936"/>
            <ac:spMk id="4" creationId="{CE3787A4-FFBB-190C-F5CD-C6549282F0A1}"/>
          </ac:spMkLst>
        </pc:spChg>
        <pc:spChg chg="mod">
          <ac:chgData name="José Antonio Ureta Santacreu" userId="e36999d1-2b92-424a-9e8c-5fde0c5fbdd2" providerId="ADAL" clId="{8E1CC941-A529-42BD-91F2-8926E50D0828}" dt="2024-06-25T11:06:57.220" v="0"/>
          <ac:spMkLst>
            <pc:docMk/>
            <pc:sldMk cId="124857213" sldId="936"/>
            <ac:spMk id="5" creationId="{7267EC9B-5874-72F2-D75C-69C69E82381F}"/>
          </ac:spMkLst>
        </pc:spChg>
        <pc:spChg chg="mod">
          <ac:chgData name="José Antonio Ureta Santacreu" userId="e36999d1-2b92-424a-9e8c-5fde0c5fbdd2" providerId="ADAL" clId="{8E1CC941-A529-42BD-91F2-8926E50D0828}" dt="2024-06-25T11:06:57.220" v="0"/>
          <ac:spMkLst>
            <pc:docMk/>
            <pc:sldMk cId="124857213" sldId="936"/>
            <ac:spMk id="6" creationId="{B7A41C11-88FF-A787-2120-2879DDC34BB9}"/>
          </ac:spMkLst>
        </pc:spChg>
        <pc:spChg chg="mod">
          <ac:chgData name="José Antonio Ureta Santacreu" userId="e36999d1-2b92-424a-9e8c-5fde0c5fbdd2" providerId="ADAL" clId="{8E1CC941-A529-42BD-91F2-8926E50D0828}" dt="2024-06-25T11:06:57.220" v="0"/>
          <ac:spMkLst>
            <pc:docMk/>
            <pc:sldMk cId="124857213" sldId="936"/>
            <ac:spMk id="7" creationId="{11879EB8-DD00-106F-6F3F-BC76249A2ECA}"/>
          </ac:spMkLst>
        </pc:spChg>
        <pc:spChg chg="mod">
          <ac:chgData name="José Antonio Ureta Santacreu" userId="e36999d1-2b92-424a-9e8c-5fde0c5fbdd2" providerId="ADAL" clId="{8E1CC941-A529-42BD-91F2-8926E50D0828}" dt="2024-06-25T11:06:57.220" v="0"/>
          <ac:spMkLst>
            <pc:docMk/>
            <pc:sldMk cId="124857213" sldId="936"/>
            <ac:spMk id="9" creationId="{34565802-FE38-29F1-7177-9FBA5BAB23AE}"/>
          </ac:spMkLst>
        </pc:spChg>
        <pc:picChg chg="mod">
          <ac:chgData name="José Antonio Ureta Santacreu" userId="e36999d1-2b92-424a-9e8c-5fde0c5fbdd2" providerId="ADAL" clId="{8E1CC941-A529-42BD-91F2-8926E50D0828}" dt="2024-06-25T11:06:57.220" v="0"/>
          <ac:picMkLst>
            <pc:docMk/>
            <pc:sldMk cId="124857213" sldId="936"/>
            <ac:picMk id="12" creationId="{8119C0A8-AAF4-9E01-B9EE-662D3B2DC8DA}"/>
          </ac:picMkLst>
        </pc:picChg>
      </pc:sldChg>
      <pc:sldChg chg="modSp">
        <pc:chgData name="José Antonio Ureta Santacreu" userId="e36999d1-2b92-424a-9e8c-5fde0c5fbdd2" providerId="ADAL" clId="{8E1CC941-A529-42BD-91F2-8926E50D0828}" dt="2024-06-25T11:06:57.220" v="0"/>
        <pc:sldMkLst>
          <pc:docMk/>
          <pc:sldMk cId="4058981603" sldId="937"/>
        </pc:sldMkLst>
        <pc:spChg chg="mod">
          <ac:chgData name="José Antonio Ureta Santacreu" userId="e36999d1-2b92-424a-9e8c-5fde0c5fbdd2" providerId="ADAL" clId="{8E1CC941-A529-42BD-91F2-8926E50D0828}" dt="2024-06-25T11:06:57.220" v="0"/>
          <ac:spMkLst>
            <pc:docMk/>
            <pc:sldMk cId="4058981603" sldId="937"/>
            <ac:spMk id="2" creationId="{E698FD8A-A1E3-4B78-BB0A-1B48CF3D1149}"/>
          </ac:spMkLst>
        </pc:spChg>
        <pc:spChg chg="mod">
          <ac:chgData name="José Antonio Ureta Santacreu" userId="e36999d1-2b92-424a-9e8c-5fde0c5fbdd2" providerId="ADAL" clId="{8E1CC941-A529-42BD-91F2-8926E50D0828}" dt="2024-06-25T11:06:57.220" v="0"/>
          <ac:spMkLst>
            <pc:docMk/>
            <pc:sldMk cId="4058981603" sldId="937"/>
            <ac:spMk id="3" creationId="{BDD7550F-A9A3-480C-A9EE-DEFC324A57E4}"/>
          </ac:spMkLst>
        </pc:spChg>
        <pc:spChg chg="mod">
          <ac:chgData name="José Antonio Ureta Santacreu" userId="e36999d1-2b92-424a-9e8c-5fde0c5fbdd2" providerId="ADAL" clId="{8E1CC941-A529-42BD-91F2-8926E50D0828}" dt="2024-06-25T11:06:57.220" v="0"/>
          <ac:spMkLst>
            <pc:docMk/>
            <pc:sldMk cId="4058981603" sldId="937"/>
            <ac:spMk id="4" creationId="{6D77A206-46CF-4A21-AA8A-8202E3FF2293}"/>
          </ac:spMkLst>
        </pc:spChg>
        <pc:spChg chg="mod">
          <ac:chgData name="José Antonio Ureta Santacreu" userId="e36999d1-2b92-424a-9e8c-5fde0c5fbdd2" providerId="ADAL" clId="{8E1CC941-A529-42BD-91F2-8926E50D0828}" dt="2024-06-25T11:06:57.220" v="0"/>
          <ac:spMkLst>
            <pc:docMk/>
            <pc:sldMk cId="4058981603" sldId="937"/>
            <ac:spMk id="8" creationId="{00000000-0000-0000-0000-000000000000}"/>
          </ac:spMkLst>
        </pc:spChg>
        <pc:picChg chg="mod">
          <ac:chgData name="José Antonio Ureta Santacreu" userId="e36999d1-2b92-424a-9e8c-5fde0c5fbdd2" providerId="ADAL" clId="{8E1CC941-A529-42BD-91F2-8926E50D0828}" dt="2024-06-25T11:06:57.220" v="0"/>
          <ac:picMkLst>
            <pc:docMk/>
            <pc:sldMk cId="4058981603" sldId="937"/>
            <ac:picMk id="19" creationId="{8EC61222-D462-48D1-9445-6436D04BBF4B}"/>
          </ac:picMkLst>
        </pc:picChg>
      </pc:sldChg>
      <pc:sldChg chg="modSp">
        <pc:chgData name="José Antonio Ureta Santacreu" userId="e36999d1-2b92-424a-9e8c-5fde0c5fbdd2" providerId="ADAL" clId="{8E1CC941-A529-42BD-91F2-8926E50D0828}" dt="2024-06-25T11:06:57.220" v="0"/>
        <pc:sldMkLst>
          <pc:docMk/>
          <pc:sldMk cId="3253437230" sldId="940"/>
        </pc:sldMkLst>
        <pc:spChg chg="mod">
          <ac:chgData name="José Antonio Ureta Santacreu" userId="e36999d1-2b92-424a-9e8c-5fde0c5fbdd2" providerId="ADAL" clId="{8E1CC941-A529-42BD-91F2-8926E50D0828}" dt="2024-06-25T11:06:57.220" v="0"/>
          <ac:spMkLst>
            <pc:docMk/>
            <pc:sldMk cId="3253437230" sldId="940"/>
            <ac:spMk id="2" creationId="{04FB1E4A-EBBA-4EE5-9AC1-AC137CE81A25}"/>
          </ac:spMkLst>
        </pc:spChg>
        <pc:spChg chg="mod">
          <ac:chgData name="José Antonio Ureta Santacreu" userId="e36999d1-2b92-424a-9e8c-5fde0c5fbdd2" providerId="ADAL" clId="{8E1CC941-A529-42BD-91F2-8926E50D0828}" dt="2024-06-25T11:06:57.220" v="0"/>
          <ac:spMkLst>
            <pc:docMk/>
            <pc:sldMk cId="3253437230" sldId="940"/>
            <ac:spMk id="3" creationId="{3A30F915-7685-416F-8298-1953FF90DF88}"/>
          </ac:spMkLst>
        </pc:spChg>
        <pc:spChg chg="mod">
          <ac:chgData name="José Antonio Ureta Santacreu" userId="e36999d1-2b92-424a-9e8c-5fde0c5fbdd2" providerId="ADAL" clId="{8E1CC941-A529-42BD-91F2-8926E50D0828}" dt="2024-06-25T11:06:57.220" v="0"/>
          <ac:spMkLst>
            <pc:docMk/>
            <pc:sldMk cId="3253437230" sldId="940"/>
            <ac:spMk id="4" creationId="{650999FA-99BB-459A-A5F2-9D05332EE815}"/>
          </ac:spMkLst>
        </pc:spChg>
        <pc:spChg chg="mod">
          <ac:chgData name="José Antonio Ureta Santacreu" userId="e36999d1-2b92-424a-9e8c-5fde0c5fbdd2" providerId="ADAL" clId="{8E1CC941-A529-42BD-91F2-8926E50D0828}" dt="2024-06-25T11:06:57.220" v="0"/>
          <ac:spMkLst>
            <pc:docMk/>
            <pc:sldMk cId="3253437230" sldId="940"/>
            <ac:spMk id="5" creationId="{57C838B5-39D8-49B8-9F76-A629A7E6424C}"/>
          </ac:spMkLst>
        </pc:spChg>
        <pc:picChg chg="mod">
          <ac:chgData name="José Antonio Ureta Santacreu" userId="e36999d1-2b92-424a-9e8c-5fde0c5fbdd2" providerId="ADAL" clId="{8E1CC941-A529-42BD-91F2-8926E50D0828}" dt="2024-06-25T11:06:57.220" v="0"/>
          <ac:picMkLst>
            <pc:docMk/>
            <pc:sldMk cId="3253437230" sldId="940"/>
            <ac:picMk id="2050" creationId="{92E5C848-B77A-4077-9611-28181447FB5D}"/>
          </ac:picMkLst>
        </pc:picChg>
      </pc:sldChg>
      <pc:sldChg chg="modSp">
        <pc:chgData name="José Antonio Ureta Santacreu" userId="e36999d1-2b92-424a-9e8c-5fde0c5fbdd2" providerId="ADAL" clId="{8E1CC941-A529-42BD-91F2-8926E50D0828}" dt="2024-06-25T11:06:57.220" v="0"/>
        <pc:sldMkLst>
          <pc:docMk/>
          <pc:sldMk cId="2598937134" sldId="941"/>
        </pc:sldMkLst>
        <pc:spChg chg="mod">
          <ac:chgData name="José Antonio Ureta Santacreu" userId="e36999d1-2b92-424a-9e8c-5fde0c5fbdd2" providerId="ADAL" clId="{8E1CC941-A529-42BD-91F2-8926E50D0828}" dt="2024-06-25T11:06:57.220" v="0"/>
          <ac:spMkLst>
            <pc:docMk/>
            <pc:sldMk cId="2598937134" sldId="941"/>
            <ac:spMk id="2" creationId="{1586E365-BE9A-4B98-943E-76853B8E005B}"/>
          </ac:spMkLst>
        </pc:spChg>
        <pc:spChg chg="mod">
          <ac:chgData name="José Antonio Ureta Santacreu" userId="e36999d1-2b92-424a-9e8c-5fde0c5fbdd2" providerId="ADAL" clId="{8E1CC941-A529-42BD-91F2-8926E50D0828}" dt="2024-06-25T11:06:57.220" v="0"/>
          <ac:spMkLst>
            <pc:docMk/>
            <pc:sldMk cId="2598937134" sldId="941"/>
            <ac:spMk id="5" creationId="{A635E5A9-B929-4C48-95C6-F2E731C32A50}"/>
          </ac:spMkLst>
        </pc:spChg>
        <pc:spChg chg="mod">
          <ac:chgData name="José Antonio Ureta Santacreu" userId="e36999d1-2b92-424a-9e8c-5fde0c5fbdd2" providerId="ADAL" clId="{8E1CC941-A529-42BD-91F2-8926E50D0828}" dt="2024-06-25T11:06:57.220" v="0"/>
          <ac:spMkLst>
            <pc:docMk/>
            <pc:sldMk cId="2598937134" sldId="941"/>
            <ac:spMk id="6" creationId="{7C8F9380-7DA2-4E0D-A9CF-65A249591C61}"/>
          </ac:spMkLst>
        </pc:spChg>
        <pc:spChg chg="mod">
          <ac:chgData name="José Antonio Ureta Santacreu" userId="e36999d1-2b92-424a-9e8c-5fde0c5fbdd2" providerId="ADAL" clId="{8E1CC941-A529-42BD-91F2-8926E50D0828}" dt="2024-06-25T11:06:57.220" v="0"/>
          <ac:spMkLst>
            <pc:docMk/>
            <pc:sldMk cId="2598937134" sldId="941"/>
            <ac:spMk id="7" creationId="{DDDEE4A6-D696-4EE7-B11E-CDC6C815DEE2}"/>
          </ac:spMkLst>
        </pc:spChg>
        <pc:picChg chg="mod">
          <ac:chgData name="José Antonio Ureta Santacreu" userId="e36999d1-2b92-424a-9e8c-5fde0c5fbdd2" providerId="ADAL" clId="{8E1CC941-A529-42BD-91F2-8926E50D0828}" dt="2024-06-25T11:06:57.220" v="0"/>
          <ac:picMkLst>
            <pc:docMk/>
            <pc:sldMk cId="2598937134" sldId="941"/>
            <ac:picMk id="3074" creationId="{5F63660D-F94B-4064-B077-76CFAE413820}"/>
          </ac:picMkLst>
        </pc:picChg>
      </pc:sldChg>
      <pc:sldChg chg="modSp">
        <pc:chgData name="José Antonio Ureta Santacreu" userId="e36999d1-2b92-424a-9e8c-5fde0c5fbdd2" providerId="ADAL" clId="{8E1CC941-A529-42BD-91F2-8926E50D0828}" dt="2024-06-25T11:06:57.220" v="0"/>
        <pc:sldMkLst>
          <pc:docMk/>
          <pc:sldMk cId="2796822337" sldId="942"/>
        </pc:sldMkLst>
        <pc:spChg chg="mod">
          <ac:chgData name="José Antonio Ureta Santacreu" userId="e36999d1-2b92-424a-9e8c-5fde0c5fbdd2" providerId="ADAL" clId="{8E1CC941-A529-42BD-91F2-8926E50D0828}" dt="2024-06-25T11:06:57.220" v="0"/>
          <ac:spMkLst>
            <pc:docMk/>
            <pc:sldMk cId="2796822337" sldId="942"/>
            <ac:spMk id="2" creationId="{04FB1E4A-EBBA-4EE5-9AC1-AC137CE81A25}"/>
          </ac:spMkLst>
        </pc:spChg>
        <pc:spChg chg="mod">
          <ac:chgData name="José Antonio Ureta Santacreu" userId="e36999d1-2b92-424a-9e8c-5fde0c5fbdd2" providerId="ADAL" clId="{8E1CC941-A529-42BD-91F2-8926E50D0828}" dt="2024-06-25T11:06:57.220" v="0"/>
          <ac:spMkLst>
            <pc:docMk/>
            <pc:sldMk cId="2796822337" sldId="942"/>
            <ac:spMk id="3" creationId="{3A30F915-7685-416F-8298-1953FF90DF88}"/>
          </ac:spMkLst>
        </pc:spChg>
        <pc:spChg chg="mod">
          <ac:chgData name="José Antonio Ureta Santacreu" userId="e36999d1-2b92-424a-9e8c-5fde0c5fbdd2" providerId="ADAL" clId="{8E1CC941-A529-42BD-91F2-8926E50D0828}" dt="2024-06-25T11:06:57.220" v="0"/>
          <ac:spMkLst>
            <pc:docMk/>
            <pc:sldMk cId="2796822337" sldId="942"/>
            <ac:spMk id="4" creationId="{650999FA-99BB-459A-A5F2-9D05332EE815}"/>
          </ac:spMkLst>
        </pc:spChg>
        <pc:spChg chg="mod">
          <ac:chgData name="José Antonio Ureta Santacreu" userId="e36999d1-2b92-424a-9e8c-5fde0c5fbdd2" providerId="ADAL" clId="{8E1CC941-A529-42BD-91F2-8926E50D0828}" dt="2024-06-25T11:06:57.220" v="0"/>
          <ac:spMkLst>
            <pc:docMk/>
            <pc:sldMk cId="2796822337" sldId="942"/>
            <ac:spMk id="5" creationId="{57C838B5-39D8-49B8-9F76-A629A7E6424C}"/>
          </ac:spMkLst>
        </pc:spChg>
        <pc:picChg chg="mod">
          <ac:chgData name="José Antonio Ureta Santacreu" userId="e36999d1-2b92-424a-9e8c-5fde0c5fbdd2" providerId="ADAL" clId="{8E1CC941-A529-42BD-91F2-8926E50D0828}" dt="2024-06-25T11:06:57.220" v="0"/>
          <ac:picMkLst>
            <pc:docMk/>
            <pc:sldMk cId="2796822337" sldId="942"/>
            <ac:picMk id="4098" creationId="{CD01928D-5729-42D4-AEB1-B224CB900DAE}"/>
          </ac:picMkLst>
        </pc:picChg>
      </pc:sldChg>
      <pc:sldChg chg="modSp mod">
        <pc:chgData name="José Antonio Ureta Santacreu" userId="e36999d1-2b92-424a-9e8c-5fde0c5fbdd2" providerId="ADAL" clId="{8E1CC941-A529-42BD-91F2-8926E50D0828}" dt="2024-06-25T11:06:59.281" v="45" actId="27636"/>
        <pc:sldMkLst>
          <pc:docMk/>
          <pc:sldMk cId="1231219106" sldId="943"/>
        </pc:sldMkLst>
        <pc:spChg chg="mod">
          <ac:chgData name="José Antonio Ureta Santacreu" userId="e36999d1-2b92-424a-9e8c-5fde0c5fbdd2" providerId="ADAL" clId="{8E1CC941-A529-42BD-91F2-8926E50D0828}" dt="2024-06-25T11:06:57.220" v="0"/>
          <ac:spMkLst>
            <pc:docMk/>
            <pc:sldMk cId="1231219106" sldId="943"/>
            <ac:spMk id="2" creationId="{5EAF3F50-BD9C-4B0B-98B5-25F49982ABDF}"/>
          </ac:spMkLst>
        </pc:spChg>
        <pc:spChg chg="mod">
          <ac:chgData name="José Antonio Ureta Santacreu" userId="e36999d1-2b92-424a-9e8c-5fde0c5fbdd2" providerId="ADAL" clId="{8E1CC941-A529-42BD-91F2-8926E50D0828}" dt="2024-06-25T11:06:57.220" v="0"/>
          <ac:spMkLst>
            <pc:docMk/>
            <pc:sldMk cId="1231219106" sldId="943"/>
            <ac:spMk id="3" creationId="{3927B23E-DC02-4037-9B4E-F2D4047C22AE}"/>
          </ac:spMkLst>
        </pc:spChg>
        <pc:spChg chg="mod">
          <ac:chgData name="José Antonio Ureta Santacreu" userId="e36999d1-2b92-424a-9e8c-5fde0c5fbdd2" providerId="ADAL" clId="{8E1CC941-A529-42BD-91F2-8926E50D0828}" dt="2024-06-25T11:06:57.220" v="0"/>
          <ac:spMkLst>
            <pc:docMk/>
            <pc:sldMk cId="1231219106" sldId="943"/>
            <ac:spMk id="4" creationId="{3C4B857E-D171-4885-9BC0-1CD78D03AAE1}"/>
          </ac:spMkLst>
        </pc:spChg>
        <pc:spChg chg="mod">
          <ac:chgData name="José Antonio Ureta Santacreu" userId="e36999d1-2b92-424a-9e8c-5fde0c5fbdd2" providerId="ADAL" clId="{8E1CC941-A529-42BD-91F2-8926E50D0828}" dt="2024-06-25T11:06:57.220" v="0"/>
          <ac:spMkLst>
            <pc:docMk/>
            <pc:sldMk cId="1231219106" sldId="943"/>
            <ac:spMk id="5" creationId="{6C280E01-A330-46C6-B739-470298664D64}"/>
          </ac:spMkLst>
        </pc:spChg>
        <pc:spChg chg="mod">
          <ac:chgData name="José Antonio Ureta Santacreu" userId="e36999d1-2b92-424a-9e8c-5fde0c5fbdd2" providerId="ADAL" clId="{8E1CC941-A529-42BD-91F2-8926E50D0828}" dt="2024-06-25T11:06:59.281" v="45" actId="27636"/>
          <ac:spMkLst>
            <pc:docMk/>
            <pc:sldMk cId="1231219106" sldId="943"/>
            <ac:spMk id="14" creationId="{F2E93191-B9A8-4C46-B891-8DE5A0B8139D}"/>
          </ac:spMkLst>
        </pc:spChg>
        <pc:picChg chg="mod">
          <ac:chgData name="José Antonio Ureta Santacreu" userId="e36999d1-2b92-424a-9e8c-5fde0c5fbdd2" providerId="ADAL" clId="{8E1CC941-A529-42BD-91F2-8926E50D0828}" dt="2024-06-25T11:06:57.220" v="0"/>
          <ac:picMkLst>
            <pc:docMk/>
            <pc:sldMk cId="1231219106" sldId="943"/>
            <ac:picMk id="16" creationId="{A6A74398-8C9E-4641-987F-72973F0E635C}"/>
          </ac:picMkLst>
        </pc:picChg>
      </pc:sldChg>
      <pc:sldChg chg="modSp mod">
        <pc:chgData name="José Antonio Ureta Santacreu" userId="e36999d1-2b92-424a-9e8c-5fde0c5fbdd2" providerId="ADAL" clId="{8E1CC941-A529-42BD-91F2-8926E50D0828}" dt="2024-06-25T11:06:59.475" v="52" actId="27636"/>
        <pc:sldMkLst>
          <pc:docMk/>
          <pc:sldMk cId="564975057" sldId="944"/>
        </pc:sldMkLst>
        <pc:spChg chg="mod">
          <ac:chgData name="José Antonio Ureta Santacreu" userId="e36999d1-2b92-424a-9e8c-5fde0c5fbdd2" providerId="ADAL" clId="{8E1CC941-A529-42BD-91F2-8926E50D0828}" dt="2024-06-25T11:06:57.220" v="0"/>
          <ac:spMkLst>
            <pc:docMk/>
            <pc:sldMk cId="564975057" sldId="944"/>
            <ac:spMk id="2" creationId="{5C8A20B3-7379-4024-9AFC-99A70D0B77BD}"/>
          </ac:spMkLst>
        </pc:spChg>
        <pc:spChg chg="mod">
          <ac:chgData name="José Antonio Ureta Santacreu" userId="e36999d1-2b92-424a-9e8c-5fde0c5fbdd2" providerId="ADAL" clId="{8E1CC941-A529-42BD-91F2-8926E50D0828}" dt="2024-06-25T11:06:59.475" v="52" actId="27636"/>
          <ac:spMkLst>
            <pc:docMk/>
            <pc:sldMk cId="564975057" sldId="944"/>
            <ac:spMk id="4" creationId="{6D983934-CF60-4124-85E7-8EDB992249AF}"/>
          </ac:spMkLst>
        </pc:spChg>
        <pc:spChg chg="mod">
          <ac:chgData name="José Antonio Ureta Santacreu" userId="e36999d1-2b92-424a-9e8c-5fde0c5fbdd2" providerId="ADAL" clId="{8E1CC941-A529-42BD-91F2-8926E50D0828}" dt="2024-06-25T11:06:57.220" v="0"/>
          <ac:spMkLst>
            <pc:docMk/>
            <pc:sldMk cId="564975057" sldId="944"/>
            <ac:spMk id="5" creationId="{FF7812A5-ECA7-41BF-A0A9-6B9143600319}"/>
          </ac:spMkLst>
        </pc:spChg>
        <pc:spChg chg="mod">
          <ac:chgData name="José Antonio Ureta Santacreu" userId="e36999d1-2b92-424a-9e8c-5fde0c5fbdd2" providerId="ADAL" clId="{8E1CC941-A529-42BD-91F2-8926E50D0828}" dt="2024-06-25T11:06:57.220" v="0"/>
          <ac:spMkLst>
            <pc:docMk/>
            <pc:sldMk cId="564975057" sldId="944"/>
            <ac:spMk id="6" creationId="{19654A33-6AFF-41A2-8B34-E244F155E3E9}"/>
          </ac:spMkLst>
        </pc:spChg>
        <pc:spChg chg="mod">
          <ac:chgData name="José Antonio Ureta Santacreu" userId="e36999d1-2b92-424a-9e8c-5fde0c5fbdd2" providerId="ADAL" clId="{8E1CC941-A529-42BD-91F2-8926E50D0828}" dt="2024-06-25T11:06:57.220" v="0"/>
          <ac:spMkLst>
            <pc:docMk/>
            <pc:sldMk cId="564975057" sldId="944"/>
            <ac:spMk id="7" creationId="{62EDEA5C-8DFE-42AC-B851-D013330CDE6E}"/>
          </ac:spMkLst>
        </pc:spChg>
        <pc:picChg chg="mod">
          <ac:chgData name="José Antonio Ureta Santacreu" userId="e36999d1-2b92-424a-9e8c-5fde0c5fbdd2" providerId="ADAL" clId="{8E1CC941-A529-42BD-91F2-8926E50D0828}" dt="2024-06-25T11:06:57.220" v="0"/>
          <ac:picMkLst>
            <pc:docMk/>
            <pc:sldMk cId="564975057" sldId="944"/>
            <ac:picMk id="11" creationId="{BE904919-9814-4A96-B7D8-58C37DDBD65D}"/>
          </ac:picMkLst>
        </pc:picChg>
      </pc:sldChg>
      <pc:sldChg chg="modSp mod">
        <pc:chgData name="José Antonio Ureta Santacreu" userId="e36999d1-2b92-424a-9e8c-5fde0c5fbdd2" providerId="ADAL" clId="{8E1CC941-A529-42BD-91F2-8926E50D0828}" dt="2024-06-25T11:06:59.022" v="38" actId="27636"/>
        <pc:sldMkLst>
          <pc:docMk/>
          <pc:sldMk cId="2499138240" sldId="945"/>
        </pc:sldMkLst>
        <pc:spChg chg="mod">
          <ac:chgData name="José Antonio Ureta Santacreu" userId="e36999d1-2b92-424a-9e8c-5fde0c5fbdd2" providerId="ADAL" clId="{8E1CC941-A529-42BD-91F2-8926E50D0828}" dt="2024-06-25T11:06:57.220" v="0"/>
          <ac:spMkLst>
            <pc:docMk/>
            <pc:sldMk cId="2499138240" sldId="945"/>
            <ac:spMk id="2" creationId="{504EABC2-536D-BC7D-CF73-674A59D6C9DC}"/>
          </ac:spMkLst>
        </pc:spChg>
        <pc:spChg chg="mod">
          <ac:chgData name="José Antonio Ureta Santacreu" userId="e36999d1-2b92-424a-9e8c-5fde0c5fbdd2" providerId="ADAL" clId="{8E1CC941-A529-42BD-91F2-8926E50D0828}" dt="2024-06-25T11:06:57.220" v="0"/>
          <ac:spMkLst>
            <pc:docMk/>
            <pc:sldMk cId="2499138240" sldId="945"/>
            <ac:spMk id="3" creationId="{ABBC1ABD-AAF5-2813-7CD5-289540651CF2}"/>
          </ac:spMkLst>
        </pc:spChg>
        <pc:spChg chg="mod">
          <ac:chgData name="José Antonio Ureta Santacreu" userId="e36999d1-2b92-424a-9e8c-5fde0c5fbdd2" providerId="ADAL" clId="{8E1CC941-A529-42BD-91F2-8926E50D0828}" dt="2024-06-25T11:06:57.220" v="0"/>
          <ac:spMkLst>
            <pc:docMk/>
            <pc:sldMk cId="2499138240" sldId="945"/>
            <ac:spMk id="4" creationId="{96496E14-5160-E2D2-FA8A-21CEEF02A1BE}"/>
          </ac:spMkLst>
        </pc:spChg>
        <pc:spChg chg="mod">
          <ac:chgData name="José Antonio Ureta Santacreu" userId="e36999d1-2b92-424a-9e8c-5fde0c5fbdd2" providerId="ADAL" clId="{8E1CC941-A529-42BD-91F2-8926E50D0828}" dt="2024-06-25T11:06:59.022" v="38" actId="27636"/>
          <ac:spMkLst>
            <pc:docMk/>
            <pc:sldMk cId="2499138240" sldId="945"/>
            <ac:spMk id="14" creationId="{76BCB257-1D4B-8B90-E30C-1425E81848FF}"/>
          </ac:spMkLst>
        </pc:spChg>
      </pc:sldChg>
      <pc:sldChg chg="modSp">
        <pc:chgData name="José Antonio Ureta Santacreu" userId="e36999d1-2b92-424a-9e8c-5fde0c5fbdd2" providerId="ADAL" clId="{8E1CC941-A529-42BD-91F2-8926E50D0828}" dt="2024-06-25T11:06:57.220" v="0"/>
        <pc:sldMkLst>
          <pc:docMk/>
          <pc:sldMk cId="1512409672" sldId="947"/>
        </pc:sldMkLst>
        <pc:spChg chg="mod">
          <ac:chgData name="José Antonio Ureta Santacreu" userId="e36999d1-2b92-424a-9e8c-5fde0c5fbdd2" providerId="ADAL" clId="{8E1CC941-A529-42BD-91F2-8926E50D0828}" dt="2024-06-25T11:06:57.220" v="0"/>
          <ac:spMkLst>
            <pc:docMk/>
            <pc:sldMk cId="1512409672" sldId="947"/>
            <ac:spMk id="2" creationId="{14691F33-1F4E-4084-AAA7-5FABD3EF731F}"/>
          </ac:spMkLst>
        </pc:spChg>
        <pc:spChg chg="mod">
          <ac:chgData name="José Antonio Ureta Santacreu" userId="e36999d1-2b92-424a-9e8c-5fde0c5fbdd2" providerId="ADAL" clId="{8E1CC941-A529-42BD-91F2-8926E50D0828}" dt="2024-06-25T11:06:57.220" v="0"/>
          <ac:spMkLst>
            <pc:docMk/>
            <pc:sldMk cId="1512409672" sldId="947"/>
            <ac:spMk id="3" creationId="{6831456A-99CB-49C0-81D5-823F1ECB11BE}"/>
          </ac:spMkLst>
        </pc:spChg>
        <pc:spChg chg="mod">
          <ac:chgData name="José Antonio Ureta Santacreu" userId="e36999d1-2b92-424a-9e8c-5fde0c5fbdd2" providerId="ADAL" clId="{8E1CC941-A529-42BD-91F2-8926E50D0828}" dt="2024-06-25T11:06:57.220" v="0"/>
          <ac:spMkLst>
            <pc:docMk/>
            <pc:sldMk cId="1512409672" sldId="947"/>
            <ac:spMk id="4" creationId="{63707821-66F5-47FC-A721-057575FB174A}"/>
          </ac:spMkLst>
        </pc:spChg>
        <pc:spChg chg="mod">
          <ac:chgData name="José Antonio Ureta Santacreu" userId="e36999d1-2b92-424a-9e8c-5fde0c5fbdd2" providerId="ADAL" clId="{8E1CC941-A529-42BD-91F2-8926E50D0828}" dt="2024-06-25T11:06:57.220" v="0"/>
          <ac:spMkLst>
            <pc:docMk/>
            <pc:sldMk cId="1512409672" sldId="947"/>
            <ac:spMk id="5" creationId="{F7235540-0894-49B2-835C-49BBF7206053}"/>
          </ac:spMkLst>
        </pc:spChg>
      </pc:sldChg>
      <pc:sldChg chg="modSp">
        <pc:chgData name="José Antonio Ureta Santacreu" userId="e36999d1-2b92-424a-9e8c-5fde0c5fbdd2" providerId="ADAL" clId="{8E1CC941-A529-42BD-91F2-8926E50D0828}" dt="2024-06-25T11:06:57.220" v="0"/>
        <pc:sldMkLst>
          <pc:docMk/>
          <pc:sldMk cId="1581181406" sldId="948"/>
        </pc:sldMkLst>
        <pc:spChg chg="mod">
          <ac:chgData name="José Antonio Ureta Santacreu" userId="e36999d1-2b92-424a-9e8c-5fde0c5fbdd2" providerId="ADAL" clId="{8E1CC941-A529-42BD-91F2-8926E50D0828}" dt="2024-06-25T11:06:57.220" v="0"/>
          <ac:spMkLst>
            <pc:docMk/>
            <pc:sldMk cId="1581181406" sldId="948"/>
            <ac:spMk id="2" creationId="{00000000-0000-0000-0000-000000000000}"/>
          </ac:spMkLst>
        </pc:spChg>
        <pc:spChg chg="mod">
          <ac:chgData name="José Antonio Ureta Santacreu" userId="e36999d1-2b92-424a-9e8c-5fde0c5fbdd2" providerId="ADAL" clId="{8E1CC941-A529-42BD-91F2-8926E50D0828}" dt="2024-06-25T11:06:57.220" v="0"/>
          <ac:spMkLst>
            <pc:docMk/>
            <pc:sldMk cId="1581181406" sldId="948"/>
            <ac:spMk id="4" creationId="{2E843197-2421-4530-BC6F-A2710B1C618C}"/>
          </ac:spMkLst>
        </pc:spChg>
        <pc:spChg chg="mod">
          <ac:chgData name="José Antonio Ureta Santacreu" userId="e36999d1-2b92-424a-9e8c-5fde0c5fbdd2" providerId="ADAL" clId="{8E1CC941-A529-42BD-91F2-8926E50D0828}" dt="2024-06-25T11:06:57.220" v="0"/>
          <ac:spMkLst>
            <pc:docMk/>
            <pc:sldMk cId="1581181406" sldId="948"/>
            <ac:spMk id="7" creationId="{16B1073C-0F4C-4C9D-A7FF-E09FEE48281F}"/>
          </ac:spMkLst>
        </pc:spChg>
        <pc:spChg chg="mod">
          <ac:chgData name="José Antonio Ureta Santacreu" userId="e36999d1-2b92-424a-9e8c-5fde0c5fbdd2" providerId="ADAL" clId="{8E1CC941-A529-42BD-91F2-8926E50D0828}" dt="2024-06-25T11:06:57.220" v="0"/>
          <ac:spMkLst>
            <pc:docMk/>
            <pc:sldMk cId="1581181406" sldId="948"/>
            <ac:spMk id="8" creationId="{C3051BCF-1A3D-4C89-B213-F49D0DB66877}"/>
          </ac:spMkLst>
        </pc:spChg>
      </pc:sldChg>
      <pc:sldChg chg="modSp mod">
        <pc:chgData name="José Antonio Ureta Santacreu" userId="e36999d1-2b92-424a-9e8c-5fde0c5fbdd2" providerId="ADAL" clId="{8E1CC941-A529-42BD-91F2-8926E50D0828}" dt="2024-06-25T11:06:58.316" v="18" actId="27636"/>
        <pc:sldMkLst>
          <pc:docMk/>
          <pc:sldMk cId="2167965002" sldId="951"/>
        </pc:sldMkLst>
        <pc:spChg chg="mod">
          <ac:chgData name="José Antonio Ureta Santacreu" userId="e36999d1-2b92-424a-9e8c-5fde0c5fbdd2" providerId="ADAL" clId="{8E1CC941-A529-42BD-91F2-8926E50D0828}" dt="2024-06-25T11:06:57.220" v="0"/>
          <ac:spMkLst>
            <pc:docMk/>
            <pc:sldMk cId="2167965002" sldId="951"/>
            <ac:spMk id="2" creationId="{17689875-6256-B2B6-B0F5-6D473DAA7247}"/>
          </ac:spMkLst>
        </pc:spChg>
        <pc:spChg chg="mod">
          <ac:chgData name="José Antonio Ureta Santacreu" userId="e36999d1-2b92-424a-9e8c-5fde0c5fbdd2" providerId="ADAL" clId="{8E1CC941-A529-42BD-91F2-8926E50D0828}" dt="2024-06-25T11:06:58.316" v="18" actId="27636"/>
          <ac:spMkLst>
            <pc:docMk/>
            <pc:sldMk cId="2167965002" sldId="951"/>
            <ac:spMk id="3" creationId="{13A88534-BB37-0451-8CCA-4F9352A28F14}"/>
          </ac:spMkLst>
        </pc:spChg>
        <pc:spChg chg="mod">
          <ac:chgData name="José Antonio Ureta Santacreu" userId="e36999d1-2b92-424a-9e8c-5fde0c5fbdd2" providerId="ADAL" clId="{8E1CC941-A529-42BD-91F2-8926E50D0828}" dt="2024-06-25T11:06:57.220" v="0"/>
          <ac:spMkLst>
            <pc:docMk/>
            <pc:sldMk cId="2167965002" sldId="951"/>
            <ac:spMk id="5" creationId="{6377786C-7479-BFCE-3CF0-676FF3652C8A}"/>
          </ac:spMkLst>
        </pc:spChg>
        <pc:spChg chg="mod">
          <ac:chgData name="José Antonio Ureta Santacreu" userId="e36999d1-2b92-424a-9e8c-5fde0c5fbdd2" providerId="ADAL" clId="{8E1CC941-A529-42BD-91F2-8926E50D0828}" dt="2024-06-25T11:06:57.220" v="0"/>
          <ac:spMkLst>
            <pc:docMk/>
            <pc:sldMk cId="2167965002" sldId="951"/>
            <ac:spMk id="6" creationId="{2A2236EE-62B7-785A-648C-166290D697CB}"/>
          </ac:spMkLst>
        </pc:spChg>
        <pc:spChg chg="mod">
          <ac:chgData name="José Antonio Ureta Santacreu" userId="e36999d1-2b92-424a-9e8c-5fde0c5fbdd2" providerId="ADAL" clId="{8E1CC941-A529-42BD-91F2-8926E50D0828}" dt="2024-06-25T11:06:57.220" v="0"/>
          <ac:spMkLst>
            <pc:docMk/>
            <pc:sldMk cId="2167965002" sldId="951"/>
            <ac:spMk id="7" creationId="{6F5E935E-E60C-C59F-BCE8-41F0F5110855}"/>
          </ac:spMkLst>
        </pc:spChg>
        <pc:spChg chg="mod">
          <ac:chgData name="José Antonio Ureta Santacreu" userId="e36999d1-2b92-424a-9e8c-5fde0c5fbdd2" providerId="ADAL" clId="{8E1CC941-A529-42BD-91F2-8926E50D0828}" dt="2024-06-25T11:06:57.220" v="0"/>
          <ac:spMkLst>
            <pc:docMk/>
            <pc:sldMk cId="2167965002" sldId="951"/>
            <ac:spMk id="15" creationId="{07C61C60-A57D-3C5A-C020-F85B61C74C21}"/>
          </ac:spMkLst>
        </pc:spChg>
      </pc:sldChg>
      <pc:sldChg chg="modSp mod">
        <pc:chgData name="José Antonio Ureta Santacreu" userId="e36999d1-2b92-424a-9e8c-5fde0c5fbdd2" providerId="ADAL" clId="{8E1CC941-A529-42BD-91F2-8926E50D0828}" dt="2024-06-25T11:06:58.327" v="19" actId="27636"/>
        <pc:sldMkLst>
          <pc:docMk/>
          <pc:sldMk cId="2695236011" sldId="952"/>
        </pc:sldMkLst>
        <pc:spChg chg="mod">
          <ac:chgData name="José Antonio Ureta Santacreu" userId="e36999d1-2b92-424a-9e8c-5fde0c5fbdd2" providerId="ADAL" clId="{8E1CC941-A529-42BD-91F2-8926E50D0828}" dt="2024-06-25T11:06:57.220" v="0"/>
          <ac:spMkLst>
            <pc:docMk/>
            <pc:sldMk cId="2695236011" sldId="952"/>
            <ac:spMk id="2" creationId="{135D9A58-421E-9B2F-DE38-ADB5AE202D30}"/>
          </ac:spMkLst>
        </pc:spChg>
        <pc:spChg chg="mod">
          <ac:chgData name="José Antonio Ureta Santacreu" userId="e36999d1-2b92-424a-9e8c-5fde0c5fbdd2" providerId="ADAL" clId="{8E1CC941-A529-42BD-91F2-8926E50D0828}" dt="2024-06-25T11:06:58.327" v="19" actId="27636"/>
          <ac:spMkLst>
            <pc:docMk/>
            <pc:sldMk cId="2695236011" sldId="952"/>
            <ac:spMk id="3" creationId="{0AB6799A-3CF5-BD3C-355D-D339D38E303E}"/>
          </ac:spMkLst>
        </pc:spChg>
        <pc:spChg chg="mod">
          <ac:chgData name="José Antonio Ureta Santacreu" userId="e36999d1-2b92-424a-9e8c-5fde0c5fbdd2" providerId="ADAL" clId="{8E1CC941-A529-42BD-91F2-8926E50D0828}" dt="2024-06-25T11:06:57.220" v="0"/>
          <ac:spMkLst>
            <pc:docMk/>
            <pc:sldMk cId="2695236011" sldId="952"/>
            <ac:spMk id="4" creationId="{58ED4E9A-602D-AC0F-D7E6-E7131E8CE195}"/>
          </ac:spMkLst>
        </pc:spChg>
        <pc:spChg chg="mod">
          <ac:chgData name="José Antonio Ureta Santacreu" userId="e36999d1-2b92-424a-9e8c-5fde0c5fbdd2" providerId="ADAL" clId="{8E1CC941-A529-42BD-91F2-8926E50D0828}" dt="2024-06-25T11:06:57.220" v="0"/>
          <ac:spMkLst>
            <pc:docMk/>
            <pc:sldMk cId="2695236011" sldId="952"/>
            <ac:spMk id="5" creationId="{586F1A88-BFFE-B87B-5473-9F6AD1767CC7}"/>
          </ac:spMkLst>
        </pc:spChg>
        <pc:spChg chg="mod">
          <ac:chgData name="José Antonio Ureta Santacreu" userId="e36999d1-2b92-424a-9e8c-5fde0c5fbdd2" providerId="ADAL" clId="{8E1CC941-A529-42BD-91F2-8926E50D0828}" dt="2024-06-25T11:06:57.220" v="0"/>
          <ac:spMkLst>
            <pc:docMk/>
            <pc:sldMk cId="2695236011" sldId="952"/>
            <ac:spMk id="7" creationId="{7C87B4EA-B883-3A73-9948-A09AE4224858}"/>
          </ac:spMkLst>
        </pc:spChg>
        <pc:spChg chg="mod">
          <ac:chgData name="José Antonio Ureta Santacreu" userId="e36999d1-2b92-424a-9e8c-5fde0c5fbdd2" providerId="ADAL" clId="{8E1CC941-A529-42BD-91F2-8926E50D0828}" dt="2024-06-25T11:06:57.220" v="0"/>
          <ac:spMkLst>
            <pc:docMk/>
            <pc:sldMk cId="2695236011" sldId="952"/>
            <ac:spMk id="15" creationId="{58D983A1-6CDC-A92F-C6BD-592578521022}"/>
          </ac:spMkLst>
        </pc:spChg>
      </pc:sldChg>
      <pc:sldChg chg="modSp">
        <pc:chgData name="José Antonio Ureta Santacreu" userId="e36999d1-2b92-424a-9e8c-5fde0c5fbdd2" providerId="ADAL" clId="{8E1CC941-A529-42BD-91F2-8926E50D0828}" dt="2024-06-25T11:06:57.220" v="0"/>
        <pc:sldMkLst>
          <pc:docMk/>
          <pc:sldMk cId="3919960271" sldId="954"/>
        </pc:sldMkLst>
        <pc:spChg chg="mod">
          <ac:chgData name="José Antonio Ureta Santacreu" userId="e36999d1-2b92-424a-9e8c-5fde0c5fbdd2" providerId="ADAL" clId="{8E1CC941-A529-42BD-91F2-8926E50D0828}" dt="2024-06-25T11:06:57.220" v="0"/>
          <ac:spMkLst>
            <pc:docMk/>
            <pc:sldMk cId="3919960271" sldId="954"/>
            <ac:spMk id="16" creationId="{F6F13431-CD48-F62D-741C-DF3E39BF4279}"/>
          </ac:spMkLst>
        </pc:spChg>
      </pc:sldChg>
      <pc:sldChg chg="modSp">
        <pc:chgData name="José Antonio Ureta Santacreu" userId="e36999d1-2b92-424a-9e8c-5fde0c5fbdd2" providerId="ADAL" clId="{8E1CC941-A529-42BD-91F2-8926E50D0828}" dt="2024-06-25T11:06:57.220" v="0"/>
        <pc:sldMkLst>
          <pc:docMk/>
          <pc:sldMk cId="3357657738" sldId="955"/>
        </pc:sldMkLst>
        <pc:spChg chg="mod">
          <ac:chgData name="José Antonio Ureta Santacreu" userId="e36999d1-2b92-424a-9e8c-5fde0c5fbdd2" providerId="ADAL" clId="{8E1CC941-A529-42BD-91F2-8926E50D0828}" dt="2024-06-25T11:06:57.220" v="0"/>
          <ac:spMkLst>
            <pc:docMk/>
            <pc:sldMk cId="3357657738" sldId="955"/>
            <ac:spMk id="2" creationId="{98CE07F6-0DCC-74E4-4E8E-6E31B4DBDB98}"/>
          </ac:spMkLst>
        </pc:spChg>
        <pc:spChg chg="mod">
          <ac:chgData name="José Antonio Ureta Santacreu" userId="e36999d1-2b92-424a-9e8c-5fde0c5fbdd2" providerId="ADAL" clId="{8E1CC941-A529-42BD-91F2-8926E50D0828}" dt="2024-06-25T11:06:57.220" v="0"/>
          <ac:spMkLst>
            <pc:docMk/>
            <pc:sldMk cId="3357657738" sldId="955"/>
            <ac:spMk id="3" creationId="{DDB46E22-540F-373F-248F-BD7164F239B3}"/>
          </ac:spMkLst>
        </pc:spChg>
        <pc:spChg chg="mod">
          <ac:chgData name="José Antonio Ureta Santacreu" userId="e36999d1-2b92-424a-9e8c-5fde0c5fbdd2" providerId="ADAL" clId="{8E1CC941-A529-42BD-91F2-8926E50D0828}" dt="2024-06-25T11:06:57.220" v="0"/>
          <ac:spMkLst>
            <pc:docMk/>
            <pc:sldMk cId="3357657738" sldId="955"/>
            <ac:spMk id="4" creationId="{AB1CD72C-2DD1-0537-CADB-89D361553C56}"/>
          </ac:spMkLst>
        </pc:spChg>
        <pc:spChg chg="mod">
          <ac:chgData name="José Antonio Ureta Santacreu" userId="e36999d1-2b92-424a-9e8c-5fde0c5fbdd2" providerId="ADAL" clId="{8E1CC941-A529-42BD-91F2-8926E50D0828}" dt="2024-06-25T11:06:57.220" v="0"/>
          <ac:spMkLst>
            <pc:docMk/>
            <pc:sldMk cId="3357657738" sldId="955"/>
            <ac:spMk id="5" creationId="{8904DD0E-0C54-04FE-5024-4B6A51324E4C}"/>
          </ac:spMkLst>
        </pc:spChg>
      </pc:sldChg>
      <pc:sldChg chg="modSp">
        <pc:chgData name="José Antonio Ureta Santacreu" userId="e36999d1-2b92-424a-9e8c-5fde0c5fbdd2" providerId="ADAL" clId="{8E1CC941-A529-42BD-91F2-8926E50D0828}" dt="2024-06-25T11:06:57.220" v="0"/>
        <pc:sldMkLst>
          <pc:docMk/>
          <pc:sldMk cId="1798945688" sldId="956"/>
        </pc:sldMkLst>
        <pc:spChg chg="mod">
          <ac:chgData name="José Antonio Ureta Santacreu" userId="e36999d1-2b92-424a-9e8c-5fde0c5fbdd2" providerId="ADAL" clId="{8E1CC941-A529-42BD-91F2-8926E50D0828}" dt="2024-06-25T11:06:57.220" v="0"/>
          <ac:spMkLst>
            <pc:docMk/>
            <pc:sldMk cId="1798945688" sldId="956"/>
            <ac:spMk id="2" creationId="{5F174D68-407C-455C-9EB9-2E8CD2C2E665}"/>
          </ac:spMkLst>
        </pc:spChg>
        <pc:spChg chg="mod">
          <ac:chgData name="José Antonio Ureta Santacreu" userId="e36999d1-2b92-424a-9e8c-5fde0c5fbdd2" providerId="ADAL" clId="{8E1CC941-A529-42BD-91F2-8926E50D0828}" dt="2024-06-25T11:06:57.220" v="0"/>
          <ac:spMkLst>
            <pc:docMk/>
            <pc:sldMk cId="1798945688" sldId="956"/>
            <ac:spMk id="4" creationId="{C15DC197-6D03-4A0D-9214-E6A0CF77658E}"/>
          </ac:spMkLst>
        </pc:spChg>
        <pc:spChg chg="mod">
          <ac:chgData name="José Antonio Ureta Santacreu" userId="e36999d1-2b92-424a-9e8c-5fde0c5fbdd2" providerId="ADAL" clId="{8E1CC941-A529-42BD-91F2-8926E50D0828}" dt="2024-06-25T11:06:57.220" v="0"/>
          <ac:spMkLst>
            <pc:docMk/>
            <pc:sldMk cId="1798945688" sldId="956"/>
            <ac:spMk id="5" creationId="{E2F9741B-04F1-4647-B149-ED6227E72125}"/>
          </ac:spMkLst>
        </pc:spChg>
        <pc:spChg chg="mod">
          <ac:chgData name="José Antonio Ureta Santacreu" userId="e36999d1-2b92-424a-9e8c-5fde0c5fbdd2" providerId="ADAL" clId="{8E1CC941-A529-42BD-91F2-8926E50D0828}" dt="2024-06-25T11:06:57.220" v="0"/>
          <ac:spMkLst>
            <pc:docMk/>
            <pc:sldMk cId="1798945688" sldId="956"/>
            <ac:spMk id="6" creationId="{C990DBDA-D47D-4628-B25A-24FCDF31C739}"/>
          </ac:spMkLst>
        </pc:spChg>
        <pc:picChg chg="mod">
          <ac:chgData name="José Antonio Ureta Santacreu" userId="e36999d1-2b92-424a-9e8c-5fde0c5fbdd2" providerId="ADAL" clId="{8E1CC941-A529-42BD-91F2-8926E50D0828}" dt="2024-06-25T11:06:57.220" v="0"/>
          <ac:picMkLst>
            <pc:docMk/>
            <pc:sldMk cId="1798945688" sldId="956"/>
            <ac:picMk id="1026" creationId="{27AAE1C7-10B2-4082-BB5F-73B74F767EFD}"/>
          </ac:picMkLst>
        </pc:picChg>
      </pc:sldChg>
      <pc:sldChg chg="modSp">
        <pc:chgData name="José Antonio Ureta Santacreu" userId="e36999d1-2b92-424a-9e8c-5fde0c5fbdd2" providerId="ADAL" clId="{8E1CC941-A529-42BD-91F2-8926E50D0828}" dt="2024-06-25T11:06:57.220" v="0"/>
        <pc:sldMkLst>
          <pc:docMk/>
          <pc:sldMk cId="4002288814" sldId="957"/>
        </pc:sldMkLst>
        <pc:spChg chg="mod">
          <ac:chgData name="José Antonio Ureta Santacreu" userId="e36999d1-2b92-424a-9e8c-5fde0c5fbdd2" providerId="ADAL" clId="{8E1CC941-A529-42BD-91F2-8926E50D0828}" dt="2024-06-25T11:06:57.220" v="0"/>
          <ac:spMkLst>
            <pc:docMk/>
            <pc:sldMk cId="4002288814" sldId="957"/>
            <ac:spMk id="2" creationId="{FCEAAD80-691E-5166-036B-F787BBF25499}"/>
          </ac:spMkLst>
        </pc:spChg>
        <pc:spChg chg="mod">
          <ac:chgData name="José Antonio Ureta Santacreu" userId="e36999d1-2b92-424a-9e8c-5fde0c5fbdd2" providerId="ADAL" clId="{8E1CC941-A529-42BD-91F2-8926E50D0828}" dt="2024-06-25T11:06:57.220" v="0"/>
          <ac:spMkLst>
            <pc:docMk/>
            <pc:sldMk cId="4002288814" sldId="957"/>
            <ac:spMk id="3" creationId="{D6D8A75A-4FBE-D2BE-D7CC-D9B625F4F67C}"/>
          </ac:spMkLst>
        </pc:spChg>
        <pc:spChg chg="mod">
          <ac:chgData name="José Antonio Ureta Santacreu" userId="e36999d1-2b92-424a-9e8c-5fde0c5fbdd2" providerId="ADAL" clId="{8E1CC941-A529-42BD-91F2-8926E50D0828}" dt="2024-06-25T11:06:57.220" v="0"/>
          <ac:spMkLst>
            <pc:docMk/>
            <pc:sldMk cId="4002288814" sldId="957"/>
            <ac:spMk id="4" creationId="{9601DA6E-AEE6-42E3-6B5D-522CB1091358}"/>
          </ac:spMkLst>
        </pc:spChg>
        <pc:spChg chg="mod">
          <ac:chgData name="José Antonio Ureta Santacreu" userId="e36999d1-2b92-424a-9e8c-5fde0c5fbdd2" providerId="ADAL" clId="{8E1CC941-A529-42BD-91F2-8926E50D0828}" dt="2024-06-25T11:06:57.220" v="0"/>
          <ac:spMkLst>
            <pc:docMk/>
            <pc:sldMk cId="4002288814" sldId="957"/>
            <ac:spMk id="5" creationId="{048A4A78-8D92-958D-ED77-76DFE4282194}"/>
          </ac:spMkLst>
        </pc:spChg>
      </pc:sldChg>
      <pc:sldChg chg="modSp mod">
        <pc:chgData name="José Antonio Ureta Santacreu" userId="e36999d1-2b92-424a-9e8c-5fde0c5fbdd2" providerId="ADAL" clId="{8E1CC941-A529-42BD-91F2-8926E50D0828}" dt="2024-07-19T09:04:58.536" v="669" actId="20577"/>
        <pc:sldMkLst>
          <pc:docMk/>
          <pc:sldMk cId="2517821740" sldId="961"/>
        </pc:sldMkLst>
        <pc:spChg chg="mod">
          <ac:chgData name="José Antonio Ureta Santacreu" userId="e36999d1-2b92-424a-9e8c-5fde0c5fbdd2" providerId="ADAL" clId="{8E1CC941-A529-42BD-91F2-8926E50D0828}" dt="2024-07-19T09:04:58.536" v="669" actId="20577"/>
          <ac:spMkLst>
            <pc:docMk/>
            <pc:sldMk cId="2517821740" sldId="961"/>
            <ac:spMk id="2" creationId="{9FB95F02-BC6F-49F0-AE39-00E02194FD04}"/>
          </ac:spMkLst>
        </pc:spChg>
        <pc:spChg chg="mod">
          <ac:chgData name="José Antonio Ureta Santacreu" userId="e36999d1-2b92-424a-9e8c-5fde0c5fbdd2" providerId="ADAL" clId="{8E1CC941-A529-42BD-91F2-8926E50D0828}" dt="2024-06-25T11:06:57.220" v="0"/>
          <ac:spMkLst>
            <pc:docMk/>
            <pc:sldMk cId="2517821740" sldId="961"/>
            <ac:spMk id="3" creationId="{4CE73173-3708-4A52-AA98-FE2950E41737}"/>
          </ac:spMkLst>
        </pc:spChg>
        <pc:spChg chg="mod">
          <ac:chgData name="José Antonio Ureta Santacreu" userId="e36999d1-2b92-424a-9e8c-5fde0c5fbdd2" providerId="ADAL" clId="{8E1CC941-A529-42BD-91F2-8926E50D0828}" dt="2024-06-25T11:06:57.220" v="0"/>
          <ac:spMkLst>
            <pc:docMk/>
            <pc:sldMk cId="2517821740" sldId="961"/>
            <ac:spMk id="4" creationId="{4B4B7D78-28A6-4EF7-A9C5-9B86DF54B43E}"/>
          </ac:spMkLst>
        </pc:spChg>
        <pc:spChg chg="mod">
          <ac:chgData name="José Antonio Ureta Santacreu" userId="e36999d1-2b92-424a-9e8c-5fde0c5fbdd2" providerId="ADAL" clId="{8E1CC941-A529-42BD-91F2-8926E50D0828}" dt="2024-06-25T11:06:57.220" v="0"/>
          <ac:spMkLst>
            <pc:docMk/>
            <pc:sldMk cId="2517821740" sldId="961"/>
            <ac:spMk id="5" creationId="{7DEDEB19-3DA5-4100-9BDF-8EEDE053D3F8}"/>
          </ac:spMkLst>
        </pc:spChg>
        <pc:spChg chg="mod">
          <ac:chgData name="José Antonio Ureta Santacreu" userId="e36999d1-2b92-424a-9e8c-5fde0c5fbdd2" providerId="ADAL" clId="{8E1CC941-A529-42BD-91F2-8926E50D0828}" dt="2024-07-19T09:03:58.524" v="664" actId="208"/>
          <ac:spMkLst>
            <pc:docMk/>
            <pc:sldMk cId="2517821740" sldId="961"/>
            <ac:spMk id="12" creationId="{67305A74-090D-4F62-BD73-E4966BA80074}"/>
          </ac:spMkLst>
        </pc:spChg>
        <pc:spChg chg="mod">
          <ac:chgData name="José Antonio Ureta Santacreu" userId="e36999d1-2b92-424a-9e8c-5fde0c5fbdd2" providerId="ADAL" clId="{8E1CC941-A529-42BD-91F2-8926E50D0828}" dt="2024-07-19T09:03:58.524" v="664" actId="208"/>
          <ac:spMkLst>
            <pc:docMk/>
            <pc:sldMk cId="2517821740" sldId="961"/>
            <ac:spMk id="13" creationId="{4C74F40F-4836-448D-AF15-7FA6B13AF8DD}"/>
          </ac:spMkLst>
        </pc:spChg>
        <pc:spChg chg="mod">
          <ac:chgData name="José Antonio Ureta Santacreu" userId="e36999d1-2b92-424a-9e8c-5fde0c5fbdd2" providerId="ADAL" clId="{8E1CC941-A529-42BD-91F2-8926E50D0828}" dt="2024-07-19T09:03:58.524" v="664" actId="208"/>
          <ac:spMkLst>
            <pc:docMk/>
            <pc:sldMk cId="2517821740" sldId="961"/>
            <ac:spMk id="14" creationId="{EA27E9A5-CA30-40BB-A5E0-DCF958E33201}"/>
          </ac:spMkLst>
        </pc:spChg>
        <pc:spChg chg="mod">
          <ac:chgData name="José Antonio Ureta Santacreu" userId="e36999d1-2b92-424a-9e8c-5fde0c5fbdd2" providerId="ADAL" clId="{8E1CC941-A529-42BD-91F2-8926E50D0828}" dt="2024-07-19T09:03:58.524" v="664" actId="208"/>
          <ac:spMkLst>
            <pc:docMk/>
            <pc:sldMk cId="2517821740" sldId="961"/>
            <ac:spMk id="15" creationId="{2612C8C1-F664-40A7-907B-890138E38874}"/>
          </ac:spMkLst>
        </pc:spChg>
        <pc:spChg chg="mod">
          <ac:chgData name="José Antonio Ureta Santacreu" userId="e36999d1-2b92-424a-9e8c-5fde0c5fbdd2" providerId="ADAL" clId="{8E1CC941-A529-42BD-91F2-8926E50D0828}" dt="2024-07-19T09:04:10.637" v="665" actId="208"/>
          <ac:spMkLst>
            <pc:docMk/>
            <pc:sldMk cId="2517821740" sldId="961"/>
            <ac:spMk id="16" creationId="{E899D86B-CFFB-490C-A2AD-402521918B9F}"/>
          </ac:spMkLst>
        </pc:spChg>
        <pc:picChg chg="mod">
          <ac:chgData name="José Antonio Ureta Santacreu" userId="e36999d1-2b92-424a-9e8c-5fde0c5fbdd2" providerId="ADAL" clId="{8E1CC941-A529-42BD-91F2-8926E50D0828}" dt="2024-07-19T09:04:40.293" v="666"/>
          <ac:picMkLst>
            <pc:docMk/>
            <pc:sldMk cId="2517821740" sldId="961"/>
            <ac:picMk id="17" creationId="{CC90AE9E-DC1F-4929-9802-CAB50D4F383A}"/>
          </ac:picMkLst>
        </pc:picChg>
      </pc:sldChg>
      <pc:sldChg chg="del">
        <pc:chgData name="José Antonio Ureta Santacreu" userId="e36999d1-2b92-424a-9e8c-5fde0c5fbdd2" providerId="ADAL" clId="{8E1CC941-A529-42BD-91F2-8926E50D0828}" dt="2024-07-10T11:41:59.027" v="358" actId="2696"/>
        <pc:sldMkLst>
          <pc:docMk/>
          <pc:sldMk cId="293238331" sldId="962"/>
        </pc:sldMkLst>
      </pc:sldChg>
      <pc:sldChg chg="delSp modSp add del mod">
        <pc:chgData name="José Antonio Ureta Santacreu" userId="e36999d1-2b92-424a-9e8c-5fde0c5fbdd2" providerId="ADAL" clId="{8E1CC941-A529-42BD-91F2-8926E50D0828}" dt="2024-07-19T09:18:35.380" v="1092" actId="47"/>
        <pc:sldMkLst>
          <pc:docMk/>
          <pc:sldMk cId="2255130826" sldId="962"/>
        </pc:sldMkLst>
        <pc:spChg chg="mod">
          <ac:chgData name="José Antonio Ureta Santacreu" userId="e36999d1-2b92-424a-9e8c-5fde0c5fbdd2" providerId="ADAL" clId="{8E1CC941-A529-42BD-91F2-8926E50D0828}" dt="2024-07-19T09:18:10.809" v="1046" actId="21"/>
          <ac:spMkLst>
            <pc:docMk/>
            <pc:sldMk cId="2255130826" sldId="962"/>
            <ac:spMk id="2" creationId="{6BC9523D-BF27-4247-9477-EC0C9D78968A}"/>
          </ac:spMkLst>
        </pc:spChg>
        <pc:spChg chg="del">
          <ac:chgData name="José Antonio Ureta Santacreu" userId="e36999d1-2b92-424a-9e8c-5fde0c5fbdd2" providerId="ADAL" clId="{8E1CC941-A529-42BD-91F2-8926E50D0828}" dt="2024-07-19T09:13:40.332" v="868" actId="21"/>
          <ac:spMkLst>
            <pc:docMk/>
            <pc:sldMk cId="2255130826" sldId="962"/>
            <ac:spMk id="6" creationId="{0DF9F279-69CB-48DA-84F2-04E432699C3B}"/>
          </ac:spMkLst>
        </pc:spChg>
        <pc:spChg chg="del mod">
          <ac:chgData name="José Antonio Ureta Santacreu" userId="e36999d1-2b92-424a-9e8c-5fde0c5fbdd2" providerId="ADAL" clId="{8E1CC941-A529-42BD-91F2-8926E50D0828}" dt="2024-07-19T09:13:40.332" v="868" actId="21"/>
          <ac:spMkLst>
            <pc:docMk/>
            <pc:sldMk cId="2255130826" sldId="962"/>
            <ac:spMk id="7" creationId="{C49999FB-8750-04A5-ADD7-46F9443DB7CD}"/>
          </ac:spMkLst>
        </pc:spChg>
        <pc:spChg chg="del">
          <ac:chgData name="José Antonio Ureta Santacreu" userId="e36999d1-2b92-424a-9e8c-5fde0c5fbdd2" providerId="ADAL" clId="{8E1CC941-A529-42BD-91F2-8926E50D0828}" dt="2024-07-19T09:13:40.332" v="868" actId="21"/>
          <ac:spMkLst>
            <pc:docMk/>
            <pc:sldMk cId="2255130826" sldId="962"/>
            <ac:spMk id="8" creationId="{49D40A54-7060-4AF0-B059-46FB163FE731}"/>
          </ac:spMkLst>
        </pc:spChg>
        <pc:spChg chg="del">
          <ac:chgData name="José Antonio Ureta Santacreu" userId="e36999d1-2b92-424a-9e8c-5fde0c5fbdd2" providerId="ADAL" clId="{8E1CC941-A529-42BD-91F2-8926E50D0828}" dt="2024-07-19T09:13:40.332" v="868" actId="21"/>
          <ac:spMkLst>
            <pc:docMk/>
            <pc:sldMk cId="2255130826" sldId="962"/>
            <ac:spMk id="9" creationId="{97975C2D-2FA9-47C6-B976-B3BCBC8FAD27}"/>
          </ac:spMkLst>
        </pc:spChg>
        <pc:spChg chg="del">
          <ac:chgData name="José Antonio Ureta Santacreu" userId="e36999d1-2b92-424a-9e8c-5fde0c5fbdd2" providerId="ADAL" clId="{8E1CC941-A529-42BD-91F2-8926E50D0828}" dt="2024-07-19T09:13:40.332" v="868" actId="21"/>
          <ac:spMkLst>
            <pc:docMk/>
            <pc:sldMk cId="2255130826" sldId="962"/>
            <ac:spMk id="10" creationId="{923F1029-7285-4EBD-8A3B-8A5D935128EB}"/>
          </ac:spMkLst>
        </pc:spChg>
        <pc:spChg chg="del mod">
          <ac:chgData name="José Antonio Ureta Santacreu" userId="e36999d1-2b92-424a-9e8c-5fde0c5fbdd2" providerId="ADAL" clId="{8E1CC941-A529-42BD-91F2-8926E50D0828}" dt="2024-07-19T09:13:40.332" v="868" actId="21"/>
          <ac:spMkLst>
            <pc:docMk/>
            <pc:sldMk cId="2255130826" sldId="962"/>
            <ac:spMk id="11" creationId="{DBA31325-95ED-460B-892D-FDE40AD9CFEB}"/>
          </ac:spMkLst>
        </pc:spChg>
        <pc:spChg chg="del">
          <ac:chgData name="José Antonio Ureta Santacreu" userId="e36999d1-2b92-424a-9e8c-5fde0c5fbdd2" providerId="ADAL" clId="{8E1CC941-A529-42BD-91F2-8926E50D0828}" dt="2024-07-19T09:13:40.332" v="868" actId="21"/>
          <ac:spMkLst>
            <pc:docMk/>
            <pc:sldMk cId="2255130826" sldId="962"/>
            <ac:spMk id="12" creationId="{E5ADCC2E-D0D6-4992-8E1B-646E115270A3}"/>
          </ac:spMkLst>
        </pc:spChg>
        <pc:spChg chg="del">
          <ac:chgData name="José Antonio Ureta Santacreu" userId="e36999d1-2b92-424a-9e8c-5fde0c5fbdd2" providerId="ADAL" clId="{8E1CC941-A529-42BD-91F2-8926E50D0828}" dt="2024-07-19T09:13:40.332" v="868" actId="21"/>
          <ac:spMkLst>
            <pc:docMk/>
            <pc:sldMk cId="2255130826" sldId="962"/>
            <ac:spMk id="13" creationId="{63D185DA-0E2B-47A4-B26A-07DBAFD6D762}"/>
          </ac:spMkLst>
        </pc:spChg>
        <pc:spChg chg="del">
          <ac:chgData name="José Antonio Ureta Santacreu" userId="e36999d1-2b92-424a-9e8c-5fde0c5fbdd2" providerId="ADAL" clId="{8E1CC941-A529-42BD-91F2-8926E50D0828}" dt="2024-07-19T09:13:40.332" v="868" actId="21"/>
          <ac:spMkLst>
            <pc:docMk/>
            <pc:sldMk cId="2255130826" sldId="962"/>
            <ac:spMk id="14" creationId="{76FE9A60-0881-4EFE-BC69-5E9B80E7CD06}"/>
          </ac:spMkLst>
        </pc:spChg>
        <pc:spChg chg="del">
          <ac:chgData name="José Antonio Ureta Santacreu" userId="e36999d1-2b92-424a-9e8c-5fde0c5fbdd2" providerId="ADAL" clId="{8E1CC941-A529-42BD-91F2-8926E50D0828}" dt="2024-07-19T09:13:40.332" v="868" actId="21"/>
          <ac:spMkLst>
            <pc:docMk/>
            <pc:sldMk cId="2255130826" sldId="962"/>
            <ac:spMk id="16" creationId="{74605C64-8039-40EE-980E-3DA552310706}"/>
          </ac:spMkLst>
        </pc:spChg>
        <pc:spChg chg="del mod">
          <ac:chgData name="José Antonio Ureta Santacreu" userId="e36999d1-2b92-424a-9e8c-5fde0c5fbdd2" providerId="ADAL" clId="{8E1CC941-A529-42BD-91F2-8926E50D0828}" dt="2024-07-19T09:13:40.332" v="868" actId="21"/>
          <ac:spMkLst>
            <pc:docMk/>
            <pc:sldMk cId="2255130826" sldId="962"/>
            <ac:spMk id="18" creationId="{23EFD84F-52FD-4B9F-9503-EF023EFA4DB0}"/>
          </ac:spMkLst>
        </pc:spChg>
        <pc:spChg chg="del">
          <ac:chgData name="José Antonio Ureta Santacreu" userId="e36999d1-2b92-424a-9e8c-5fde0c5fbdd2" providerId="ADAL" clId="{8E1CC941-A529-42BD-91F2-8926E50D0828}" dt="2024-07-19T09:13:40.332" v="868" actId="21"/>
          <ac:spMkLst>
            <pc:docMk/>
            <pc:sldMk cId="2255130826" sldId="962"/>
            <ac:spMk id="20" creationId="{3E068635-210D-4818-AD20-1B21DFAA87B9}"/>
          </ac:spMkLst>
        </pc:spChg>
        <pc:spChg chg="del mod">
          <ac:chgData name="José Antonio Ureta Santacreu" userId="e36999d1-2b92-424a-9e8c-5fde0c5fbdd2" providerId="ADAL" clId="{8E1CC941-A529-42BD-91F2-8926E50D0828}" dt="2024-07-19T09:13:40.332" v="868" actId="21"/>
          <ac:spMkLst>
            <pc:docMk/>
            <pc:sldMk cId="2255130826" sldId="962"/>
            <ac:spMk id="21" creationId="{3D61459B-483B-4FAD-BAB2-157FFF3309B2}"/>
          </ac:spMkLst>
        </pc:spChg>
        <pc:spChg chg="del">
          <ac:chgData name="José Antonio Ureta Santacreu" userId="e36999d1-2b92-424a-9e8c-5fde0c5fbdd2" providerId="ADAL" clId="{8E1CC941-A529-42BD-91F2-8926E50D0828}" dt="2024-07-19T09:13:40.332" v="868" actId="21"/>
          <ac:spMkLst>
            <pc:docMk/>
            <pc:sldMk cId="2255130826" sldId="962"/>
            <ac:spMk id="22" creationId="{81DF61E8-B237-4FF5-A7DE-A746F305ED70}"/>
          </ac:spMkLst>
        </pc:spChg>
        <pc:spChg chg="del">
          <ac:chgData name="José Antonio Ureta Santacreu" userId="e36999d1-2b92-424a-9e8c-5fde0c5fbdd2" providerId="ADAL" clId="{8E1CC941-A529-42BD-91F2-8926E50D0828}" dt="2024-07-19T09:13:40.332" v="868" actId="21"/>
          <ac:spMkLst>
            <pc:docMk/>
            <pc:sldMk cId="2255130826" sldId="962"/>
            <ac:spMk id="23" creationId="{C60E7DDB-CCFD-45CB-91AD-384FAB86FDD6}"/>
          </ac:spMkLst>
        </pc:spChg>
        <pc:spChg chg="del">
          <ac:chgData name="José Antonio Ureta Santacreu" userId="e36999d1-2b92-424a-9e8c-5fde0c5fbdd2" providerId="ADAL" clId="{8E1CC941-A529-42BD-91F2-8926E50D0828}" dt="2024-07-19T09:13:40.332" v="868" actId="21"/>
          <ac:spMkLst>
            <pc:docMk/>
            <pc:sldMk cId="2255130826" sldId="962"/>
            <ac:spMk id="24" creationId="{C7E07EA9-919D-4E0D-A8E7-A8A9FF62AD84}"/>
          </ac:spMkLst>
        </pc:spChg>
        <pc:picChg chg="del mod">
          <ac:chgData name="José Antonio Ureta Santacreu" userId="e36999d1-2b92-424a-9e8c-5fde0c5fbdd2" providerId="ADAL" clId="{8E1CC941-A529-42BD-91F2-8926E50D0828}" dt="2024-07-19T09:13:23.510" v="866" actId="478"/>
          <ac:picMkLst>
            <pc:docMk/>
            <pc:sldMk cId="2255130826" sldId="962"/>
            <ac:picMk id="1028" creationId="{4D5CAD53-CF56-49C2-B388-0B66978C8789}"/>
          </ac:picMkLst>
        </pc:picChg>
      </pc:sldChg>
      <pc:sldChg chg="modSp">
        <pc:chgData name="José Antonio Ureta Santacreu" userId="e36999d1-2b92-424a-9e8c-5fde0c5fbdd2" providerId="ADAL" clId="{8E1CC941-A529-42BD-91F2-8926E50D0828}" dt="2024-06-25T11:06:57.220" v="0"/>
        <pc:sldMkLst>
          <pc:docMk/>
          <pc:sldMk cId="4024914087" sldId="963"/>
        </pc:sldMkLst>
        <pc:spChg chg="mod">
          <ac:chgData name="José Antonio Ureta Santacreu" userId="e36999d1-2b92-424a-9e8c-5fde0c5fbdd2" providerId="ADAL" clId="{8E1CC941-A529-42BD-91F2-8926E50D0828}" dt="2024-06-25T11:06:57.220" v="0"/>
          <ac:spMkLst>
            <pc:docMk/>
            <pc:sldMk cId="4024914087" sldId="963"/>
            <ac:spMk id="2" creationId="{0574840E-6BA3-371A-3A05-6B936495F3B9}"/>
          </ac:spMkLst>
        </pc:spChg>
        <pc:spChg chg="mod">
          <ac:chgData name="José Antonio Ureta Santacreu" userId="e36999d1-2b92-424a-9e8c-5fde0c5fbdd2" providerId="ADAL" clId="{8E1CC941-A529-42BD-91F2-8926E50D0828}" dt="2024-06-25T11:06:57.220" v="0"/>
          <ac:spMkLst>
            <pc:docMk/>
            <pc:sldMk cId="4024914087" sldId="963"/>
            <ac:spMk id="3" creationId="{EE09C1FB-C519-7D46-FF28-6993126C677F}"/>
          </ac:spMkLst>
        </pc:spChg>
        <pc:spChg chg="mod">
          <ac:chgData name="José Antonio Ureta Santacreu" userId="e36999d1-2b92-424a-9e8c-5fde0c5fbdd2" providerId="ADAL" clId="{8E1CC941-A529-42BD-91F2-8926E50D0828}" dt="2024-06-25T11:06:57.220" v="0"/>
          <ac:spMkLst>
            <pc:docMk/>
            <pc:sldMk cId="4024914087" sldId="963"/>
            <ac:spMk id="4" creationId="{5551F464-76E2-1180-AA35-F8F76EDCAB3F}"/>
          </ac:spMkLst>
        </pc:spChg>
        <pc:spChg chg="mod">
          <ac:chgData name="José Antonio Ureta Santacreu" userId="e36999d1-2b92-424a-9e8c-5fde0c5fbdd2" providerId="ADAL" clId="{8E1CC941-A529-42BD-91F2-8926E50D0828}" dt="2024-06-25T11:06:57.220" v="0"/>
          <ac:spMkLst>
            <pc:docMk/>
            <pc:sldMk cId="4024914087" sldId="963"/>
            <ac:spMk id="5" creationId="{B28DC722-9AF5-4A32-E39E-4F576BDE00D8}"/>
          </ac:spMkLst>
        </pc:spChg>
        <pc:spChg chg="mod">
          <ac:chgData name="José Antonio Ureta Santacreu" userId="e36999d1-2b92-424a-9e8c-5fde0c5fbdd2" providerId="ADAL" clId="{8E1CC941-A529-42BD-91F2-8926E50D0828}" dt="2024-06-25T11:06:57.220" v="0"/>
          <ac:spMkLst>
            <pc:docMk/>
            <pc:sldMk cId="4024914087" sldId="963"/>
            <ac:spMk id="7" creationId="{20F10EDD-1B33-7836-13D5-C2DFC544589F}"/>
          </ac:spMkLst>
        </pc:spChg>
        <pc:spChg chg="mod">
          <ac:chgData name="José Antonio Ureta Santacreu" userId="e36999d1-2b92-424a-9e8c-5fde0c5fbdd2" providerId="ADAL" clId="{8E1CC941-A529-42BD-91F2-8926E50D0828}" dt="2024-06-25T11:06:57.220" v="0"/>
          <ac:spMkLst>
            <pc:docMk/>
            <pc:sldMk cId="4024914087" sldId="963"/>
            <ac:spMk id="8" creationId="{E30B994B-8002-92A1-5940-75CA9C03D5CF}"/>
          </ac:spMkLst>
        </pc:spChg>
        <pc:picChg chg="mod">
          <ac:chgData name="José Antonio Ureta Santacreu" userId="e36999d1-2b92-424a-9e8c-5fde0c5fbdd2" providerId="ADAL" clId="{8E1CC941-A529-42BD-91F2-8926E50D0828}" dt="2024-06-25T11:06:57.220" v="0"/>
          <ac:picMkLst>
            <pc:docMk/>
            <pc:sldMk cId="4024914087" sldId="963"/>
            <ac:picMk id="12" creationId="{345FC089-229B-A562-AA0A-B77355076EEA}"/>
          </ac:picMkLst>
        </pc:picChg>
        <pc:picChg chg="mod">
          <ac:chgData name="José Antonio Ureta Santacreu" userId="e36999d1-2b92-424a-9e8c-5fde0c5fbdd2" providerId="ADAL" clId="{8E1CC941-A529-42BD-91F2-8926E50D0828}" dt="2024-06-25T11:06:57.220" v="0"/>
          <ac:picMkLst>
            <pc:docMk/>
            <pc:sldMk cId="4024914087" sldId="963"/>
            <ac:picMk id="3074" creationId="{6332D1E4-45BB-C8FA-67F9-97B03B61371B}"/>
          </ac:picMkLst>
        </pc:picChg>
      </pc:sldChg>
      <pc:sldChg chg="modSp mod">
        <pc:chgData name="José Antonio Ureta Santacreu" userId="e36999d1-2b92-424a-9e8c-5fde0c5fbdd2" providerId="ADAL" clId="{8E1CC941-A529-42BD-91F2-8926E50D0828}" dt="2024-06-25T11:06:58.840" v="31" actId="27636"/>
        <pc:sldMkLst>
          <pc:docMk/>
          <pc:sldMk cId="1119854646" sldId="964"/>
        </pc:sldMkLst>
        <pc:spChg chg="mod">
          <ac:chgData name="José Antonio Ureta Santacreu" userId="e36999d1-2b92-424a-9e8c-5fde0c5fbdd2" providerId="ADAL" clId="{8E1CC941-A529-42BD-91F2-8926E50D0828}" dt="2024-06-25T11:06:58.840" v="31" actId="27636"/>
          <ac:spMkLst>
            <pc:docMk/>
            <pc:sldMk cId="1119854646" sldId="964"/>
            <ac:spMk id="2" creationId="{00000000-0000-0000-0000-000000000000}"/>
          </ac:spMkLst>
        </pc:spChg>
      </pc:sldChg>
      <pc:sldChg chg="modSp">
        <pc:chgData name="José Antonio Ureta Santacreu" userId="e36999d1-2b92-424a-9e8c-5fde0c5fbdd2" providerId="ADAL" clId="{8E1CC941-A529-42BD-91F2-8926E50D0828}" dt="2024-06-25T11:06:57.220" v="0"/>
        <pc:sldMkLst>
          <pc:docMk/>
          <pc:sldMk cId="223710012" sldId="965"/>
        </pc:sldMkLst>
        <pc:spChg chg="mod">
          <ac:chgData name="José Antonio Ureta Santacreu" userId="e36999d1-2b92-424a-9e8c-5fde0c5fbdd2" providerId="ADAL" clId="{8E1CC941-A529-42BD-91F2-8926E50D0828}" dt="2024-06-25T11:06:57.220" v="0"/>
          <ac:spMkLst>
            <pc:docMk/>
            <pc:sldMk cId="223710012" sldId="965"/>
            <ac:spMk id="2" creationId="{F4D310F6-DE78-F4BC-A5F5-29597DA7D8F4}"/>
          </ac:spMkLst>
        </pc:spChg>
        <pc:spChg chg="mod">
          <ac:chgData name="José Antonio Ureta Santacreu" userId="e36999d1-2b92-424a-9e8c-5fde0c5fbdd2" providerId="ADAL" clId="{8E1CC941-A529-42BD-91F2-8926E50D0828}" dt="2024-06-25T11:06:57.220" v="0"/>
          <ac:spMkLst>
            <pc:docMk/>
            <pc:sldMk cId="223710012" sldId="965"/>
            <ac:spMk id="3" creationId="{BFD1F3FE-129E-D42F-DF3B-36B04D4999AA}"/>
          </ac:spMkLst>
        </pc:spChg>
        <pc:spChg chg="mod">
          <ac:chgData name="José Antonio Ureta Santacreu" userId="e36999d1-2b92-424a-9e8c-5fde0c5fbdd2" providerId="ADAL" clId="{8E1CC941-A529-42BD-91F2-8926E50D0828}" dt="2024-06-25T11:06:57.220" v="0"/>
          <ac:spMkLst>
            <pc:docMk/>
            <pc:sldMk cId="223710012" sldId="965"/>
            <ac:spMk id="4" creationId="{E7C1B390-9105-C91C-6A10-D08CC00166AF}"/>
          </ac:spMkLst>
        </pc:spChg>
        <pc:spChg chg="mod">
          <ac:chgData name="José Antonio Ureta Santacreu" userId="e36999d1-2b92-424a-9e8c-5fde0c5fbdd2" providerId="ADAL" clId="{8E1CC941-A529-42BD-91F2-8926E50D0828}" dt="2024-06-25T11:06:57.220" v="0"/>
          <ac:spMkLst>
            <pc:docMk/>
            <pc:sldMk cId="223710012" sldId="965"/>
            <ac:spMk id="5" creationId="{6D5E2E06-F4D8-E3C4-0146-E3DF9862BA08}"/>
          </ac:spMkLst>
        </pc:spChg>
      </pc:sldChg>
      <pc:sldChg chg="modSp">
        <pc:chgData name="José Antonio Ureta Santacreu" userId="e36999d1-2b92-424a-9e8c-5fde0c5fbdd2" providerId="ADAL" clId="{8E1CC941-A529-42BD-91F2-8926E50D0828}" dt="2024-06-25T11:06:57.220" v="0"/>
        <pc:sldMkLst>
          <pc:docMk/>
          <pc:sldMk cId="2653427006" sldId="970"/>
        </pc:sldMkLst>
        <pc:spChg chg="mod">
          <ac:chgData name="José Antonio Ureta Santacreu" userId="e36999d1-2b92-424a-9e8c-5fde0c5fbdd2" providerId="ADAL" clId="{8E1CC941-A529-42BD-91F2-8926E50D0828}" dt="2024-06-25T11:06:57.220" v="0"/>
          <ac:spMkLst>
            <pc:docMk/>
            <pc:sldMk cId="2653427006" sldId="970"/>
            <ac:spMk id="2" creationId="{A6B26720-6CFD-9407-BD3D-A79B999515FC}"/>
          </ac:spMkLst>
        </pc:spChg>
        <pc:spChg chg="mod">
          <ac:chgData name="José Antonio Ureta Santacreu" userId="e36999d1-2b92-424a-9e8c-5fde0c5fbdd2" providerId="ADAL" clId="{8E1CC941-A529-42BD-91F2-8926E50D0828}" dt="2024-06-25T11:06:57.220" v="0"/>
          <ac:spMkLst>
            <pc:docMk/>
            <pc:sldMk cId="2653427006" sldId="970"/>
            <ac:spMk id="3" creationId="{9ED9929D-C0CD-82BC-D632-D5BDD794D811}"/>
          </ac:spMkLst>
        </pc:spChg>
        <pc:spChg chg="mod">
          <ac:chgData name="José Antonio Ureta Santacreu" userId="e36999d1-2b92-424a-9e8c-5fde0c5fbdd2" providerId="ADAL" clId="{8E1CC941-A529-42BD-91F2-8926E50D0828}" dt="2024-06-25T11:06:57.220" v="0"/>
          <ac:spMkLst>
            <pc:docMk/>
            <pc:sldMk cId="2653427006" sldId="970"/>
            <ac:spMk id="4" creationId="{184312DA-C7FB-AEE5-3E06-09964095E90A}"/>
          </ac:spMkLst>
        </pc:spChg>
        <pc:spChg chg="mod">
          <ac:chgData name="José Antonio Ureta Santacreu" userId="e36999d1-2b92-424a-9e8c-5fde0c5fbdd2" providerId="ADAL" clId="{8E1CC941-A529-42BD-91F2-8926E50D0828}" dt="2024-06-25T11:06:57.220" v="0"/>
          <ac:spMkLst>
            <pc:docMk/>
            <pc:sldMk cId="2653427006" sldId="970"/>
            <ac:spMk id="5" creationId="{ADB585AB-6AB2-0F35-EEDF-30CFC1CF8EBE}"/>
          </ac:spMkLst>
        </pc:spChg>
      </pc:sldChg>
      <pc:sldChg chg="modSp">
        <pc:chgData name="José Antonio Ureta Santacreu" userId="e36999d1-2b92-424a-9e8c-5fde0c5fbdd2" providerId="ADAL" clId="{8E1CC941-A529-42BD-91F2-8926E50D0828}" dt="2024-06-25T11:06:57.220" v="0"/>
        <pc:sldMkLst>
          <pc:docMk/>
          <pc:sldMk cId="3300012705" sldId="973"/>
        </pc:sldMkLst>
        <pc:spChg chg="mod">
          <ac:chgData name="José Antonio Ureta Santacreu" userId="e36999d1-2b92-424a-9e8c-5fde0c5fbdd2" providerId="ADAL" clId="{8E1CC941-A529-42BD-91F2-8926E50D0828}" dt="2024-06-25T11:06:57.220" v="0"/>
          <ac:spMkLst>
            <pc:docMk/>
            <pc:sldMk cId="3300012705" sldId="973"/>
            <ac:spMk id="2" creationId="{858A5752-8978-458B-6CE9-41E81967B13B}"/>
          </ac:spMkLst>
        </pc:spChg>
        <pc:spChg chg="mod">
          <ac:chgData name="José Antonio Ureta Santacreu" userId="e36999d1-2b92-424a-9e8c-5fde0c5fbdd2" providerId="ADAL" clId="{8E1CC941-A529-42BD-91F2-8926E50D0828}" dt="2024-06-25T11:06:57.220" v="0"/>
          <ac:spMkLst>
            <pc:docMk/>
            <pc:sldMk cId="3300012705" sldId="973"/>
            <ac:spMk id="3" creationId="{CB1D9FA2-FF81-6C04-EC56-8EBE90B85CBD}"/>
          </ac:spMkLst>
        </pc:spChg>
        <pc:spChg chg="mod">
          <ac:chgData name="José Antonio Ureta Santacreu" userId="e36999d1-2b92-424a-9e8c-5fde0c5fbdd2" providerId="ADAL" clId="{8E1CC941-A529-42BD-91F2-8926E50D0828}" dt="2024-06-25T11:06:57.220" v="0"/>
          <ac:spMkLst>
            <pc:docMk/>
            <pc:sldMk cId="3300012705" sldId="973"/>
            <ac:spMk id="4" creationId="{EE80C2F6-54EE-B70C-7736-65610DD96C2F}"/>
          </ac:spMkLst>
        </pc:spChg>
        <pc:spChg chg="mod">
          <ac:chgData name="José Antonio Ureta Santacreu" userId="e36999d1-2b92-424a-9e8c-5fde0c5fbdd2" providerId="ADAL" clId="{8E1CC941-A529-42BD-91F2-8926E50D0828}" dt="2024-06-25T11:06:57.220" v="0"/>
          <ac:spMkLst>
            <pc:docMk/>
            <pc:sldMk cId="3300012705" sldId="973"/>
            <ac:spMk id="5" creationId="{578B6A96-85FA-45C3-7CCE-602840555B49}"/>
          </ac:spMkLst>
        </pc:spChg>
      </pc:sldChg>
      <pc:sldChg chg="modSp">
        <pc:chgData name="José Antonio Ureta Santacreu" userId="e36999d1-2b92-424a-9e8c-5fde0c5fbdd2" providerId="ADAL" clId="{8E1CC941-A529-42BD-91F2-8926E50D0828}" dt="2024-06-25T11:06:57.220" v="0"/>
        <pc:sldMkLst>
          <pc:docMk/>
          <pc:sldMk cId="3777636340" sldId="974"/>
        </pc:sldMkLst>
        <pc:spChg chg="mod">
          <ac:chgData name="José Antonio Ureta Santacreu" userId="e36999d1-2b92-424a-9e8c-5fde0c5fbdd2" providerId="ADAL" clId="{8E1CC941-A529-42BD-91F2-8926E50D0828}" dt="2024-06-25T11:06:57.220" v="0"/>
          <ac:spMkLst>
            <pc:docMk/>
            <pc:sldMk cId="3777636340" sldId="974"/>
            <ac:spMk id="2" creationId="{9D7B7539-37FF-7445-132C-90103BCF4981}"/>
          </ac:spMkLst>
        </pc:spChg>
        <pc:spChg chg="mod">
          <ac:chgData name="José Antonio Ureta Santacreu" userId="e36999d1-2b92-424a-9e8c-5fde0c5fbdd2" providerId="ADAL" clId="{8E1CC941-A529-42BD-91F2-8926E50D0828}" dt="2024-06-25T11:06:57.220" v="0"/>
          <ac:spMkLst>
            <pc:docMk/>
            <pc:sldMk cId="3777636340" sldId="974"/>
            <ac:spMk id="3" creationId="{2CFA09B2-5625-0BB4-4058-7B3F3456E51D}"/>
          </ac:spMkLst>
        </pc:spChg>
        <pc:spChg chg="mod">
          <ac:chgData name="José Antonio Ureta Santacreu" userId="e36999d1-2b92-424a-9e8c-5fde0c5fbdd2" providerId="ADAL" clId="{8E1CC941-A529-42BD-91F2-8926E50D0828}" dt="2024-06-25T11:06:57.220" v="0"/>
          <ac:spMkLst>
            <pc:docMk/>
            <pc:sldMk cId="3777636340" sldId="974"/>
            <ac:spMk id="4" creationId="{22B99942-612D-7F40-7739-E9D766F53990}"/>
          </ac:spMkLst>
        </pc:spChg>
        <pc:spChg chg="mod">
          <ac:chgData name="José Antonio Ureta Santacreu" userId="e36999d1-2b92-424a-9e8c-5fde0c5fbdd2" providerId="ADAL" clId="{8E1CC941-A529-42BD-91F2-8926E50D0828}" dt="2024-06-25T11:06:57.220" v="0"/>
          <ac:spMkLst>
            <pc:docMk/>
            <pc:sldMk cId="3777636340" sldId="974"/>
            <ac:spMk id="5" creationId="{7EFBC0DF-92ED-8683-1C38-BC25E797EEC7}"/>
          </ac:spMkLst>
        </pc:spChg>
      </pc:sldChg>
      <pc:sldChg chg="modSp mod">
        <pc:chgData name="José Antonio Ureta Santacreu" userId="e36999d1-2b92-424a-9e8c-5fde0c5fbdd2" providerId="ADAL" clId="{8E1CC941-A529-42BD-91F2-8926E50D0828}" dt="2024-06-25T11:06:58.943" v="35" actId="27636"/>
        <pc:sldMkLst>
          <pc:docMk/>
          <pc:sldMk cId="1626202579" sldId="975"/>
        </pc:sldMkLst>
        <pc:spChg chg="mod">
          <ac:chgData name="José Antonio Ureta Santacreu" userId="e36999d1-2b92-424a-9e8c-5fde0c5fbdd2" providerId="ADAL" clId="{8E1CC941-A529-42BD-91F2-8926E50D0828}" dt="2024-06-25T11:06:57.220" v="0"/>
          <ac:spMkLst>
            <pc:docMk/>
            <pc:sldMk cId="1626202579" sldId="975"/>
            <ac:spMk id="2" creationId="{2866CFC3-BA85-7D56-246C-8ACA573CF896}"/>
          </ac:spMkLst>
        </pc:spChg>
        <pc:spChg chg="mod">
          <ac:chgData name="José Antonio Ureta Santacreu" userId="e36999d1-2b92-424a-9e8c-5fde0c5fbdd2" providerId="ADAL" clId="{8E1CC941-A529-42BD-91F2-8926E50D0828}" dt="2024-06-25T11:06:58.943" v="35" actId="27636"/>
          <ac:spMkLst>
            <pc:docMk/>
            <pc:sldMk cId="1626202579" sldId="975"/>
            <ac:spMk id="3" creationId="{48B95604-A865-311B-96C5-452CCF7C3F68}"/>
          </ac:spMkLst>
        </pc:spChg>
        <pc:spChg chg="mod">
          <ac:chgData name="José Antonio Ureta Santacreu" userId="e36999d1-2b92-424a-9e8c-5fde0c5fbdd2" providerId="ADAL" clId="{8E1CC941-A529-42BD-91F2-8926E50D0828}" dt="2024-06-25T11:06:57.220" v="0"/>
          <ac:spMkLst>
            <pc:docMk/>
            <pc:sldMk cId="1626202579" sldId="975"/>
            <ac:spMk id="5" creationId="{968DBF91-3EA9-6314-99A0-F088BC101B3E}"/>
          </ac:spMkLst>
        </pc:spChg>
        <pc:spChg chg="mod">
          <ac:chgData name="José Antonio Ureta Santacreu" userId="e36999d1-2b92-424a-9e8c-5fde0c5fbdd2" providerId="ADAL" clId="{8E1CC941-A529-42BD-91F2-8926E50D0828}" dt="2024-06-25T11:06:57.220" v="0"/>
          <ac:spMkLst>
            <pc:docMk/>
            <pc:sldMk cId="1626202579" sldId="975"/>
            <ac:spMk id="6" creationId="{C513A5E0-3F6E-00CE-8A93-AA0F27F6256A}"/>
          </ac:spMkLst>
        </pc:spChg>
        <pc:spChg chg="mod">
          <ac:chgData name="José Antonio Ureta Santacreu" userId="e36999d1-2b92-424a-9e8c-5fde0c5fbdd2" providerId="ADAL" clId="{8E1CC941-A529-42BD-91F2-8926E50D0828}" dt="2024-06-25T11:06:57.220" v="0"/>
          <ac:spMkLst>
            <pc:docMk/>
            <pc:sldMk cId="1626202579" sldId="975"/>
            <ac:spMk id="7" creationId="{5550DBC5-0337-79FF-31FF-8A244E9ED1D8}"/>
          </ac:spMkLst>
        </pc:spChg>
      </pc:sldChg>
      <pc:sldChg chg="modSp mod">
        <pc:chgData name="José Antonio Ureta Santacreu" userId="e36999d1-2b92-424a-9e8c-5fde0c5fbdd2" providerId="ADAL" clId="{8E1CC941-A529-42BD-91F2-8926E50D0828}" dt="2024-06-25T11:06:59.330" v="47" actId="27636"/>
        <pc:sldMkLst>
          <pc:docMk/>
          <pc:sldMk cId="2655967095" sldId="976"/>
        </pc:sldMkLst>
        <pc:spChg chg="mod">
          <ac:chgData name="José Antonio Ureta Santacreu" userId="e36999d1-2b92-424a-9e8c-5fde0c5fbdd2" providerId="ADAL" clId="{8E1CC941-A529-42BD-91F2-8926E50D0828}" dt="2024-06-25T11:06:57.220" v="0"/>
          <ac:spMkLst>
            <pc:docMk/>
            <pc:sldMk cId="2655967095" sldId="976"/>
            <ac:spMk id="2" creationId="{666D3422-D50C-468D-839A-D64A0925A329}"/>
          </ac:spMkLst>
        </pc:spChg>
        <pc:spChg chg="mod">
          <ac:chgData name="José Antonio Ureta Santacreu" userId="e36999d1-2b92-424a-9e8c-5fde0c5fbdd2" providerId="ADAL" clId="{8E1CC941-A529-42BD-91F2-8926E50D0828}" dt="2024-06-25T11:06:57.220" v="0"/>
          <ac:spMkLst>
            <pc:docMk/>
            <pc:sldMk cId="2655967095" sldId="976"/>
            <ac:spMk id="3" creationId="{7BF07255-B9D2-43B3-9425-DB6D76C39F3C}"/>
          </ac:spMkLst>
        </pc:spChg>
        <pc:spChg chg="mod">
          <ac:chgData name="José Antonio Ureta Santacreu" userId="e36999d1-2b92-424a-9e8c-5fde0c5fbdd2" providerId="ADAL" clId="{8E1CC941-A529-42BD-91F2-8926E50D0828}" dt="2024-06-25T11:06:57.220" v="0"/>
          <ac:spMkLst>
            <pc:docMk/>
            <pc:sldMk cId="2655967095" sldId="976"/>
            <ac:spMk id="4" creationId="{95A1B4D5-3288-4A89-A9F8-CC2FD8A6C2CC}"/>
          </ac:spMkLst>
        </pc:spChg>
        <pc:spChg chg="mod">
          <ac:chgData name="José Antonio Ureta Santacreu" userId="e36999d1-2b92-424a-9e8c-5fde0c5fbdd2" providerId="ADAL" clId="{8E1CC941-A529-42BD-91F2-8926E50D0828}" dt="2024-06-25T11:06:57.220" v="0"/>
          <ac:spMkLst>
            <pc:docMk/>
            <pc:sldMk cId="2655967095" sldId="976"/>
            <ac:spMk id="5" creationId="{C65FD04F-C84D-4AB1-9EB9-5C01734448CB}"/>
          </ac:spMkLst>
        </pc:spChg>
        <pc:spChg chg="mod">
          <ac:chgData name="José Antonio Ureta Santacreu" userId="e36999d1-2b92-424a-9e8c-5fde0c5fbdd2" providerId="ADAL" clId="{8E1CC941-A529-42BD-91F2-8926E50D0828}" dt="2024-06-25T11:06:59.330" v="47" actId="27636"/>
          <ac:spMkLst>
            <pc:docMk/>
            <pc:sldMk cId="2655967095" sldId="976"/>
            <ac:spMk id="7" creationId="{2F356A1F-F69A-4968-AA20-DBB90A1AEF39}"/>
          </ac:spMkLst>
        </pc:spChg>
        <pc:spChg chg="mod">
          <ac:chgData name="José Antonio Ureta Santacreu" userId="e36999d1-2b92-424a-9e8c-5fde0c5fbdd2" providerId="ADAL" clId="{8E1CC941-A529-42BD-91F2-8926E50D0828}" dt="2024-06-25T11:06:59.315" v="46" actId="27636"/>
          <ac:spMkLst>
            <pc:docMk/>
            <pc:sldMk cId="2655967095" sldId="976"/>
            <ac:spMk id="8" creationId="{43C66BA7-D495-4DE6-88F3-2E15911C6618}"/>
          </ac:spMkLst>
        </pc:spChg>
        <pc:graphicFrameChg chg="mod">
          <ac:chgData name="José Antonio Ureta Santacreu" userId="e36999d1-2b92-424a-9e8c-5fde0c5fbdd2" providerId="ADAL" clId="{8E1CC941-A529-42BD-91F2-8926E50D0828}" dt="2024-06-25T11:06:57.220" v="0"/>
          <ac:graphicFrameMkLst>
            <pc:docMk/>
            <pc:sldMk cId="2655967095" sldId="976"/>
            <ac:graphicFrameMk id="6" creationId="{2D452B3A-3C19-4410-8269-1CA971200D45}"/>
          </ac:graphicFrameMkLst>
        </pc:graphicFrameChg>
        <pc:graphicFrameChg chg="mod">
          <ac:chgData name="José Antonio Ureta Santacreu" userId="e36999d1-2b92-424a-9e8c-5fde0c5fbdd2" providerId="ADAL" clId="{8E1CC941-A529-42BD-91F2-8926E50D0828}" dt="2024-06-25T11:06:57.220" v="0"/>
          <ac:graphicFrameMkLst>
            <pc:docMk/>
            <pc:sldMk cId="2655967095" sldId="976"/>
            <ac:graphicFrameMk id="13" creationId="{6B4300B3-42AC-47E1-84F1-E08E45CA0CB5}"/>
          </ac:graphicFrameMkLst>
        </pc:graphicFrameChg>
      </pc:sldChg>
      <pc:sldChg chg="modSp">
        <pc:chgData name="José Antonio Ureta Santacreu" userId="e36999d1-2b92-424a-9e8c-5fde0c5fbdd2" providerId="ADAL" clId="{8E1CC941-A529-42BD-91F2-8926E50D0828}" dt="2024-06-25T11:06:57.220" v="0"/>
        <pc:sldMkLst>
          <pc:docMk/>
          <pc:sldMk cId="365587645" sldId="977"/>
        </pc:sldMkLst>
        <pc:spChg chg="mod">
          <ac:chgData name="José Antonio Ureta Santacreu" userId="e36999d1-2b92-424a-9e8c-5fde0c5fbdd2" providerId="ADAL" clId="{8E1CC941-A529-42BD-91F2-8926E50D0828}" dt="2024-06-25T11:06:57.220" v="0"/>
          <ac:spMkLst>
            <pc:docMk/>
            <pc:sldMk cId="365587645" sldId="977"/>
            <ac:spMk id="2" creationId="{1A9D6D90-AAAC-022D-0E3B-31E101E70250}"/>
          </ac:spMkLst>
        </pc:spChg>
        <pc:spChg chg="mod">
          <ac:chgData name="José Antonio Ureta Santacreu" userId="e36999d1-2b92-424a-9e8c-5fde0c5fbdd2" providerId="ADAL" clId="{8E1CC941-A529-42BD-91F2-8926E50D0828}" dt="2024-06-25T11:06:57.220" v="0"/>
          <ac:spMkLst>
            <pc:docMk/>
            <pc:sldMk cId="365587645" sldId="977"/>
            <ac:spMk id="3" creationId="{C33E83EA-7A6A-1B71-6ADB-0801F33897C6}"/>
          </ac:spMkLst>
        </pc:spChg>
        <pc:spChg chg="mod">
          <ac:chgData name="José Antonio Ureta Santacreu" userId="e36999d1-2b92-424a-9e8c-5fde0c5fbdd2" providerId="ADAL" clId="{8E1CC941-A529-42BD-91F2-8926E50D0828}" dt="2024-06-25T11:06:57.220" v="0"/>
          <ac:spMkLst>
            <pc:docMk/>
            <pc:sldMk cId="365587645" sldId="977"/>
            <ac:spMk id="4" creationId="{E6F019C4-3A9E-5A3D-E44D-DD61CE0E88BD}"/>
          </ac:spMkLst>
        </pc:spChg>
        <pc:spChg chg="mod">
          <ac:chgData name="José Antonio Ureta Santacreu" userId="e36999d1-2b92-424a-9e8c-5fde0c5fbdd2" providerId="ADAL" clId="{8E1CC941-A529-42BD-91F2-8926E50D0828}" dt="2024-06-25T11:06:57.220" v="0"/>
          <ac:spMkLst>
            <pc:docMk/>
            <pc:sldMk cId="365587645" sldId="977"/>
            <ac:spMk id="5" creationId="{5C695F15-1BC4-3CE1-5293-D961DA9293B3}"/>
          </ac:spMkLst>
        </pc:spChg>
      </pc:sldChg>
      <pc:sldChg chg="modSp mod">
        <pc:chgData name="José Antonio Ureta Santacreu" userId="e36999d1-2b92-424a-9e8c-5fde0c5fbdd2" providerId="ADAL" clId="{8E1CC941-A529-42BD-91F2-8926E50D0828}" dt="2024-06-25T11:06:58.904" v="33" actId="27636"/>
        <pc:sldMkLst>
          <pc:docMk/>
          <pc:sldMk cId="359481622" sldId="978"/>
        </pc:sldMkLst>
        <pc:spChg chg="mod">
          <ac:chgData name="José Antonio Ureta Santacreu" userId="e36999d1-2b92-424a-9e8c-5fde0c5fbdd2" providerId="ADAL" clId="{8E1CC941-A529-42BD-91F2-8926E50D0828}" dt="2024-06-25T11:06:57.220" v="0"/>
          <ac:spMkLst>
            <pc:docMk/>
            <pc:sldMk cId="359481622" sldId="978"/>
            <ac:spMk id="2" creationId="{6DE1D2EE-64D6-4F4F-96AD-058817B31014}"/>
          </ac:spMkLst>
        </pc:spChg>
        <pc:spChg chg="mod">
          <ac:chgData name="José Antonio Ureta Santacreu" userId="e36999d1-2b92-424a-9e8c-5fde0c5fbdd2" providerId="ADAL" clId="{8E1CC941-A529-42BD-91F2-8926E50D0828}" dt="2024-06-25T11:06:58.904" v="33" actId="27636"/>
          <ac:spMkLst>
            <pc:docMk/>
            <pc:sldMk cId="359481622" sldId="978"/>
            <ac:spMk id="3" creationId="{FC1C0F80-9F85-433D-A3BB-5F20A2B7CD55}"/>
          </ac:spMkLst>
        </pc:spChg>
        <pc:spChg chg="mod">
          <ac:chgData name="José Antonio Ureta Santacreu" userId="e36999d1-2b92-424a-9e8c-5fde0c5fbdd2" providerId="ADAL" clId="{8E1CC941-A529-42BD-91F2-8926E50D0828}" dt="2024-06-25T11:06:57.220" v="0"/>
          <ac:spMkLst>
            <pc:docMk/>
            <pc:sldMk cId="359481622" sldId="978"/>
            <ac:spMk id="4" creationId="{BFAE0B34-DDBF-47BE-ADFE-2DFBBAEAC2DB}"/>
          </ac:spMkLst>
        </pc:spChg>
        <pc:spChg chg="mod">
          <ac:chgData name="José Antonio Ureta Santacreu" userId="e36999d1-2b92-424a-9e8c-5fde0c5fbdd2" providerId="ADAL" clId="{8E1CC941-A529-42BD-91F2-8926E50D0828}" dt="2024-06-25T11:06:57.220" v="0"/>
          <ac:spMkLst>
            <pc:docMk/>
            <pc:sldMk cId="359481622" sldId="978"/>
            <ac:spMk id="5" creationId="{93AE37BB-8A96-4BB6-9671-5CB271B19D89}"/>
          </ac:spMkLst>
        </pc:spChg>
        <pc:spChg chg="mod">
          <ac:chgData name="José Antonio Ureta Santacreu" userId="e36999d1-2b92-424a-9e8c-5fde0c5fbdd2" providerId="ADAL" clId="{8E1CC941-A529-42BD-91F2-8926E50D0828}" dt="2024-06-25T11:06:57.220" v="0"/>
          <ac:spMkLst>
            <pc:docMk/>
            <pc:sldMk cId="359481622" sldId="978"/>
            <ac:spMk id="6" creationId="{BDDE17CF-CD0B-4095-B406-8C0EEBA9F3D6}"/>
          </ac:spMkLst>
        </pc:spChg>
        <pc:picChg chg="mod">
          <ac:chgData name="José Antonio Ureta Santacreu" userId="e36999d1-2b92-424a-9e8c-5fde0c5fbdd2" providerId="ADAL" clId="{8E1CC941-A529-42BD-91F2-8926E50D0828}" dt="2024-06-25T11:06:57.220" v="0"/>
          <ac:picMkLst>
            <pc:docMk/>
            <pc:sldMk cId="359481622" sldId="978"/>
            <ac:picMk id="5122" creationId="{81B0CDD4-D459-4448-8BAB-F30A050961BB}"/>
          </ac:picMkLst>
        </pc:picChg>
      </pc:sldChg>
      <pc:sldChg chg="modSp mod">
        <pc:chgData name="José Antonio Ureta Santacreu" userId="e36999d1-2b92-424a-9e8c-5fde0c5fbdd2" providerId="ADAL" clId="{8E1CC941-A529-42BD-91F2-8926E50D0828}" dt="2024-06-25T11:06:58.927" v="34" actId="27636"/>
        <pc:sldMkLst>
          <pc:docMk/>
          <pc:sldMk cId="1881616097" sldId="980"/>
        </pc:sldMkLst>
        <pc:spChg chg="mod">
          <ac:chgData name="José Antonio Ureta Santacreu" userId="e36999d1-2b92-424a-9e8c-5fde0c5fbdd2" providerId="ADAL" clId="{8E1CC941-A529-42BD-91F2-8926E50D0828}" dt="2024-06-25T11:06:58.927" v="34" actId="27636"/>
          <ac:spMkLst>
            <pc:docMk/>
            <pc:sldMk cId="1881616097" sldId="980"/>
            <ac:spMk id="2" creationId="{7C48435C-D52F-4EAF-9C71-43A0B7556FFB}"/>
          </ac:spMkLst>
        </pc:spChg>
        <pc:spChg chg="mod">
          <ac:chgData name="José Antonio Ureta Santacreu" userId="e36999d1-2b92-424a-9e8c-5fde0c5fbdd2" providerId="ADAL" clId="{8E1CC941-A529-42BD-91F2-8926E50D0828}" dt="2024-06-25T11:06:57.220" v="0"/>
          <ac:spMkLst>
            <pc:docMk/>
            <pc:sldMk cId="1881616097" sldId="980"/>
            <ac:spMk id="4" creationId="{7D3608D1-CA09-4542-B3A8-C57EFD3D4824}"/>
          </ac:spMkLst>
        </pc:spChg>
        <pc:spChg chg="mod">
          <ac:chgData name="José Antonio Ureta Santacreu" userId="e36999d1-2b92-424a-9e8c-5fde0c5fbdd2" providerId="ADAL" clId="{8E1CC941-A529-42BD-91F2-8926E50D0828}" dt="2024-06-25T11:06:57.220" v="0"/>
          <ac:spMkLst>
            <pc:docMk/>
            <pc:sldMk cId="1881616097" sldId="980"/>
            <ac:spMk id="5" creationId="{152445B0-F0B8-48ED-96EB-0143312C86DA}"/>
          </ac:spMkLst>
        </pc:spChg>
        <pc:spChg chg="mod">
          <ac:chgData name="José Antonio Ureta Santacreu" userId="e36999d1-2b92-424a-9e8c-5fde0c5fbdd2" providerId="ADAL" clId="{8E1CC941-A529-42BD-91F2-8926E50D0828}" dt="2024-06-25T11:06:57.220" v="0"/>
          <ac:spMkLst>
            <pc:docMk/>
            <pc:sldMk cId="1881616097" sldId="980"/>
            <ac:spMk id="6" creationId="{BED3643A-B70D-4B0A-AB60-46E12C2F14FB}"/>
          </ac:spMkLst>
        </pc:spChg>
        <pc:spChg chg="mod">
          <ac:chgData name="José Antonio Ureta Santacreu" userId="e36999d1-2b92-424a-9e8c-5fde0c5fbdd2" providerId="ADAL" clId="{8E1CC941-A529-42BD-91F2-8926E50D0828}" dt="2024-06-25T11:06:57.220" v="0"/>
          <ac:spMkLst>
            <pc:docMk/>
            <pc:sldMk cId="1881616097" sldId="980"/>
            <ac:spMk id="7" creationId="{CC698404-58CE-45A2-BA6B-85386258BB56}"/>
          </ac:spMkLst>
        </pc:spChg>
        <pc:picChg chg="mod">
          <ac:chgData name="José Antonio Ureta Santacreu" userId="e36999d1-2b92-424a-9e8c-5fde0c5fbdd2" providerId="ADAL" clId="{8E1CC941-A529-42BD-91F2-8926E50D0828}" dt="2024-06-25T11:06:57.220" v="0"/>
          <ac:picMkLst>
            <pc:docMk/>
            <pc:sldMk cId="1881616097" sldId="980"/>
            <ac:picMk id="9" creationId="{53088830-CFC6-4A77-8C43-BCD4C6565C3E}"/>
          </ac:picMkLst>
        </pc:picChg>
      </pc:sldChg>
      <pc:sldChg chg="modSp">
        <pc:chgData name="José Antonio Ureta Santacreu" userId="e36999d1-2b92-424a-9e8c-5fde0c5fbdd2" providerId="ADAL" clId="{8E1CC941-A529-42BD-91F2-8926E50D0828}" dt="2024-06-25T11:06:57.220" v="0"/>
        <pc:sldMkLst>
          <pc:docMk/>
          <pc:sldMk cId="3017111545" sldId="981"/>
        </pc:sldMkLst>
        <pc:spChg chg="mod">
          <ac:chgData name="José Antonio Ureta Santacreu" userId="e36999d1-2b92-424a-9e8c-5fde0c5fbdd2" providerId="ADAL" clId="{8E1CC941-A529-42BD-91F2-8926E50D0828}" dt="2024-06-25T11:06:57.220" v="0"/>
          <ac:spMkLst>
            <pc:docMk/>
            <pc:sldMk cId="3017111545" sldId="981"/>
            <ac:spMk id="2" creationId="{BC291DE2-3737-4111-9CF4-1A7CC03C2C00}"/>
          </ac:spMkLst>
        </pc:spChg>
        <pc:spChg chg="mod">
          <ac:chgData name="José Antonio Ureta Santacreu" userId="e36999d1-2b92-424a-9e8c-5fde0c5fbdd2" providerId="ADAL" clId="{8E1CC941-A529-42BD-91F2-8926E50D0828}" dt="2024-06-25T11:06:57.220" v="0"/>
          <ac:spMkLst>
            <pc:docMk/>
            <pc:sldMk cId="3017111545" sldId="981"/>
            <ac:spMk id="3" creationId="{B5E3C693-3813-4DDA-8639-FA74275B9880}"/>
          </ac:spMkLst>
        </pc:spChg>
        <pc:spChg chg="mod">
          <ac:chgData name="José Antonio Ureta Santacreu" userId="e36999d1-2b92-424a-9e8c-5fde0c5fbdd2" providerId="ADAL" clId="{8E1CC941-A529-42BD-91F2-8926E50D0828}" dt="2024-06-25T11:06:57.220" v="0"/>
          <ac:spMkLst>
            <pc:docMk/>
            <pc:sldMk cId="3017111545" sldId="981"/>
            <ac:spMk id="4" creationId="{42561A18-F9EE-402A-BE4C-455C888D4538}"/>
          </ac:spMkLst>
        </pc:spChg>
      </pc:sldChg>
      <pc:sldChg chg="modSp">
        <pc:chgData name="José Antonio Ureta Santacreu" userId="e36999d1-2b92-424a-9e8c-5fde0c5fbdd2" providerId="ADAL" clId="{8E1CC941-A529-42BD-91F2-8926E50D0828}" dt="2024-06-25T11:06:57.220" v="0"/>
        <pc:sldMkLst>
          <pc:docMk/>
          <pc:sldMk cId="381341890" sldId="982"/>
        </pc:sldMkLst>
        <pc:spChg chg="mod">
          <ac:chgData name="José Antonio Ureta Santacreu" userId="e36999d1-2b92-424a-9e8c-5fde0c5fbdd2" providerId="ADAL" clId="{8E1CC941-A529-42BD-91F2-8926E50D0828}" dt="2024-06-25T11:06:57.220" v="0"/>
          <ac:spMkLst>
            <pc:docMk/>
            <pc:sldMk cId="381341890" sldId="982"/>
            <ac:spMk id="2" creationId="{26573FE3-F2C6-4F25-9B32-A6A8DA1A4902}"/>
          </ac:spMkLst>
        </pc:spChg>
        <pc:spChg chg="mod">
          <ac:chgData name="José Antonio Ureta Santacreu" userId="e36999d1-2b92-424a-9e8c-5fde0c5fbdd2" providerId="ADAL" clId="{8E1CC941-A529-42BD-91F2-8926E50D0828}" dt="2024-06-25T11:06:57.220" v="0"/>
          <ac:spMkLst>
            <pc:docMk/>
            <pc:sldMk cId="381341890" sldId="982"/>
            <ac:spMk id="3" creationId="{FFF5D96E-BCFC-48B3-B5EC-537B36DD47D9}"/>
          </ac:spMkLst>
        </pc:spChg>
        <pc:spChg chg="mod">
          <ac:chgData name="José Antonio Ureta Santacreu" userId="e36999d1-2b92-424a-9e8c-5fde0c5fbdd2" providerId="ADAL" clId="{8E1CC941-A529-42BD-91F2-8926E50D0828}" dt="2024-06-25T11:06:57.220" v="0"/>
          <ac:spMkLst>
            <pc:docMk/>
            <pc:sldMk cId="381341890" sldId="982"/>
            <ac:spMk id="4" creationId="{C1DA76EA-F0CD-4D05-8E81-5007C6F9A02C}"/>
          </ac:spMkLst>
        </pc:spChg>
        <pc:spChg chg="mod">
          <ac:chgData name="José Antonio Ureta Santacreu" userId="e36999d1-2b92-424a-9e8c-5fde0c5fbdd2" providerId="ADAL" clId="{8E1CC941-A529-42BD-91F2-8926E50D0828}" dt="2024-06-25T11:06:57.220" v="0"/>
          <ac:spMkLst>
            <pc:docMk/>
            <pc:sldMk cId="381341890" sldId="982"/>
            <ac:spMk id="5" creationId="{6065A1E0-5C9A-4B0B-B394-836E8C713339}"/>
          </ac:spMkLst>
        </pc:spChg>
      </pc:sldChg>
      <pc:sldChg chg="modSp">
        <pc:chgData name="José Antonio Ureta Santacreu" userId="e36999d1-2b92-424a-9e8c-5fde0c5fbdd2" providerId="ADAL" clId="{8E1CC941-A529-42BD-91F2-8926E50D0828}" dt="2024-06-25T11:06:57.220" v="0"/>
        <pc:sldMkLst>
          <pc:docMk/>
          <pc:sldMk cId="2086083779" sldId="984"/>
        </pc:sldMkLst>
        <pc:spChg chg="mod">
          <ac:chgData name="José Antonio Ureta Santacreu" userId="e36999d1-2b92-424a-9e8c-5fde0c5fbdd2" providerId="ADAL" clId="{8E1CC941-A529-42BD-91F2-8926E50D0828}" dt="2024-06-25T11:06:57.220" v="0"/>
          <ac:spMkLst>
            <pc:docMk/>
            <pc:sldMk cId="2086083779" sldId="984"/>
            <ac:spMk id="2" creationId="{99953768-EEF0-46AF-A6C5-FEEF8C3D2BEC}"/>
          </ac:spMkLst>
        </pc:spChg>
        <pc:spChg chg="mod">
          <ac:chgData name="José Antonio Ureta Santacreu" userId="e36999d1-2b92-424a-9e8c-5fde0c5fbdd2" providerId="ADAL" clId="{8E1CC941-A529-42BD-91F2-8926E50D0828}" dt="2024-06-25T11:06:57.220" v="0"/>
          <ac:spMkLst>
            <pc:docMk/>
            <pc:sldMk cId="2086083779" sldId="984"/>
            <ac:spMk id="3" creationId="{00BD41F1-BDB4-4B96-BBB6-743C7F5986D1}"/>
          </ac:spMkLst>
        </pc:spChg>
        <pc:spChg chg="mod">
          <ac:chgData name="José Antonio Ureta Santacreu" userId="e36999d1-2b92-424a-9e8c-5fde0c5fbdd2" providerId="ADAL" clId="{8E1CC941-A529-42BD-91F2-8926E50D0828}" dt="2024-06-25T11:06:57.220" v="0"/>
          <ac:spMkLst>
            <pc:docMk/>
            <pc:sldMk cId="2086083779" sldId="984"/>
            <ac:spMk id="4" creationId="{DBCD8E56-60D4-468A-AC0E-991A26AA735A}"/>
          </ac:spMkLst>
        </pc:spChg>
        <pc:spChg chg="mod">
          <ac:chgData name="José Antonio Ureta Santacreu" userId="e36999d1-2b92-424a-9e8c-5fde0c5fbdd2" providerId="ADAL" clId="{8E1CC941-A529-42BD-91F2-8926E50D0828}" dt="2024-06-25T11:06:57.220" v="0"/>
          <ac:spMkLst>
            <pc:docMk/>
            <pc:sldMk cId="2086083779" sldId="984"/>
            <ac:spMk id="5" creationId="{C4FB9409-1690-41F6-A03D-AC3881E5F8BA}"/>
          </ac:spMkLst>
        </pc:spChg>
      </pc:sldChg>
      <pc:sldChg chg="modSp">
        <pc:chgData name="José Antonio Ureta Santacreu" userId="e36999d1-2b92-424a-9e8c-5fde0c5fbdd2" providerId="ADAL" clId="{8E1CC941-A529-42BD-91F2-8926E50D0828}" dt="2024-06-25T11:06:57.220" v="0"/>
        <pc:sldMkLst>
          <pc:docMk/>
          <pc:sldMk cId="3617359023" sldId="1001"/>
        </pc:sldMkLst>
        <pc:spChg chg="mod">
          <ac:chgData name="José Antonio Ureta Santacreu" userId="e36999d1-2b92-424a-9e8c-5fde0c5fbdd2" providerId="ADAL" clId="{8E1CC941-A529-42BD-91F2-8926E50D0828}" dt="2024-06-25T11:06:57.220" v="0"/>
          <ac:spMkLst>
            <pc:docMk/>
            <pc:sldMk cId="3617359023" sldId="1001"/>
            <ac:spMk id="2" creationId="{C442295A-FEBC-ED39-3C5B-4A1C358B33DD}"/>
          </ac:spMkLst>
        </pc:spChg>
        <pc:spChg chg="mod">
          <ac:chgData name="José Antonio Ureta Santacreu" userId="e36999d1-2b92-424a-9e8c-5fde0c5fbdd2" providerId="ADAL" clId="{8E1CC941-A529-42BD-91F2-8926E50D0828}" dt="2024-06-25T11:06:57.220" v="0"/>
          <ac:spMkLst>
            <pc:docMk/>
            <pc:sldMk cId="3617359023" sldId="1001"/>
            <ac:spMk id="3" creationId="{5386CD12-8D74-A982-9A98-18D100609F9F}"/>
          </ac:spMkLst>
        </pc:spChg>
        <pc:spChg chg="mod">
          <ac:chgData name="José Antonio Ureta Santacreu" userId="e36999d1-2b92-424a-9e8c-5fde0c5fbdd2" providerId="ADAL" clId="{8E1CC941-A529-42BD-91F2-8926E50D0828}" dt="2024-06-25T11:06:57.220" v="0"/>
          <ac:spMkLst>
            <pc:docMk/>
            <pc:sldMk cId="3617359023" sldId="1001"/>
            <ac:spMk id="4" creationId="{7753D9FA-E1D7-8D3A-C2CB-3F3A63890B00}"/>
          </ac:spMkLst>
        </pc:spChg>
      </pc:sldChg>
      <pc:sldChg chg="modSp">
        <pc:chgData name="José Antonio Ureta Santacreu" userId="e36999d1-2b92-424a-9e8c-5fde0c5fbdd2" providerId="ADAL" clId="{8E1CC941-A529-42BD-91F2-8926E50D0828}" dt="2024-06-25T11:06:57.220" v="0"/>
        <pc:sldMkLst>
          <pc:docMk/>
          <pc:sldMk cId="2760323116" sldId="1002"/>
        </pc:sldMkLst>
        <pc:spChg chg="mod">
          <ac:chgData name="José Antonio Ureta Santacreu" userId="e36999d1-2b92-424a-9e8c-5fde0c5fbdd2" providerId="ADAL" clId="{8E1CC941-A529-42BD-91F2-8926E50D0828}" dt="2024-06-25T11:06:57.220" v="0"/>
          <ac:spMkLst>
            <pc:docMk/>
            <pc:sldMk cId="2760323116" sldId="1002"/>
            <ac:spMk id="2" creationId="{19D361B8-D2CC-4230-9C7F-A5B9AFE4BCF0}"/>
          </ac:spMkLst>
        </pc:spChg>
        <pc:spChg chg="mod">
          <ac:chgData name="José Antonio Ureta Santacreu" userId="e36999d1-2b92-424a-9e8c-5fde0c5fbdd2" providerId="ADAL" clId="{8E1CC941-A529-42BD-91F2-8926E50D0828}" dt="2024-06-25T11:06:57.220" v="0"/>
          <ac:spMkLst>
            <pc:docMk/>
            <pc:sldMk cId="2760323116" sldId="1002"/>
            <ac:spMk id="4" creationId="{A4023038-7A9F-42EC-AA5A-B1915B1DD970}"/>
          </ac:spMkLst>
        </pc:spChg>
        <pc:spChg chg="mod">
          <ac:chgData name="José Antonio Ureta Santacreu" userId="e36999d1-2b92-424a-9e8c-5fde0c5fbdd2" providerId="ADAL" clId="{8E1CC941-A529-42BD-91F2-8926E50D0828}" dt="2024-06-25T11:06:57.220" v="0"/>
          <ac:spMkLst>
            <pc:docMk/>
            <pc:sldMk cId="2760323116" sldId="1002"/>
            <ac:spMk id="5" creationId="{988666EB-7571-4256-9186-E26310B310F0}"/>
          </ac:spMkLst>
        </pc:spChg>
        <pc:spChg chg="mod">
          <ac:chgData name="José Antonio Ureta Santacreu" userId="e36999d1-2b92-424a-9e8c-5fde0c5fbdd2" providerId="ADAL" clId="{8E1CC941-A529-42BD-91F2-8926E50D0828}" dt="2024-06-25T11:06:57.220" v="0"/>
          <ac:spMkLst>
            <pc:docMk/>
            <pc:sldMk cId="2760323116" sldId="1002"/>
            <ac:spMk id="10" creationId="{6B719B5D-51FF-4A12-8BE6-13B468390DF0}"/>
          </ac:spMkLst>
        </pc:spChg>
      </pc:sldChg>
      <pc:sldChg chg="modSp">
        <pc:chgData name="José Antonio Ureta Santacreu" userId="e36999d1-2b92-424a-9e8c-5fde0c5fbdd2" providerId="ADAL" clId="{8E1CC941-A529-42BD-91F2-8926E50D0828}" dt="2024-06-25T11:06:57.220" v="0"/>
        <pc:sldMkLst>
          <pc:docMk/>
          <pc:sldMk cId="2277357659" sldId="1045"/>
        </pc:sldMkLst>
        <pc:spChg chg="mod">
          <ac:chgData name="José Antonio Ureta Santacreu" userId="e36999d1-2b92-424a-9e8c-5fde0c5fbdd2" providerId="ADAL" clId="{8E1CC941-A529-42BD-91F2-8926E50D0828}" dt="2024-06-25T11:06:57.220" v="0"/>
          <ac:spMkLst>
            <pc:docMk/>
            <pc:sldMk cId="2277357659" sldId="1045"/>
            <ac:spMk id="2" creationId="{FBB61F92-8658-4C4D-8D8F-B4C61DD219AC}"/>
          </ac:spMkLst>
        </pc:spChg>
        <pc:spChg chg="mod">
          <ac:chgData name="José Antonio Ureta Santacreu" userId="e36999d1-2b92-424a-9e8c-5fde0c5fbdd2" providerId="ADAL" clId="{8E1CC941-A529-42BD-91F2-8926E50D0828}" dt="2024-06-25T11:06:57.220" v="0"/>
          <ac:spMkLst>
            <pc:docMk/>
            <pc:sldMk cId="2277357659" sldId="1045"/>
            <ac:spMk id="5" creationId="{0A544F4E-EBF2-46B5-9D06-5146DFCFB283}"/>
          </ac:spMkLst>
        </pc:spChg>
        <pc:spChg chg="mod">
          <ac:chgData name="José Antonio Ureta Santacreu" userId="e36999d1-2b92-424a-9e8c-5fde0c5fbdd2" providerId="ADAL" clId="{8E1CC941-A529-42BD-91F2-8926E50D0828}" dt="2024-06-25T11:06:57.220" v="0"/>
          <ac:spMkLst>
            <pc:docMk/>
            <pc:sldMk cId="2277357659" sldId="1045"/>
            <ac:spMk id="6" creationId="{911DF392-9027-4245-9AC3-C462D0CFE3D7}"/>
          </ac:spMkLst>
        </pc:spChg>
        <pc:spChg chg="mod">
          <ac:chgData name="José Antonio Ureta Santacreu" userId="e36999d1-2b92-424a-9e8c-5fde0c5fbdd2" providerId="ADAL" clId="{8E1CC941-A529-42BD-91F2-8926E50D0828}" dt="2024-06-25T11:06:57.220" v="0"/>
          <ac:spMkLst>
            <pc:docMk/>
            <pc:sldMk cId="2277357659" sldId="1045"/>
            <ac:spMk id="7" creationId="{96AD6309-2BB0-4B97-BF55-A0DFADA86054}"/>
          </ac:spMkLst>
        </pc:spChg>
      </pc:sldChg>
      <pc:sldChg chg="modSp">
        <pc:chgData name="José Antonio Ureta Santacreu" userId="e36999d1-2b92-424a-9e8c-5fde0c5fbdd2" providerId="ADAL" clId="{8E1CC941-A529-42BD-91F2-8926E50D0828}" dt="2024-06-25T11:06:57.220" v="0"/>
        <pc:sldMkLst>
          <pc:docMk/>
          <pc:sldMk cId="3508964806" sldId="1047"/>
        </pc:sldMkLst>
        <pc:spChg chg="mod">
          <ac:chgData name="José Antonio Ureta Santacreu" userId="e36999d1-2b92-424a-9e8c-5fde0c5fbdd2" providerId="ADAL" clId="{8E1CC941-A529-42BD-91F2-8926E50D0828}" dt="2024-06-25T11:06:57.220" v="0"/>
          <ac:spMkLst>
            <pc:docMk/>
            <pc:sldMk cId="3508964806" sldId="1047"/>
            <ac:spMk id="2" creationId="{71798DF2-2C80-4206-821A-15D75577625A}"/>
          </ac:spMkLst>
        </pc:spChg>
        <pc:spChg chg="mod">
          <ac:chgData name="José Antonio Ureta Santacreu" userId="e36999d1-2b92-424a-9e8c-5fde0c5fbdd2" providerId="ADAL" clId="{8E1CC941-A529-42BD-91F2-8926E50D0828}" dt="2024-06-25T11:06:57.220" v="0"/>
          <ac:spMkLst>
            <pc:docMk/>
            <pc:sldMk cId="3508964806" sldId="1047"/>
            <ac:spMk id="4" creationId="{A12EE5F7-CA05-4B81-BDBD-28684FDF26EC}"/>
          </ac:spMkLst>
        </pc:spChg>
        <pc:spChg chg="mod">
          <ac:chgData name="José Antonio Ureta Santacreu" userId="e36999d1-2b92-424a-9e8c-5fde0c5fbdd2" providerId="ADAL" clId="{8E1CC941-A529-42BD-91F2-8926E50D0828}" dt="2024-06-25T11:06:57.220" v="0"/>
          <ac:spMkLst>
            <pc:docMk/>
            <pc:sldMk cId="3508964806" sldId="1047"/>
            <ac:spMk id="5" creationId="{AB16A4B9-6DC8-40D3-BCED-566BFCD13907}"/>
          </ac:spMkLst>
        </pc:spChg>
        <pc:spChg chg="mod">
          <ac:chgData name="José Antonio Ureta Santacreu" userId="e36999d1-2b92-424a-9e8c-5fde0c5fbdd2" providerId="ADAL" clId="{8E1CC941-A529-42BD-91F2-8926E50D0828}" dt="2024-06-25T11:06:57.220" v="0"/>
          <ac:spMkLst>
            <pc:docMk/>
            <pc:sldMk cId="3508964806" sldId="1047"/>
            <ac:spMk id="6" creationId="{5481CD03-5989-4229-8E4B-9151CF5A8A96}"/>
          </ac:spMkLst>
        </pc:spChg>
      </pc:sldChg>
      <pc:sldChg chg="modSp">
        <pc:chgData name="José Antonio Ureta Santacreu" userId="e36999d1-2b92-424a-9e8c-5fde0c5fbdd2" providerId="ADAL" clId="{8E1CC941-A529-42BD-91F2-8926E50D0828}" dt="2024-06-25T11:06:57.220" v="0"/>
        <pc:sldMkLst>
          <pc:docMk/>
          <pc:sldMk cId="1653045506" sldId="1048"/>
        </pc:sldMkLst>
        <pc:spChg chg="mod">
          <ac:chgData name="José Antonio Ureta Santacreu" userId="e36999d1-2b92-424a-9e8c-5fde0c5fbdd2" providerId="ADAL" clId="{8E1CC941-A529-42BD-91F2-8926E50D0828}" dt="2024-06-25T11:06:57.220" v="0"/>
          <ac:spMkLst>
            <pc:docMk/>
            <pc:sldMk cId="1653045506" sldId="1048"/>
            <ac:spMk id="2" creationId="{97F67DEF-2146-468D-B79D-60AEEE386D1C}"/>
          </ac:spMkLst>
        </pc:spChg>
        <pc:spChg chg="mod">
          <ac:chgData name="José Antonio Ureta Santacreu" userId="e36999d1-2b92-424a-9e8c-5fde0c5fbdd2" providerId="ADAL" clId="{8E1CC941-A529-42BD-91F2-8926E50D0828}" dt="2024-06-25T11:06:57.220" v="0"/>
          <ac:spMkLst>
            <pc:docMk/>
            <pc:sldMk cId="1653045506" sldId="1048"/>
            <ac:spMk id="3" creationId="{2C38505D-0477-4ABF-93F0-CA77E3188475}"/>
          </ac:spMkLst>
        </pc:spChg>
        <pc:spChg chg="mod">
          <ac:chgData name="José Antonio Ureta Santacreu" userId="e36999d1-2b92-424a-9e8c-5fde0c5fbdd2" providerId="ADAL" clId="{8E1CC941-A529-42BD-91F2-8926E50D0828}" dt="2024-06-25T11:06:57.220" v="0"/>
          <ac:spMkLst>
            <pc:docMk/>
            <pc:sldMk cId="1653045506" sldId="1048"/>
            <ac:spMk id="5" creationId="{DCF0B7F0-BFFC-4265-97FC-BD810B52A1A1}"/>
          </ac:spMkLst>
        </pc:spChg>
        <pc:spChg chg="mod">
          <ac:chgData name="José Antonio Ureta Santacreu" userId="e36999d1-2b92-424a-9e8c-5fde0c5fbdd2" providerId="ADAL" clId="{8E1CC941-A529-42BD-91F2-8926E50D0828}" dt="2024-06-25T11:06:57.220" v="0"/>
          <ac:spMkLst>
            <pc:docMk/>
            <pc:sldMk cId="1653045506" sldId="1048"/>
            <ac:spMk id="6" creationId="{81B51664-ED5F-4B66-A8A4-444BF324D0EC}"/>
          </ac:spMkLst>
        </pc:spChg>
      </pc:sldChg>
      <pc:sldChg chg="modSp">
        <pc:chgData name="José Antonio Ureta Santacreu" userId="e36999d1-2b92-424a-9e8c-5fde0c5fbdd2" providerId="ADAL" clId="{8E1CC941-A529-42BD-91F2-8926E50D0828}" dt="2024-06-25T11:06:57.220" v="0"/>
        <pc:sldMkLst>
          <pc:docMk/>
          <pc:sldMk cId="1124015745" sldId="1049"/>
        </pc:sldMkLst>
        <pc:spChg chg="mod">
          <ac:chgData name="José Antonio Ureta Santacreu" userId="e36999d1-2b92-424a-9e8c-5fde0c5fbdd2" providerId="ADAL" clId="{8E1CC941-A529-42BD-91F2-8926E50D0828}" dt="2024-06-25T11:06:57.220" v="0"/>
          <ac:spMkLst>
            <pc:docMk/>
            <pc:sldMk cId="1124015745" sldId="1049"/>
            <ac:spMk id="2" creationId="{B671C51E-C6D7-74A4-B73A-238A2E62DC86}"/>
          </ac:spMkLst>
        </pc:spChg>
        <pc:spChg chg="mod">
          <ac:chgData name="José Antonio Ureta Santacreu" userId="e36999d1-2b92-424a-9e8c-5fde0c5fbdd2" providerId="ADAL" clId="{8E1CC941-A529-42BD-91F2-8926E50D0828}" dt="2024-06-25T11:06:57.220" v="0"/>
          <ac:spMkLst>
            <pc:docMk/>
            <pc:sldMk cId="1124015745" sldId="1049"/>
            <ac:spMk id="3" creationId="{EDC99AF1-F939-E5DE-F9D0-A045E644BF30}"/>
          </ac:spMkLst>
        </pc:spChg>
        <pc:spChg chg="mod">
          <ac:chgData name="José Antonio Ureta Santacreu" userId="e36999d1-2b92-424a-9e8c-5fde0c5fbdd2" providerId="ADAL" clId="{8E1CC941-A529-42BD-91F2-8926E50D0828}" dt="2024-06-25T11:06:57.220" v="0"/>
          <ac:spMkLst>
            <pc:docMk/>
            <pc:sldMk cId="1124015745" sldId="1049"/>
            <ac:spMk id="4" creationId="{D7A3DFEA-563D-5315-EF2C-D28FD0652912}"/>
          </ac:spMkLst>
        </pc:spChg>
        <pc:spChg chg="mod">
          <ac:chgData name="José Antonio Ureta Santacreu" userId="e36999d1-2b92-424a-9e8c-5fde0c5fbdd2" providerId="ADAL" clId="{8E1CC941-A529-42BD-91F2-8926E50D0828}" dt="2024-06-25T11:06:57.220" v="0"/>
          <ac:spMkLst>
            <pc:docMk/>
            <pc:sldMk cId="1124015745" sldId="1049"/>
            <ac:spMk id="5" creationId="{E32D6F70-9EC4-C968-45B0-C0A9586A29FA}"/>
          </ac:spMkLst>
        </pc:spChg>
      </pc:sldChg>
      <pc:sldChg chg="modSp">
        <pc:chgData name="José Antonio Ureta Santacreu" userId="e36999d1-2b92-424a-9e8c-5fde0c5fbdd2" providerId="ADAL" clId="{8E1CC941-A529-42BD-91F2-8926E50D0828}" dt="2024-06-25T11:06:57.220" v="0"/>
        <pc:sldMkLst>
          <pc:docMk/>
          <pc:sldMk cId="4286153770" sldId="1050"/>
        </pc:sldMkLst>
        <pc:spChg chg="mod">
          <ac:chgData name="José Antonio Ureta Santacreu" userId="e36999d1-2b92-424a-9e8c-5fde0c5fbdd2" providerId="ADAL" clId="{8E1CC941-A529-42BD-91F2-8926E50D0828}" dt="2024-06-25T11:06:57.220" v="0"/>
          <ac:spMkLst>
            <pc:docMk/>
            <pc:sldMk cId="4286153770" sldId="1050"/>
            <ac:spMk id="2" creationId="{A572946E-683B-4B38-A082-57AEBBFD640E}"/>
          </ac:spMkLst>
        </pc:spChg>
        <pc:spChg chg="mod">
          <ac:chgData name="José Antonio Ureta Santacreu" userId="e36999d1-2b92-424a-9e8c-5fde0c5fbdd2" providerId="ADAL" clId="{8E1CC941-A529-42BD-91F2-8926E50D0828}" dt="2024-06-25T11:06:57.220" v="0"/>
          <ac:spMkLst>
            <pc:docMk/>
            <pc:sldMk cId="4286153770" sldId="1050"/>
            <ac:spMk id="3" creationId="{B9943267-0748-4259-9AFC-4E66F0D97CD4}"/>
          </ac:spMkLst>
        </pc:spChg>
        <pc:spChg chg="mod">
          <ac:chgData name="José Antonio Ureta Santacreu" userId="e36999d1-2b92-424a-9e8c-5fde0c5fbdd2" providerId="ADAL" clId="{8E1CC941-A529-42BD-91F2-8926E50D0828}" dt="2024-06-25T11:06:57.220" v="0"/>
          <ac:spMkLst>
            <pc:docMk/>
            <pc:sldMk cId="4286153770" sldId="1050"/>
            <ac:spMk id="4" creationId="{BB09EB60-4353-4272-9BC1-5D33DF454A73}"/>
          </ac:spMkLst>
        </pc:spChg>
        <pc:spChg chg="mod">
          <ac:chgData name="José Antonio Ureta Santacreu" userId="e36999d1-2b92-424a-9e8c-5fde0c5fbdd2" providerId="ADAL" clId="{8E1CC941-A529-42BD-91F2-8926E50D0828}" dt="2024-06-25T11:06:57.220" v="0"/>
          <ac:spMkLst>
            <pc:docMk/>
            <pc:sldMk cId="4286153770" sldId="1050"/>
            <ac:spMk id="5" creationId="{C3F72A59-5AA4-494F-8E8A-A8CD76D9838A}"/>
          </ac:spMkLst>
        </pc:spChg>
      </pc:sldChg>
      <pc:sldChg chg="modSp">
        <pc:chgData name="José Antonio Ureta Santacreu" userId="e36999d1-2b92-424a-9e8c-5fde0c5fbdd2" providerId="ADAL" clId="{8E1CC941-A529-42BD-91F2-8926E50D0828}" dt="2024-06-25T11:06:57.220" v="0"/>
        <pc:sldMkLst>
          <pc:docMk/>
          <pc:sldMk cId="2195440747" sldId="1051"/>
        </pc:sldMkLst>
        <pc:spChg chg="mod">
          <ac:chgData name="José Antonio Ureta Santacreu" userId="e36999d1-2b92-424a-9e8c-5fde0c5fbdd2" providerId="ADAL" clId="{8E1CC941-A529-42BD-91F2-8926E50D0828}" dt="2024-06-25T11:06:57.220" v="0"/>
          <ac:spMkLst>
            <pc:docMk/>
            <pc:sldMk cId="2195440747" sldId="1051"/>
            <ac:spMk id="2" creationId="{81980A65-6CDE-80E0-9C72-184C8503FDA1}"/>
          </ac:spMkLst>
        </pc:spChg>
        <pc:spChg chg="mod">
          <ac:chgData name="José Antonio Ureta Santacreu" userId="e36999d1-2b92-424a-9e8c-5fde0c5fbdd2" providerId="ADAL" clId="{8E1CC941-A529-42BD-91F2-8926E50D0828}" dt="2024-06-25T11:06:57.220" v="0"/>
          <ac:spMkLst>
            <pc:docMk/>
            <pc:sldMk cId="2195440747" sldId="1051"/>
            <ac:spMk id="3" creationId="{DD05CC26-F594-E3EE-B093-5985E7D392C5}"/>
          </ac:spMkLst>
        </pc:spChg>
        <pc:spChg chg="mod">
          <ac:chgData name="José Antonio Ureta Santacreu" userId="e36999d1-2b92-424a-9e8c-5fde0c5fbdd2" providerId="ADAL" clId="{8E1CC941-A529-42BD-91F2-8926E50D0828}" dt="2024-06-25T11:06:57.220" v="0"/>
          <ac:spMkLst>
            <pc:docMk/>
            <pc:sldMk cId="2195440747" sldId="1051"/>
            <ac:spMk id="4" creationId="{DDEA2CBA-3BB2-C3A9-EC0D-564DEA8F0664}"/>
          </ac:spMkLst>
        </pc:spChg>
        <pc:spChg chg="mod">
          <ac:chgData name="José Antonio Ureta Santacreu" userId="e36999d1-2b92-424a-9e8c-5fde0c5fbdd2" providerId="ADAL" clId="{8E1CC941-A529-42BD-91F2-8926E50D0828}" dt="2024-06-25T11:06:57.220" v="0"/>
          <ac:spMkLst>
            <pc:docMk/>
            <pc:sldMk cId="2195440747" sldId="1051"/>
            <ac:spMk id="5" creationId="{D4D92A38-0DF4-E85D-FBCC-F80064E7F5DE}"/>
          </ac:spMkLst>
        </pc:spChg>
      </pc:sldChg>
      <pc:sldChg chg="modSp">
        <pc:chgData name="José Antonio Ureta Santacreu" userId="e36999d1-2b92-424a-9e8c-5fde0c5fbdd2" providerId="ADAL" clId="{8E1CC941-A529-42BD-91F2-8926E50D0828}" dt="2024-06-25T11:06:57.220" v="0"/>
        <pc:sldMkLst>
          <pc:docMk/>
          <pc:sldMk cId="4250508571" sldId="1052"/>
        </pc:sldMkLst>
        <pc:spChg chg="mod">
          <ac:chgData name="José Antonio Ureta Santacreu" userId="e36999d1-2b92-424a-9e8c-5fde0c5fbdd2" providerId="ADAL" clId="{8E1CC941-A529-42BD-91F2-8926E50D0828}" dt="2024-06-25T11:06:57.220" v="0"/>
          <ac:spMkLst>
            <pc:docMk/>
            <pc:sldMk cId="4250508571" sldId="1052"/>
            <ac:spMk id="2" creationId="{226A50CE-20FB-40EC-AD76-D9A4423F1BD6}"/>
          </ac:spMkLst>
        </pc:spChg>
        <pc:spChg chg="mod">
          <ac:chgData name="José Antonio Ureta Santacreu" userId="e36999d1-2b92-424a-9e8c-5fde0c5fbdd2" providerId="ADAL" clId="{8E1CC941-A529-42BD-91F2-8926E50D0828}" dt="2024-06-25T11:06:57.220" v="0"/>
          <ac:spMkLst>
            <pc:docMk/>
            <pc:sldMk cId="4250508571" sldId="1052"/>
            <ac:spMk id="3" creationId="{69041993-B6B5-4807-9E53-AA11617C3438}"/>
          </ac:spMkLst>
        </pc:spChg>
        <pc:spChg chg="mod">
          <ac:chgData name="José Antonio Ureta Santacreu" userId="e36999d1-2b92-424a-9e8c-5fde0c5fbdd2" providerId="ADAL" clId="{8E1CC941-A529-42BD-91F2-8926E50D0828}" dt="2024-06-25T11:06:57.220" v="0"/>
          <ac:spMkLst>
            <pc:docMk/>
            <pc:sldMk cId="4250508571" sldId="1052"/>
            <ac:spMk id="4" creationId="{E11AB772-D5B6-4561-BCDA-010C28023E24}"/>
          </ac:spMkLst>
        </pc:spChg>
        <pc:spChg chg="mod">
          <ac:chgData name="José Antonio Ureta Santacreu" userId="e36999d1-2b92-424a-9e8c-5fde0c5fbdd2" providerId="ADAL" clId="{8E1CC941-A529-42BD-91F2-8926E50D0828}" dt="2024-06-25T11:06:57.220" v="0"/>
          <ac:spMkLst>
            <pc:docMk/>
            <pc:sldMk cId="4250508571" sldId="1052"/>
            <ac:spMk id="5" creationId="{E31AF5BB-6EA8-48EF-968F-4BF70AF784B9}"/>
          </ac:spMkLst>
        </pc:spChg>
      </pc:sldChg>
      <pc:sldChg chg="modSp">
        <pc:chgData name="José Antonio Ureta Santacreu" userId="e36999d1-2b92-424a-9e8c-5fde0c5fbdd2" providerId="ADAL" clId="{8E1CC941-A529-42BD-91F2-8926E50D0828}" dt="2024-06-25T11:06:57.220" v="0"/>
        <pc:sldMkLst>
          <pc:docMk/>
          <pc:sldMk cId="1056422905" sldId="1053"/>
        </pc:sldMkLst>
        <pc:spChg chg="mod">
          <ac:chgData name="José Antonio Ureta Santacreu" userId="e36999d1-2b92-424a-9e8c-5fde0c5fbdd2" providerId="ADAL" clId="{8E1CC941-A529-42BD-91F2-8926E50D0828}" dt="2024-06-25T11:06:57.220" v="0"/>
          <ac:spMkLst>
            <pc:docMk/>
            <pc:sldMk cId="1056422905" sldId="1053"/>
            <ac:spMk id="2" creationId="{9F71859D-6924-451E-9691-C14F7024591F}"/>
          </ac:spMkLst>
        </pc:spChg>
        <pc:spChg chg="mod">
          <ac:chgData name="José Antonio Ureta Santacreu" userId="e36999d1-2b92-424a-9e8c-5fde0c5fbdd2" providerId="ADAL" clId="{8E1CC941-A529-42BD-91F2-8926E50D0828}" dt="2024-06-25T11:06:57.220" v="0"/>
          <ac:spMkLst>
            <pc:docMk/>
            <pc:sldMk cId="1056422905" sldId="1053"/>
            <ac:spMk id="3" creationId="{D3D51F77-A8FA-442B-917D-53B43A4303BA}"/>
          </ac:spMkLst>
        </pc:spChg>
        <pc:spChg chg="mod">
          <ac:chgData name="José Antonio Ureta Santacreu" userId="e36999d1-2b92-424a-9e8c-5fde0c5fbdd2" providerId="ADAL" clId="{8E1CC941-A529-42BD-91F2-8926E50D0828}" dt="2024-06-25T11:06:57.220" v="0"/>
          <ac:spMkLst>
            <pc:docMk/>
            <pc:sldMk cId="1056422905" sldId="1053"/>
            <ac:spMk id="4" creationId="{20B10D2D-33FD-4AAC-9453-33D8BEBA6D11}"/>
          </ac:spMkLst>
        </pc:spChg>
        <pc:spChg chg="mod">
          <ac:chgData name="José Antonio Ureta Santacreu" userId="e36999d1-2b92-424a-9e8c-5fde0c5fbdd2" providerId="ADAL" clId="{8E1CC941-A529-42BD-91F2-8926E50D0828}" dt="2024-06-25T11:06:57.220" v="0"/>
          <ac:spMkLst>
            <pc:docMk/>
            <pc:sldMk cId="1056422905" sldId="1053"/>
            <ac:spMk id="5" creationId="{6A171D2F-4EED-49AB-B9BC-6189CEC787E5}"/>
          </ac:spMkLst>
        </pc:spChg>
      </pc:sldChg>
      <pc:sldChg chg="modSp">
        <pc:chgData name="José Antonio Ureta Santacreu" userId="e36999d1-2b92-424a-9e8c-5fde0c5fbdd2" providerId="ADAL" clId="{8E1CC941-A529-42BD-91F2-8926E50D0828}" dt="2024-06-25T11:06:57.220" v="0"/>
        <pc:sldMkLst>
          <pc:docMk/>
          <pc:sldMk cId="3157001016" sldId="1054"/>
        </pc:sldMkLst>
        <pc:spChg chg="mod">
          <ac:chgData name="José Antonio Ureta Santacreu" userId="e36999d1-2b92-424a-9e8c-5fde0c5fbdd2" providerId="ADAL" clId="{8E1CC941-A529-42BD-91F2-8926E50D0828}" dt="2024-06-25T11:06:57.220" v="0"/>
          <ac:spMkLst>
            <pc:docMk/>
            <pc:sldMk cId="3157001016" sldId="1054"/>
            <ac:spMk id="2" creationId="{D47644B7-1505-41DB-9541-2BF3CEC99C75}"/>
          </ac:spMkLst>
        </pc:spChg>
        <pc:spChg chg="mod">
          <ac:chgData name="José Antonio Ureta Santacreu" userId="e36999d1-2b92-424a-9e8c-5fde0c5fbdd2" providerId="ADAL" clId="{8E1CC941-A529-42BD-91F2-8926E50D0828}" dt="2024-06-25T11:06:57.220" v="0"/>
          <ac:spMkLst>
            <pc:docMk/>
            <pc:sldMk cId="3157001016" sldId="1054"/>
            <ac:spMk id="3" creationId="{A88B518B-E9C9-4FA7-8570-E09B58656871}"/>
          </ac:spMkLst>
        </pc:spChg>
        <pc:spChg chg="mod">
          <ac:chgData name="José Antonio Ureta Santacreu" userId="e36999d1-2b92-424a-9e8c-5fde0c5fbdd2" providerId="ADAL" clId="{8E1CC941-A529-42BD-91F2-8926E50D0828}" dt="2024-06-25T11:06:57.220" v="0"/>
          <ac:spMkLst>
            <pc:docMk/>
            <pc:sldMk cId="3157001016" sldId="1054"/>
            <ac:spMk id="4" creationId="{495562AE-A62C-46CD-ACD2-093B5F3E7987}"/>
          </ac:spMkLst>
        </pc:spChg>
        <pc:spChg chg="mod">
          <ac:chgData name="José Antonio Ureta Santacreu" userId="e36999d1-2b92-424a-9e8c-5fde0c5fbdd2" providerId="ADAL" clId="{8E1CC941-A529-42BD-91F2-8926E50D0828}" dt="2024-06-25T11:06:57.220" v="0"/>
          <ac:spMkLst>
            <pc:docMk/>
            <pc:sldMk cId="3157001016" sldId="1054"/>
            <ac:spMk id="5" creationId="{1CD649AA-0F28-4FA4-878D-3BE8025747AB}"/>
          </ac:spMkLst>
        </pc:spChg>
      </pc:sldChg>
      <pc:sldChg chg="modSp">
        <pc:chgData name="José Antonio Ureta Santacreu" userId="e36999d1-2b92-424a-9e8c-5fde0c5fbdd2" providerId="ADAL" clId="{8E1CC941-A529-42BD-91F2-8926E50D0828}" dt="2024-06-25T11:06:57.220" v="0"/>
        <pc:sldMkLst>
          <pc:docMk/>
          <pc:sldMk cId="3634255984" sldId="1055"/>
        </pc:sldMkLst>
        <pc:spChg chg="mod">
          <ac:chgData name="José Antonio Ureta Santacreu" userId="e36999d1-2b92-424a-9e8c-5fde0c5fbdd2" providerId="ADAL" clId="{8E1CC941-A529-42BD-91F2-8926E50D0828}" dt="2024-06-25T11:06:57.220" v="0"/>
          <ac:spMkLst>
            <pc:docMk/>
            <pc:sldMk cId="3634255984" sldId="1055"/>
            <ac:spMk id="2" creationId="{9C55929B-D6EC-4E3E-8603-8C04AA0AB04B}"/>
          </ac:spMkLst>
        </pc:spChg>
        <pc:spChg chg="mod">
          <ac:chgData name="José Antonio Ureta Santacreu" userId="e36999d1-2b92-424a-9e8c-5fde0c5fbdd2" providerId="ADAL" clId="{8E1CC941-A529-42BD-91F2-8926E50D0828}" dt="2024-06-25T11:06:57.220" v="0"/>
          <ac:spMkLst>
            <pc:docMk/>
            <pc:sldMk cId="3634255984" sldId="1055"/>
            <ac:spMk id="4" creationId="{8C0218A2-0AAC-4C88-BD7B-A5CC4553ACFC}"/>
          </ac:spMkLst>
        </pc:spChg>
        <pc:spChg chg="mod">
          <ac:chgData name="José Antonio Ureta Santacreu" userId="e36999d1-2b92-424a-9e8c-5fde0c5fbdd2" providerId="ADAL" clId="{8E1CC941-A529-42BD-91F2-8926E50D0828}" dt="2024-06-25T11:06:57.220" v="0"/>
          <ac:spMkLst>
            <pc:docMk/>
            <pc:sldMk cId="3634255984" sldId="1055"/>
            <ac:spMk id="10" creationId="{E11D5558-772B-4597-8634-C08B228E2EF5}"/>
          </ac:spMkLst>
        </pc:spChg>
        <pc:spChg chg="mod">
          <ac:chgData name="José Antonio Ureta Santacreu" userId="e36999d1-2b92-424a-9e8c-5fde0c5fbdd2" providerId="ADAL" clId="{8E1CC941-A529-42BD-91F2-8926E50D0828}" dt="2024-06-25T11:06:57.220" v="0"/>
          <ac:spMkLst>
            <pc:docMk/>
            <pc:sldMk cId="3634255984" sldId="1055"/>
            <ac:spMk id="11" creationId="{27C3A4A5-C77A-4A00-A937-8B32D6B6049E}"/>
          </ac:spMkLst>
        </pc:spChg>
      </pc:sldChg>
      <pc:sldChg chg="modSp">
        <pc:chgData name="José Antonio Ureta Santacreu" userId="e36999d1-2b92-424a-9e8c-5fde0c5fbdd2" providerId="ADAL" clId="{8E1CC941-A529-42BD-91F2-8926E50D0828}" dt="2024-06-25T11:06:57.220" v="0"/>
        <pc:sldMkLst>
          <pc:docMk/>
          <pc:sldMk cId="3545264990" sldId="1056"/>
        </pc:sldMkLst>
        <pc:spChg chg="mod">
          <ac:chgData name="José Antonio Ureta Santacreu" userId="e36999d1-2b92-424a-9e8c-5fde0c5fbdd2" providerId="ADAL" clId="{8E1CC941-A529-42BD-91F2-8926E50D0828}" dt="2024-06-25T11:06:57.220" v="0"/>
          <ac:spMkLst>
            <pc:docMk/>
            <pc:sldMk cId="3545264990" sldId="1056"/>
            <ac:spMk id="2" creationId="{8BEB4C3E-AFBF-DB8F-13C2-A566BE48A698}"/>
          </ac:spMkLst>
        </pc:spChg>
        <pc:spChg chg="mod">
          <ac:chgData name="José Antonio Ureta Santacreu" userId="e36999d1-2b92-424a-9e8c-5fde0c5fbdd2" providerId="ADAL" clId="{8E1CC941-A529-42BD-91F2-8926E50D0828}" dt="2024-06-25T11:06:57.220" v="0"/>
          <ac:spMkLst>
            <pc:docMk/>
            <pc:sldMk cId="3545264990" sldId="1056"/>
            <ac:spMk id="3" creationId="{63DD1CA0-105E-6F65-1058-FC14E6E2F9FC}"/>
          </ac:spMkLst>
        </pc:spChg>
        <pc:spChg chg="mod">
          <ac:chgData name="José Antonio Ureta Santacreu" userId="e36999d1-2b92-424a-9e8c-5fde0c5fbdd2" providerId="ADAL" clId="{8E1CC941-A529-42BD-91F2-8926E50D0828}" dt="2024-06-25T11:06:57.220" v="0"/>
          <ac:spMkLst>
            <pc:docMk/>
            <pc:sldMk cId="3545264990" sldId="1056"/>
            <ac:spMk id="4" creationId="{7F5FFFC9-1A26-37C5-D12B-F536DFFF518B}"/>
          </ac:spMkLst>
        </pc:spChg>
        <pc:spChg chg="mod">
          <ac:chgData name="José Antonio Ureta Santacreu" userId="e36999d1-2b92-424a-9e8c-5fde0c5fbdd2" providerId="ADAL" clId="{8E1CC941-A529-42BD-91F2-8926E50D0828}" dt="2024-06-25T11:06:57.220" v="0"/>
          <ac:spMkLst>
            <pc:docMk/>
            <pc:sldMk cId="3545264990" sldId="1056"/>
            <ac:spMk id="5" creationId="{CDD6249F-0420-AAA7-8CCD-5A35A6601F29}"/>
          </ac:spMkLst>
        </pc:spChg>
      </pc:sldChg>
      <pc:sldChg chg="modSp">
        <pc:chgData name="José Antonio Ureta Santacreu" userId="e36999d1-2b92-424a-9e8c-5fde0c5fbdd2" providerId="ADAL" clId="{8E1CC941-A529-42BD-91F2-8926E50D0828}" dt="2024-06-25T11:06:57.220" v="0"/>
        <pc:sldMkLst>
          <pc:docMk/>
          <pc:sldMk cId="2985541830" sldId="1058"/>
        </pc:sldMkLst>
        <pc:spChg chg="mod">
          <ac:chgData name="José Antonio Ureta Santacreu" userId="e36999d1-2b92-424a-9e8c-5fde0c5fbdd2" providerId="ADAL" clId="{8E1CC941-A529-42BD-91F2-8926E50D0828}" dt="2024-06-25T11:06:57.220" v="0"/>
          <ac:spMkLst>
            <pc:docMk/>
            <pc:sldMk cId="2985541830" sldId="1058"/>
            <ac:spMk id="2" creationId="{A9E4D875-737C-4B28-95BE-EB4A0D9480E1}"/>
          </ac:spMkLst>
        </pc:spChg>
        <pc:spChg chg="mod">
          <ac:chgData name="José Antonio Ureta Santacreu" userId="e36999d1-2b92-424a-9e8c-5fde0c5fbdd2" providerId="ADAL" clId="{8E1CC941-A529-42BD-91F2-8926E50D0828}" dt="2024-06-25T11:06:57.220" v="0"/>
          <ac:spMkLst>
            <pc:docMk/>
            <pc:sldMk cId="2985541830" sldId="1058"/>
            <ac:spMk id="3" creationId="{25108F67-1CDD-4CD6-9982-78A54F98A9EC}"/>
          </ac:spMkLst>
        </pc:spChg>
        <pc:spChg chg="mod">
          <ac:chgData name="José Antonio Ureta Santacreu" userId="e36999d1-2b92-424a-9e8c-5fde0c5fbdd2" providerId="ADAL" clId="{8E1CC941-A529-42BD-91F2-8926E50D0828}" dt="2024-06-25T11:06:57.220" v="0"/>
          <ac:spMkLst>
            <pc:docMk/>
            <pc:sldMk cId="2985541830" sldId="1058"/>
            <ac:spMk id="4" creationId="{CFF0665A-A992-4F68-BA21-2A8E808F9B4E}"/>
          </ac:spMkLst>
        </pc:spChg>
        <pc:spChg chg="mod">
          <ac:chgData name="José Antonio Ureta Santacreu" userId="e36999d1-2b92-424a-9e8c-5fde0c5fbdd2" providerId="ADAL" clId="{8E1CC941-A529-42BD-91F2-8926E50D0828}" dt="2024-06-25T11:06:57.220" v="0"/>
          <ac:spMkLst>
            <pc:docMk/>
            <pc:sldMk cId="2985541830" sldId="1058"/>
            <ac:spMk id="5" creationId="{E757C3E6-947C-4D22-B7F5-CD6D0A5F000A}"/>
          </ac:spMkLst>
        </pc:spChg>
      </pc:sldChg>
      <pc:sldChg chg="modSp">
        <pc:chgData name="José Antonio Ureta Santacreu" userId="e36999d1-2b92-424a-9e8c-5fde0c5fbdd2" providerId="ADAL" clId="{8E1CC941-A529-42BD-91F2-8926E50D0828}" dt="2024-06-25T11:06:57.220" v="0"/>
        <pc:sldMkLst>
          <pc:docMk/>
          <pc:sldMk cId="655087236" sldId="1060"/>
        </pc:sldMkLst>
        <pc:spChg chg="mod">
          <ac:chgData name="José Antonio Ureta Santacreu" userId="e36999d1-2b92-424a-9e8c-5fde0c5fbdd2" providerId="ADAL" clId="{8E1CC941-A529-42BD-91F2-8926E50D0828}" dt="2024-06-25T11:06:57.220" v="0"/>
          <ac:spMkLst>
            <pc:docMk/>
            <pc:sldMk cId="655087236" sldId="1060"/>
            <ac:spMk id="2" creationId="{00BD4033-745F-D769-E321-2D92BBCE0EBE}"/>
          </ac:spMkLst>
        </pc:spChg>
        <pc:spChg chg="mod">
          <ac:chgData name="José Antonio Ureta Santacreu" userId="e36999d1-2b92-424a-9e8c-5fde0c5fbdd2" providerId="ADAL" clId="{8E1CC941-A529-42BD-91F2-8926E50D0828}" dt="2024-06-25T11:06:57.220" v="0"/>
          <ac:spMkLst>
            <pc:docMk/>
            <pc:sldMk cId="655087236" sldId="1060"/>
            <ac:spMk id="3" creationId="{5AC18EA9-44C1-F5E4-10B5-BBF30CE24A54}"/>
          </ac:spMkLst>
        </pc:spChg>
        <pc:spChg chg="mod">
          <ac:chgData name="José Antonio Ureta Santacreu" userId="e36999d1-2b92-424a-9e8c-5fde0c5fbdd2" providerId="ADAL" clId="{8E1CC941-A529-42BD-91F2-8926E50D0828}" dt="2024-06-25T11:06:57.220" v="0"/>
          <ac:spMkLst>
            <pc:docMk/>
            <pc:sldMk cId="655087236" sldId="1060"/>
            <ac:spMk id="5" creationId="{161ECB0A-AFAB-E5CD-9364-179AAEBBB92C}"/>
          </ac:spMkLst>
        </pc:spChg>
        <pc:spChg chg="mod">
          <ac:chgData name="José Antonio Ureta Santacreu" userId="e36999d1-2b92-424a-9e8c-5fde0c5fbdd2" providerId="ADAL" clId="{8E1CC941-A529-42BD-91F2-8926E50D0828}" dt="2024-06-25T11:06:57.220" v="0"/>
          <ac:spMkLst>
            <pc:docMk/>
            <pc:sldMk cId="655087236" sldId="1060"/>
            <ac:spMk id="6" creationId="{970C303F-CDF4-73F3-4B26-EFDF5429BA72}"/>
          </ac:spMkLst>
        </pc:spChg>
      </pc:sldChg>
      <pc:sldChg chg="modSp">
        <pc:chgData name="José Antonio Ureta Santacreu" userId="e36999d1-2b92-424a-9e8c-5fde0c5fbdd2" providerId="ADAL" clId="{8E1CC941-A529-42BD-91F2-8926E50D0828}" dt="2024-06-25T11:06:57.220" v="0"/>
        <pc:sldMkLst>
          <pc:docMk/>
          <pc:sldMk cId="3660066449" sldId="1061"/>
        </pc:sldMkLst>
        <pc:spChg chg="mod">
          <ac:chgData name="José Antonio Ureta Santacreu" userId="e36999d1-2b92-424a-9e8c-5fde0c5fbdd2" providerId="ADAL" clId="{8E1CC941-A529-42BD-91F2-8926E50D0828}" dt="2024-06-25T11:06:57.220" v="0"/>
          <ac:spMkLst>
            <pc:docMk/>
            <pc:sldMk cId="3660066449" sldId="1061"/>
            <ac:spMk id="2" creationId="{0C325953-F52A-478B-BA3C-B3B0880E972C}"/>
          </ac:spMkLst>
        </pc:spChg>
        <pc:spChg chg="mod">
          <ac:chgData name="José Antonio Ureta Santacreu" userId="e36999d1-2b92-424a-9e8c-5fde0c5fbdd2" providerId="ADAL" clId="{8E1CC941-A529-42BD-91F2-8926E50D0828}" dt="2024-06-25T11:06:57.220" v="0"/>
          <ac:spMkLst>
            <pc:docMk/>
            <pc:sldMk cId="3660066449" sldId="1061"/>
            <ac:spMk id="3" creationId="{0C521B9F-C6A9-40DA-ACD8-39C61D7BC65E}"/>
          </ac:spMkLst>
        </pc:spChg>
        <pc:spChg chg="mod">
          <ac:chgData name="José Antonio Ureta Santacreu" userId="e36999d1-2b92-424a-9e8c-5fde0c5fbdd2" providerId="ADAL" clId="{8E1CC941-A529-42BD-91F2-8926E50D0828}" dt="2024-06-25T11:06:57.220" v="0"/>
          <ac:spMkLst>
            <pc:docMk/>
            <pc:sldMk cId="3660066449" sldId="1061"/>
            <ac:spMk id="4" creationId="{341A519F-B4EC-4FAC-AAE0-15F9C60BBBCA}"/>
          </ac:spMkLst>
        </pc:spChg>
        <pc:spChg chg="mod">
          <ac:chgData name="José Antonio Ureta Santacreu" userId="e36999d1-2b92-424a-9e8c-5fde0c5fbdd2" providerId="ADAL" clId="{8E1CC941-A529-42BD-91F2-8926E50D0828}" dt="2024-06-25T11:06:57.220" v="0"/>
          <ac:spMkLst>
            <pc:docMk/>
            <pc:sldMk cId="3660066449" sldId="1061"/>
            <ac:spMk id="5" creationId="{527C2BF9-B18C-41F0-949F-8A74EC588D88}"/>
          </ac:spMkLst>
        </pc:spChg>
      </pc:sldChg>
      <pc:sldChg chg="modSp">
        <pc:chgData name="José Antonio Ureta Santacreu" userId="e36999d1-2b92-424a-9e8c-5fde0c5fbdd2" providerId="ADAL" clId="{8E1CC941-A529-42BD-91F2-8926E50D0828}" dt="2024-06-25T11:06:57.220" v="0"/>
        <pc:sldMkLst>
          <pc:docMk/>
          <pc:sldMk cId="3652038064" sldId="1063"/>
        </pc:sldMkLst>
        <pc:spChg chg="mod">
          <ac:chgData name="José Antonio Ureta Santacreu" userId="e36999d1-2b92-424a-9e8c-5fde0c5fbdd2" providerId="ADAL" clId="{8E1CC941-A529-42BD-91F2-8926E50D0828}" dt="2024-06-25T11:06:57.220" v="0"/>
          <ac:spMkLst>
            <pc:docMk/>
            <pc:sldMk cId="3652038064" sldId="1063"/>
            <ac:spMk id="2" creationId="{19D16E6A-6ABD-48A4-5CB5-A5578BAF181B}"/>
          </ac:spMkLst>
        </pc:spChg>
        <pc:spChg chg="mod">
          <ac:chgData name="José Antonio Ureta Santacreu" userId="e36999d1-2b92-424a-9e8c-5fde0c5fbdd2" providerId="ADAL" clId="{8E1CC941-A529-42BD-91F2-8926E50D0828}" dt="2024-06-25T11:06:57.220" v="0"/>
          <ac:spMkLst>
            <pc:docMk/>
            <pc:sldMk cId="3652038064" sldId="1063"/>
            <ac:spMk id="4" creationId="{CFD90520-0B5F-7360-5A69-99205BCB9D68}"/>
          </ac:spMkLst>
        </pc:spChg>
        <pc:spChg chg="mod">
          <ac:chgData name="José Antonio Ureta Santacreu" userId="e36999d1-2b92-424a-9e8c-5fde0c5fbdd2" providerId="ADAL" clId="{8E1CC941-A529-42BD-91F2-8926E50D0828}" dt="2024-06-25T11:06:57.220" v="0"/>
          <ac:spMkLst>
            <pc:docMk/>
            <pc:sldMk cId="3652038064" sldId="1063"/>
            <ac:spMk id="5" creationId="{19974797-735F-8460-B887-62AB1444CB2E}"/>
          </ac:spMkLst>
        </pc:spChg>
        <pc:spChg chg="mod">
          <ac:chgData name="José Antonio Ureta Santacreu" userId="e36999d1-2b92-424a-9e8c-5fde0c5fbdd2" providerId="ADAL" clId="{8E1CC941-A529-42BD-91F2-8926E50D0828}" dt="2024-06-25T11:06:57.220" v="0"/>
          <ac:spMkLst>
            <pc:docMk/>
            <pc:sldMk cId="3652038064" sldId="1063"/>
            <ac:spMk id="6" creationId="{4EAA4B4C-EA5C-040B-92BB-3A07802A7B7F}"/>
          </ac:spMkLst>
        </pc:spChg>
      </pc:sldChg>
      <pc:sldChg chg="modSp">
        <pc:chgData name="José Antonio Ureta Santacreu" userId="e36999d1-2b92-424a-9e8c-5fde0c5fbdd2" providerId="ADAL" clId="{8E1CC941-A529-42BD-91F2-8926E50D0828}" dt="2024-06-25T11:06:57.220" v="0"/>
        <pc:sldMkLst>
          <pc:docMk/>
          <pc:sldMk cId="2936079624" sldId="1064"/>
        </pc:sldMkLst>
        <pc:spChg chg="mod">
          <ac:chgData name="José Antonio Ureta Santacreu" userId="e36999d1-2b92-424a-9e8c-5fde0c5fbdd2" providerId="ADAL" clId="{8E1CC941-A529-42BD-91F2-8926E50D0828}" dt="2024-06-25T11:06:57.220" v="0"/>
          <ac:spMkLst>
            <pc:docMk/>
            <pc:sldMk cId="2936079624" sldId="1064"/>
            <ac:spMk id="2" creationId="{6DCFF0C2-2E99-D690-0544-43A6DA893A96}"/>
          </ac:spMkLst>
        </pc:spChg>
        <pc:spChg chg="mod">
          <ac:chgData name="José Antonio Ureta Santacreu" userId="e36999d1-2b92-424a-9e8c-5fde0c5fbdd2" providerId="ADAL" clId="{8E1CC941-A529-42BD-91F2-8926E50D0828}" dt="2024-06-25T11:06:57.220" v="0"/>
          <ac:spMkLst>
            <pc:docMk/>
            <pc:sldMk cId="2936079624" sldId="1064"/>
            <ac:spMk id="4" creationId="{811B4BB6-1201-C544-81CE-A929F1459A03}"/>
          </ac:spMkLst>
        </pc:spChg>
        <pc:spChg chg="mod">
          <ac:chgData name="José Antonio Ureta Santacreu" userId="e36999d1-2b92-424a-9e8c-5fde0c5fbdd2" providerId="ADAL" clId="{8E1CC941-A529-42BD-91F2-8926E50D0828}" dt="2024-06-25T11:06:57.220" v="0"/>
          <ac:spMkLst>
            <pc:docMk/>
            <pc:sldMk cId="2936079624" sldId="1064"/>
            <ac:spMk id="5" creationId="{785C07BF-DCC9-B9E0-2FC8-B3D7B65A8685}"/>
          </ac:spMkLst>
        </pc:spChg>
        <pc:spChg chg="mod">
          <ac:chgData name="José Antonio Ureta Santacreu" userId="e36999d1-2b92-424a-9e8c-5fde0c5fbdd2" providerId="ADAL" clId="{8E1CC941-A529-42BD-91F2-8926E50D0828}" dt="2024-06-25T11:06:57.220" v="0"/>
          <ac:spMkLst>
            <pc:docMk/>
            <pc:sldMk cId="2936079624" sldId="1064"/>
            <ac:spMk id="6" creationId="{68D21F5B-1433-6910-B7D2-75210F398897}"/>
          </ac:spMkLst>
        </pc:spChg>
      </pc:sldChg>
      <pc:sldChg chg="modSp">
        <pc:chgData name="José Antonio Ureta Santacreu" userId="e36999d1-2b92-424a-9e8c-5fde0c5fbdd2" providerId="ADAL" clId="{8E1CC941-A529-42BD-91F2-8926E50D0828}" dt="2024-06-25T11:06:57.220" v="0"/>
        <pc:sldMkLst>
          <pc:docMk/>
          <pc:sldMk cId="1253425372" sldId="1065"/>
        </pc:sldMkLst>
        <pc:spChg chg="mod">
          <ac:chgData name="José Antonio Ureta Santacreu" userId="e36999d1-2b92-424a-9e8c-5fde0c5fbdd2" providerId="ADAL" clId="{8E1CC941-A529-42BD-91F2-8926E50D0828}" dt="2024-06-25T11:06:57.220" v="0"/>
          <ac:spMkLst>
            <pc:docMk/>
            <pc:sldMk cId="1253425372" sldId="1065"/>
            <ac:spMk id="2" creationId="{AD5C51F3-84E8-8B28-3693-3E110FCBB93A}"/>
          </ac:spMkLst>
        </pc:spChg>
        <pc:spChg chg="mod">
          <ac:chgData name="José Antonio Ureta Santacreu" userId="e36999d1-2b92-424a-9e8c-5fde0c5fbdd2" providerId="ADAL" clId="{8E1CC941-A529-42BD-91F2-8926E50D0828}" dt="2024-06-25T11:06:57.220" v="0"/>
          <ac:spMkLst>
            <pc:docMk/>
            <pc:sldMk cId="1253425372" sldId="1065"/>
            <ac:spMk id="3" creationId="{23FB7C36-D907-DF53-0E44-E87E3FA094A7}"/>
          </ac:spMkLst>
        </pc:spChg>
        <pc:spChg chg="mod">
          <ac:chgData name="José Antonio Ureta Santacreu" userId="e36999d1-2b92-424a-9e8c-5fde0c5fbdd2" providerId="ADAL" clId="{8E1CC941-A529-42BD-91F2-8926E50D0828}" dt="2024-06-25T11:06:57.220" v="0"/>
          <ac:spMkLst>
            <pc:docMk/>
            <pc:sldMk cId="1253425372" sldId="1065"/>
            <ac:spMk id="4" creationId="{A730AE71-7C5A-B0C7-02DB-7473CD5C6365}"/>
          </ac:spMkLst>
        </pc:spChg>
        <pc:spChg chg="mod">
          <ac:chgData name="José Antonio Ureta Santacreu" userId="e36999d1-2b92-424a-9e8c-5fde0c5fbdd2" providerId="ADAL" clId="{8E1CC941-A529-42BD-91F2-8926E50D0828}" dt="2024-06-25T11:06:57.220" v="0"/>
          <ac:spMkLst>
            <pc:docMk/>
            <pc:sldMk cId="1253425372" sldId="1065"/>
            <ac:spMk id="5" creationId="{46A8C6B5-FB8D-670F-CCE0-3DA35F874F16}"/>
          </ac:spMkLst>
        </pc:spChg>
        <pc:picChg chg="mod">
          <ac:chgData name="José Antonio Ureta Santacreu" userId="e36999d1-2b92-424a-9e8c-5fde0c5fbdd2" providerId="ADAL" clId="{8E1CC941-A529-42BD-91F2-8926E50D0828}" dt="2024-06-25T11:06:57.220" v="0"/>
          <ac:picMkLst>
            <pc:docMk/>
            <pc:sldMk cId="1253425372" sldId="1065"/>
            <ac:picMk id="2050" creationId="{F31DB3E7-3C8B-C57A-B084-A545F5F73F3F}"/>
          </ac:picMkLst>
        </pc:picChg>
      </pc:sldChg>
      <pc:sldChg chg="modSp">
        <pc:chgData name="José Antonio Ureta Santacreu" userId="e36999d1-2b92-424a-9e8c-5fde0c5fbdd2" providerId="ADAL" clId="{8E1CC941-A529-42BD-91F2-8926E50D0828}" dt="2024-06-25T11:06:57.220" v="0"/>
        <pc:sldMkLst>
          <pc:docMk/>
          <pc:sldMk cId="3168228669" sldId="1066"/>
        </pc:sldMkLst>
        <pc:spChg chg="mod">
          <ac:chgData name="José Antonio Ureta Santacreu" userId="e36999d1-2b92-424a-9e8c-5fde0c5fbdd2" providerId="ADAL" clId="{8E1CC941-A529-42BD-91F2-8926E50D0828}" dt="2024-06-25T11:06:57.220" v="0"/>
          <ac:spMkLst>
            <pc:docMk/>
            <pc:sldMk cId="3168228669" sldId="1066"/>
            <ac:spMk id="2" creationId="{732AC646-CCFD-B381-86F3-51B3A92E37C8}"/>
          </ac:spMkLst>
        </pc:spChg>
        <pc:spChg chg="mod">
          <ac:chgData name="José Antonio Ureta Santacreu" userId="e36999d1-2b92-424a-9e8c-5fde0c5fbdd2" providerId="ADAL" clId="{8E1CC941-A529-42BD-91F2-8926E50D0828}" dt="2024-06-25T11:06:57.220" v="0"/>
          <ac:spMkLst>
            <pc:docMk/>
            <pc:sldMk cId="3168228669" sldId="1066"/>
            <ac:spMk id="3" creationId="{60C41CED-A65E-999F-F9F8-892D1E203D7C}"/>
          </ac:spMkLst>
        </pc:spChg>
        <pc:spChg chg="mod">
          <ac:chgData name="José Antonio Ureta Santacreu" userId="e36999d1-2b92-424a-9e8c-5fde0c5fbdd2" providerId="ADAL" clId="{8E1CC941-A529-42BD-91F2-8926E50D0828}" dt="2024-06-25T11:06:57.220" v="0"/>
          <ac:spMkLst>
            <pc:docMk/>
            <pc:sldMk cId="3168228669" sldId="1066"/>
            <ac:spMk id="4" creationId="{4BC2C4EA-4093-F70A-4463-AD370CF738D8}"/>
          </ac:spMkLst>
        </pc:spChg>
        <pc:spChg chg="mod">
          <ac:chgData name="José Antonio Ureta Santacreu" userId="e36999d1-2b92-424a-9e8c-5fde0c5fbdd2" providerId="ADAL" clId="{8E1CC941-A529-42BD-91F2-8926E50D0828}" dt="2024-06-25T11:06:57.220" v="0"/>
          <ac:spMkLst>
            <pc:docMk/>
            <pc:sldMk cId="3168228669" sldId="1066"/>
            <ac:spMk id="5" creationId="{13EB480C-C04D-BE7E-29CB-393E83FCAAAD}"/>
          </ac:spMkLst>
        </pc:spChg>
        <pc:picChg chg="mod">
          <ac:chgData name="José Antonio Ureta Santacreu" userId="e36999d1-2b92-424a-9e8c-5fde0c5fbdd2" providerId="ADAL" clId="{8E1CC941-A529-42BD-91F2-8926E50D0828}" dt="2024-06-25T11:06:57.220" v="0"/>
          <ac:picMkLst>
            <pc:docMk/>
            <pc:sldMk cId="3168228669" sldId="1066"/>
            <ac:picMk id="21" creationId="{3BD3AF87-08DC-2054-4C5D-E6A6C3A68F0B}"/>
          </ac:picMkLst>
        </pc:picChg>
      </pc:sldChg>
      <pc:sldChg chg="modSp">
        <pc:chgData name="José Antonio Ureta Santacreu" userId="e36999d1-2b92-424a-9e8c-5fde0c5fbdd2" providerId="ADAL" clId="{8E1CC941-A529-42BD-91F2-8926E50D0828}" dt="2024-06-25T11:06:57.220" v="0"/>
        <pc:sldMkLst>
          <pc:docMk/>
          <pc:sldMk cId="1548955851" sldId="1067"/>
        </pc:sldMkLst>
        <pc:spChg chg="mod">
          <ac:chgData name="José Antonio Ureta Santacreu" userId="e36999d1-2b92-424a-9e8c-5fde0c5fbdd2" providerId="ADAL" clId="{8E1CC941-A529-42BD-91F2-8926E50D0828}" dt="2024-06-25T11:06:57.220" v="0"/>
          <ac:spMkLst>
            <pc:docMk/>
            <pc:sldMk cId="1548955851" sldId="1067"/>
            <ac:spMk id="2" creationId="{5F8BE264-BA4D-4994-A1DF-4E119FB34C25}"/>
          </ac:spMkLst>
        </pc:spChg>
        <pc:spChg chg="mod">
          <ac:chgData name="José Antonio Ureta Santacreu" userId="e36999d1-2b92-424a-9e8c-5fde0c5fbdd2" providerId="ADAL" clId="{8E1CC941-A529-42BD-91F2-8926E50D0828}" dt="2024-06-25T11:06:57.220" v="0"/>
          <ac:spMkLst>
            <pc:docMk/>
            <pc:sldMk cId="1548955851" sldId="1067"/>
            <ac:spMk id="3" creationId="{D6F6F03F-1261-4E51-8CAB-BBC2A747FD6C}"/>
          </ac:spMkLst>
        </pc:spChg>
        <pc:spChg chg="mod">
          <ac:chgData name="José Antonio Ureta Santacreu" userId="e36999d1-2b92-424a-9e8c-5fde0c5fbdd2" providerId="ADAL" clId="{8E1CC941-A529-42BD-91F2-8926E50D0828}" dt="2024-06-25T11:06:57.220" v="0"/>
          <ac:spMkLst>
            <pc:docMk/>
            <pc:sldMk cId="1548955851" sldId="1067"/>
            <ac:spMk id="4" creationId="{1F88616D-C5A0-458F-B84D-18E28AFAAC01}"/>
          </ac:spMkLst>
        </pc:spChg>
        <pc:spChg chg="mod">
          <ac:chgData name="José Antonio Ureta Santacreu" userId="e36999d1-2b92-424a-9e8c-5fde0c5fbdd2" providerId="ADAL" clId="{8E1CC941-A529-42BD-91F2-8926E50D0828}" dt="2024-06-25T11:06:57.220" v="0"/>
          <ac:spMkLst>
            <pc:docMk/>
            <pc:sldMk cId="1548955851" sldId="1067"/>
            <ac:spMk id="5" creationId="{458A6E0E-FA17-4BC3-962C-012866525A9B}"/>
          </ac:spMkLst>
        </pc:spChg>
      </pc:sldChg>
      <pc:sldChg chg="modSp">
        <pc:chgData name="José Antonio Ureta Santacreu" userId="e36999d1-2b92-424a-9e8c-5fde0c5fbdd2" providerId="ADAL" clId="{8E1CC941-A529-42BD-91F2-8926E50D0828}" dt="2024-06-25T11:06:57.220" v="0"/>
        <pc:sldMkLst>
          <pc:docMk/>
          <pc:sldMk cId="2043141374" sldId="1068"/>
        </pc:sldMkLst>
        <pc:spChg chg="mod">
          <ac:chgData name="José Antonio Ureta Santacreu" userId="e36999d1-2b92-424a-9e8c-5fde0c5fbdd2" providerId="ADAL" clId="{8E1CC941-A529-42BD-91F2-8926E50D0828}" dt="2024-06-25T11:06:57.220" v="0"/>
          <ac:spMkLst>
            <pc:docMk/>
            <pc:sldMk cId="2043141374" sldId="1068"/>
            <ac:spMk id="2" creationId="{B4183C6B-D0E7-2D2A-3B4B-D6303508594C}"/>
          </ac:spMkLst>
        </pc:spChg>
        <pc:spChg chg="mod">
          <ac:chgData name="José Antonio Ureta Santacreu" userId="e36999d1-2b92-424a-9e8c-5fde0c5fbdd2" providerId="ADAL" clId="{8E1CC941-A529-42BD-91F2-8926E50D0828}" dt="2024-06-25T11:06:57.220" v="0"/>
          <ac:spMkLst>
            <pc:docMk/>
            <pc:sldMk cId="2043141374" sldId="1068"/>
            <ac:spMk id="3" creationId="{46DC004D-2E9C-0CD8-856A-3198AFD443C3}"/>
          </ac:spMkLst>
        </pc:spChg>
        <pc:spChg chg="mod">
          <ac:chgData name="José Antonio Ureta Santacreu" userId="e36999d1-2b92-424a-9e8c-5fde0c5fbdd2" providerId="ADAL" clId="{8E1CC941-A529-42BD-91F2-8926E50D0828}" dt="2024-06-25T11:06:57.220" v="0"/>
          <ac:spMkLst>
            <pc:docMk/>
            <pc:sldMk cId="2043141374" sldId="1068"/>
            <ac:spMk id="4" creationId="{17DE5740-AC1A-2342-FDE2-A0FC7F1C2E22}"/>
          </ac:spMkLst>
        </pc:spChg>
        <pc:spChg chg="mod">
          <ac:chgData name="José Antonio Ureta Santacreu" userId="e36999d1-2b92-424a-9e8c-5fde0c5fbdd2" providerId="ADAL" clId="{8E1CC941-A529-42BD-91F2-8926E50D0828}" dt="2024-06-25T11:06:57.220" v="0"/>
          <ac:spMkLst>
            <pc:docMk/>
            <pc:sldMk cId="2043141374" sldId="1068"/>
            <ac:spMk id="5" creationId="{9165C8BA-CD1F-3E33-A758-5D0C02F5016E}"/>
          </ac:spMkLst>
        </pc:spChg>
        <pc:spChg chg="mod">
          <ac:chgData name="José Antonio Ureta Santacreu" userId="e36999d1-2b92-424a-9e8c-5fde0c5fbdd2" providerId="ADAL" clId="{8E1CC941-A529-42BD-91F2-8926E50D0828}" dt="2024-06-25T11:06:57.220" v="0"/>
          <ac:spMkLst>
            <pc:docMk/>
            <pc:sldMk cId="2043141374" sldId="1068"/>
            <ac:spMk id="7" creationId="{E434D3AB-1D48-91A9-91F6-8839C7AE5F9B}"/>
          </ac:spMkLst>
        </pc:spChg>
        <pc:picChg chg="mod">
          <ac:chgData name="José Antonio Ureta Santacreu" userId="e36999d1-2b92-424a-9e8c-5fde0c5fbdd2" providerId="ADAL" clId="{8E1CC941-A529-42BD-91F2-8926E50D0828}" dt="2024-06-25T11:06:57.220" v="0"/>
          <ac:picMkLst>
            <pc:docMk/>
            <pc:sldMk cId="2043141374" sldId="1068"/>
            <ac:picMk id="8" creationId="{1B8CEF98-20E2-D22A-FED7-9A06EE046148}"/>
          </ac:picMkLst>
        </pc:picChg>
      </pc:sldChg>
      <pc:sldChg chg="modSp">
        <pc:chgData name="José Antonio Ureta Santacreu" userId="e36999d1-2b92-424a-9e8c-5fde0c5fbdd2" providerId="ADAL" clId="{8E1CC941-A529-42BD-91F2-8926E50D0828}" dt="2024-06-25T11:06:57.220" v="0"/>
        <pc:sldMkLst>
          <pc:docMk/>
          <pc:sldMk cId="107515593" sldId="1069"/>
        </pc:sldMkLst>
        <pc:spChg chg="mod">
          <ac:chgData name="José Antonio Ureta Santacreu" userId="e36999d1-2b92-424a-9e8c-5fde0c5fbdd2" providerId="ADAL" clId="{8E1CC941-A529-42BD-91F2-8926E50D0828}" dt="2024-06-25T11:06:57.220" v="0"/>
          <ac:spMkLst>
            <pc:docMk/>
            <pc:sldMk cId="107515593" sldId="1069"/>
            <ac:spMk id="2" creationId="{3B24C5D7-4297-4B1B-84F7-2A5CB725A813}"/>
          </ac:spMkLst>
        </pc:spChg>
        <pc:spChg chg="mod">
          <ac:chgData name="José Antonio Ureta Santacreu" userId="e36999d1-2b92-424a-9e8c-5fde0c5fbdd2" providerId="ADAL" clId="{8E1CC941-A529-42BD-91F2-8926E50D0828}" dt="2024-06-25T11:06:57.220" v="0"/>
          <ac:spMkLst>
            <pc:docMk/>
            <pc:sldMk cId="107515593" sldId="1069"/>
            <ac:spMk id="3" creationId="{4E431116-E38B-4C4D-A2DC-E2F00B012A94}"/>
          </ac:spMkLst>
        </pc:spChg>
        <pc:spChg chg="mod">
          <ac:chgData name="José Antonio Ureta Santacreu" userId="e36999d1-2b92-424a-9e8c-5fde0c5fbdd2" providerId="ADAL" clId="{8E1CC941-A529-42BD-91F2-8926E50D0828}" dt="2024-06-25T11:06:57.220" v="0"/>
          <ac:spMkLst>
            <pc:docMk/>
            <pc:sldMk cId="107515593" sldId="1069"/>
            <ac:spMk id="4" creationId="{04A1A54B-B9D9-4C85-A692-9BE9977AFD05}"/>
          </ac:spMkLst>
        </pc:spChg>
        <pc:spChg chg="mod">
          <ac:chgData name="José Antonio Ureta Santacreu" userId="e36999d1-2b92-424a-9e8c-5fde0c5fbdd2" providerId="ADAL" clId="{8E1CC941-A529-42BD-91F2-8926E50D0828}" dt="2024-06-25T11:06:57.220" v="0"/>
          <ac:spMkLst>
            <pc:docMk/>
            <pc:sldMk cId="107515593" sldId="1069"/>
            <ac:spMk id="5" creationId="{2D5F6321-5D15-4B92-AC91-C46CE1C20E61}"/>
          </ac:spMkLst>
        </pc:spChg>
      </pc:sldChg>
      <pc:sldChg chg="modSp">
        <pc:chgData name="José Antonio Ureta Santacreu" userId="e36999d1-2b92-424a-9e8c-5fde0c5fbdd2" providerId="ADAL" clId="{8E1CC941-A529-42BD-91F2-8926E50D0828}" dt="2024-06-25T11:06:57.220" v="0"/>
        <pc:sldMkLst>
          <pc:docMk/>
          <pc:sldMk cId="3206531616" sldId="1070"/>
        </pc:sldMkLst>
        <pc:spChg chg="mod">
          <ac:chgData name="José Antonio Ureta Santacreu" userId="e36999d1-2b92-424a-9e8c-5fde0c5fbdd2" providerId="ADAL" clId="{8E1CC941-A529-42BD-91F2-8926E50D0828}" dt="2024-06-25T11:06:57.220" v="0"/>
          <ac:spMkLst>
            <pc:docMk/>
            <pc:sldMk cId="3206531616" sldId="1070"/>
            <ac:spMk id="2" creationId="{66468623-CC14-30DE-CA81-17D384AEE81B}"/>
          </ac:spMkLst>
        </pc:spChg>
        <pc:spChg chg="mod">
          <ac:chgData name="José Antonio Ureta Santacreu" userId="e36999d1-2b92-424a-9e8c-5fde0c5fbdd2" providerId="ADAL" clId="{8E1CC941-A529-42BD-91F2-8926E50D0828}" dt="2024-06-25T11:06:57.220" v="0"/>
          <ac:spMkLst>
            <pc:docMk/>
            <pc:sldMk cId="3206531616" sldId="1070"/>
            <ac:spMk id="3" creationId="{4DFFFD0D-F51A-25C4-8288-F675717AA996}"/>
          </ac:spMkLst>
        </pc:spChg>
        <pc:spChg chg="mod">
          <ac:chgData name="José Antonio Ureta Santacreu" userId="e36999d1-2b92-424a-9e8c-5fde0c5fbdd2" providerId="ADAL" clId="{8E1CC941-A529-42BD-91F2-8926E50D0828}" dt="2024-06-25T11:06:57.220" v="0"/>
          <ac:spMkLst>
            <pc:docMk/>
            <pc:sldMk cId="3206531616" sldId="1070"/>
            <ac:spMk id="4" creationId="{09E23AFA-126B-F702-052E-809B6C389A12}"/>
          </ac:spMkLst>
        </pc:spChg>
        <pc:spChg chg="mod">
          <ac:chgData name="José Antonio Ureta Santacreu" userId="e36999d1-2b92-424a-9e8c-5fde0c5fbdd2" providerId="ADAL" clId="{8E1CC941-A529-42BD-91F2-8926E50D0828}" dt="2024-06-25T11:06:57.220" v="0"/>
          <ac:spMkLst>
            <pc:docMk/>
            <pc:sldMk cId="3206531616" sldId="1070"/>
            <ac:spMk id="5" creationId="{EECAF2E0-339F-494E-A9D8-8B2BFCC09861}"/>
          </ac:spMkLst>
        </pc:spChg>
        <pc:picChg chg="mod">
          <ac:chgData name="José Antonio Ureta Santacreu" userId="e36999d1-2b92-424a-9e8c-5fde0c5fbdd2" providerId="ADAL" clId="{8E1CC941-A529-42BD-91F2-8926E50D0828}" dt="2024-06-25T11:06:57.220" v="0"/>
          <ac:picMkLst>
            <pc:docMk/>
            <pc:sldMk cId="3206531616" sldId="1070"/>
            <ac:picMk id="7" creationId="{9A6EA1B5-412B-1336-FE53-30D17AC08641}"/>
          </ac:picMkLst>
        </pc:picChg>
      </pc:sldChg>
      <pc:sldChg chg="modSp">
        <pc:chgData name="José Antonio Ureta Santacreu" userId="e36999d1-2b92-424a-9e8c-5fde0c5fbdd2" providerId="ADAL" clId="{8E1CC941-A529-42BD-91F2-8926E50D0828}" dt="2024-06-25T11:06:57.220" v="0"/>
        <pc:sldMkLst>
          <pc:docMk/>
          <pc:sldMk cId="2858748233" sldId="1071"/>
        </pc:sldMkLst>
        <pc:spChg chg="mod">
          <ac:chgData name="José Antonio Ureta Santacreu" userId="e36999d1-2b92-424a-9e8c-5fde0c5fbdd2" providerId="ADAL" clId="{8E1CC941-A529-42BD-91F2-8926E50D0828}" dt="2024-06-25T11:06:57.220" v="0"/>
          <ac:spMkLst>
            <pc:docMk/>
            <pc:sldMk cId="2858748233" sldId="1071"/>
            <ac:spMk id="2" creationId="{8977362D-D59E-0946-8866-D2494798D8DD}"/>
          </ac:spMkLst>
        </pc:spChg>
        <pc:spChg chg="mod">
          <ac:chgData name="José Antonio Ureta Santacreu" userId="e36999d1-2b92-424a-9e8c-5fde0c5fbdd2" providerId="ADAL" clId="{8E1CC941-A529-42BD-91F2-8926E50D0828}" dt="2024-06-25T11:06:57.220" v="0"/>
          <ac:spMkLst>
            <pc:docMk/>
            <pc:sldMk cId="2858748233" sldId="1071"/>
            <ac:spMk id="3" creationId="{A483CE57-2110-3772-C40B-9B04999AA6FC}"/>
          </ac:spMkLst>
        </pc:spChg>
        <pc:spChg chg="mod">
          <ac:chgData name="José Antonio Ureta Santacreu" userId="e36999d1-2b92-424a-9e8c-5fde0c5fbdd2" providerId="ADAL" clId="{8E1CC941-A529-42BD-91F2-8926E50D0828}" dt="2024-06-25T11:06:57.220" v="0"/>
          <ac:spMkLst>
            <pc:docMk/>
            <pc:sldMk cId="2858748233" sldId="1071"/>
            <ac:spMk id="4" creationId="{141A3E9E-47AA-5F90-C68C-8C48A282DEDD}"/>
          </ac:spMkLst>
        </pc:spChg>
        <pc:spChg chg="mod">
          <ac:chgData name="José Antonio Ureta Santacreu" userId="e36999d1-2b92-424a-9e8c-5fde0c5fbdd2" providerId="ADAL" clId="{8E1CC941-A529-42BD-91F2-8926E50D0828}" dt="2024-06-25T11:06:57.220" v="0"/>
          <ac:spMkLst>
            <pc:docMk/>
            <pc:sldMk cId="2858748233" sldId="1071"/>
            <ac:spMk id="5" creationId="{E1A923EE-93CE-898D-7AF6-48C69EAA13D7}"/>
          </ac:spMkLst>
        </pc:spChg>
      </pc:sldChg>
      <pc:sldChg chg="modSp">
        <pc:chgData name="José Antonio Ureta Santacreu" userId="e36999d1-2b92-424a-9e8c-5fde0c5fbdd2" providerId="ADAL" clId="{8E1CC941-A529-42BD-91F2-8926E50D0828}" dt="2024-06-25T11:06:57.220" v="0"/>
        <pc:sldMkLst>
          <pc:docMk/>
          <pc:sldMk cId="1558983318" sldId="1072"/>
        </pc:sldMkLst>
        <pc:spChg chg="mod">
          <ac:chgData name="José Antonio Ureta Santacreu" userId="e36999d1-2b92-424a-9e8c-5fde0c5fbdd2" providerId="ADAL" clId="{8E1CC941-A529-42BD-91F2-8926E50D0828}" dt="2024-06-25T11:06:57.220" v="0"/>
          <ac:spMkLst>
            <pc:docMk/>
            <pc:sldMk cId="1558983318" sldId="1072"/>
            <ac:spMk id="2" creationId="{B88F51A5-F556-8A23-709A-6A33A85F3EF6}"/>
          </ac:spMkLst>
        </pc:spChg>
        <pc:spChg chg="mod">
          <ac:chgData name="José Antonio Ureta Santacreu" userId="e36999d1-2b92-424a-9e8c-5fde0c5fbdd2" providerId="ADAL" clId="{8E1CC941-A529-42BD-91F2-8926E50D0828}" dt="2024-06-25T11:06:57.220" v="0"/>
          <ac:spMkLst>
            <pc:docMk/>
            <pc:sldMk cId="1558983318" sldId="1072"/>
            <ac:spMk id="3" creationId="{CBCAA161-1330-944F-54F1-5A34F8578766}"/>
          </ac:spMkLst>
        </pc:spChg>
        <pc:spChg chg="mod">
          <ac:chgData name="José Antonio Ureta Santacreu" userId="e36999d1-2b92-424a-9e8c-5fde0c5fbdd2" providerId="ADAL" clId="{8E1CC941-A529-42BD-91F2-8926E50D0828}" dt="2024-06-25T11:06:57.220" v="0"/>
          <ac:spMkLst>
            <pc:docMk/>
            <pc:sldMk cId="1558983318" sldId="1072"/>
            <ac:spMk id="4" creationId="{D723051F-3FF6-29DD-9F68-5CF62FBAD19E}"/>
          </ac:spMkLst>
        </pc:spChg>
        <pc:spChg chg="mod">
          <ac:chgData name="José Antonio Ureta Santacreu" userId="e36999d1-2b92-424a-9e8c-5fde0c5fbdd2" providerId="ADAL" clId="{8E1CC941-A529-42BD-91F2-8926E50D0828}" dt="2024-06-25T11:06:57.220" v="0"/>
          <ac:spMkLst>
            <pc:docMk/>
            <pc:sldMk cId="1558983318" sldId="1072"/>
            <ac:spMk id="5" creationId="{7049B6A5-F12C-10B8-7BDC-D82C586AB164}"/>
          </ac:spMkLst>
        </pc:spChg>
      </pc:sldChg>
      <pc:sldChg chg="modSp">
        <pc:chgData name="José Antonio Ureta Santacreu" userId="e36999d1-2b92-424a-9e8c-5fde0c5fbdd2" providerId="ADAL" clId="{8E1CC941-A529-42BD-91F2-8926E50D0828}" dt="2024-06-25T11:06:57.220" v="0"/>
        <pc:sldMkLst>
          <pc:docMk/>
          <pc:sldMk cId="4084343663" sldId="1073"/>
        </pc:sldMkLst>
        <pc:spChg chg="mod">
          <ac:chgData name="José Antonio Ureta Santacreu" userId="e36999d1-2b92-424a-9e8c-5fde0c5fbdd2" providerId="ADAL" clId="{8E1CC941-A529-42BD-91F2-8926E50D0828}" dt="2024-06-25T11:06:57.220" v="0"/>
          <ac:spMkLst>
            <pc:docMk/>
            <pc:sldMk cId="4084343663" sldId="1073"/>
            <ac:spMk id="2" creationId="{09A99189-337B-48F5-B0E5-539519693A9C}"/>
          </ac:spMkLst>
        </pc:spChg>
        <pc:spChg chg="mod">
          <ac:chgData name="José Antonio Ureta Santacreu" userId="e36999d1-2b92-424a-9e8c-5fde0c5fbdd2" providerId="ADAL" clId="{8E1CC941-A529-42BD-91F2-8926E50D0828}" dt="2024-06-25T11:06:57.220" v="0"/>
          <ac:spMkLst>
            <pc:docMk/>
            <pc:sldMk cId="4084343663" sldId="1073"/>
            <ac:spMk id="3" creationId="{666E67B4-B50F-43E5-97A1-E7DC5D6C2D4F}"/>
          </ac:spMkLst>
        </pc:spChg>
        <pc:spChg chg="mod">
          <ac:chgData name="José Antonio Ureta Santacreu" userId="e36999d1-2b92-424a-9e8c-5fde0c5fbdd2" providerId="ADAL" clId="{8E1CC941-A529-42BD-91F2-8926E50D0828}" dt="2024-06-25T11:06:57.220" v="0"/>
          <ac:spMkLst>
            <pc:docMk/>
            <pc:sldMk cId="4084343663" sldId="1073"/>
            <ac:spMk id="4" creationId="{3D1C3BE0-A0CD-4623-B43D-778206B01401}"/>
          </ac:spMkLst>
        </pc:spChg>
      </pc:sldChg>
      <pc:sldChg chg="modSp del">
        <pc:chgData name="José Antonio Ureta Santacreu" userId="e36999d1-2b92-424a-9e8c-5fde0c5fbdd2" providerId="ADAL" clId="{8E1CC941-A529-42BD-91F2-8926E50D0828}" dt="2024-07-19T09:07:14.982" v="712" actId="47"/>
        <pc:sldMkLst>
          <pc:docMk/>
          <pc:sldMk cId="1678649788" sldId="1074"/>
        </pc:sldMkLst>
        <pc:spChg chg="mod">
          <ac:chgData name="José Antonio Ureta Santacreu" userId="e36999d1-2b92-424a-9e8c-5fde0c5fbdd2" providerId="ADAL" clId="{8E1CC941-A529-42BD-91F2-8926E50D0828}" dt="2024-06-25T11:06:57.220" v="0"/>
          <ac:spMkLst>
            <pc:docMk/>
            <pc:sldMk cId="1678649788" sldId="1074"/>
            <ac:spMk id="2" creationId="{2F71856F-6BEF-43FE-B851-FB0307735BB0}"/>
          </ac:spMkLst>
        </pc:spChg>
        <pc:spChg chg="mod">
          <ac:chgData name="José Antonio Ureta Santacreu" userId="e36999d1-2b92-424a-9e8c-5fde0c5fbdd2" providerId="ADAL" clId="{8E1CC941-A529-42BD-91F2-8926E50D0828}" dt="2024-06-25T11:06:57.220" v="0"/>
          <ac:spMkLst>
            <pc:docMk/>
            <pc:sldMk cId="1678649788" sldId="1074"/>
            <ac:spMk id="3" creationId="{EE315C86-AE5F-440B-9028-83BAE54E4D34}"/>
          </ac:spMkLst>
        </pc:spChg>
        <pc:spChg chg="mod">
          <ac:chgData name="José Antonio Ureta Santacreu" userId="e36999d1-2b92-424a-9e8c-5fde0c5fbdd2" providerId="ADAL" clId="{8E1CC941-A529-42BD-91F2-8926E50D0828}" dt="2024-06-25T11:06:57.220" v="0"/>
          <ac:spMkLst>
            <pc:docMk/>
            <pc:sldMk cId="1678649788" sldId="1074"/>
            <ac:spMk id="4" creationId="{D4828ECF-31AC-4DEB-A612-64A377C3BA91}"/>
          </ac:spMkLst>
        </pc:spChg>
        <pc:spChg chg="mod">
          <ac:chgData name="José Antonio Ureta Santacreu" userId="e36999d1-2b92-424a-9e8c-5fde0c5fbdd2" providerId="ADAL" clId="{8E1CC941-A529-42BD-91F2-8926E50D0828}" dt="2024-06-25T11:06:57.220" v="0"/>
          <ac:spMkLst>
            <pc:docMk/>
            <pc:sldMk cId="1678649788" sldId="1074"/>
            <ac:spMk id="5" creationId="{71F218A2-1321-486E-AAF7-AB2B4F7FD706}"/>
          </ac:spMkLst>
        </pc:spChg>
        <pc:graphicFrameChg chg="mod">
          <ac:chgData name="José Antonio Ureta Santacreu" userId="e36999d1-2b92-424a-9e8c-5fde0c5fbdd2" providerId="ADAL" clId="{8E1CC941-A529-42BD-91F2-8926E50D0828}" dt="2024-06-25T11:06:57.220" v="0"/>
          <ac:graphicFrameMkLst>
            <pc:docMk/>
            <pc:sldMk cId="1678649788" sldId="1074"/>
            <ac:graphicFrameMk id="9" creationId="{D04675D6-FA05-4E75-99CA-9088013CE2F1}"/>
          </ac:graphicFrameMkLst>
        </pc:graphicFrameChg>
      </pc:sldChg>
      <pc:sldChg chg="modSp mod">
        <pc:chgData name="José Antonio Ureta Santacreu" userId="e36999d1-2b92-424a-9e8c-5fde0c5fbdd2" providerId="ADAL" clId="{8E1CC941-A529-42BD-91F2-8926E50D0828}" dt="2024-06-25T11:06:58.523" v="21" actId="27636"/>
        <pc:sldMkLst>
          <pc:docMk/>
          <pc:sldMk cId="2271456986" sldId="1076"/>
        </pc:sldMkLst>
        <pc:spChg chg="mod">
          <ac:chgData name="José Antonio Ureta Santacreu" userId="e36999d1-2b92-424a-9e8c-5fde0c5fbdd2" providerId="ADAL" clId="{8E1CC941-A529-42BD-91F2-8926E50D0828}" dt="2024-06-25T11:06:57.220" v="0"/>
          <ac:spMkLst>
            <pc:docMk/>
            <pc:sldMk cId="2271456986" sldId="1076"/>
            <ac:spMk id="2" creationId="{6A3CDBAC-F7AE-541F-E98B-5E3306339273}"/>
          </ac:spMkLst>
        </pc:spChg>
        <pc:spChg chg="mod">
          <ac:chgData name="José Antonio Ureta Santacreu" userId="e36999d1-2b92-424a-9e8c-5fde0c5fbdd2" providerId="ADAL" clId="{8E1CC941-A529-42BD-91F2-8926E50D0828}" dt="2024-06-25T11:06:57.220" v="0"/>
          <ac:spMkLst>
            <pc:docMk/>
            <pc:sldMk cId="2271456986" sldId="1076"/>
            <ac:spMk id="3" creationId="{2DDA1D66-593C-B198-92F9-B129A37323B4}"/>
          </ac:spMkLst>
        </pc:spChg>
        <pc:spChg chg="mod">
          <ac:chgData name="José Antonio Ureta Santacreu" userId="e36999d1-2b92-424a-9e8c-5fde0c5fbdd2" providerId="ADAL" clId="{8E1CC941-A529-42BD-91F2-8926E50D0828}" dt="2024-06-25T11:06:57.220" v="0"/>
          <ac:spMkLst>
            <pc:docMk/>
            <pc:sldMk cId="2271456986" sldId="1076"/>
            <ac:spMk id="4" creationId="{63BC7A88-7835-CE56-EA3F-3F274240699D}"/>
          </ac:spMkLst>
        </pc:spChg>
        <pc:spChg chg="mod">
          <ac:chgData name="José Antonio Ureta Santacreu" userId="e36999d1-2b92-424a-9e8c-5fde0c5fbdd2" providerId="ADAL" clId="{8E1CC941-A529-42BD-91F2-8926E50D0828}" dt="2024-06-25T11:06:57.220" v="0"/>
          <ac:spMkLst>
            <pc:docMk/>
            <pc:sldMk cId="2271456986" sldId="1076"/>
            <ac:spMk id="5" creationId="{B75AE4C6-A1C6-71B7-69CD-7E8C3B3CCA24}"/>
          </ac:spMkLst>
        </pc:spChg>
        <pc:spChg chg="mod">
          <ac:chgData name="José Antonio Ureta Santacreu" userId="e36999d1-2b92-424a-9e8c-5fde0c5fbdd2" providerId="ADAL" clId="{8E1CC941-A529-42BD-91F2-8926E50D0828}" dt="2024-06-25T11:06:58.523" v="21" actId="27636"/>
          <ac:spMkLst>
            <pc:docMk/>
            <pc:sldMk cId="2271456986" sldId="1076"/>
            <ac:spMk id="9" creationId="{E6FF59C4-02CF-8064-BF8A-2FE0CB2ED62C}"/>
          </ac:spMkLst>
        </pc:spChg>
        <pc:picChg chg="mod">
          <ac:chgData name="José Antonio Ureta Santacreu" userId="e36999d1-2b92-424a-9e8c-5fde0c5fbdd2" providerId="ADAL" clId="{8E1CC941-A529-42BD-91F2-8926E50D0828}" dt="2024-06-25T11:06:57.220" v="0"/>
          <ac:picMkLst>
            <pc:docMk/>
            <pc:sldMk cId="2271456986" sldId="1076"/>
            <ac:picMk id="17" creationId="{F12D818E-EE4B-E78B-0405-31D7511F004C}"/>
          </ac:picMkLst>
        </pc:picChg>
      </pc:sldChg>
      <pc:sldChg chg="modSp">
        <pc:chgData name="José Antonio Ureta Santacreu" userId="e36999d1-2b92-424a-9e8c-5fde0c5fbdd2" providerId="ADAL" clId="{8E1CC941-A529-42BD-91F2-8926E50D0828}" dt="2024-06-25T11:06:57.220" v="0"/>
        <pc:sldMkLst>
          <pc:docMk/>
          <pc:sldMk cId="3593969615" sldId="1077"/>
        </pc:sldMkLst>
        <pc:spChg chg="mod">
          <ac:chgData name="José Antonio Ureta Santacreu" userId="e36999d1-2b92-424a-9e8c-5fde0c5fbdd2" providerId="ADAL" clId="{8E1CC941-A529-42BD-91F2-8926E50D0828}" dt="2024-06-25T11:06:57.220" v="0"/>
          <ac:spMkLst>
            <pc:docMk/>
            <pc:sldMk cId="3593969615" sldId="1077"/>
            <ac:spMk id="2" creationId="{6834D077-9511-1201-8FA2-C39775D9B5C0}"/>
          </ac:spMkLst>
        </pc:spChg>
        <pc:spChg chg="mod">
          <ac:chgData name="José Antonio Ureta Santacreu" userId="e36999d1-2b92-424a-9e8c-5fde0c5fbdd2" providerId="ADAL" clId="{8E1CC941-A529-42BD-91F2-8926E50D0828}" dt="2024-06-25T11:06:57.220" v="0"/>
          <ac:spMkLst>
            <pc:docMk/>
            <pc:sldMk cId="3593969615" sldId="1077"/>
            <ac:spMk id="3" creationId="{F0979871-039F-5C63-C03E-0860200136BC}"/>
          </ac:spMkLst>
        </pc:spChg>
        <pc:spChg chg="mod">
          <ac:chgData name="José Antonio Ureta Santacreu" userId="e36999d1-2b92-424a-9e8c-5fde0c5fbdd2" providerId="ADAL" clId="{8E1CC941-A529-42BD-91F2-8926E50D0828}" dt="2024-06-25T11:06:57.220" v="0"/>
          <ac:spMkLst>
            <pc:docMk/>
            <pc:sldMk cId="3593969615" sldId="1077"/>
            <ac:spMk id="4" creationId="{6F8C0145-08B0-9CBD-A6B7-7476C2FAC08A}"/>
          </ac:spMkLst>
        </pc:spChg>
        <pc:spChg chg="mod">
          <ac:chgData name="José Antonio Ureta Santacreu" userId="e36999d1-2b92-424a-9e8c-5fde0c5fbdd2" providerId="ADAL" clId="{8E1CC941-A529-42BD-91F2-8926E50D0828}" dt="2024-06-25T11:06:57.220" v="0"/>
          <ac:spMkLst>
            <pc:docMk/>
            <pc:sldMk cId="3593969615" sldId="1077"/>
            <ac:spMk id="5" creationId="{8682B005-B817-6F9E-E98B-BDE39FD14B39}"/>
          </ac:spMkLst>
        </pc:spChg>
      </pc:sldChg>
      <pc:sldChg chg="modSp">
        <pc:chgData name="José Antonio Ureta Santacreu" userId="e36999d1-2b92-424a-9e8c-5fde0c5fbdd2" providerId="ADAL" clId="{8E1CC941-A529-42BD-91F2-8926E50D0828}" dt="2024-06-25T11:06:57.220" v="0"/>
        <pc:sldMkLst>
          <pc:docMk/>
          <pc:sldMk cId="417804247" sldId="1078"/>
        </pc:sldMkLst>
        <pc:spChg chg="mod">
          <ac:chgData name="José Antonio Ureta Santacreu" userId="e36999d1-2b92-424a-9e8c-5fde0c5fbdd2" providerId="ADAL" clId="{8E1CC941-A529-42BD-91F2-8926E50D0828}" dt="2024-06-25T11:06:57.220" v="0"/>
          <ac:spMkLst>
            <pc:docMk/>
            <pc:sldMk cId="417804247" sldId="1078"/>
            <ac:spMk id="2" creationId="{B7932B33-DF8D-AEF6-C772-5C16121EC42B}"/>
          </ac:spMkLst>
        </pc:spChg>
        <pc:spChg chg="mod">
          <ac:chgData name="José Antonio Ureta Santacreu" userId="e36999d1-2b92-424a-9e8c-5fde0c5fbdd2" providerId="ADAL" clId="{8E1CC941-A529-42BD-91F2-8926E50D0828}" dt="2024-06-25T11:06:57.220" v="0"/>
          <ac:spMkLst>
            <pc:docMk/>
            <pc:sldMk cId="417804247" sldId="1078"/>
            <ac:spMk id="4" creationId="{3B70399B-7051-F9C9-EA35-B85D1C7415AE}"/>
          </ac:spMkLst>
        </pc:spChg>
        <pc:spChg chg="mod">
          <ac:chgData name="José Antonio Ureta Santacreu" userId="e36999d1-2b92-424a-9e8c-5fde0c5fbdd2" providerId="ADAL" clId="{8E1CC941-A529-42BD-91F2-8926E50D0828}" dt="2024-06-25T11:06:57.220" v="0"/>
          <ac:spMkLst>
            <pc:docMk/>
            <pc:sldMk cId="417804247" sldId="1078"/>
            <ac:spMk id="5" creationId="{ED87757D-6325-045D-6924-593683D7BF84}"/>
          </ac:spMkLst>
        </pc:spChg>
        <pc:spChg chg="mod">
          <ac:chgData name="José Antonio Ureta Santacreu" userId="e36999d1-2b92-424a-9e8c-5fde0c5fbdd2" providerId="ADAL" clId="{8E1CC941-A529-42BD-91F2-8926E50D0828}" dt="2024-06-25T11:06:57.220" v="0"/>
          <ac:spMkLst>
            <pc:docMk/>
            <pc:sldMk cId="417804247" sldId="1078"/>
            <ac:spMk id="6" creationId="{2FE07006-BB6D-4B4B-B497-A878EC19B910}"/>
          </ac:spMkLst>
        </pc:spChg>
        <pc:picChg chg="mod">
          <ac:chgData name="José Antonio Ureta Santacreu" userId="e36999d1-2b92-424a-9e8c-5fde0c5fbdd2" providerId="ADAL" clId="{8E1CC941-A529-42BD-91F2-8926E50D0828}" dt="2024-06-25T11:06:57.220" v="0"/>
          <ac:picMkLst>
            <pc:docMk/>
            <pc:sldMk cId="417804247" sldId="1078"/>
            <ac:picMk id="5122" creationId="{E63202C2-C9F3-6C30-7150-6E708082E8B6}"/>
          </ac:picMkLst>
        </pc:picChg>
      </pc:sldChg>
      <pc:sldChg chg="modSp">
        <pc:chgData name="José Antonio Ureta Santacreu" userId="e36999d1-2b92-424a-9e8c-5fde0c5fbdd2" providerId="ADAL" clId="{8E1CC941-A529-42BD-91F2-8926E50D0828}" dt="2024-06-25T11:06:57.220" v="0"/>
        <pc:sldMkLst>
          <pc:docMk/>
          <pc:sldMk cId="506486384" sldId="1080"/>
        </pc:sldMkLst>
        <pc:spChg chg="mod">
          <ac:chgData name="José Antonio Ureta Santacreu" userId="e36999d1-2b92-424a-9e8c-5fde0c5fbdd2" providerId="ADAL" clId="{8E1CC941-A529-42BD-91F2-8926E50D0828}" dt="2024-06-25T11:06:57.220" v="0"/>
          <ac:spMkLst>
            <pc:docMk/>
            <pc:sldMk cId="506486384" sldId="1080"/>
            <ac:spMk id="2" creationId="{E5EAAB33-9C71-490F-8BE6-0312A8B9F4B9}"/>
          </ac:spMkLst>
        </pc:spChg>
        <pc:spChg chg="mod">
          <ac:chgData name="José Antonio Ureta Santacreu" userId="e36999d1-2b92-424a-9e8c-5fde0c5fbdd2" providerId="ADAL" clId="{8E1CC941-A529-42BD-91F2-8926E50D0828}" dt="2024-06-25T11:06:57.220" v="0"/>
          <ac:spMkLst>
            <pc:docMk/>
            <pc:sldMk cId="506486384" sldId="1080"/>
            <ac:spMk id="3" creationId="{95474DAF-1263-4BE2-8E5F-A6D023BA7DE1}"/>
          </ac:spMkLst>
        </pc:spChg>
        <pc:spChg chg="mod">
          <ac:chgData name="José Antonio Ureta Santacreu" userId="e36999d1-2b92-424a-9e8c-5fde0c5fbdd2" providerId="ADAL" clId="{8E1CC941-A529-42BD-91F2-8926E50D0828}" dt="2024-06-25T11:06:57.220" v="0"/>
          <ac:spMkLst>
            <pc:docMk/>
            <pc:sldMk cId="506486384" sldId="1080"/>
            <ac:spMk id="4" creationId="{95B3F99B-BF7C-4A71-B2BB-1CF590733AA0}"/>
          </ac:spMkLst>
        </pc:spChg>
        <pc:spChg chg="mod">
          <ac:chgData name="José Antonio Ureta Santacreu" userId="e36999d1-2b92-424a-9e8c-5fde0c5fbdd2" providerId="ADAL" clId="{8E1CC941-A529-42BD-91F2-8926E50D0828}" dt="2024-06-25T11:06:57.220" v="0"/>
          <ac:spMkLst>
            <pc:docMk/>
            <pc:sldMk cId="506486384" sldId="1080"/>
            <ac:spMk id="5" creationId="{14A12551-9561-40D5-B2A5-ECB90FB08761}"/>
          </ac:spMkLst>
        </pc:spChg>
      </pc:sldChg>
      <pc:sldChg chg="modSp mod">
        <pc:chgData name="José Antonio Ureta Santacreu" userId="e36999d1-2b92-424a-9e8c-5fde0c5fbdd2" providerId="ADAL" clId="{8E1CC941-A529-42BD-91F2-8926E50D0828}" dt="2024-06-25T11:06:58.632" v="25" actId="27636"/>
        <pc:sldMkLst>
          <pc:docMk/>
          <pc:sldMk cId="952565018" sldId="1081"/>
        </pc:sldMkLst>
        <pc:spChg chg="mod">
          <ac:chgData name="José Antonio Ureta Santacreu" userId="e36999d1-2b92-424a-9e8c-5fde0c5fbdd2" providerId="ADAL" clId="{8E1CC941-A529-42BD-91F2-8926E50D0828}" dt="2024-06-25T11:06:58.612" v="24" actId="27636"/>
          <ac:spMkLst>
            <pc:docMk/>
            <pc:sldMk cId="952565018" sldId="1081"/>
            <ac:spMk id="4" creationId="{14EF78D8-D3EA-440B-B37A-D949748F407A}"/>
          </ac:spMkLst>
        </pc:spChg>
        <pc:spChg chg="mod">
          <ac:chgData name="José Antonio Ureta Santacreu" userId="e36999d1-2b92-424a-9e8c-5fde0c5fbdd2" providerId="ADAL" clId="{8E1CC941-A529-42BD-91F2-8926E50D0828}" dt="2024-06-25T11:06:58.632" v="25" actId="27636"/>
          <ac:spMkLst>
            <pc:docMk/>
            <pc:sldMk cId="952565018" sldId="1081"/>
            <ac:spMk id="5" creationId="{59708A3C-AC00-41D0-B50C-57D91ACF889F}"/>
          </ac:spMkLst>
        </pc:spChg>
        <pc:spChg chg="mod">
          <ac:chgData name="José Antonio Ureta Santacreu" userId="e36999d1-2b92-424a-9e8c-5fde0c5fbdd2" providerId="ADAL" clId="{8E1CC941-A529-42BD-91F2-8926E50D0828}" dt="2024-06-25T11:06:57.220" v="0"/>
          <ac:spMkLst>
            <pc:docMk/>
            <pc:sldMk cId="952565018" sldId="1081"/>
            <ac:spMk id="12" creationId="{57A86DDE-6B63-F0A4-0B0F-88D8A4E11316}"/>
          </ac:spMkLst>
        </pc:spChg>
      </pc:sldChg>
      <pc:sldChg chg="modSp">
        <pc:chgData name="José Antonio Ureta Santacreu" userId="e36999d1-2b92-424a-9e8c-5fde0c5fbdd2" providerId="ADAL" clId="{8E1CC941-A529-42BD-91F2-8926E50D0828}" dt="2024-06-25T11:06:57.220" v="0"/>
        <pc:sldMkLst>
          <pc:docMk/>
          <pc:sldMk cId="130989168" sldId="1082"/>
        </pc:sldMkLst>
        <pc:spChg chg="mod">
          <ac:chgData name="José Antonio Ureta Santacreu" userId="e36999d1-2b92-424a-9e8c-5fde0c5fbdd2" providerId="ADAL" clId="{8E1CC941-A529-42BD-91F2-8926E50D0828}" dt="2024-06-25T11:06:57.220" v="0"/>
          <ac:spMkLst>
            <pc:docMk/>
            <pc:sldMk cId="130989168" sldId="1082"/>
            <ac:spMk id="4" creationId="{135043A1-68D3-56DD-44C0-6E81A57EB1E4}"/>
          </ac:spMkLst>
        </pc:spChg>
        <pc:spChg chg="mod">
          <ac:chgData name="José Antonio Ureta Santacreu" userId="e36999d1-2b92-424a-9e8c-5fde0c5fbdd2" providerId="ADAL" clId="{8E1CC941-A529-42BD-91F2-8926E50D0828}" dt="2024-06-25T11:06:57.220" v="0"/>
          <ac:spMkLst>
            <pc:docMk/>
            <pc:sldMk cId="130989168" sldId="1082"/>
            <ac:spMk id="5" creationId="{C22C327E-ACDF-CCCD-2DCA-0E5D49E1807C}"/>
          </ac:spMkLst>
        </pc:spChg>
        <pc:spChg chg="mod">
          <ac:chgData name="José Antonio Ureta Santacreu" userId="e36999d1-2b92-424a-9e8c-5fde0c5fbdd2" providerId="ADAL" clId="{8E1CC941-A529-42BD-91F2-8926E50D0828}" dt="2024-06-25T11:06:57.220" v="0"/>
          <ac:spMkLst>
            <pc:docMk/>
            <pc:sldMk cId="130989168" sldId="1082"/>
            <ac:spMk id="6" creationId="{BE7A00C1-E21E-30D8-AA8D-406A1AD55504}"/>
          </ac:spMkLst>
        </pc:spChg>
        <pc:spChg chg="mod">
          <ac:chgData name="José Antonio Ureta Santacreu" userId="e36999d1-2b92-424a-9e8c-5fde0c5fbdd2" providerId="ADAL" clId="{8E1CC941-A529-42BD-91F2-8926E50D0828}" dt="2024-06-25T11:06:57.220" v="0"/>
          <ac:spMkLst>
            <pc:docMk/>
            <pc:sldMk cId="130989168" sldId="1082"/>
            <ac:spMk id="14" creationId="{4A72C21B-1283-80AE-7EBF-39BF8D98982B}"/>
          </ac:spMkLst>
        </pc:spChg>
        <pc:graphicFrameChg chg="mod">
          <ac:chgData name="José Antonio Ureta Santacreu" userId="e36999d1-2b92-424a-9e8c-5fde0c5fbdd2" providerId="ADAL" clId="{8E1CC941-A529-42BD-91F2-8926E50D0828}" dt="2024-06-25T11:06:57.220" v="0"/>
          <ac:graphicFrameMkLst>
            <pc:docMk/>
            <pc:sldMk cId="130989168" sldId="1082"/>
            <ac:graphicFrameMk id="7" creationId="{7C9EBACB-3529-9D2E-3F8F-6757D8BFC58D}"/>
          </ac:graphicFrameMkLst>
        </pc:graphicFrameChg>
      </pc:sldChg>
      <pc:sldChg chg="modSp mod">
        <pc:chgData name="José Antonio Ureta Santacreu" userId="e36999d1-2b92-424a-9e8c-5fde0c5fbdd2" providerId="ADAL" clId="{8E1CC941-A529-42BD-91F2-8926E50D0828}" dt="2024-06-25T11:06:58.714" v="28" actId="27636"/>
        <pc:sldMkLst>
          <pc:docMk/>
          <pc:sldMk cId="46813059" sldId="1083"/>
        </pc:sldMkLst>
        <pc:spChg chg="mod">
          <ac:chgData name="José Antonio Ureta Santacreu" userId="e36999d1-2b92-424a-9e8c-5fde0c5fbdd2" providerId="ADAL" clId="{8E1CC941-A529-42BD-91F2-8926E50D0828}" dt="2024-06-25T11:06:58.714" v="28" actId="27636"/>
          <ac:spMkLst>
            <pc:docMk/>
            <pc:sldMk cId="46813059" sldId="1083"/>
            <ac:spMk id="3" creationId="{CE6FC035-E329-46F4-B8F9-4940286E7A53}"/>
          </ac:spMkLst>
        </pc:spChg>
        <pc:spChg chg="mod">
          <ac:chgData name="José Antonio Ureta Santacreu" userId="e36999d1-2b92-424a-9e8c-5fde0c5fbdd2" providerId="ADAL" clId="{8E1CC941-A529-42BD-91F2-8926E50D0828}" dt="2024-06-25T11:06:57.220" v="0"/>
          <ac:spMkLst>
            <pc:docMk/>
            <pc:sldMk cId="46813059" sldId="1083"/>
            <ac:spMk id="4" creationId="{5D56C2E3-A1C9-475E-9FB3-5617BD36BFEB}"/>
          </ac:spMkLst>
        </pc:spChg>
        <pc:spChg chg="mod">
          <ac:chgData name="José Antonio Ureta Santacreu" userId="e36999d1-2b92-424a-9e8c-5fde0c5fbdd2" providerId="ADAL" clId="{8E1CC941-A529-42BD-91F2-8926E50D0828}" dt="2024-06-25T11:06:57.220" v="0"/>
          <ac:spMkLst>
            <pc:docMk/>
            <pc:sldMk cId="46813059" sldId="1083"/>
            <ac:spMk id="5" creationId="{D68A7C3E-6018-44DB-919E-EC8910DA7F2A}"/>
          </ac:spMkLst>
        </pc:spChg>
        <pc:spChg chg="mod">
          <ac:chgData name="José Antonio Ureta Santacreu" userId="e36999d1-2b92-424a-9e8c-5fde0c5fbdd2" providerId="ADAL" clId="{8E1CC941-A529-42BD-91F2-8926E50D0828}" dt="2024-06-25T11:06:57.220" v="0"/>
          <ac:spMkLst>
            <pc:docMk/>
            <pc:sldMk cId="46813059" sldId="1083"/>
            <ac:spMk id="6" creationId="{D8036441-D3E4-46BA-8E39-2AD670F72861}"/>
          </ac:spMkLst>
        </pc:spChg>
        <pc:spChg chg="mod">
          <ac:chgData name="José Antonio Ureta Santacreu" userId="e36999d1-2b92-424a-9e8c-5fde0c5fbdd2" providerId="ADAL" clId="{8E1CC941-A529-42BD-91F2-8926E50D0828}" dt="2024-06-25T11:06:57.220" v="0"/>
          <ac:spMkLst>
            <pc:docMk/>
            <pc:sldMk cId="46813059" sldId="1083"/>
            <ac:spMk id="14" creationId="{FB9AA937-1246-45C4-9DE5-DEDA08A3D7C6}"/>
          </ac:spMkLst>
        </pc:spChg>
        <pc:picChg chg="mod">
          <ac:chgData name="José Antonio Ureta Santacreu" userId="e36999d1-2b92-424a-9e8c-5fde0c5fbdd2" providerId="ADAL" clId="{8E1CC941-A529-42BD-91F2-8926E50D0828}" dt="2024-06-25T11:06:57.220" v="0"/>
          <ac:picMkLst>
            <pc:docMk/>
            <pc:sldMk cId="46813059" sldId="1083"/>
            <ac:picMk id="8" creationId="{6FEE1782-A049-495C-B8BA-2B6EE6FBDAF3}"/>
          </ac:picMkLst>
        </pc:picChg>
      </pc:sldChg>
      <pc:sldChg chg="modSp mod">
        <pc:chgData name="José Antonio Ureta Santacreu" userId="e36999d1-2b92-424a-9e8c-5fde0c5fbdd2" providerId="ADAL" clId="{8E1CC941-A529-42BD-91F2-8926E50D0828}" dt="2024-06-25T11:06:58.760" v="29" actId="27636"/>
        <pc:sldMkLst>
          <pc:docMk/>
          <pc:sldMk cId="2447728266" sldId="1084"/>
        </pc:sldMkLst>
        <pc:spChg chg="mod">
          <ac:chgData name="José Antonio Ureta Santacreu" userId="e36999d1-2b92-424a-9e8c-5fde0c5fbdd2" providerId="ADAL" clId="{8E1CC941-A529-42BD-91F2-8926E50D0828}" dt="2024-06-25T11:06:57.220" v="0"/>
          <ac:spMkLst>
            <pc:docMk/>
            <pc:sldMk cId="2447728266" sldId="1084"/>
            <ac:spMk id="2" creationId="{6F611B2A-BE29-4B81-865B-AA32416F2832}"/>
          </ac:spMkLst>
        </pc:spChg>
        <pc:spChg chg="mod">
          <ac:chgData name="José Antonio Ureta Santacreu" userId="e36999d1-2b92-424a-9e8c-5fde0c5fbdd2" providerId="ADAL" clId="{8E1CC941-A529-42BD-91F2-8926E50D0828}" dt="2024-06-25T11:06:58.760" v="29" actId="27636"/>
          <ac:spMkLst>
            <pc:docMk/>
            <pc:sldMk cId="2447728266" sldId="1084"/>
            <ac:spMk id="3" creationId="{0CE83A48-8D15-411C-AB54-AD32ED120FB7}"/>
          </ac:spMkLst>
        </pc:spChg>
        <pc:spChg chg="mod">
          <ac:chgData name="José Antonio Ureta Santacreu" userId="e36999d1-2b92-424a-9e8c-5fde0c5fbdd2" providerId="ADAL" clId="{8E1CC941-A529-42BD-91F2-8926E50D0828}" dt="2024-06-25T11:06:57.220" v="0"/>
          <ac:spMkLst>
            <pc:docMk/>
            <pc:sldMk cId="2447728266" sldId="1084"/>
            <ac:spMk id="4" creationId="{502BF2E5-11B5-444F-A997-2E37CEEA6B98}"/>
          </ac:spMkLst>
        </pc:spChg>
        <pc:spChg chg="mod">
          <ac:chgData name="José Antonio Ureta Santacreu" userId="e36999d1-2b92-424a-9e8c-5fde0c5fbdd2" providerId="ADAL" clId="{8E1CC941-A529-42BD-91F2-8926E50D0828}" dt="2024-06-25T11:06:57.220" v="0"/>
          <ac:spMkLst>
            <pc:docMk/>
            <pc:sldMk cId="2447728266" sldId="1084"/>
            <ac:spMk id="5" creationId="{9A99B6B9-FC4C-4439-A951-4216398B3A3B}"/>
          </ac:spMkLst>
        </pc:spChg>
        <pc:spChg chg="mod">
          <ac:chgData name="José Antonio Ureta Santacreu" userId="e36999d1-2b92-424a-9e8c-5fde0c5fbdd2" providerId="ADAL" clId="{8E1CC941-A529-42BD-91F2-8926E50D0828}" dt="2024-06-25T11:06:57.220" v="0"/>
          <ac:spMkLst>
            <pc:docMk/>
            <pc:sldMk cId="2447728266" sldId="1084"/>
            <ac:spMk id="6" creationId="{8DBA31DF-A349-4413-BFBD-A12DD66F1358}"/>
          </ac:spMkLst>
        </pc:spChg>
        <pc:picChg chg="mod">
          <ac:chgData name="José Antonio Ureta Santacreu" userId="e36999d1-2b92-424a-9e8c-5fde0c5fbdd2" providerId="ADAL" clId="{8E1CC941-A529-42BD-91F2-8926E50D0828}" dt="2024-06-25T11:06:57.220" v="0"/>
          <ac:picMkLst>
            <pc:docMk/>
            <pc:sldMk cId="2447728266" sldId="1084"/>
            <ac:picMk id="8" creationId="{2656BA0C-BECA-4B8E-A63D-055A6CC9E572}"/>
          </ac:picMkLst>
        </pc:picChg>
      </pc:sldChg>
      <pc:sldChg chg="modSp">
        <pc:chgData name="José Antonio Ureta Santacreu" userId="e36999d1-2b92-424a-9e8c-5fde0c5fbdd2" providerId="ADAL" clId="{8E1CC941-A529-42BD-91F2-8926E50D0828}" dt="2024-06-25T11:06:57.220" v="0"/>
        <pc:sldMkLst>
          <pc:docMk/>
          <pc:sldMk cId="1013802888" sldId="1088"/>
        </pc:sldMkLst>
        <pc:spChg chg="mod">
          <ac:chgData name="José Antonio Ureta Santacreu" userId="e36999d1-2b92-424a-9e8c-5fde0c5fbdd2" providerId="ADAL" clId="{8E1CC941-A529-42BD-91F2-8926E50D0828}" dt="2024-06-25T11:06:57.220" v="0"/>
          <ac:spMkLst>
            <pc:docMk/>
            <pc:sldMk cId="1013802888" sldId="1088"/>
            <ac:spMk id="5" creationId="{FB0020CF-A333-C304-D940-FDDCD2920BA9}"/>
          </ac:spMkLst>
        </pc:spChg>
        <pc:spChg chg="mod">
          <ac:chgData name="José Antonio Ureta Santacreu" userId="e36999d1-2b92-424a-9e8c-5fde0c5fbdd2" providerId="ADAL" clId="{8E1CC941-A529-42BD-91F2-8926E50D0828}" dt="2024-06-25T11:06:57.220" v="0"/>
          <ac:spMkLst>
            <pc:docMk/>
            <pc:sldMk cId="1013802888" sldId="1088"/>
            <ac:spMk id="8" creationId="{F0126FD8-3707-FC1D-59B4-AA6F35CC27CA}"/>
          </ac:spMkLst>
        </pc:spChg>
        <pc:spChg chg="mod">
          <ac:chgData name="José Antonio Ureta Santacreu" userId="e36999d1-2b92-424a-9e8c-5fde0c5fbdd2" providerId="ADAL" clId="{8E1CC941-A529-42BD-91F2-8926E50D0828}" dt="2024-06-25T11:06:57.220" v="0"/>
          <ac:spMkLst>
            <pc:docMk/>
            <pc:sldMk cId="1013802888" sldId="1088"/>
            <ac:spMk id="10" creationId="{1E2CE930-0BA8-9840-1C19-1946072A0E99}"/>
          </ac:spMkLst>
        </pc:spChg>
        <pc:spChg chg="mod">
          <ac:chgData name="José Antonio Ureta Santacreu" userId="e36999d1-2b92-424a-9e8c-5fde0c5fbdd2" providerId="ADAL" clId="{8E1CC941-A529-42BD-91F2-8926E50D0828}" dt="2024-06-25T11:06:57.220" v="0"/>
          <ac:spMkLst>
            <pc:docMk/>
            <pc:sldMk cId="1013802888" sldId="1088"/>
            <ac:spMk id="11" creationId="{CD33D1C0-5496-6244-C54D-D0C62EA7CC52}"/>
          </ac:spMkLst>
        </pc:spChg>
      </pc:sldChg>
      <pc:sldChg chg="modSp">
        <pc:chgData name="José Antonio Ureta Santacreu" userId="e36999d1-2b92-424a-9e8c-5fde0c5fbdd2" providerId="ADAL" clId="{8E1CC941-A529-42BD-91F2-8926E50D0828}" dt="2024-06-25T11:06:57.220" v="0"/>
        <pc:sldMkLst>
          <pc:docMk/>
          <pc:sldMk cId="1727637905" sldId="1092"/>
        </pc:sldMkLst>
        <pc:spChg chg="mod">
          <ac:chgData name="José Antonio Ureta Santacreu" userId="e36999d1-2b92-424a-9e8c-5fde0c5fbdd2" providerId="ADAL" clId="{8E1CC941-A529-42BD-91F2-8926E50D0828}" dt="2024-06-25T11:06:57.220" v="0"/>
          <ac:spMkLst>
            <pc:docMk/>
            <pc:sldMk cId="1727637905" sldId="1092"/>
            <ac:spMk id="3" creationId="{6E478017-7D24-4C68-9952-A9AE93714743}"/>
          </ac:spMkLst>
        </pc:spChg>
        <pc:spChg chg="mod">
          <ac:chgData name="José Antonio Ureta Santacreu" userId="e36999d1-2b92-424a-9e8c-5fde0c5fbdd2" providerId="ADAL" clId="{8E1CC941-A529-42BD-91F2-8926E50D0828}" dt="2024-06-25T11:06:57.220" v="0"/>
          <ac:spMkLst>
            <pc:docMk/>
            <pc:sldMk cId="1727637905" sldId="1092"/>
            <ac:spMk id="4" creationId="{37F5D82D-3006-4FDB-A274-60CB76856CEE}"/>
          </ac:spMkLst>
        </pc:spChg>
        <pc:spChg chg="mod">
          <ac:chgData name="José Antonio Ureta Santacreu" userId="e36999d1-2b92-424a-9e8c-5fde0c5fbdd2" providerId="ADAL" clId="{8E1CC941-A529-42BD-91F2-8926E50D0828}" dt="2024-06-25T11:06:57.220" v="0"/>
          <ac:spMkLst>
            <pc:docMk/>
            <pc:sldMk cId="1727637905" sldId="1092"/>
            <ac:spMk id="5" creationId="{39177F0D-78EB-4295-B4A9-233F0F2BF7C6}"/>
          </ac:spMkLst>
        </pc:spChg>
        <pc:spChg chg="mod">
          <ac:chgData name="José Antonio Ureta Santacreu" userId="e36999d1-2b92-424a-9e8c-5fde0c5fbdd2" providerId="ADAL" clId="{8E1CC941-A529-42BD-91F2-8926E50D0828}" dt="2024-06-25T11:06:57.220" v="0"/>
          <ac:spMkLst>
            <pc:docMk/>
            <pc:sldMk cId="1727637905" sldId="1092"/>
            <ac:spMk id="6" creationId="{9753A64F-3FFB-4C82-BA4B-FAEEE494755C}"/>
          </ac:spMkLst>
        </pc:spChg>
      </pc:sldChg>
      <pc:sldChg chg="modSp">
        <pc:chgData name="José Antonio Ureta Santacreu" userId="e36999d1-2b92-424a-9e8c-5fde0c5fbdd2" providerId="ADAL" clId="{8E1CC941-A529-42BD-91F2-8926E50D0828}" dt="2024-06-25T11:06:57.220" v="0"/>
        <pc:sldMkLst>
          <pc:docMk/>
          <pc:sldMk cId="3731521364" sldId="1100"/>
        </pc:sldMkLst>
        <pc:spChg chg="mod">
          <ac:chgData name="José Antonio Ureta Santacreu" userId="e36999d1-2b92-424a-9e8c-5fde0c5fbdd2" providerId="ADAL" clId="{8E1CC941-A529-42BD-91F2-8926E50D0828}" dt="2024-06-25T11:06:57.220" v="0"/>
          <ac:spMkLst>
            <pc:docMk/>
            <pc:sldMk cId="3731521364" sldId="1100"/>
            <ac:spMk id="2" creationId="{DF438FF1-D61F-48EB-AA81-A879D3D12FD6}"/>
          </ac:spMkLst>
        </pc:spChg>
        <pc:spChg chg="mod">
          <ac:chgData name="José Antonio Ureta Santacreu" userId="e36999d1-2b92-424a-9e8c-5fde0c5fbdd2" providerId="ADAL" clId="{8E1CC941-A529-42BD-91F2-8926E50D0828}" dt="2024-06-25T11:06:57.220" v="0"/>
          <ac:spMkLst>
            <pc:docMk/>
            <pc:sldMk cId="3731521364" sldId="1100"/>
            <ac:spMk id="3" creationId="{02DE1532-73F5-4405-8AA0-D10DEB9003C7}"/>
          </ac:spMkLst>
        </pc:spChg>
        <pc:spChg chg="mod">
          <ac:chgData name="José Antonio Ureta Santacreu" userId="e36999d1-2b92-424a-9e8c-5fde0c5fbdd2" providerId="ADAL" clId="{8E1CC941-A529-42BD-91F2-8926E50D0828}" dt="2024-06-25T11:06:57.220" v="0"/>
          <ac:spMkLst>
            <pc:docMk/>
            <pc:sldMk cId="3731521364" sldId="1100"/>
            <ac:spMk id="4" creationId="{C46BD4DE-740A-4F38-A44D-B94ABA23E209}"/>
          </ac:spMkLst>
        </pc:spChg>
        <pc:spChg chg="mod">
          <ac:chgData name="José Antonio Ureta Santacreu" userId="e36999d1-2b92-424a-9e8c-5fde0c5fbdd2" providerId="ADAL" clId="{8E1CC941-A529-42BD-91F2-8926E50D0828}" dt="2024-06-25T11:06:57.220" v="0"/>
          <ac:spMkLst>
            <pc:docMk/>
            <pc:sldMk cId="3731521364" sldId="1100"/>
            <ac:spMk id="5" creationId="{D9A49090-6967-4D73-9F5A-9B3D792983D7}"/>
          </ac:spMkLst>
        </pc:spChg>
      </pc:sldChg>
      <pc:sldChg chg="modSp">
        <pc:chgData name="José Antonio Ureta Santacreu" userId="e36999d1-2b92-424a-9e8c-5fde0c5fbdd2" providerId="ADAL" clId="{8E1CC941-A529-42BD-91F2-8926E50D0828}" dt="2024-06-25T11:06:57.220" v="0"/>
        <pc:sldMkLst>
          <pc:docMk/>
          <pc:sldMk cId="3450393869" sldId="1101"/>
        </pc:sldMkLst>
        <pc:spChg chg="mod">
          <ac:chgData name="José Antonio Ureta Santacreu" userId="e36999d1-2b92-424a-9e8c-5fde0c5fbdd2" providerId="ADAL" clId="{8E1CC941-A529-42BD-91F2-8926E50D0828}" dt="2024-06-25T11:06:57.220" v="0"/>
          <ac:spMkLst>
            <pc:docMk/>
            <pc:sldMk cId="3450393869" sldId="1101"/>
            <ac:spMk id="2" creationId="{25219C85-F5D7-4210-978F-8BE3EE44AD75}"/>
          </ac:spMkLst>
        </pc:spChg>
        <pc:spChg chg="mod">
          <ac:chgData name="José Antonio Ureta Santacreu" userId="e36999d1-2b92-424a-9e8c-5fde0c5fbdd2" providerId="ADAL" clId="{8E1CC941-A529-42BD-91F2-8926E50D0828}" dt="2024-06-25T11:06:57.220" v="0"/>
          <ac:spMkLst>
            <pc:docMk/>
            <pc:sldMk cId="3450393869" sldId="1101"/>
            <ac:spMk id="3" creationId="{A023C3D0-8418-43D2-ACCC-17BC1F301A1B}"/>
          </ac:spMkLst>
        </pc:spChg>
        <pc:spChg chg="mod">
          <ac:chgData name="José Antonio Ureta Santacreu" userId="e36999d1-2b92-424a-9e8c-5fde0c5fbdd2" providerId="ADAL" clId="{8E1CC941-A529-42BD-91F2-8926E50D0828}" dt="2024-06-25T11:06:57.220" v="0"/>
          <ac:spMkLst>
            <pc:docMk/>
            <pc:sldMk cId="3450393869" sldId="1101"/>
            <ac:spMk id="4" creationId="{EF19F366-07EF-4E13-9B82-4979CD1D058F}"/>
          </ac:spMkLst>
        </pc:spChg>
        <pc:spChg chg="mod">
          <ac:chgData name="José Antonio Ureta Santacreu" userId="e36999d1-2b92-424a-9e8c-5fde0c5fbdd2" providerId="ADAL" clId="{8E1CC941-A529-42BD-91F2-8926E50D0828}" dt="2024-06-25T11:06:57.220" v="0"/>
          <ac:spMkLst>
            <pc:docMk/>
            <pc:sldMk cId="3450393869" sldId="1101"/>
            <ac:spMk id="5" creationId="{328CDD3D-9666-4188-956E-E374E1AB292B}"/>
          </ac:spMkLst>
        </pc:spChg>
      </pc:sldChg>
      <pc:sldChg chg="modSp">
        <pc:chgData name="José Antonio Ureta Santacreu" userId="e36999d1-2b92-424a-9e8c-5fde0c5fbdd2" providerId="ADAL" clId="{8E1CC941-A529-42BD-91F2-8926E50D0828}" dt="2024-06-25T11:06:57.220" v="0"/>
        <pc:sldMkLst>
          <pc:docMk/>
          <pc:sldMk cId="1664848397" sldId="1102"/>
        </pc:sldMkLst>
        <pc:spChg chg="mod">
          <ac:chgData name="José Antonio Ureta Santacreu" userId="e36999d1-2b92-424a-9e8c-5fde0c5fbdd2" providerId="ADAL" clId="{8E1CC941-A529-42BD-91F2-8926E50D0828}" dt="2024-06-25T11:06:57.220" v="0"/>
          <ac:spMkLst>
            <pc:docMk/>
            <pc:sldMk cId="1664848397" sldId="1102"/>
            <ac:spMk id="2" creationId="{59AB2E9A-4404-47EF-82A1-B7DDA88721F8}"/>
          </ac:spMkLst>
        </pc:spChg>
        <pc:spChg chg="mod">
          <ac:chgData name="José Antonio Ureta Santacreu" userId="e36999d1-2b92-424a-9e8c-5fde0c5fbdd2" providerId="ADAL" clId="{8E1CC941-A529-42BD-91F2-8926E50D0828}" dt="2024-06-25T11:06:57.220" v="0"/>
          <ac:spMkLst>
            <pc:docMk/>
            <pc:sldMk cId="1664848397" sldId="1102"/>
            <ac:spMk id="4" creationId="{8D0BA73B-67B3-40AE-82D8-A26408DCFF36}"/>
          </ac:spMkLst>
        </pc:spChg>
        <pc:spChg chg="mod">
          <ac:chgData name="José Antonio Ureta Santacreu" userId="e36999d1-2b92-424a-9e8c-5fde0c5fbdd2" providerId="ADAL" clId="{8E1CC941-A529-42BD-91F2-8926E50D0828}" dt="2024-06-25T11:06:57.220" v="0"/>
          <ac:spMkLst>
            <pc:docMk/>
            <pc:sldMk cId="1664848397" sldId="1102"/>
            <ac:spMk id="5" creationId="{53FE0402-9FFB-48F7-967B-74B43C2527C3}"/>
          </ac:spMkLst>
        </pc:spChg>
        <pc:spChg chg="mod">
          <ac:chgData name="José Antonio Ureta Santacreu" userId="e36999d1-2b92-424a-9e8c-5fde0c5fbdd2" providerId="ADAL" clId="{8E1CC941-A529-42BD-91F2-8926E50D0828}" dt="2024-06-25T11:06:57.220" v="0"/>
          <ac:spMkLst>
            <pc:docMk/>
            <pc:sldMk cId="1664848397" sldId="1102"/>
            <ac:spMk id="6" creationId="{2245AC60-F8C1-4B01-A72E-90FA5729F8D4}"/>
          </ac:spMkLst>
        </pc:spChg>
        <pc:picChg chg="mod">
          <ac:chgData name="José Antonio Ureta Santacreu" userId="e36999d1-2b92-424a-9e8c-5fde0c5fbdd2" providerId="ADAL" clId="{8E1CC941-A529-42BD-91F2-8926E50D0828}" dt="2024-06-25T11:06:57.220" v="0"/>
          <ac:picMkLst>
            <pc:docMk/>
            <pc:sldMk cId="1664848397" sldId="1102"/>
            <ac:picMk id="8" creationId="{3DE400CC-F7B8-44D4-A3EB-0DB3BEFAFAA3}"/>
          </ac:picMkLst>
        </pc:picChg>
      </pc:sldChg>
      <pc:sldChg chg="modSp">
        <pc:chgData name="José Antonio Ureta Santacreu" userId="e36999d1-2b92-424a-9e8c-5fde0c5fbdd2" providerId="ADAL" clId="{8E1CC941-A529-42BD-91F2-8926E50D0828}" dt="2024-06-25T11:06:57.220" v="0"/>
        <pc:sldMkLst>
          <pc:docMk/>
          <pc:sldMk cId="1338949265" sldId="1103"/>
        </pc:sldMkLst>
        <pc:spChg chg="mod">
          <ac:chgData name="José Antonio Ureta Santacreu" userId="e36999d1-2b92-424a-9e8c-5fde0c5fbdd2" providerId="ADAL" clId="{8E1CC941-A529-42BD-91F2-8926E50D0828}" dt="2024-06-25T11:06:57.220" v="0"/>
          <ac:spMkLst>
            <pc:docMk/>
            <pc:sldMk cId="1338949265" sldId="1103"/>
            <ac:spMk id="2" creationId="{7A16B45B-F07A-4D03-A310-84563B10FFE0}"/>
          </ac:spMkLst>
        </pc:spChg>
        <pc:spChg chg="mod">
          <ac:chgData name="José Antonio Ureta Santacreu" userId="e36999d1-2b92-424a-9e8c-5fde0c5fbdd2" providerId="ADAL" clId="{8E1CC941-A529-42BD-91F2-8926E50D0828}" dt="2024-06-25T11:06:57.220" v="0"/>
          <ac:spMkLst>
            <pc:docMk/>
            <pc:sldMk cId="1338949265" sldId="1103"/>
            <ac:spMk id="4" creationId="{2DC7139F-AB22-4A7F-A4F2-6B85FEA24308}"/>
          </ac:spMkLst>
        </pc:spChg>
        <pc:spChg chg="mod">
          <ac:chgData name="José Antonio Ureta Santacreu" userId="e36999d1-2b92-424a-9e8c-5fde0c5fbdd2" providerId="ADAL" clId="{8E1CC941-A529-42BD-91F2-8926E50D0828}" dt="2024-06-25T11:06:57.220" v="0"/>
          <ac:spMkLst>
            <pc:docMk/>
            <pc:sldMk cId="1338949265" sldId="1103"/>
            <ac:spMk id="5" creationId="{C005ED45-72F0-4866-A6EC-CD40E4691912}"/>
          </ac:spMkLst>
        </pc:spChg>
        <pc:spChg chg="mod">
          <ac:chgData name="José Antonio Ureta Santacreu" userId="e36999d1-2b92-424a-9e8c-5fde0c5fbdd2" providerId="ADAL" clId="{8E1CC941-A529-42BD-91F2-8926E50D0828}" dt="2024-06-25T11:06:57.220" v="0"/>
          <ac:spMkLst>
            <pc:docMk/>
            <pc:sldMk cId="1338949265" sldId="1103"/>
            <ac:spMk id="6" creationId="{F9F064D1-EB61-424C-8DCA-D2A2C10BC86B}"/>
          </ac:spMkLst>
        </pc:spChg>
        <pc:picChg chg="mod">
          <ac:chgData name="José Antonio Ureta Santacreu" userId="e36999d1-2b92-424a-9e8c-5fde0c5fbdd2" providerId="ADAL" clId="{8E1CC941-A529-42BD-91F2-8926E50D0828}" dt="2024-06-25T11:06:57.220" v="0"/>
          <ac:picMkLst>
            <pc:docMk/>
            <pc:sldMk cId="1338949265" sldId="1103"/>
            <ac:picMk id="9" creationId="{443D14AF-9B90-4763-A3F6-5FAC9A67C48C}"/>
          </ac:picMkLst>
        </pc:picChg>
      </pc:sldChg>
      <pc:sldChg chg="modSp">
        <pc:chgData name="José Antonio Ureta Santacreu" userId="e36999d1-2b92-424a-9e8c-5fde0c5fbdd2" providerId="ADAL" clId="{8E1CC941-A529-42BD-91F2-8926E50D0828}" dt="2024-06-25T11:06:57.220" v="0"/>
        <pc:sldMkLst>
          <pc:docMk/>
          <pc:sldMk cId="2622088938" sldId="1104"/>
        </pc:sldMkLst>
        <pc:spChg chg="mod">
          <ac:chgData name="José Antonio Ureta Santacreu" userId="e36999d1-2b92-424a-9e8c-5fde0c5fbdd2" providerId="ADAL" clId="{8E1CC941-A529-42BD-91F2-8926E50D0828}" dt="2024-06-25T11:06:57.220" v="0"/>
          <ac:spMkLst>
            <pc:docMk/>
            <pc:sldMk cId="2622088938" sldId="1104"/>
            <ac:spMk id="2" creationId="{FBE9D430-DCDD-417D-9004-3D817185DDC4}"/>
          </ac:spMkLst>
        </pc:spChg>
        <pc:spChg chg="mod">
          <ac:chgData name="José Antonio Ureta Santacreu" userId="e36999d1-2b92-424a-9e8c-5fde0c5fbdd2" providerId="ADAL" clId="{8E1CC941-A529-42BD-91F2-8926E50D0828}" dt="2024-06-25T11:06:57.220" v="0"/>
          <ac:spMkLst>
            <pc:docMk/>
            <pc:sldMk cId="2622088938" sldId="1104"/>
            <ac:spMk id="3" creationId="{8644C537-15DF-4732-BEB5-0C9AB91EBE20}"/>
          </ac:spMkLst>
        </pc:spChg>
        <pc:spChg chg="mod">
          <ac:chgData name="José Antonio Ureta Santacreu" userId="e36999d1-2b92-424a-9e8c-5fde0c5fbdd2" providerId="ADAL" clId="{8E1CC941-A529-42BD-91F2-8926E50D0828}" dt="2024-06-25T11:06:57.220" v="0"/>
          <ac:spMkLst>
            <pc:docMk/>
            <pc:sldMk cId="2622088938" sldId="1104"/>
            <ac:spMk id="4" creationId="{80BD643E-32D2-40EA-AE79-8FB620324E33}"/>
          </ac:spMkLst>
        </pc:spChg>
        <pc:spChg chg="mod">
          <ac:chgData name="José Antonio Ureta Santacreu" userId="e36999d1-2b92-424a-9e8c-5fde0c5fbdd2" providerId="ADAL" clId="{8E1CC941-A529-42BD-91F2-8926E50D0828}" dt="2024-06-25T11:06:57.220" v="0"/>
          <ac:spMkLst>
            <pc:docMk/>
            <pc:sldMk cId="2622088938" sldId="1104"/>
            <ac:spMk id="5" creationId="{7D80090C-BA69-4300-A588-98B8FCBC41E2}"/>
          </ac:spMkLst>
        </pc:spChg>
      </pc:sldChg>
      <pc:sldChg chg="modSp">
        <pc:chgData name="José Antonio Ureta Santacreu" userId="e36999d1-2b92-424a-9e8c-5fde0c5fbdd2" providerId="ADAL" clId="{8E1CC941-A529-42BD-91F2-8926E50D0828}" dt="2024-06-25T11:06:57.220" v="0"/>
        <pc:sldMkLst>
          <pc:docMk/>
          <pc:sldMk cId="392383596" sldId="1105"/>
        </pc:sldMkLst>
        <pc:spChg chg="mod">
          <ac:chgData name="José Antonio Ureta Santacreu" userId="e36999d1-2b92-424a-9e8c-5fde0c5fbdd2" providerId="ADAL" clId="{8E1CC941-A529-42BD-91F2-8926E50D0828}" dt="2024-06-25T11:06:57.220" v="0"/>
          <ac:spMkLst>
            <pc:docMk/>
            <pc:sldMk cId="392383596" sldId="1105"/>
            <ac:spMk id="2" creationId="{54F95B47-1B48-4005-A9B3-586D5D3EA8ED}"/>
          </ac:spMkLst>
        </pc:spChg>
        <pc:spChg chg="mod">
          <ac:chgData name="José Antonio Ureta Santacreu" userId="e36999d1-2b92-424a-9e8c-5fde0c5fbdd2" providerId="ADAL" clId="{8E1CC941-A529-42BD-91F2-8926E50D0828}" dt="2024-06-25T11:06:57.220" v="0"/>
          <ac:spMkLst>
            <pc:docMk/>
            <pc:sldMk cId="392383596" sldId="1105"/>
            <ac:spMk id="3" creationId="{639EE4C0-6A70-402A-8A1C-D12437FB1FCE}"/>
          </ac:spMkLst>
        </pc:spChg>
        <pc:spChg chg="mod">
          <ac:chgData name="José Antonio Ureta Santacreu" userId="e36999d1-2b92-424a-9e8c-5fde0c5fbdd2" providerId="ADAL" clId="{8E1CC941-A529-42BD-91F2-8926E50D0828}" dt="2024-06-25T11:06:57.220" v="0"/>
          <ac:spMkLst>
            <pc:docMk/>
            <pc:sldMk cId="392383596" sldId="1105"/>
            <ac:spMk id="4" creationId="{C29C553E-E44E-4B31-85CB-D297AAE0A3C8}"/>
          </ac:spMkLst>
        </pc:spChg>
        <pc:spChg chg="mod">
          <ac:chgData name="José Antonio Ureta Santacreu" userId="e36999d1-2b92-424a-9e8c-5fde0c5fbdd2" providerId="ADAL" clId="{8E1CC941-A529-42BD-91F2-8926E50D0828}" dt="2024-06-25T11:06:57.220" v="0"/>
          <ac:spMkLst>
            <pc:docMk/>
            <pc:sldMk cId="392383596" sldId="1105"/>
            <ac:spMk id="5" creationId="{DC2936C6-8196-4891-A070-C8FEEC72DC30}"/>
          </ac:spMkLst>
        </pc:spChg>
      </pc:sldChg>
      <pc:sldChg chg="modSp">
        <pc:chgData name="José Antonio Ureta Santacreu" userId="e36999d1-2b92-424a-9e8c-5fde0c5fbdd2" providerId="ADAL" clId="{8E1CC941-A529-42BD-91F2-8926E50D0828}" dt="2024-06-25T11:06:57.220" v="0"/>
        <pc:sldMkLst>
          <pc:docMk/>
          <pc:sldMk cId="673770301" sldId="1107"/>
        </pc:sldMkLst>
        <pc:spChg chg="mod">
          <ac:chgData name="José Antonio Ureta Santacreu" userId="e36999d1-2b92-424a-9e8c-5fde0c5fbdd2" providerId="ADAL" clId="{8E1CC941-A529-42BD-91F2-8926E50D0828}" dt="2024-06-25T11:06:57.220" v="0"/>
          <ac:spMkLst>
            <pc:docMk/>
            <pc:sldMk cId="673770301" sldId="1107"/>
            <ac:spMk id="2" creationId="{66ABA298-1947-1E3E-4928-6EC4953EC6F8}"/>
          </ac:spMkLst>
        </pc:spChg>
        <pc:spChg chg="mod">
          <ac:chgData name="José Antonio Ureta Santacreu" userId="e36999d1-2b92-424a-9e8c-5fde0c5fbdd2" providerId="ADAL" clId="{8E1CC941-A529-42BD-91F2-8926E50D0828}" dt="2024-06-25T11:06:57.220" v="0"/>
          <ac:spMkLst>
            <pc:docMk/>
            <pc:sldMk cId="673770301" sldId="1107"/>
            <ac:spMk id="3" creationId="{2C4B5288-ABFF-3287-7796-40DD24697FA3}"/>
          </ac:spMkLst>
        </pc:spChg>
        <pc:spChg chg="mod">
          <ac:chgData name="José Antonio Ureta Santacreu" userId="e36999d1-2b92-424a-9e8c-5fde0c5fbdd2" providerId="ADAL" clId="{8E1CC941-A529-42BD-91F2-8926E50D0828}" dt="2024-06-25T11:06:57.220" v="0"/>
          <ac:spMkLst>
            <pc:docMk/>
            <pc:sldMk cId="673770301" sldId="1107"/>
            <ac:spMk id="4" creationId="{A22C39B1-3CB6-842D-A9A2-12A0FFE9037E}"/>
          </ac:spMkLst>
        </pc:spChg>
        <pc:spChg chg="mod">
          <ac:chgData name="José Antonio Ureta Santacreu" userId="e36999d1-2b92-424a-9e8c-5fde0c5fbdd2" providerId="ADAL" clId="{8E1CC941-A529-42BD-91F2-8926E50D0828}" dt="2024-06-25T11:06:57.220" v="0"/>
          <ac:spMkLst>
            <pc:docMk/>
            <pc:sldMk cId="673770301" sldId="1107"/>
            <ac:spMk id="5" creationId="{ECEF470C-2F61-2CA2-A7D4-3AE1CBAC87DC}"/>
          </ac:spMkLst>
        </pc:spChg>
      </pc:sldChg>
      <pc:sldChg chg="modSp">
        <pc:chgData name="José Antonio Ureta Santacreu" userId="e36999d1-2b92-424a-9e8c-5fde0c5fbdd2" providerId="ADAL" clId="{8E1CC941-A529-42BD-91F2-8926E50D0828}" dt="2024-06-25T11:06:57.220" v="0"/>
        <pc:sldMkLst>
          <pc:docMk/>
          <pc:sldMk cId="3702160311" sldId="1111"/>
        </pc:sldMkLst>
        <pc:spChg chg="mod">
          <ac:chgData name="José Antonio Ureta Santacreu" userId="e36999d1-2b92-424a-9e8c-5fde0c5fbdd2" providerId="ADAL" clId="{8E1CC941-A529-42BD-91F2-8926E50D0828}" dt="2024-06-25T11:06:57.220" v="0"/>
          <ac:spMkLst>
            <pc:docMk/>
            <pc:sldMk cId="3702160311" sldId="1111"/>
            <ac:spMk id="3" creationId="{EDCF44C9-7D6D-E7BA-3637-E816C19FFA97}"/>
          </ac:spMkLst>
        </pc:spChg>
        <pc:spChg chg="mod">
          <ac:chgData name="José Antonio Ureta Santacreu" userId="e36999d1-2b92-424a-9e8c-5fde0c5fbdd2" providerId="ADAL" clId="{8E1CC941-A529-42BD-91F2-8926E50D0828}" dt="2024-06-25T11:06:57.220" v="0"/>
          <ac:spMkLst>
            <pc:docMk/>
            <pc:sldMk cId="3702160311" sldId="1111"/>
            <ac:spMk id="4" creationId="{A3F9443F-1E23-0D71-4CB5-7BD562875D5C}"/>
          </ac:spMkLst>
        </pc:spChg>
        <pc:spChg chg="mod">
          <ac:chgData name="José Antonio Ureta Santacreu" userId="e36999d1-2b92-424a-9e8c-5fde0c5fbdd2" providerId="ADAL" clId="{8E1CC941-A529-42BD-91F2-8926E50D0828}" dt="2024-06-25T11:06:57.220" v="0"/>
          <ac:spMkLst>
            <pc:docMk/>
            <pc:sldMk cId="3702160311" sldId="1111"/>
            <ac:spMk id="5" creationId="{96501DF1-9D9E-30D9-94CF-F7F9D3E4388F}"/>
          </ac:spMkLst>
        </pc:spChg>
      </pc:sldChg>
      <pc:sldChg chg="modSp">
        <pc:chgData name="José Antonio Ureta Santacreu" userId="e36999d1-2b92-424a-9e8c-5fde0c5fbdd2" providerId="ADAL" clId="{8E1CC941-A529-42BD-91F2-8926E50D0828}" dt="2024-06-25T11:06:57.220" v="0"/>
        <pc:sldMkLst>
          <pc:docMk/>
          <pc:sldMk cId="2511687810" sldId="1112"/>
        </pc:sldMkLst>
        <pc:spChg chg="mod">
          <ac:chgData name="José Antonio Ureta Santacreu" userId="e36999d1-2b92-424a-9e8c-5fde0c5fbdd2" providerId="ADAL" clId="{8E1CC941-A529-42BD-91F2-8926E50D0828}" dt="2024-06-25T11:06:57.220" v="0"/>
          <ac:spMkLst>
            <pc:docMk/>
            <pc:sldMk cId="2511687810" sldId="1112"/>
            <ac:spMk id="3" creationId="{50F06BF3-B60F-0C4C-B56D-A307BF11F7AE}"/>
          </ac:spMkLst>
        </pc:spChg>
        <pc:spChg chg="mod">
          <ac:chgData name="José Antonio Ureta Santacreu" userId="e36999d1-2b92-424a-9e8c-5fde0c5fbdd2" providerId="ADAL" clId="{8E1CC941-A529-42BD-91F2-8926E50D0828}" dt="2024-06-25T11:06:57.220" v="0"/>
          <ac:spMkLst>
            <pc:docMk/>
            <pc:sldMk cId="2511687810" sldId="1112"/>
            <ac:spMk id="4" creationId="{D0695F20-F5F1-C920-BC6A-4D220C6ED222}"/>
          </ac:spMkLst>
        </pc:spChg>
        <pc:spChg chg="mod">
          <ac:chgData name="José Antonio Ureta Santacreu" userId="e36999d1-2b92-424a-9e8c-5fde0c5fbdd2" providerId="ADAL" clId="{8E1CC941-A529-42BD-91F2-8926E50D0828}" dt="2024-06-25T11:06:57.220" v="0"/>
          <ac:spMkLst>
            <pc:docMk/>
            <pc:sldMk cId="2511687810" sldId="1112"/>
            <ac:spMk id="5" creationId="{2EF7FD9B-C230-998A-0068-A65ADA9B52A6}"/>
          </ac:spMkLst>
        </pc:spChg>
      </pc:sldChg>
      <pc:sldChg chg="modSp">
        <pc:chgData name="José Antonio Ureta Santacreu" userId="e36999d1-2b92-424a-9e8c-5fde0c5fbdd2" providerId="ADAL" clId="{8E1CC941-A529-42BD-91F2-8926E50D0828}" dt="2024-06-25T11:06:57.220" v="0"/>
        <pc:sldMkLst>
          <pc:docMk/>
          <pc:sldMk cId="1110792222" sldId="1113"/>
        </pc:sldMkLst>
        <pc:spChg chg="mod">
          <ac:chgData name="José Antonio Ureta Santacreu" userId="e36999d1-2b92-424a-9e8c-5fde0c5fbdd2" providerId="ADAL" clId="{8E1CC941-A529-42BD-91F2-8926E50D0828}" dt="2024-06-25T11:06:57.220" v="0"/>
          <ac:spMkLst>
            <pc:docMk/>
            <pc:sldMk cId="1110792222" sldId="1113"/>
            <ac:spMk id="2" creationId="{AD9E7AE8-E236-C8CA-A7A1-87F8E2C4F51F}"/>
          </ac:spMkLst>
        </pc:spChg>
        <pc:spChg chg="mod">
          <ac:chgData name="José Antonio Ureta Santacreu" userId="e36999d1-2b92-424a-9e8c-5fde0c5fbdd2" providerId="ADAL" clId="{8E1CC941-A529-42BD-91F2-8926E50D0828}" dt="2024-06-25T11:06:57.220" v="0"/>
          <ac:spMkLst>
            <pc:docMk/>
            <pc:sldMk cId="1110792222" sldId="1113"/>
            <ac:spMk id="3" creationId="{10604D01-C2F6-F605-3D99-3B8581F4C145}"/>
          </ac:spMkLst>
        </pc:spChg>
        <pc:spChg chg="mod">
          <ac:chgData name="José Antonio Ureta Santacreu" userId="e36999d1-2b92-424a-9e8c-5fde0c5fbdd2" providerId="ADAL" clId="{8E1CC941-A529-42BD-91F2-8926E50D0828}" dt="2024-06-25T11:06:57.220" v="0"/>
          <ac:spMkLst>
            <pc:docMk/>
            <pc:sldMk cId="1110792222" sldId="1113"/>
            <ac:spMk id="4" creationId="{E89B14A8-B4B0-D1DB-A5E8-1A2E313AC879}"/>
          </ac:spMkLst>
        </pc:spChg>
        <pc:spChg chg="mod">
          <ac:chgData name="José Antonio Ureta Santacreu" userId="e36999d1-2b92-424a-9e8c-5fde0c5fbdd2" providerId="ADAL" clId="{8E1CC941-A529-42BD-91F2-8926E50D0828}" dt="2024-06-25T11:06:57.220" v="0"/>
          <ac:spMkLst>
            <pc:docMk/>
            <pc:sldMk cId="1110792222" sldId="1113"/>
            <ac:spMk id="5" creationId="{17916B4F-6B12-700E-9593-C9195843A82B}"/>
          </ac:spMkLst>
        </pc:spChg>
        <pc:picChg chg="mod">
          <ac:chgData name="José Antonio Ureta Santacreu" userId="e36999d1-2b92-424a-9e8c-5fde0c5fbdd2" providerId="ADAL" clId="{8E1CC941-A529-42BD-91F2-8926E50D0828}" dt="2024-06-25T11:06:57.220" v="0"/>
          <ac:picMkLst>
            <pc:docMk/>
            <pc:sldMk cId="1110792222" sldId="1113"/>
            <ac:picMk id="11" creationId="{8222B57A-7864-DC3E-C49B-8E20A127BC92}"/>
          </ac:picMkLst>
        </pc:picChg>
      </pc:sldChg>
      <pc:sldChg chg="add">
        <pc:chgData name="José Antonio Ureta Santacreu" userId="e36999d1-2b92-424a-9e8c-5fde0c5fbdd2" providerId="ADAL" clId="{8E1CC941-A529-42BD-91F2-8926E50D0828}" dt="2024-07-10T11:42:05.718" v="359"/>
        <pc:sldMkLst>
          <pc:docMk/>
          <pc:sldMk cId="755681093" sldId="1114"/>
        </pc:sldMkLst>
      </pc:sldChg>
      <pc:sldChg chg="modSp del">
        <pc:chgData name="José Antonio Ureta Santacreu" userId="e36999d1-2b92-424a-9e8c-5fde0c5fbdd2" providerId="ADAL" clId="{8E1CC941-A529-42BD-91F2-8926E50D0828}" dt="2024-07-10T11:41:59.027" v="358" actId="2696"/>
        <pc:sldMkLst>
          <pc:docMk/>
          <pc:sldMk cId="1784779343" sldId="1114"/>
        </pc:sldMkLst>
        <pc:spChg chg="mod">
          <ac:chgData name="José Antonio Ureta Santacreu" userId="e36999d1-2b92-424a-9e8c-5fde0c5fbdd2" providerId="ADAL" clId="{8E1CC941-A529-42BD-91F2-8926E50D0828}" dt="2024-06-25T11:06:57.220" v="0"/>
          <ac:spMkLst>
            <pc:docMk/>
            <pc:sldMk cId="1784779343" sldId="1114"/>
            <ac:spMk id="2" creationId="{83CFFD9C-887E-D9AF-809D-8BF5D080409A}"/>
          </ac:spMkLst>
        </pc:spChg>
        <pc:spChg chg="mod">
          <ac:chgData name="José Antonio Ureta Santacreu" userId="e36999d1-2b92-424a-9e8c-5fde0c5fbdd2" providerId="ADAL" clId="{8E1CC941-A529-42BD-91F2-8926E50D0828}" dt="2024-06-25T11:06:57.220" v="0"/>
          <ac:spMkLst>
            <pc:docMk/>
            <pc:sldMk cId="1784779343" sldId="1114"/>
            <ac:spMk id="7" creationId="{FFB2C202-7C9F-8C7A-E98D-E5A4DBE928EA}"/>
          </ac:spMkLst>
        </pc:spChg>
        <pc:spChg chg="mod">
          <ac:chgData name="José Antonio Ureta Santacreu" userId="e36999d1-2b92-424a-9e8c-5fde0c5fbdd2" providerId="ADAL" clId="{8E1CC941-A529-42BD-91F2-8926E50D0828}" dt="2024-06-25T11:06:57.220" v="0"/>
          <ac:spMkLst>
            <pc:docMk/>
            <pc:sldMk cId="1784779343" sldId="1114"/>
            <ac:spMk id="8" creationId="{6553103C-723D-52AF-F82D-799F39D91938}"/>
          </ac:spMkLst>
        </pc:spChg>
        <pc:spChg chg="mod">
          <ac:chgData name="José Antonio Ureta Santacreu" userId="e36999d1-2b92-424a-9e8c-5fde0c5fbdd2" providerId="ADAL" clId="{8E1CC941-A529-42BD-91F2-8926E50D0828}" dt="2024-06-25T11:06:57.220" v="0"/>
          <ac:spMkLst>
            <pc:docMk/>
            <pc:sldMk cId="1784779343" sldId="1114"/>
            <ac:spMk id="9" creationId="{12DF799C-2717-2631-F483-3C0FD7D0FAEA}"/>
          </ac:spMkLst>
        </pc:spChg>
      </pc:sldChg>
      <pc:sldChg chg="modSp">
        <pc:chgData name="José Antonio Ureta Santacreu" userId="e36999d1-2b92-424a-9e8c-5fde0c5fbdd2" providerId="ADAL" clId="{8E1CC941-A529-42BD-91F2-8926E50D0828}" dt="2024-06-25T11:06:57.220" v="0"/>
        <pc:sldMkLst>
          <pc:docMk/>
          <pc:sldMk cId="1675329798" sldId="1115"/>
        </pc:sldMkLst>
        <pc:spChg chg="mod">
          <ac:chgData name="José Antonio Ureta Santacreu" userId="e36999d1-2b92-424a-9e8c-5fde0c5fbdd2" providerId="ADAL" clId="{8E1CC941-A529-42BD-91F2-8926E50D0828}" dt="2024-06-25T11:06:57.220" v="0"/>
          <ac:spMkLst>
            <pc:docMk/>
            <pc:sldMk cId="1675329798" sldId="1115"/>
            <ac:spMk id="2" creationId="{561DF8BA-5282-68F4-7078-C5AEBBD1B410}"/>
          </ac:spMkLst>
        </pc:spChg>
        <pc:spChg chg="mod">
          <ac:chgData name="José Antonio Ureta Santacreu" userId="e36999d1-2b92-424a-9e8c-5fde0c5fbdd2" providerId="ADAL" clId="{8E1CC941-A529-42BD-91F2-8926E50D0828}" dt="2024-06-25T11:06:57.220" v="0"/>
          <ac:spMkLst>
            <pc:docMk/>
            <pc:sldMk cId="1675329798" sldId="1115"/>
            <ac:spMk id="4" creationId="{4017E09F-366D-E23D-A249-9D1EF4ECFA37}"/>
          </ac:spMkLst>
        </pc:spChg>
        <pc:spChg chg="mod">
          <ac:chgData name="José Antonio Ureta Santacreu" userId="e36999d1-2b92-424a-9e8c-5fde0c5fbdd2" providerId="ADAL" clId="{8E1CC941-A529-42BD-91F2-8926E50D0828}" dt="2024-06-25T11:06:57.220" v="0"/>
          <ac:spMkLst>
            <pc:docMk/>
            <pc:sldMk cId="1675329798" sldId="1115"/>
            <ac:spMk id="5" creationId="{1E2A9CDD-C13F-741B-E7A9-9FB9A1BDD330}"/>
          </ac:spMkLst>
        </pc:spChg>
        <pc:spChg chg="mod">
          <ac:chgData name="José Antonio Ureta Santacreu" userId="e36999d1-2b92-424a-9e8c-5fde0c5fbdd2" providerId="ADAL" clId="{8E1CC941-A529-42BD-91F2-8926E50D0828}" dt="2024-06-25T11:06:57.220" v="0"/>
          <ac:spMkLst>
            <pc:docMk/>
            <pc:sldMk cId="1675329798" sldId="1115"/>
            <ac:spMk id="6" creationId="{6BF3D0E4-73A4-9D32-D71C-B2B6BAD30712}"/>
          </ac:spMkLst>
        </pc:spChg>
        <pc:graphicFrameChg chg="mod">
          <ac:chgData name="José Antonio Ureta Santacreu" userId="e36999d1-2b92-424a-9e8c-5fde0c5fbdd2" providerId="ADAL" clId="{8E1CC941-A529-42BD-91F2-8926E50D0828}" dt="2024-06-25T11:06:57.220" v="0"/>
          <ac:graphicFrameMkLst>
            <pc:docMk/>
            <pc:sldMk cId="1675329798" sldId="1115"/>
            <ac:graphicFrameMk id="27" creationId="{5C49F41F-578E-DFBC-EB21-B6A2EDC40B25}"/>
          </ac:graphicFrameMkLst>
        </pc:graphicFrameChg>
      </pc:sldChg>
      <pc:sldChg chg="modSp">
        <pc:chgData name="José Antonio Ureta Santacreu" userId="e36999d1-2b92-424a-9e8c-5fde0c5fbdd2" providerId="ADAL" clId="{8E1CC941-A529-42BD-91F2-8926E50D0828}" dt="2024-06-25T11:06:57.220" v="0"/>
        <pc:sldMkLst>
          <pc:docMk/>
          <pc:sldMk cId="3953311106" sldId="1117"/>
        </pc:sldMkLst>
        <pc:spChg chg="mod">
          <ac:chgData name="José Antonio Ureta Santacreu" userId="e36999d1-2b92-424a-9e8c-5fde0c5fbdd2" providerId="ADAL" clId="{8E1CC941-A529-42BD-91F2-8926E50D0828}" dt="2024-06-25T11:06:57.220" v="0"/>
          <ac:spMkLst>
            <pc:docMk/>
            <pc:sldMk cId="3953311106" sldId="1117"/>
            <ac:spMk id="2" creationId="{4D4A67F1-B69B-3929-CDB3-FEB8D0191B18}"/>
          </ac:spMkLst>
        </pc:spChg>
        <pc:spChg chg="mod">
          <ac:chgData name="José Antonio Ureta Santacreu" userId="e36999d1-2b92-424a-9e8c-5fde0c5fbdd2" providerId="ADAL" clId="{8E1CC941-A529-42BD-91F2-8926E50D0828}" dt="2024-06-25T11:06:57.220" v="0"/>
          <ac:spMkLst>
            <pc:docMk/>
            <pc:sldMk cId="3953311106" sldId="1117"/>
            <ac:spMk id="3" creationId="{245DEE50-8F60-84A0-0A0B-A8BFC4E4B1EF}"/>
          </ac:spMkLst>
        </pc:spChg>
        <pc:spChg chg="mod">
          <ac:chgData name="José Antonio Ureta Santacreu" userId="e36999d1-2b92-424a-9e8c-5fde0c5fbdd2" providerId="ADAL" clId="{8E1CC941-A529-42BD-91F2-8926E50D0828}" dt="2024-06-25T11:06:57.220" v="0"/>
          <ac:spMkLst>
            <pc:docMk/>
            <pc:sldMk cId="3953311106" sldId="1117"/>
            <ac:spMk id="4" creationId="{5E10FE98-F04B-6CCC-CC37-2C3417EC8873}"/>
          </ac:spMkLst>
        </pc:spChg>
        <pc:spChg chg="mod">
          <ac:chgData name="José Antonio Ureta Santacreu" userId="e36999d1-2b92-424a-9e8c-5fde0c5fbdd2" providerId="ADAL" clId="{8E1CC941-A529-42BD-91F2-8926E50D0828}" dt="2024-06-25T11:06:57.220" v="0"/>
          <ac:spMkLst>
            <pc:docMk/>
            <pc:sldMk cId="3953311106" sldId="1117"/>
            <ac:spMk id="5" creationId="{EA7C1A06-1092-FB73-A1F0-88722F41A39F}"/>
          </ac:spMkLst>
        </pc:spChg>
      </pc:sldChg>
      <pc:sldChg chg="modSp">
        <pc:chgData name="José Antonio Ureta Santacreu" userId="e36999d1-2b92-424a-9e8c-5fde0c5fbdd2" providerId="ADAL" clId="{8E1CC941-A529-42BD-91F2-8926E50D0828}" dt="2024-06-25T11:06:57.220" v="0"/>
        <pc:sldMkLst>
          <pc:docMk/>
          <pc:sldMk cId="580551939" sldId="1119"/>
        </pc:sldMkLst>
        <pc:spChg chg="mod">
          <ac:chgData name="José Antonio Ureta Santacreu" userId="e36999d1-2b92-424a-9e8c-5fde0c5fbdd2" providerId="ADAL" clId="{8E1CC941-A529-42BD-91F2-8926E50D0828}" dt="2024-06-25T11:06:57.220" v="0"/>
          <ac:spMkLst>
            <pc:docMk/>
            <pc:sldMk cId="580551939" sldId="1119"/>
            <ac:spMk id="2" creationId="{4978C844-4C59-D9A0-543A-A257D68A073B}"/>
          </ac:spMkLst>
        </pc:spChg>
        <pc:spChg chg="mod">
          <ac:chgData name="José Antonio Ureta Santacreu" userId="e36999d1-2b92-424a-9e8c-5fde0c5fbdd2" providerId="ADAL" clId="{8E1CC941-A529-42BD-91F2-8926E50D0828}" dt="2024-06-25T11:06:57.220" v="0"/>
          <ac:spMkLst>
            <pc:docMk/>
            <pc:sldMk cId="580551939" sldId="1119"/>
            <ac:spMk id="4" creationId="{5516082F-5247-3D12-F41F-115E61D00C48}"/>
          </ac:spMkLst>
        </pc:spChg>
        <pc:spChg chg="mod">
          <ac:chgData name="José Antonio Ureta Santacreu" userId="e36999d1-2b92-424a-9e8c-5fde0c5fbdd2" providerId="ADAL" clId="{8E1CC941-A529-42BD-91F2-8926E50D0828}" dt="2024-06-25T11:06:57.220" v="0"/>
          <ac:spMkLst>
            <pc:docMk/>
            <pc:sldMk cId="580551939" sldId="1119"/>
            <ac:spMk id="5" creationId="{F0951752-6B1D-29DE-64E1-BB79EB1AFF34}"/>
          </ac:spMkLst>
        </pc:spChg>
        <pc:spChg chg="mod">
          <ac:chgData name="José Antonio Ureta Santacreu" userId="e36999d1-2b92-424a-9e8c-5fde0c5fbdd2" providerId="ADAL" clId="{8E1CC941-A529-42BD-91F2-8926E50D0828}" dt="2024-06-25T11:06:57.220" v="0"/>
          <ac:spMkLst>
            <pc:docMk/>
            <pc:sldMk cId="580551939" sldId="1119"/>
            <ac:spMk id="6" creationId="{FFDA63CF-F049-777E-D9FC-C78B1E058A51}"/>
          </ac:spMkLst>
        </pc:spChg>
        <pc:picChg chg="mod">
          <ac:chgData name="José Antonio Ureta Santacreu" userId="e36999d1-2b92-424a-9e8c-5fde0c5fbdd2" providerId="ADAL" clId="{8E1CC941-A529-42BD-91F2-8926E50D0828}" dt="2024-06-25T11:06:57.220" v="0"/>
          <ac:picMkLst>
            <pc:docMk/>
            <pc:sldMk cId="580551939" sldId="1119"/>
            <ac:picMk id="9" creationId="{46903C20-AFB6-1E63-A36A-25202018F5DA}"/>
          </ac:picMkLst>
        </pc:picChg>
      </pc:sldChg>
      <pc:sldChg chg="modSp">
        <pc:chgData name="José Antonio Ureta Santacreu" userId="e36999d1-2b92-424a-9e8c-5fde0c5fbdd2" providerId="ADAL" clId="{8E1CC941-A529-42BD-91F2-8926E50D0828}" dt="2024-06-25T11:06:57.220" v="0"/>
        <pc:sldMkLst>
          <pc:docMk/>
          <pc:sldMk cId="1841520988" sldId="1120"/>
        </pc:sldMkLst>
        <pc:spChg chg="mod">
          <ac:chgData name="José Antonio Ureta Santacreu" userId="e36999d1-2b92-424a-9e8c-5fde0c5fbdd2" providerId="ADAL" clId="{8E1CC941-A529-42BD-91F2-8926E50D0828}" dt="2024-06-25T11:06:57.220" v="0"/>
          <ac:spMkLst>
            <pc:docMk/>
            <pc:sldMk cId="1841520988" sldId="1120"/>
            <ac:spMk id="2" creationId="{393BF595-1909-C3C8-8F64-EE45C96596ED}"/>
          </ac:spMkLst>
        </pc:spChg>
        <pc:spChg chg="mod">
          <ac:chgData name="José Antonio Ureta Santacreu" userId="e36999d1-2b92-424a-9e8c-5fde0c5fbdd2" providerId="ADAL" clId="{8E1CC941-A529-42BD-91F2-8926E50D0828}" dt="2024-06-25T11:06:57.220" v="0"/>
          <ac:spMkLst>
            <pc:docMk/>
            <pc:sldMk cId="1841520988" sldId="1120"/>
            <ac:spMk id="4" creationId="{5BB05F78-69D9-59F5-4B6E-460A81BA14C2}"/>
          </ac:spMkLst>
        </pc:spChg>
        <pc:spChg chg="mod">
          <ac:chgData name="José Antonio Ureta Santacreu" userId="e36999d1-2b92-424a-9e8c-5fde0c5fbdd2" providerId="ADAL" clId="{8E1CC941-A529-42BD-91F2-8926E50D0828}" dt="2024-06-25T11:06:57.220" v="0"/>
          <ac:spMkLst>
            <pc:docMk/>
            <pc:sldMk cId="1841520988" sldId="1120"/>
            <ac:spMk id="5" creationId="{7E6EE505-74DB-F9AD-B41A-16254E27BFDD}"/>
          </ac:spMkLst>
        </pc:spChg>
        <pc:spChg chg="mod">
          <ac:chgData name="José Antonio Ureta Santacreu" userId="e36999d1-2b92-424a-9e8c-5fde0c5fbdd2" providerId="ADAL" clId="{8E1CC941-A529-42BD-91F2-8926E50D0828}" dt="2024-06-25T11:06:57.220" v="0"/>
          <ac:spMkLst>
            <pc:docMk/>
            <pc:sldMk cId="1841520988" sldId="1120"/>
            <ac:spMk id="6" creationId="{6B620D95-181F-2C5C-21D6-DE3B97892754}"/>
          </ac:spMkLst>
        </pc:spChg>
        <pc:picChg chg="mod">
          <ac:chgData name="José Antonio Ureta Santacreu" userId="e36999d1-2b92-424a-9e8c-5fde0c5fbdd2" providerId="ADAL" clId="{8E1CC941-A529-42BD-91F2-8926E50D0828}" dt="2024-06-25T11:06:57.220" v="0"/>
          <ac:picMkLst>
            <pc:docMk/>
            <pc:sldMk cId="1841520988" sldId="1120"/>
            <ac:picMk id="9" creationId="{76FE03E8-8D30-E430-F6D6-51019932E678}"/>
          </ac:picMkLst>
        </pc:picChg>
      </pc:sldChg>
      <pc:sldChg chg="modSp">
        <pc:chgData name="José Antonio Ureta Santacreu" userId="e36999d1-2b92-424a-9e8c-5fde0c5fbdd2" providerId="ADAL" clId="{8E1CC941-A529-42BD-91F2-8926E50D0828}" dt="2024-06-25T11:06:57.220" v="0"/>
        <pc:sldMkLst>
          <pc:docMk/>
          <pc:sldMk cId="805016784" sldId="1121"/>
        </pc:sldMkLst>
        <pc:spChg chg="mod">
          <ac:chgData name="José Antonio Ureta Santacreu" userId="e36999d1-2b92-424a-9e8c-5fde0c5fbdd2" providerId="ADAL" clId="{8E1CC941-A529-42BD-91F2-8926E50D0828}" dt="2024-06-25T11:06:57.220" v="0"/>
          <ac:spMkLst>
            <pc:docMk/>
            <pc:sldMk cId="805016784" sldId="1121"/>
            <ac:spMk id="4" creationId="{D38CF4BF-028F-196C-7077-D687703D5489}"/>
          </ac:spMkLst>
        </pc:spChg>
        <pc:spChg chg="mod">
          <ac:chgData name="José Antonio Ureta Santacreu" userId="e36999d1-2b92-424a-9e8c-5fde0c5fbdd2" providerId="ADAL" clId="{8E1CC941-A529-42BD-91F2-8926E50D0828}" dt="2024-06-25T11:06:57.220" v="0"/>
          <ac:spMkLst>
            <pc:docMk/>
            <pc:sldMk cId="805016784" sldId="1121"/>
            <ac:spMk id="5" creationId="{A53A03EB-9CAC-5046-D0E1-477284FEA3BF}"/>
          </ac:spMkLst>
        </pc:spChg>
        <pc:spChg chg="mod">
          <ac:chgData name="José Antonio Ureta Santacreu" userId="e36999d1-2b92-424a-9e8c-5fde0c5fbdd2" providerId="ADAL" clId="{8E1CC941-A529-42BD-91F2-8926E50D0828}" dt="2024-06-25T11:06:57.220" v="0"/>
          <ac:spMkLst>
            <pc:docMk/>
            <pc:sldMk cId="805016784" sldId="1121"/>
            <ac:spMk id="6" creationId="{5F7FC6CD-F83A-A715-4A82-325C0859C077}"/>
          </ac:spMkLst>
        </pc:spChg>
        <pc:spChg chg="mod">
          <ac:chgData name="José Antonio Ureta Santacreu" userId="e36999d1-2b92-424a-9e8c-5fde0c5fbdd2" providerId="ADAL" clId="{8E1CC941-A529-42BD-91F2-8926E50D0828}" dt="2024-06-25T11:06:57.220" v="0"/>
          <ac:spMkLst>
            <pc:docMk/>
            <pc:sldMk cId="805016784" sldId="1121"/>
            <ac:spMk id="11" creationId="{3D303603-CAC6-33F1-248D-70C8F2CB65C2}"/>
          </ac:spMkLst>
        </pc:spChg>
        <pc:picChg chg="mod">
          <ac:chgData name="José Antonio Ureta Santacreu" userId="e36999d1-2b92-424a-9e8c-5fde0c5fbdd2" providerId="ADAL" clId="{8E1CC941-A529-42BD-91F2-8926E50D0828}" dt="2024-06-25T11:06:57.220" v="0"/>
          <ac:picMkLst>
            <pc:docMk/>
            <pc:sldMk cId="805016784" sldId="1121"/>
            <ac:picMk id="2050" creationId="{763C81B9-3F18-48C4-2611-AC26EE34AB01}"/>
          </ac:picMkLst>
        </pc:picChg>
      </pc:sldChg>
      <pc:sldChg chg="modSp">
        <pc:chgData name="José Antonio Ureta Santacreu" userId="e36999d1-2b92-424a-9e8c-5fde0c5fbdd2" providerId="ADAL" clId="{8E1CC941-A529-42BD-91F2-8926E50D0828}" dt="2024-06-25T11:06:57.220" v="0"/>
        <pc:sldMkLst>
          <pc:docMk/>
          <pc:sldMk cId="2686054634" sldId="1124"/>
        </pc:sldMkLst>
        <pc:spChg chg="mod">
          <ac:chgData name="José Antonio Ureta Santacreu" userId="e36999d1-2b92-424a-9e8c-5fde0c5fbdd2" providerId="ADAL" clId="{8E1CC941-A529-42BD-91F2-8926E50D0828}" dt="2024-06-25T11:06:57.220" v="0"/>
          <ac:spMkLst>
            <pc:docMk/>
            <pc:sldMk cId="2686054634" sldId="1124"/>
            <ac:spMk id="2" creationId="{78793EEA-450B-E0C9-A6EC-2C5104D1A026}"/>
          </ac:spMkLst>
        </pc:spChg>
        <pc:spChg chg="mod">
          <ac:chgData name="José Antonio Ureta Santacreu" userId="e36999d1-2b92-424a-9e8c-5fde0c5fbdd2" providerId="ADAL" clId="{8E1CC941-A529-42BD-91F2-8926E50D0828}" dt="2024-06-25T11:06:57.220" v="0"/>
          <ac:spMkLst>
            <pc:docMk/>
            <pc:sldMk cId="2686054634" sldId="1124"/>
            <ac:spMk id="4" creationId="{5DC69A97-9132-9FA9-C25F-D911C02BDADF}"/>
          </ac:spMkLst>
        </pc:spChg>
        <pc:spChg chg="mod">
          <ac:chgData name="José Antonio Ureta Santacreu" userId="e36999d1-2b92-424a-9e8c-5fde0c5fbdd2" providerId="ADAL" clId="{8E1CC941-A529-42BD-91F2-8926E50D0828}" dt="2024-06-25T11:06:57.220" v="0"/>
          <ac:spMkLst>
            <pc:docMk/>
            <pc:sldMk cId="2686054634" sldId="1124"/>
            <ac:spMk id="5" creationId="{FA3E2635-8D46-6952-26C4-EB7D68E68CBC}"/>
          </ac:spMkLst>
        </pc:spChg>
        <pc:spChg chg="mod">
          <ac:chgData name="José Antonio Ureta Santacreu" userId="e36999d1-2b92-424a-9e8c-5fde0c5fbdd2" providerId="ADAL" clId="{8E1CC941-A529-42BD-91F2-8926E50D0828}" dt="2024-06-25T11:06:57.220" v="0"/>
          <ac:spMkLst>
            <pc:docMk/>
            <pc:sldMk cId="2686054634" sldId="1124"/>
            <ac:spMk id="6" creationId="{35267CC7-561D-19A0-E4FA-033BD879ACAD}"/>
          </ac:spMkLst>
        </pc:spChg>
        <pc:picChg chg="mod">
          <ac:chgData name="José Antonio Ureta Santacreu" userId="e36999d1-2b92-424a-9e8c-5fde0c5fbdd2" providerId="ADAL" clId="{8E1CC941-A529-42BD-91F2-8926E50D0828}" dt="2024-06-25T11:06:57.220" v="0"/>
          <ac:picMkLst>
            <pc:docMk/>
            <pc:sldMk cId="2686054634" sldId="1124"/>
            <ac:picMk id="21" creationId="{2EF29347-7118-6C54-DAE5-1CEE19601B70}"/>
          </ac:picMkLst>
        </pc:picChg>
      </pc:sldChg>
      <pc:sldChg chg="modSp">
        <pc:chgData name="José Antonio Ureta Santacreu" userId="e36999d1-2b92-424a-9e8c-5fde0c5fbdd2" providerId="ADAL" clId="{8E1CC941-A529-42BD-91F2-8926E50D0828}" dt="2024-06-25T11:06:57.220" v="0"/>
        <pc:sldMkLst>
          <pc:docMk/>
          <pc:sldMk cId="2754253202" sldId="1126"/>
        </pc:sldMkLst>
        <pc:spChg chg="mod">
          <ac:chgData name="José Antonio Ureta Santacreu" userId="e36999d1-2b92-424a-9e8c-5fde0c5fbdd2" providerId="ADAL" clId="{8E1CC941-A529-42BD-91F2-8926E50D0828}" dt="2024-06-25T11:06:57.220" v="0"/>
          <ac:spMkLst>
            <pc:docMk/>
            <pc:sldMk cId="2754253202" sldId="1126"/>
            <ac:spMk id="2" creationId="{CCE9B02F-DB07-22BF-48C7-680BF7D91062}"/>
          </ac:spMkLst>
        </pc:spChg>
        <pc:spChg chg="mod">
          <ac:chgData name="José Antonio Ureta Santacreu" userId="e36999d1-2b92-424a-9e8c-5fde0c5fbdd2" providerId="ADAL" clId="{8E1CC941-A529-42BD-91F2-8926E50D0828}" dt="2024-06-25T11:06:57.220" v="0"/>
          <ac:spMkLst>
            <pc:docMk/>
            <pc:sldMk cId="2754253202" sldId="1126"/>
            <ac:spMk id="3" creationId="{FC587048-1E4C-CF7D-6DB9-83E5AB5796C1}"/>
          </ac:spMkLst>
        </pc:spChg>
        <pc:spChg chg="mod">
          <ac:chgData name="José Antonio Ureta Santacreu" userId="e36999d1-2b92-424a-9e8c-5fde0c5fbdd2" providerId="ADAL" clId="{8E1CC941-A529-42BD-91F2-8926E50D0828}" dt="2024-06-25T11:06:57.220" v="0"/>
          <ac:spMkLst>
            <pc:docMk/>
            <pc:sldMk cId="2754253202" sldId="1126"/>
            <ac:spMk id="4" creationId="{07744DF6-A1F5-EA4A-307C-29EF49815DF1}"/>
          </ac:spMkLst>
        </pc:spChg>
        <pc:spChg chg="mod">
          <ac:chgData name="José Antonio Ureta Santacreu" userId="e36999d1-2b92-424a-9e8c-5fde0c5fbdd2" providerId="ADAL" clId="{8E1CC941-A529-42BD-91F2-8926E50D0828}" dt="2024-06-25T11:06:57.220" v="0"/>
          <ac:spMkLst>
            <pc:docMk/>
            <pc:sldMk cId="2754253202" sldId="1126"/>
            <ac:spMk id="5" creationId="{CEDBF282-51B5-73D2-E6EF-2A3B2035E7C6}"/>
          </ac:spMkLst>
        </pc:spChg>
        <pc:spChg chg="mod">
          <ac:chgData name="José Antonio Ureta Santacreu" userId="e36999d1-2b92-424a-9e8c-5fde0c5fbdd2" providerId="ADAL" clId="{8E1CC941-A529-42BD-91F2-8926E50D0828}" dt="2024-06-25T11:06:57.220" v="0"/>
          <ac:spMkLst>
            <pc:docMk/>
            <pc:sldMk cId="2754253202" sldId="1126"/>
            <ac:spMk id="6" creationId="{9A0A471E-25CB-A1FA-61C8-72BD715E7B22}"/>
          </ac:spMkLst>
        </pc:spChg>
        <pc:picChg chg="mod">
          <ac:chgData name="José Antonio Ureta Santacreu" userId="e36999d1-2b92-424a-9e8c-5fde0c5fbdd2" providerId="ADAL" clId="{8E1CC941-A529-42BD-91F2-8926E50D0828}" dt="2024-06-25T11:06:57.220" v="0"/>
          <ac:picMkLst>
            <pc:docMk/>
            <pc:sldMk cId="2754253202" sldId="1126"/>
            <ac:picMk id="5122" creationId="{F6EF689C-7BA9-4EAA-0DED-02B1630B10B9}"/>
          </ac:picMkLst>
        </pc:picChg>
      </pc:sldChg>
      <pc:sldChg chg="modSp">
        <pc:chgData name="José Antonio Ureta Santacreu" userId="e36999d1-2b92-424a-9e8c-5fde0c5fbdd2" providerId="ADAL" clId="{8E1CC941-A529-42BD-91F2-8926E50D0828}" dt="2024-06-25T11:06:57.220" v="0"/>
        <pc:sldMkLst>
          <pc:docMk/>
          <pc:sldMk cId="3801923347" sldId="1132"/>
        </pc:sldMkLst>
        <pc:spChg chg="mod">
          <ac:chgData name="José Antonio Ureta Santacreu" userId="e36999d1-2b92-424a-9e8c-5fde0c5fbdd2" providerId="ADAL" clId="{8E1CC941-A529-42BD-91F2-8926E50D0828}" dt="2024-06-25T11:06:57.220" v="0"/>
          <ac:spMkLst>
            <pc:docMk/>
            <pc:sldMk cId="3801923347" sldId="1132"/>
            <ac:spMk id="2" creationId="{253D3892-9A30-AFCA-EDBA-E06B2E0C8244}"/>
          </ac:spMkLst>
        </pc:spChg>
        <pc:spChg chg="mod">
          <ac:chgData name="José Antonio Ureta Santacreu" userId="e36999d1-2b92-424a-9e8c-5fde0c5fbdd2" providerId="ADAL" clId="{8E1CC941-A529-42BD-91F2-8926E50D0828}" dt="2024-06-25T11:06:57.220" v="0"/>
          <ac:spMkLst>
            <pc:docMk/>
            <pc:sldMk cId="3801923347" sldId="1132"/>
            <ac:spMk id="3" creationId="{60217718-2344-D301-6E28-AA15E8D6BFE7}"/>
          </ac:spMkLst>
        </pc:spChg>
        <pc:spChg chg="mod">
          <ac:chgData name="José Antonio Ureta Santacreu" userId="e36999d1-2b92-424a-9e8c-5fde0c5fbdd2" providerId="ADAL" clId="{8E1CC941-A529-42BD-91F2-8926E50D0828}" dt="2024-06-25T11:06:57.220" v="0"/>
          <ac:spMkLst>
            <pc:docMk/>
            <pc:sldMk cId="3801923347" sldId="1132"/>
            <ac:spMk id="4" creationId="{1EB0CD7D-C372-93B7-260C-69D067EBF1D0}"/>
          </ac:spMkLst>
        </pc:spChg>
        <pc:spChg chg="mod">
          <ac:chgData name="José Antonio Ureta Santacreu" userId="e36999d1-2b92-424a-9e8c-5fde0c5fbdd2" providerId="ADAL" clId="{8E1CC941-A529-42BD-91F2-8926E50D0828}" dt="2024-06-25T11:06:57.220" v="0"/>
          <ac:spMkLst>
            <pc:docMk/>
            <pc:sldMk cId="3801923347" sldId="1132"/>
            <ac:spMk id="5" creationId="{015166B4-9682-ED7F-BFF7-AA50E95EC94A}"/>
          </ac:spMkLst>
        </pc:spChg>
      </pc:sldChg>
      <pc:sldChg chg="modSp mod">
        <pc:chgData name="José Antonio Ureta Santacreu" userId="e36999d1-2b92-424a-9e8c-5fde0c5fbdd2" providerId="ADAL" clId="{8E1CC941-A529-42BD-91F2-8926E50D0828}" dt="2024-06-25T11:06:58.593" v="23" actId="27636"/>
        <pc:sldMkLst>
          <pc:docMk/>
          <pc:sldMk cId="3369214864" sldId="1133"/>
        </pc:sldMkLst>
        <pc:spChg chg="mod">
          <ac:chgData name="José Antonio Ureta Santacreu" userId="e36999d1-2b92-424a-9e8c-5fde0c5fbdd2" providerId="ADAL" clId="{8E1CC941-A529-42BD-91F2-8926E50D0828}" dt="2024-06-25T11:06:57.220" v="0"/>
          <ac:spMkLst>
            <pc:docMk/>
            <pc:sldMk cId="3369214864" sldId="1133"/>
            <ac:spMk id="2" creationId="{5528C364-1EE5-D4F1-FE69-8874C25CEB6B}"/>
          </ac:spMkLst>
        </pc:spChg>
        <pc:spChg chg="mod">
          <ac:chgData name="José Antonio Ureta Santacreu" userId="e36999d1-2b92-424a-9e8c-5fde0c5fbdd2" providerId="ADAL" clId="{8E1CC941-A529-42BD-91F2-8926E50D0828}" dt="2024-06-25T11:06:58.593" v="23" actId="27636"/>
          <ac:spMkLst>
            <pc:docMk/>
            <pc:sldMk cId="3369214864" sldId="1133"/>
            <ac:spMk id="3" creationId="{70559AF7-BCD6-5B09-27B5-C3E798CFCD57}"/>
          </ac:spMkLst>
        </pc:spChg>
        <pc:spChg chg="mod">
          <ac:chgData name="José Antonio Ureta Santacreu" userId="e36999d1-2b92-424a-9e8c-5fde0c5fbdd2" providerId="ADAL" clId="{8E1CC941-A529-42BD-91F2-8926E50D0828}" dt="2024-06-25T11:06:58.569" v="22" actId="27636"/>
          <ac:spMkLst>
            <pc:docMk/>
            <pc:sldMk cId="3369214864" sldId="1133"/>
            <ac:spMk id="4" creationId="{D2704750-A7DC-B206-01FE-FEC9BE82EF5F}"/>
          </ac:spMkLst>
        </pc:spChg>
        <pc:spChg chg="mod">
          <ac:chgData name="José Antonio Ureta Santacreu" userId="e36999d1-2b92-424a-9e8c-5fde0c5fbdd2" providerId="ADAL" clId="{8E1CC941-A529-42BD-91F2-8926E50D0828}" dt="2024-06-25T11:06:57.220" v="0"/>
          <ac:spMkLst>
            <pc:docMk/>
            <pc:sldMk cId="3369214864" sldId="1133"/>
            <ac:spMk id="5" creationId="{7B769C5D-5518-4995-64D9-A5AF8FF39733}"/>
          </ac:spMkLst>
        </pc:spChg>
        <pc:spChg chg="mod">
          <ac:chgData name="José Antonio Ureta Santacreu" userId="e36999d1-2b92-424a-9e8c-5fde0c5fbdd2" providerId="ADAL" clId="{8E1CC941-A529-42BD-91F2-8926E50D0828}" dt="2024-06-25T11:06:57.220" v="0"/>
          <ac:spMkLst>
            <pc:docMk/>
            <pc:sldMk cId="3369214864" sldId="1133"/>
            <ac:spMk id="6" creationId="{A0D1E53E-58AE-C6DB-BAEE-A1C57E55DF7E}"/>
          </ac:spMkLst>
        </pc:spChg>
        <pc:spChg chg="mod">
          <ac:chgData name="José Antonio Ureta Santacreu" userId="e36999d1-2b92-424a-9e8c-5fde0c5fbdd2" providerId="ADAL" clId="{8E1CC941-A529-42BD-91F2-8926E50D0828}" dt="2024-06-25T11:06:57.220" v="0"/>
          <ac:spMkLst>
            <pc:docMk/>
            <pc:sldMk cId="3369214864" sldId="1133"/>
            <ac:spMk id="7" creationId="{EB8D70EC-BDBA-B544-823B-65447549355F}"/>
          </ac:spMkLst>
        </pc:spChg>
        <pc:picChg chg="mod">
          <ac:chgData name="José Antonio Ureta Santacreu" userId="e36999d1-2b92-424a-9e8c-5fde0c5fbdd2" providerId="ADAL" clId="{8E1CC941-A529-42BD-91F2-8926E50D0828}" dt="2024-06-25T11:06:57.220" v="0"/>
          <ac:picMkLst>
            <pc:docMk/>
            <pc:sldMk cId="3369214864" sldId="1133"/>
            <ac:picMk id="8" creationId="{F0B74D6D-0BD8-5678-E15B-8127A6A2C4B2}"/>
          </ac:picMkLst>
        </pc:picChg>
        <pc:picChg chg="mod">
          <ac:chgData name="José Antonio Ureta Santacreu" userId="e36999d1-2b92-424a-9e8c-5fde0c5fbdd2" providerId="ADAL" clId="{8E1CC941-A529-42BD-91F2-8926E50D0828}" dt="2024-06-25T11:06:57.220" v="0"/>
          <ac:picMkLst>
            <pc:docMk/>
            <pc:sldMk cId="3369214864" sldId="1133"/>
            <ac:picMk id="9" creationId="{C90E6AEF-16E7-FEFC-E022-0361358CEDF2}"/>
          </ac:picMkLst>
        </pc:picChg>
      </pc:sldChg>
      <pc:sldChg chg="modSp del">
        <pc:chgData name="José Antonio Ureta Santacreu" userId="e36999d1-2b92-424a-9e8c-5fde0c5fbdd2" providerId="ADAL" clId="{8E1CC941-A529-42BD-91F2-8926E50D0828}" dt="2024-07-19T09:06:21.902" v="702" actId="47"/>
        <pc:sldMkLst>
          <pc:docMk/>
          <pc:sldMk cId="1265204877" sldId="1135"/>
        </pc:sldMkLst>
        <pc:spChg chg="mod">
          <ac:chgData name="José Antonio Ureta Santacreu" userId="e36999d1-2b92-424a-9e8c-5fde0c5fbdd2" providerId="ADAL" clId="{8E1CC941-A529-42BD-91F2-8926E50D0828}" dt="2024-06-25T11:06:57.220" v="0"/>
          <ac:spMkLst>
            <pc:docMk/>
            <pc:sldMk cId="1265204877" sldId="1135"/>
            <ac:spMk id="2" creationId="{55D79A76-AA65-2270-AC27-BC1CD4A2E064}"/>
          </ac:spMkLst>
        </pc:spChg>
        <pc:spChg chg="mod">
          <ac:chgData name="José Antonio Ureta Santacreu" userId="e36999d1-2b92-424a-9e8c-5fde0c5fbdd2" providerId="ADAL" clId="{8E1CC941-A529-42BD-91F2-8926E50D0828}" dt="2024-06-25T11:06:57.220" v="0"/>
          <ac:spMkLst>
            <pc:docMk/>
            <pc:sldMk cId="1265204877" sldId="1135"/>
            <ac:spMk id="3" creationId="{30066172-07C7-058C-FB63-CCBD878DB40D}"/>
          </ac:spMkLst>
        </pc:spChg>
        <pc:spChg chg="mod">
          <ac:chgData name="José Antonio Ureta Santacreu" userId="e36999d1-2b92-424a-9e8c-5fde0c5fbdd2" providerId="ADAL" clId="{8E1CC941-A529-42BD-91F2-8926E50D0828}" dt="2024-06-25T11:06:57.220" v="0"/>
          <ac:spMkLst>
            <pc:docMk/>
            <pc:sldMk cId="1265204877" sldId="1135"/>
            <ac:spMk id="4" creationId="{4FD874B5-6E81-E980-1CA4-858E3747E64A}"/>
          </ac:spMkLst>
        </pc:spChg>
        <pc:spChg chg="mod">
          <ac:chgData name="José Antonio Ureta Santacreu" userId="e36999d1-2b92-424a-9e8c-5fde0c5fbdd2" providerId="ADAL" clId="{8E1CC941-A529-42BD-91F2-8926E50D0828}" dt="2024-06-25T11:06:57.220" v="0"/>
          <ac:spMkLst>
            <pc:docMk/>
            <pc:sldMk cId="1265204877" sldId="1135"/>
            <ac:spMk id="5" creationId="{B4DBC49E-2BFD-E5B2-B87A-66D944859A5D}"/>
          </ac:spMkLst>
        </pc:spChg>
      </pc:sldChg>
      <pc:sldChg chg="modSp mod">
        <pc:chgData name="José Antonio Ureta Santacreu" userId="e36999d1-2b92-424a-9e8c-5fde0c5fbdd2" providerId="ADAL" clId="{8E1CC941-A529-42BD-91F2-8926E50D0828}" dt="2024-07-19T09:05:53.283" v="701" actId="20577"/>
        <pc:sldMkLst>
          <pc:docMk/>
          <pc:sldMk cId="382757136" sldId="1136"/>
        </pc:sldMkLst>
        <pc:spChg chg="mod">
          <ac:chgData name="José Antonio Ureta Santacreu" userId="e36999d1-2b92-424a-9e8c-5fde0c5fbdd2" providerId="ADAL" clId="{8E1CC941-A529-42BD-91F2-8926E50D0828}" dt="2024-07-19T09:05:53.283" v="701" actId="20577"/>
          <ac:spMkLst>
            <pc:docMk/>
            <pc:sldMk cId="382757136" sldId="1136"/>
            <ac:spMk id="8" creationId="{69242178-44DB-B26A-CE37-2B8051119080}"/>
          </ac:spMkLst>
        </pc:spChg>
        <pc:spChg chg="mod">
          <ac:chgData name="José Antonio Ureta Santacreu" userId="e36999d1-2b92-424a-9e8c-5fde0c5fbdd2" providerId="ADAL" clId="{8E1CC941-A529-42BD-91F2-8926E50D0828}" dt="2024-06-25T11:06:57.220" v="0"/>
          <ac:spMkLst>
            <pc:docMk/>
            <pc:sldMk cId="382757136" sldId="1136"/>
            <ac:spMk id="19" creationId="{3A9ED0CA-370D-62E5-6BBC-331BDF9C4E67}"/>
          </ac:spMkLst>
        </pc:spChg>
        <pc:spChg chg="mod">
          <ac:chgData name="José Antonio Ureta Santacreu" userId="e36999d1-2b92-424a-9e8c-5fde0c5fbdd2" providerId="ADAL" clId="{8E1CC941-A529-42BD-91F2-8926E50D0828}" dt="2024-06-25T11:06:57.220" v="0"/>
          <ac:spMkLst>
            <pc:docMk/>
            <pc:sldMk cId="382757136" sldId="1136"/>
            <ac:spMk id="21" creationId="{5589372F-6495-9CF3-ECEF-6987CBAC1BC1}"/>
          </ac:spMkLst>
        </pc:spChg>
        <pc:spChg chg="mod">
          <ac:chgData name="José Antonio Ureta Santacreu" userId="e36999d1-2b92-424a-9e8c-5fde0c5fbdd2" providerId="ADAL" clId="{8E1CC941-A529-42BD-91F2-8926E50D0828}" dt="2024-06-25T11:06:57.220" v="0"/>
          <ac:spMkLst>
            <pc:docMk/>
            <pc:sldMk cId="382757136" sldId="1136"/>
            <ac:spMk id="23" creationId="{B647C031-2AEA-BE91-989C-B33F4017E54C}"/>
          </ac:spMkLst>
        </pc:spChg>
      </pc:sldChg>
      <pc:sldChg chg="add">
        <pc:chgData name="José Antonio Ureta Santacreu" userId="e36999d1-2b92-424a-9e8c-5fde0c5fbdd2" providerId="ADAL" clId="{8E1CC941-A529-42BD-91F2-8926E50D0828}" dt="2024-07-10T11:42:05.718" v="359"/>
        <pc:sldMkLst>
          <pc:docMk/>
          <pc:sldMk cId="49804816" sldId="1137"/>
        </pc:sldMkLst>
      </pc:sldChg>
      <pc:sldChg chg="modSp del">
        <pc:chgData name="José Antonio Ureta Santacreu" userId="e36999d1-2b92-424a-9e8c-5fde0c5fbdd2" providerId="ADAL" clId="{8E1CC941-A529-42BD-91F2-8926E50D0828}" dt="2024-07-10T11:41:59.027" v="358" actId="2696"/>
        <pc:sldMkLst>
          <pc:docMk/>
          <pc:sldMk cId="2118276102" sldId="1137"/>
        </pc:sldMkLst>
        <pc:spChg chg="mod">
          <ac:chgData name="José Antonio Ureta Santacreu" userId="e36999d1-2b92-424a-9e8c-5fde0c5fbdd2" providerId="ADAL" clId="{8E1CC941-A529-42BD-91F2-8926E50D0828}" dt="2024-06-25T11:06:57.220" v="0"/>
          <ac:spMkLst>
            <pc:docMk/>
            <pc:sldMk cId="2118276102" sldId="1137"/>
            <ac:spMk id="2" creationId="{CF612010-313F-42D3-859F-CC56842E27EE}"/>
          </ac:spMkLst>
        </pc:spChg>
        <pc:spChg chg="mod">
          <ac:chgData name="José Antonio Ureta Santacreu" userId="e36999d1-2b92-424a-9e8c-5fde0c5fbdd2" providerId="ADAL" clId="{8E1CC941-A529-42BD-91F2-8926E50D0828}" dt="2024-06-25T11:06:57.220" v="0"/>
          <ac:spMkLst>
            <pc:docMk/>
            <pc:sldMk cId="2118276102" sldId="1137"/>
            <ac:spMk id="3" creationId="{315F8354-FF08-4424-98D5-CBB4DF1BDA97}"/>
          </ac:spMkLst>
        </pc:spChg>
        <pc:spChg chg="mod">
          <ac:chgData name="José Antonio Ureta Santacreu" userId="e36999d1-2b92-424a-9e8c-5fde0c5fbdd2" providerId="ADAL" clId="{8E1CC941-A529-42BD-91F2-8926E50D0828}" dt="2024-06-25T11:06:57.220" v="0"/>
          <ac:spMkLst>
            <pc:docMk/>
            <pc:sldMk cId="2118276102" sldId="1137"/>
            <ac:spMk id="4" creationId="{6239C096-3252-41EF-A8D2-655618AAD697}"/>
          </ac:spMkLst>
        </pc:spChg>
        <pc:spChg chg="mod">
          <ac:chgData name="José Antonio Ureta Santacreu" userId="e36999d1-2b92-424a-9e8c-5fde0c5fbdd2" providerId="ADAL" clId="{8E1CC941-A529-42BD-91F2-8926E50D0828}" dt="2024-06-25T11:06:57.220" v="0"/>
          <ac:spMkLst>
            <pc:docMk/>
            <pc:sldMk cId="2118276102" sldId="1137"/>
            <ac:spMk id="6" creationId="{108E3126-1A1B-40BB-B2C8-5366C9DA7B1A}"/>
          </ac:spMkLst>
        </pc:spChg>
      </pc:sldChg>
      <pc:sldChg chg="modSp del">
        <pc:chgData name="José Antonio Ureta Santacreu" userId="e36999d1-2b92-424a-9e8c-5fde0c5fbdd2" providerId="ADAL" clId="{8E1CC941-A529-42BD-91F2-8926E50D0828}" dt="2024-07-10T11:40:46.825" v="209" actId="47"/>
        <pc:sldMkLst>
          <pc:docMk/>
          <pc:sldMk cId="1699479454" sldId="1139"/>
        </pc:sldMkLst>
        <pc:spChg chg="mod">
          <ac:chgData name="José Antonio Ureta Santacreu" userId="e36999d1-2b92-424a-9e8c-5fde0c5fbdd2" providerId="ADAL" clId="{8E1CC941-A529-42BD-91F2-8926E50D0828}" dt="2024-06-25T11:06:57.220" v="0"/>
          <ac:spMkLst>
            <pc:docMk/>
            <pc:sldMk cId="1699479454" sldId="1139"/>
            <ac:spMk id="2" creationId="{2B9D9B55-E7FF-6707-B47A-224E959C17F5}"/>
          </ac:spMkLst>
        </pc:spChg>
        <pc:spChg chg="mod">
          <ac:chgData name="José Antonio Ureta Santacreu" userId="e36999d1-2b92-424a-9e8c-5fde0c5fbdd2" providerId="ADAL" clId="{8E1CC941-A529-42BD-91F2-8926E50D0828}" dt="2024-06-25T11:06:57.220" v="0"/>
          <ac:spMkLst>
            <pc:docMk/>
            <pc:sldMk cId="1699479454" sldId="1139"/>
            <ac:spMk id="3" creationId="{C4FAA305-678E-5722-06C2-1EC97062A66E}"/>
          </ac:spMkLst>
        </pc:spChg>
        <pc:spChg chg="mod">
          <ac:chgData name="José Antonio Ureta Santacreu" userId="e36999d1-2b92-424a-9e8c-5fde0c5fbdd2" providerId="ADAL" clId="{8E1CC941-A529-42BD-91F2-8926E50D0828}" dt="2024-06-25T11:06:57.220" v="0"/>
          <ac:spMkLst>
            <pc:docMk/>
            <pc:sldMk cId="1699479454" sldId="1139"/>
            <ac:spMk id="4" creationId="{62411BD0-53E4-E2E5-84AB-B530E5A723CD}"/>
          </ac:spMkLst>
        </pc:spChg>
        <pc:spChg chg="mod">
          <ac:chgData name="José Antonio Ureta Santacreu" userId="e36999d1-2b92-424a-9e8c-5fde0c5fbdd2" providerId="ADAL" clId="{8E1CC941-A529-42BD-91F2-8926E50D0828}" dt="2024-06-25T11:06:57.220" v="0"/>
          <ac:spMkLst>
            <pc:docMk/>
            <pc:sldMk cId="1699479454" sldId="1139"/>
            <ac:spMk id="5" creationId="{1346E2E6-A5BD-3B7D-FB86-858EDF4F7289}"/>
          </ac:spMkLst>
        </pc:spChg>
        <pc:graphicFrameChg chg="mod">
          <ac:chgData name="José Antonio Ureta Santacreu" userId="e36999d1-2b92-424a-9e8c-5fde0c5fbdd2" providerId="ADAL" clId="{8E1CC941-A529-42BD-91F2-8926E50D0828}" dt="2024-06-25T11:06:57.220" v="0"/>
          <ac:graphicFrameMkLst>
            <pc:docMk/>
            <pc:sldMk cId="1699479454" sldId="1139"/>
            <ac:graphicFrameMk id="9" creationId="{0FD74A20-DFAC-F7FD-6ECF-14BE45B84147}"/>
          </ac:graphicFrameMkLst>
        </pc:graphicFrameChg>
      </pc:sldChg>
      <pc:sldChg chg="modSp del">
        <pc:chgData name="José Antonio Ureta Santacreu" userId="e36999d1-2b92-424a-9e8c-5fde0c5fbdd2" providerId="ADAL" clId="{8E1CC941-A529-42BD-91F2-8926E50D0828}" dt="2024-07-10T11:51:20.334" v="437" actId="47"/>
        <pc:sldMkLst>
          <pc:docMk/>
          <pc:sldMk cId="2049484766" sldId="1140"/>
        </pc:sldMkLst>
        <pc:spChg chg="mod">
          <ac:chgData name="José Antonio Ureta Santacreu" userId="e36999d1-2b92-424a-9e8c-5fde0c5fbdd2" providerId="ADAL" clId="{8E1CC941-A529-42BD-91F2-8926E50D0828}" dt="2024-06-25T11:06:57.220" v="0"/>
          <ac:spMkLst>
            <pc:docMk/>
            <pc:sldMk cId="2049484766" sldId="1140"/>
            <ac:spMk id="2" creationId="{01A3A473-7218-88AC-0826-C7AEA8FC6B2C}"/>
          </ac:spMkLst>
        </pc:spChg>
        <pc:spChg chg="mod">
          <ac:chgData name="José Antonio Ureta Santacreu" userId="e36999d1-2b92-424a-9e8c-5fde0c5fbdd2" providerId="ADAL" clId="{8E1CC941-A529-42BD-91F2-8926E50D0828}" dt="2024-06-25T11:06:57.220" v="0"/>
          <ac:spMkLst>
            <pc:docMk/>
            <pc:sldMk cId="2049484766" sldId="1140"/>
            <ac:spMk id="3" creationId="{370D97A6-0225-E660-9796-B057C5E9D962}"/>
          </ac:spMkLst>
        </pc:spChg>
        <pc:spChg chg="mod">
          <ac:chgData name="José Antonio Ureta Santacreu" userId="e36999d1-2b92-424a-9e8c-5fde0c5fbdd2" providerId="ADAL" clId="{8E1CC941-A529-42BD-91F2-8926E50D0828}" dt="2024-06-25T11:06:57.220" v="0"/>
          <ac:spMkLst>
            <pc:docMk/>
            <pc:sldMk cId="2049484766" sldId="1140"/>
            <ac:spMk id="4" creationId="{8499EC3A-BAB3-60D8-A4DF-287C9FA3C098}"/>
          </ac:spMkLst>
        </pc:spChg>
        <pc:spChg chg="mod">
          <ac:chgData name="José Antonio Ureta Santacreu" userId="e36999d1-2b92-424a-9e8c-5fde0c5fbdd2" providerId="ADAL" clId="{8E1CC941-A529-42BD-91F2-8926E50D0828}" dt="2024-06-25T11:06:57.220" v="0"/>
          <ac:spMkLst>
            <pc:docMk/>
            <pc:sldMk cId="2049484766" sldId="1140"/>
            <ac:spMk id="5" creationId="{773AF54D-D2FB-BE1A-25C2-9B1B03A81A33}"/>
          </ac:spMkLst>
        </pc:spChg>
        <pc:graphicFrameChg chg="mod">
          <ac:chgData name="José Antonio Ureta Santacreu" userId="e36999d1-2b92-424a-9e8c-5fde0c5fbdd2" providerId="ADAL" clId="{8E1CC941-A529-42BD-91F2-8926E50D0828}" dt="2024-06-25T11:06:57.220" v="0"/>
          <ac:graphicFrameMkLst>
            <pc:docMk/>
            <pc:sldMk cId="2049484766" sldId="1140"/>
            <ac:graphicFrameMk id="9" creationId="{4059FCEC-8078-66A2-561F-18E6160A5D5B}"/>
          </ac:graphicFrameMkLst>
        </pc:graphicFrameChg>
      </pc:sldChg>
      <pc:sldChg chg="modSp">
        <pc:chgData name="José Antonio Ureta Santacreu" userId="e36999d1-2b92-424a-9e8c-5fde0c5fbdd2" providerId="ADAL" clId="{8E1CC941-A529-42BD-91F2-8926E50D0828}" dt="2024-06-25T11:06:57.220" v="0"/>
        <pc:sldMkLst>
          <pc:docMk/>
          <pc:sldMk cId="3766911141" sldId="1141"/>
        </pc:sldMkLst>
        <pc:spChg chg="mod">
          <ac:chgData name="José Antonio Ureta Santacreu" userId="e36999d1-2b92-424a-9e8c-5fde0c5fbdd2" providerId="ADAL" clId="{8E1CC941-A529-42BD-91F2-8926E50D0828}" dt="2024-06-25T11:06:57.220" v="0"/>
          <ac:spMkLst>
            <pc:docMk/>
            <pc:sldMk cId="3766911141" sldId="1141"/>
            <ac:spMk id="2" creationId="{E2814643-A5F0-5149-0E60-A749CECD317A}"/>
          </ac:spMkLst>
        </pc:spChg>
        <pc:spChg chg="mod">
          <ac:chgData name="José Antonio Ureta Santacreu" userId="e36999d1-2b92-424a-9e8c-5fde0c5fbdd2" providerId="ADAL" clId="{8E1CC941-A529-42BD-91F2-8926E50D0828}" dt="2024-06-25T11:06:57.220" v="0"/>
          <ac:spMkLst>
            <pc:docMk/>
            <pc:sldMk cId="3766911141" sldId="1141"/>
            <ac:spMk id="3" creationId="{17641084-65C1-854D-03F7-F326DB4AC001}"/>
          </ac:spMkLst>
        </pc:spChg>
        <pc:spChg chg="mod">
          <ac:chgData name="José Antonio Ureta Santacreu" userId="e36999d1-2b92-424a-9e8c-5fde0c5fbdd2" providerId="ADAL" clId="{8E1CC941-A529-42BD-91F2-8926E50D0828}" dt="2024-06-25T11:06:57.220" v="0"/>
          <ac:spMkLst>
            <pc:docMk/>
            <pc:sldMk cId="3766911141" sldId="1141"/>
            <ac:spMk id="4" creationId="{F67F4104-F75B-849B-ED36-C712FEE46776}"/>
          </ac:spMkLst>
        </pc:spChg>
        <pc:spChg chg="mod">
          <ac:chgData name="José Antonio Ureta Santacreu" userId="e36999d1-2b92-424a-9e8c-5fde0c5fbdd2" providerId="ADAL" clId="{8E1CC941-A529-42BD-91F2-8926E50D0828}" dt="2024-06-25T11:06:57.220" v="0"/>
          <ac:spMkLst>
            <pc:docMk/>
            <pc:sldMk cId="3766911141" sldId="1141"/>
            <ac:spMk id="5" creationId="{4AA2E0E1-D6B1-9521-FFA0-CD54A356FFEB}"/>
          </ac:spMkLst>
        </pc:spChg>
        <pc:graphicFrameChg chg="mod">
          <ac:chgData name="José Antonio Ureta Santacreu" userId="e36999d1-2b92-424a-9e8c-5fde0c5fbdd2" providerId="ADAL" clId="{8E1CC941-A529-42BD-91F2-8926E50D0828}" dt="2024-06-25T11:06:57.220" v="0"/>
          <ac:graphicFrameMkLst>
            <pc:docMk/>
            <pc:sldMk cId="3766911141" sldId="1141"/>
            <ac:graphicFrameMk id="9" creationId="{B90EC8C5-4627-604C-2E2D-9A88201F81EE}"/>
          </ac:graphicFrameMkLst>
        </pc:graphicFrameChg>
      </pc:sldChg>
      <pc:sldChg chg="modSp">
        <pc:chgData name="José Antonio Ureta Santacreu" userId="e36999d1-2b92-424a-9e8c-5fde0c5fbdd2" providerId="ADAL" clId="{8E1CC941-A529-42BD-91F2-8926E50D0828}" dt="2024-06-25T11:06:57.220" v="0"/>
        <pc:sldMkLst>
          <pc:docMk/>
          <pc:sldMk cId="676798895" sldId="1142"/>
        </pc:sldMkLst>
        <pc:spChg chg="mod">
          <ac:chgData name="José Antonio Ureta Santacreu" userId="e36999d1-2b92-424a-9e8c-5fde0c5fbdd2" providerId="ADAL" clId="{8E1CC941-A529-42BD-91F2-8926E50D0828}" dt="2024-06-25T11:06:57.220" v="0"/>
          <ac:spMkLst>
            <pc:docMk/>
            <pc:sldMk cId="676798895" sldId="1142"/>
            <ac:spMk id="2" creationId="{BD7841FF-AE8A-59A4-0158-B312965C74EC}"/>
          </ac:spMkLst>
        </pc:spChg>
        <pc:spChg chg="mod">
          <ac:chgData name="José Antonio Ureta Santacreu" userId="e36999d1-2b92-424a-9e8c-5fde0c5fbdd2" providerId="ADAL" clId="{8E1CC941-A529-42BD-91F2-8926E50D0828}" dt="2024-06-25T11:06:57.220" v="0"/>
          <ac:spMkLst>
            <pc:docMk/>
            <pc:sldMk cId="676798895" sldId="1142"/>
            <ac:spMk id="3" creationId="{2BCFBC4B-307D-81FE-2A54-A25D79A9A89B}"/>
          </ac:spMkLst>
        </pc:spChg>
        <pc:spChg chg="mod">
          <ac:chgData name="José Antonio Ureta Santacreu" userId="e36999d1-2b92-424a-9e8c-5fde0c5fbdd2" providerId="ADAL" clId="{8E1CC941-A529-42BD-91F2-8926E50D0828}" dt="2024-06-25T11:06:57.220" v="0"/>
          <ac:spMkLst>
            <pc:docMk/>
            <pc:sldMk cId="676798895" sldId="1142"/>
            <ac:spMk id="4" creationId="{2EECF95F-6B3D-2735-5D4A-0C49FD6EB3CA}"/>
          </ac:spMkLst>
        </pc:spChg>
        <pc:spChg chg="mod">
          <ac:chgData name="José Antonio Ureta Santacreu" userId="e36999d1-2b92-424a-9e8c-5fde0c5fbdd2" providerId="ADAL" clId="{8E1CC941-A529-42BD-91F2-8926E50D0828}" dt="2024-06-25T11:06:57.220" v="0"/>
          <ac:spMkLst>
            <pc:docMk/>
            <pc:sldMk cId="676798895" sldId="1142"/>
            <ac:spMk id="5" creationId="{25882CA4-1DD8-14E7-17F7-D67D81C19FEF}"/>
          </ac:spMkLst>
        </pc:spChg>
        <pc:graphicFrameChg chg="mod">
          <ac:chgData name="José Antonio Ureta Santacreu" userId="e36999d1-2b92-424a-9e8c-5fde0c5fbdd2" providerId="ADAL" clId="{8E1CC941-A529-42BD-91F2-8926E50D0828}" dt="2024-06-25T11:06:57.220" v="0"/>
          <ac:graphicFrameMkLst>
            <pc:docMk/>
            <pc:sldMk cId="676798895" sldId="1142"/>
            <ac:graphicFrameMk id="9" creationId="{0AE1AF91-D627-D456-E324-5DF656F9060C}"/>
          </ac:graphicFrameMkLst>
        </pc:graphicFrameChg>
      </pc:sldChg>
      <pc:sldChg chg="modSp del">
        <pc:chgData name="José Antonio Ureta Santacreu" userId="e36999d1-2b92-424a-9e8c-5fde0c5fbdd2" providerId="ADAL" clId="{8E1CC941-A529-42BD-91F2-8926E50D0828}" dt="2024-07-10T11:53:24.921" v="442" actId="47"/>
        <pc:sldMkLst>
          <pc:docMk/>
          <pc:sldMk cId="1605823602" sldId="1143"/>
        </pc:sldMkLst>
        <pc:spChg chg="mod">
          <ac:chgData name="José Antonio Ureta Santacreu" userId="e36999d1-2b92-424a-9e8c-5fde0c5fbdd2" providerId="ADAL" clId="{8E1CC941-A529-42BD-91F2-8926E50D0828}" dt="2024-06-25T11:06:57.220" v="0"/>
          <ac:spMkLst>
            <pc:docMk/>
            <pc:sldMk cId="1605823602" sldId="1143"/>
            <ac:spMk id="2" creationId="{03F75413-34B3-22D8-87DC-7F3602EC5787}"/>
          </ac:spMkLst>
        </pc:spChg>
        <pc:spChg chg="mod">
          <ac:chgData name="José Antonio Ureta Santacreu" userId="e36999d1-2b92-424a-9e8c-5fde0c5fbdd2" providerId="ADAL" clId="{8E1CC941-A529-42BD-91F2-8926E50D0828}" dt="2024-06-25T11:06:57.220" v="0"/>
          <ac:spMkLst>
            <pc:docMk/>
            <pc:sldMk cId="1605823602" sldId="1143"/>
            <ac:spMk id="3" creationId="{8429672F-1EE2-8D45-38E6-4D816B759999}"/>
          </ac:spMkLst>
        </pc:spChg>
        <pc:spChg chg="mod">
          <ac:chgData name="José Antonio Ureta Santacreu" userId="e36999d1-2b92-424a-9e8c-5fde0c5fbdd2" providerId="ADAL" clId="{8E1CC941-A529-42BD-91F2-8926E50D0828}" dt="2024-06-25T11:06:57.220" v="0"/>
          <ac:spMkLst>
            <pc:docMk/>
            <pc:sldMk cId="1605823602" sldId="1143"/>
            <ac:spMk id="4" creationId="{D8105095-EC63-E568-0DE0-4CC4D0C8381C}"/>
          </ac:spMkLst>
        </pc:spChg>
        <pc:spChg chg="mod">
          <ac:chgData name="José Antonio Ureta Santacreu" userId="e36999d1-2b92-424a-9e8c-5fde0c5fbdd2" providerId="ADAL" clId="{8E1CC941-A529-42BD-91F2-8926E50D0828}" dt="2024-06-25T11:06:57.220" v="0"/>
          <ac:spMkLst>
            <pc:docMk/>
            <pc:sldMk cId="1605823602" sldId="1143"/>
            <ac:spMk id="5" creationId="{8C584EB4-4FD0-2187-A827-69C0652AD464}"/>
          </ac:spMkLst>
        </pc:spChg>
        <pc:graphicFrameChg chg="mod">
          <ac:chgData name="José Antonio Ureta Santacreu" userId="e36999d1-2b92-424a-9e8c-5fde0c5fbdd2" providerId="ADAL" clId="{8E1CC941-A529-42BD-91F2-8926E50D0828}" dt="2024-06-25T11:06:57.220" v="0"/>
          <ac:graphicFrameMkLst>
            <pc:docMk/>
            <pc:sldMk cId="1605823602" sldId="1143"/>
            <ac:graphicFrameMk id="9" creationId="{86AFF57B-5CF8-EDFC-F515-F75EA09062A8}"/>
          </ac:graphicFrameMkLst>
        </pc:graphicFrameChg>
      </pc:sldChg>
      <pc:sldChg chg="modSp">
        <pc:chgData name="José Antonio Ureta Santacreu" userId="e36999d1-2b92-424a-9e8c-5fde0c5fbdd2" providerId="ADAL" clId="{8E1CC941-A529-42BD-91F2-8926E50D0828}" dt="2024-06-25T11:06:57.220" v="0"/>
        <pc:sldMkLst>
          <pc:docMk/>
          <pc:sldMk cId="3825723451" sldId="1144"/>
        </pc:sldMkLst>
        <pc:spChg chg="mod">
          <ac:chgData name="José Antonio Ureta Santacreu" userId="e36999d1-2b92-424a-9e8c-5fde0c5fbdd2" providerId="ADAL" clId="{8E1CC941-A529-42BD-91F2-8926E50D0828}" dt="2024-06-25T11:06:57.220" v="0"/>
          <ac:spMkLst>
            <pc:docMk/>
            <pc:sldMk cId="3825723451" sldId="1144"/>
            <ac:spMk id="2" creationId="{46415269-47C6-DBC1-7ACB-08A5707EB46B}"/>
          </ac:spMkLst>
        </pc:spChg>
        <pc:spChg chg="mod">
          <ac:chgData name="José Antonio Ureta Santacreu" userId="e36999d1-2b92-424a-9e8c-5fde0c5fbdd2" providerId="ADAL" clId="{8E1CC941-A529-42BD-91F2-8926E50D0828}" dt="2024-06-25T11:06:57.220" v="0"/>
          <ac:spMkLst>
            <pc:docMk/>
            <pc:sldMk cId="3825723451" sldId="1144"/>
            <ac:spMk id="3" creationId="{2A158E66-EB64-DFD0-6919-50758EDCDE2B}"/>
          </ac:spMkLst>
        </pc:spChg>
        <pc:spChg chg="mod">
          <ac:chgData name="José Antonio Ureta Santacreu" userId="e36999d1-2b92-424a-9e8c-5fde0c5fbdd2" providerId="ADAL" clId="{8E1CC941-A529-42BD-91F2-8926E50D0828}" dt="2024-06-25T11:06:57.220" v="0"/>
          <ac:spMkLst>
            <pc:docMk/>
            <pc:sldMk cId="3825723451" sldId="1144"/>
            <ac:spMk id="4" creationId="{2C8E610D-AF3C-CDEF-5EF2-0ED8D0295A84}"/>
          </ac:spMkLst>
        </pc:spChg>
        <pc:spChg chg="mod">
          <ac:chgData name="José Antonio Ureta Santacreu" userId="e36999d1-2b92-424a-9e8c-5fde0c5fbdd2" providerId="ADAL" clId="{8E1CC941-A529-42BD-91F2-8926E50D0828}" dt="2024-06-25T11:06:57.220" v="0"/>
          <ac:spMkLst>
            <pc:docMk/>
            <pc:sldMk cId="3825723451" sldId="1144"/>
            <ac:spMk id="5" creationId="{A1F417AE-3C07-13BC-281E-7F5A9C6BC436}"/>
          </ac:spMkLst>
        </pc:spChg>
        <pc:graphicFrameChg chg="mod">
          <ac:chgData name="José Antonio Ureta Santacreu" userId="e36999d1-2b92-424a-9e8c-5fde0c5fbdd2" providerId="ADAL" clId="{8E1CC941-A529-42BD-91F2-8926E50D0828}" dt="2024-06-25T11:06:57.220" v="0"/>
          <ac:graphicFrameMkLst>
            <pc:docMk/>
            <pc:sldMk cId="3825723451" sldId="1144"/>
            <ac:graphicFrameMk id="9" creationId="{FBECCDDC-9F44-C2AD-0431-B6EE1CE3E84A}"/>
          </ac:graphicFrameMkLst>
        </pc:graphicFrameChg>
      </pc:sldChg>
      <pc:sldChg chg="modSp">
        <pc:chgData name="José Antonio Ureta Santacreu" userId="e36999d1-2b92-424a-9e8c-5fde0c5fbdd2" providerId="ADAL" clId="{8E1CC941-A529-42BD-91F2-8926E50D0828}" dt="2024-06-25T11:06:57.220" v="0"/>
        <pc:sldMkLst>
          <pc:docMk/>
          <pc:sldMk cId="3650753642" sldId="1146"/>
        </pc:sldMkLst>
        <pc:spChg chg="mod">
          <ac:chgData name="José Antonio Ureta Santacreu" userId="e36999d1-2b92-424a-9e8c-5fde0c5fbdd2" providerId="ADAL" clId="{8E1CC941-A529-42BD-91F2-8926E50D0828}" dt="2024-06-25T11:06:57.220" v="0"/>
          <ac:spMkLst>
            <pc:docMk/>
            <pc:sldMk cId="3650753642" sldId="1146"/>
            <ac:spMk id="2" creationId="{C6C70B8E-32E6-9C69-C83D-4FB8F6FA848E}"/>
          </ac:spMkLst>
        </pc:spChg>
        <pc:spChg chg="mod">
          <ac:chgData name="José Antonio Ureta Santacreu" userId="e36999d1-2b92-424a-9e8c-5fde0c5fbdd2" providerId="ADAL" clId="{8E1CC941-A529-42BD-91F2-8926E50D0828}" dt="2024-06-25T11:06:57.220" v="0"/>
          <ac:spMkLst>
            <pc:docMk/>
            <pc:sldMk cId="3650753642" sldId="1146"/>
            <ac:spMk id="4" creationId="{55C7127F-84F7-9FA8-B8BA-5F7ABA537596}"/>
          </ac:spMkLst>
        </pc:spChg>
        <pc:spChg chg="mod">
          <ac:chgData name="José Antonio Ureta Santacreu" userId="e36999d1-2b92-424a-9e8c-5fde0c5fbdd2" providerId="ADAL" clId="{8E1CC941-A529-42BD-91F2-8926E50D0828}" dt="2024-06-25T11:06:57.220" v="0"/>
          <ac:spMkLst>
            <pc:docMk/>
            <pc:sldMk cId="3650753642" sldId="1146"/>
            <ac:spMk id="9" creationId="{A81A3511-3B90-E774-E076-3CD35C6F3F72}"/>
          </ac:spMkLst>
        </pc:spChg>
        <pc:spChg chg="mod">
          <ac:chgData name="José Antonio Ureta Santacreu" userId="e36999d1-2b92-424a-9e8c-5fde0c5fbdd2" providerId="ADAL" clId="{8E1CC941-A529-42BD-91F2-8926E50D0828}" dt="2024-06-25T11:06:57.220" v="0"/>
          <ac:spMkLst>
            <pc:docMk/>
            <pc:sldMk cId="3650753642" sldId="1146"/>
            <ac:spMk id="10" creationId="{72225B4C-2A21-89ED-D2E3-4790B7AC3ED9}"/>
          </ac:spMkLst>
        </pc:spChg>
        <pc:spChg chg="mod">
          <ac:chgData name="José Antonio Ureta Santacreu" userId="e36999d1-2b92-424a-9e8c-5fde0c5fbdd2" providerId="ADAL" clId="{8E1CC941-A529-42BD-91F2-8926E50D0828}" dt="2024-06-25T11:06:57.220" v="0"/>
          <ac:spMkLst>
            <pc:docMk/>
            <pc:sldMk cId="3650753642" sldId="1146"/>
            <ac:spMk id="11" creationId="{8C5BBC61-0F64-C70D-CCDB-8F109A030D20}"/>
          </ac:spMkLst>
        </pc:spChg>
      </pc:sldChg>
      <pc:sldChg chg="modSp">
        <pc:chgData name="José Antonio Ureta Santacreu" userId="e36999d1-2b92-424a-9e8c-5fde0c5fbdd2" providerId="ADAL" clId="{8E1CC941-A529-42BD-91F2-8926E50D0828}" dt="2024-06-25T11:06:57.220" v="0"/>
        <pc:sldMkLst>
          <pc:docMk/>
          <pc:sldMk cId="3166477491" sldId="1147"/>
        </pc:sldMkLst>
        <pc:spChg chg="mod">
          <ac:chgData name="José Antonio Ureta Santacreu" userId="e36999d1-2b92-424a-9e8c-5fde0c5fbdd2" providerId="ADAL" clId="{8E1CC941-A529-42BD-91F2-8926E50D0828}" dt="2024-06-25T11:06:57.220" v="0"/>
          <ac:spMkLst>
            <pc:docMk/>
            <pc:sldMk cId="3166477491" sldId="1147"/>
            <ac:spMk id="2" creationId="{80CD90C6-657A-F336-9BC4-6B5C23988BAC}"/>
          </ac:spMkLst>
        </pc:spChg>
        <pc:spChg chg="mod">
          <ac:chgData name="José Antonio Ureta Santacreu" userId="e36999d1-2b92-424a-9e8c-5fde0c5fbdd2" providerId="ADAL" clId="{8E1CC941-A529-42BD-91F2-8926E50D0828}" dt="2024-06-25T11:06:57.220" v="0"/>
          <ac:spMkLst>
            <pc:docMk/>
            <pc:sldMk cId="3166477491" sldId="1147"/>
            <ac:spMk id="4" creationId="{D63F0A7D-CE73-F927-E347-781B280D5563}"/>
          </ac:spMkLst>
        </pc:spChg>
        <pc:spChg chg="mod">
          <ac:chgData name="José Antonio Ureta Santacreu" userId="e36999d1-2b92-424a-9e8c-5fde0c5fbdd2" providerId="ADAL" clId="{8E1CC941-A529-42BD-91F2-8926E50D0828}" dt="2024-06-25T11:06:57.220" v="0"/>
          <ac:spMkLst>
            <pc:docMk/>
            <pc:sldMk cId="3166477491" sldId="1147"/>
            <ac:spMk id="5" creationId="{33DED40D-89D1-D72C-76F8-049FEC6646DE}"/>
          </ac:spMkLst>
        </pc:spChg>
        <pc:spChg chg="mod">
          <ac:chgData name="José Antonio Ureta Santacreu" userId="e36999d1-2b92-424a-9e8c-5fde0c5fbdd2" providerId="ADAL" clId="{8E1CC941-A529-42BD-91F2-8926E50D0828}" dt="2024-06-25T11:06:57.220" v="0"/>
          <ac:spMkLst>
            <pc:docMk/>
            <pc:sldMk cId="3166477491" sldId="1147"/>
            <ac:spMk id="6" creationId="{6F6CAA1C-D5DB-9B3F-0D71-B37E0B96360A}"/>
          </ac:spMkLst>
        </pc:spChg>
      </pc:sldChg>
      <pc:sldChg chg="modSp">
        <pc:chgData name="José Antonio Ureta Santacreu" userId="e36999d1-2b92-424a-9e8c-5fde0c5fbdd2" providerId="ADAL" clId="{8E1CC941-A529-42BD-91F2-8926E50D0828}" dt="2024-06-25T11:06:57.220" v="0"/>
        <pc:sldMkLst>
          <pc:docMk/>
          <pc:sldMk cId="1463568012" sldId="1148"/>
        </pc:sldMkLst>
        <pc:spChg chg="mod">
          <ac:chgData name="José Antonio Ureta Santacreu" userId="e36999d1-2b92-424a-9e8c-5fde0c5fbdd2" providerId="ADAL" clId="{8E1CC941-A529-42BD-91F2-8926E50D0828}" dt="2024-06-25T11:06:57.220" v="0"/>
          <ac:spMkLst>
            <pc:docMk/>
            <pc:sldMk cId="1463568012" sldId="1148"/>
            <ac:spMk id="2" creationId="{7A1B4613-2CAA-F67B-33E5-5C45B1CBBBC5}"/>
          </ac:spMkLst>
        </pc:spChg>
        <pc:spChg chg="mod">
          <ac:chgData name="José Antonio Ureta Santacreu" userId="e36999d1-2b92-424a-9e8c-5fde0c5fbdd2" providerId="ADAL" clId="{8E1CC941-A529-42BD-91F2-8926E50D0828}" dt="2024-06-25T11:06:57.220" v="0"/>
          <ac:spMkLst>
            <pc:docMk/>
            <pc:sldMk cId="1463568012" sldId="1148"/>
            <ac:spMk id="3" creationId="{E75B5FC9-6E97-85A2-93DF-A512083D8290}"/>
          </ac:spMkLst>
        </pc:spChg>
        <pc:spChg chg="mod">
          <ac:chgData name="José Antonio Ureta Santacreu" userId="e36999d1-2b92-424a-9e8c-5fde0c5fbdd2" providerId="ADAL" clId="{8E1CC941-A529-42BD-91F2-8926E50D0828}" dt="2024-06-25T11:06:57.220" v="0"/>
          <ac:spMkLst>
            <pc:docMk/>
            <pc:sldMk cId="1463568012" sldId="1148"/>
            <ac:spMk id="4" creationId="{27AFD5F4-1BCD-0559-C4DA-449671D2F898}"/>
          </ac:spMkLst>
        </pc:spChg>
        <pc:spChg chg="mod">
          <ac:chgData name="José Antonio Ureta Santacreu" userId="e36999d1-2b92-424a-9e8c-5fde0c5fbdd2" providerId="ADAL" clId="{8E1CC941-A529-42BD-91F2-8926E50D0828}" dt="2024-06-25T11:06:57.220" v="0"/>
          <ac:spMkLst>
            <pc:docMk/>
            <pc:sldMk cId="1463568012" sldId="1148"/>
            <ac:spMk id="7" creationId="{66EBF8DF-AC89-E187-2B88-2DA3A86C4000}"/>
          </ac:spMkLst>
        </pc:spChg>
        <pc:picChg chg="mod">
          <ac:chgData name="José Antonio Ureta Santacreu" userId="e36999d1-2b92-424a-9e8c-5fde0c5fbdd2" providerId="ADAL" clId="{8E1CC941-A529-42BD-91F2-8926E50D0828}" dt="2024-06-25T11:06:57.220" v="0"/>
          <ac:picMkLst>
            <pc:docMk/>
            <pc:sldMk cId="1463568012" sldId="1148"/>
            <ac:picMk id="6" creationId="{0CC0662C-A2AA-6BA9-5397-02E1BEEDE32D}"/>
          </ac:picMkLst>
        </pc:picChg>
      </pc:sldChg>
      <pc:sldChg chg="modSp">
        <pc:chgData name="José Antonio Ureta Santacreu" userId="e36999d1-2b92-424a-9e8c-5fde0c5fbdd2" providerId="ADAL" clId="{8E1CC941-A529-42BD-91F2-8926E50D0828}" dt="2024-06-25T11:06:57.220" v="0"/>
        <pc:sldMkLst>
          <pc:docMk/>
          <pc:sldMk cId="2462416879" sldId="1149"/>
        </pc:sldMkLst>
        <pc:spChg chg="mod">
          <ac:chgData name="José Antonio Ureta Santacreu" userId="e36999d1-2b92-424a-9e8c-5fde0c5fbdd2" providerId="ADAL" clId="{8E1CC941-A529-42BD-91F2-8926E50D0828}" dt="2024-06-25T11:06:57.220" v="0"/>
          <ac:spMkLst>
            <pc:docMk/>
            <pc:sldMk cId="2462416879" sldId="1149"/>
            <ac:spMk id="2" creationId="{7941CDB9-D294-A522-B90F-72F0FECD7E2C}"/>
          </ac:spMkLst>
        </pc:spChg>
        <pc:spChg chg="mod">
          <ac:chgData name="José Antonio Ureta Santacreu" userId="e36999d1-2b92-424a-9e8c-5fde0c5fbdd2" providerId="ADAL" clId="{8E1CC941-A529-42BD-91F2-8926E50D0828}" dt="2024-06-25T11:06:57.220" v="0"/>
          <ac:spMkLst>
            <pc:docMk/>
            <pc:sldMk cId="2462416879" sldId="1149"/>
            <ac:spMk id="3" creationId="{D93DF71A-A949-D2F5-9516-CF3A22C22188}"/>
          </ac:spMkLst>
        </pc:spChg>
        <pc:spChg chg="mod">
          <ac:chgData name="José Antonio Ureta Santacreu" userId="e36999d1-2b92-424a-9e8c-5fde0c5fbdd2" providerId="ADAL" clId="{8E1CC941-A529-42BD-91F2-8926E50D0828}" dt="2024-06-25T11:06:57.220" v="0"/>
          <ac:spMkLst>
            <pc:docMk/>
            <pc:sldMk cId="2462416879" sldId="1149"/>
            <ac:spMk id="4" creationId="{F0FBABF7-4E74-9864-28B8-30F73028E510}"/>
          </ac:spMkLst>
        </pc:spChg>
        <pc:spChg chg="mod">
          <ac:chgData name="José Antonio Ureta Santacreu" userId="e36999d1-2b92-424a-9e8c-5fde0c5fbdd2" providerId="ADAL" clId="{8E1CC941-A529-42BD-91F2-8926E50D0828}" dt="2024-06-25T11:06:57.220" v="0"/>
          <ac:spMkLst>
            <pc:docMk/>
            <pc:sldMk cId="2462416879" sldId="1149"/>
            <ac:spMk id="5" creationId="{161D2692-D53E-85AB-BCAE-1DC34ACF3FA6}"/>
          </ac:spMkLst>
        </pc:spChg>
        <pc:spChg chg="mod">
          <ac:chgData name="José Antonio Ureta Santacreu" userId="e36999d1-2b92-424a-9e8c-5fde0c5fbdd2" providerId="ADAL" clId="{8E1CC941-A529-42BD-91F2-8926E50D0828}" dt="2024-06-25T11:06:57.220" v="0"/>
          <ac:spMkLst>
            <pc:docMk/>
            <pc:sldMk cId="2462416879" sldId="1149"/>
            <ac:spMk id="6" creationId="{BFBC779C-DFFE-7484-CE6E-A3965EBACD97}"/>
          </ac:spMkLst>
        </pc:spChg>
        <pc:picChg chg="mod">
          <ac:chgData name="José Antonio Ureta Santacreu" userId="e36999d1-2b92-424a-9e8c-5fde0c5fbdd2" providerId="ADAL" clId="{8E1CC941-A529-42BD-91F2-8926E50D0828}" dt="2024-06-25T11:06:57.220" v="0"/>
          <ac:picMkLst>
            <pc:docMk/>
            <pc:sldMk cId="2462416879" sldId="1149"/>
            <ac:picMk id="14" creationId="{6BEDE06D-CBB4-DAB4-BF41-140FFF309186}"/>
          </ac:picMkLst>
        </pc:picChg>
      </pc:sldChg>
      <pc:sldChg chg="modSp">
        <pc:chgData name="José Antonio Ureta Santacreu" userId="e36999d1-2b92-424a-9e8c-5fde0c5fbdd2" providerId="ADAL" clId="{8E1CC941-A529-42BD-91F2-8926E50D0828}" dt="2024-06-25T11:06:57.220" v="0"/>
        <pc:sldMkLst>
          <pc:docMk/>
          <pc:sldMk cId="737576691" sldId="1150"/>
        </pc:sldMkLst>
        <pc:spChg chg="mod">
          <ac:chgData name="José Antonio Ureta Santacreu" userId="e36999d1-2b92-424a-9e8c-5fde0c5fbdd2" providerId="ADAL" clId="{8E1CC941-A529-42BD-91F2-8926E50D0828}" dt="2024-06-25T11:06:57.220" v="0"/>
          <ac:spMkLst>
            <pc:docMk/>
            <pc:sldMk cId="737576691" sldId="1150"/>
            <ac:spMk id="2" creationId="{605F4B87-8F14-1BEC-7B7C-52C9CA3CB2DE}"/>
          </ac:spMkLst>
        </pc:spChg>
        <pc:spChg chg="mod">
          <ac:chgData name="José Antonio Ureta Santacreu" userId="e36999d1-2b92-424a-9e8c-5fde0c5fbdd2" providerId="ADAL" clId="{8E1CC941-A529-42BD-91F2-8926E50D0828}" dt="2024-06-25T11:06:57.220" v="0"/>
          <ac:spMkLst>
            <pc:docMk/>
            <pc:sldMk cId="737576691" sldId="1150"/>
            <ac:spMk id="3" creationId="{338E14DD-541F-E6E9-2E68-D50EB6689111}"/>
          </ac:spMkLst>
        </pc:spChg>
        <pc:spChg chg="mod">
          <ac:chgData name="José Antonio Ureta Santacreu" userId="e36999d1-2b92-424a-9e8c-5fde0c5fbdd2" providerId="ADAL" clId="{8E1CC941-A529-42BD-91F2-8926E50D0828}" dt="2024-06-25T11:06:57.220" v="0"/>
          <ac:spMkLst>
            <pc:docMk/>
            <pc:sldMk cId="737576691" sldId="1150"/>
            <ac:spMk id="5" creationId="{00CEB183-11A2-1383-78F0-A15B28CF19BF}"/>
          </ac:spMkLst>
        </pc:spChg>
        <pc:spChg chg="mod">
          <ac:chgData name="José Antonio Ureta Santacreu" userId="e36999d1-2b92-424a-9e8c-5fde0c5fbdd2" providerId="ADAL" clId="{8E1CC941-A529-42BD-91F2-8926E50D0828}" dt="2024-06-25T11:06:57.220" v="0"/>
          <ac:spMkLst>
            <pc:docMk/>
            <pc:sldMk cId="737576691" sldId="1150"/>
            <ac:spMk id="6" creationId="{4A3FBEC1-CA60-BFBB-2662-58BE944F93AB}"/>
          </ac:spMkLst>
        </pc:spChg>
        <pc:picChg chg="mod">
          <ac:chgData name="José Antonio Ureta Santacreu" userId="e36999d1-2b92-424a-9e8c-5fde0c5fbdd2" providerId="ADAL" clId="{8E1CC941-A529-42BD-91F2-8926E50D0828}" dt="2024-06-25T11:06:57.220" v="0"/>
          <ac:picMkLst>
            <pc:docMk/>
            <pc:sldMk cId="737576691" sldId="1150"/>
            <ac:picMk id="9" creationId="{DD871D4E-7938-099E-D218-94FD6120EEF6}"/>
          </ac:picMkLst>
        </pc:picChg>
      </pc:sldChg>
      <pc:sldChg chg="modSp">
        <pc:chgData name="José Antonio Ureta Santacreu" userId="e36999d1-2b92-424a-9e8c-5fde0c5fbdd2" providerId="ADAL" clId="{8E1CC941-A529-42BD-91F2-8926E50D0828}" dt="2024-06-25T11:06:57.220" v="0"/>
        <pc:sldMkLst>
          <pc:docMk/>
          <pc:sldMk cId="4032208994" sldId="1151"/>
        </pc:sldMkLst>
        <pc:spChg chg="mod">
          <ac:chgData name="José Antonio Ureta Santacreu" userId="e36999d1-2b92-424a-9e8c-5fde0c5fbdd2" providerId="ADAL" clId="{8E1CC941-A529-42BD-91F2-8926E50D0828}" dt="2024-06-25T11:06:57.220" v="0"/>
          <ac:spMkLst>
            <pc:docMk/>
            <pc:sldMk cId="4032208994" sldId="1151"/>
            <ac:spMk id="2" creationId="{43BFB9EC-54F0-B386-1C03-2670A1400FC8}"/>
          </ac:spMkLst>
        </pc:spChg>
        <pc:spChg chg="mod">
          <ac:chgData name="José Antonio Ureta Santacreu" userId="e36999d1-2b92-424a-9e8c-5fde0c5fbdd2" providerId="ADAL" clId="{8E1CC941-A529-42BD-91F2-8926E50D0828}" dt="2024-06-25T11:06:57.220" v="0"/>
          <ac:spMkLst>
            <pc:docMk/>
            <pc:sldMk cId="4032208994" sldId="1151"/>
            <ac:spMk id="3" creationId="{1B8EEDAC-27D0-52D0-4BCF-2AEF71900E28}"/>
          </ac:spMkLst>
        </pc:spChg>
        <pc:spChg chg="mod">
          <ac:chgData name="José Antonio Ureta Santacreu" userId="e36999d1-2b92-424a-9e8c-5fde0c5fbdd2" providerId="ADAL" clId="{8E1CC941-A529-42BD-91F2-8926E50D0828}" dt="2024-06-25T11:06:57.220" v="0"/>
          <ac:spMkLst>
            <pc:docMk/>
            <pc:sldMk cId="4032208994" sldId="1151"/>
            <ac:spMk id="5" creationId="{32C1CBA4-AF49-3594-2713-7D46E45A2A6E}"/>
          </ac:spMkLst>
        </pc:spChg>
        <pc:spChg chg="mod">
          <ac:chgData name="José Antonio Ureta Santacreu" userId="e36999d1-2b92-424a-9e8c-5fde0c5fbdd2" providerId="ADAL" clId="{8E1CC941-A529-42BD-91F2-8926E50D0828}" dt="2024-06-25T11:06:57.220" v="0"/>
          <ac:spMkLst>
            <pc:docMk/>
            <pc:sldMk cId="4032208994" sldId="1151"/>
            <ac:spMk id="6" creationId="{6974D906-659E-6434-6B7F-D592AA2DBC4E}"/>
          </ac:spMkLst>
        </pc:spChg>
        <pc:picChg chg="mod">
          <ac:chgData name="José Antonio Ureta Santacreu" userId="e36999d1-2b92-424a-9e8c-5fde0c5fbdd2" providerId="ADAL" clId="{8E1CC941-A529-42BD-91F2-8926E50D0828}" dt="2024-06-25T11:06:57.220" v="0"/>
          <ac:picMkLst>
            <pc:docMk/>
            <pc:sldMk cId="4032208994" sldId="1151"/>
            <ac:picMk id="11" creationId="{75F4EF1C-83C5-54C1-1764-5B249CC1ED40}"/>
          </ac:picMkLst>
        </pc:picChg>
      </pc:sldChg>
      <pc:sldChg chg="modSp">
        <pc:chgData name="José Antonio Ureta Santacreu" userId="e36999d1-2b92-424a-9e8c-5fde0c5fbdd2" providerId="ADAL" clId="{8E1CC941-A529-42BD-91F2-8926E50D0828}" dt="2024-06-25T11:06:57.220" v="0"/>
        <pc:sldMkLst>
          <pc:docMk/>
          <pc:sldMk cId="1263049429" sldId="1152"/>
        </pc:sldMkLst>
        <pc:spChg chg="mod">
          <ac:chgData name="José Antonio Ureta Santacreu" userId="e36999d1-2b92-424a-9e8c-5fde0c5fbdd2" providerId="ADAL" clId="{8E1CC941-A529-42BD-91F2-8926E50D0828}" dt="2024-06-25T11:06:57.220" v="0"/>
          <ac:spMkLst>
            <pc:docMk/>
            <pc:sldMk cId="1263049429" sldId="1152"/>
            <ac:spMk id="4" creationId="{41238241-9D88-F89E-8B1B-15E90477FB09}"/>
          </ac:spMkLst>
        </pc:spChg>
        <pc:spChg chg="mod">
          <ac:chgData name="José Antonio Ureta Santacreu" userId="e36999d1-2b92-424a-9e8c-5fde0c5fbdd2" providerId="ADAL" clId="{8E1CC941-A529-42BD-91F2-8926E50D0828}" dt="2024-06-25T11:06:57.220" v="0"/>
          <ac:spMkLst>
            <pc:docMk/>
            <pc:sldMk cId="1263049429" sldId="1152"/>
            <ac:spMk id="5" creationId="{D1E5E01E-8AE7-37A6-C55C-064CC981A21B}"/>
          </ac:spMkLst>
        </pc:spChg>
        <pc:spChg chg="mod">
          <ac:chgData name="José Antonio Ureta Santacreu" userId="e36999d1-2b92-424a-9e8c-5fde0c5fbdd2" providerId="ADAL" clId="{8E1CC941-A529-42BD-91F2-8926E50D0828}" dt="2024-06-25T11:06:57.220" v="0"/>
          <ac:spMkLst>
            <pc:docMk/>
            <pc:sldMk cId="1263049429" sldId="1152"/>
            <ac:spMk id="6" creationId="{48BD7739-4071-05C0-A54F-FF113F958693}"/>
          </ac:spMkLst>
        </pc:spChg>
        <pc:spChg chg="mod">
          <ac:chgData name="José Antonio Ureta Santacreu" userId="e36999d1-2b92-424a-9e8c-5fde0c5fbdd2" providerId="ADAL" clId="{8E1CC941-A529-42BD-91F2-8926E50D0828}" dt="2024-06-25T11:06:57.220" v="0"/>
          <ac:spMkLst>
            <pc:docMk/>
            <pc:sldMk cId="1263049429" sldId="1152"/>
            <ac:spMk id="8" creationId="{C714CA54-E0A4-D47B-D59E-3BE9C12C7FB3}"/>
          </ac:spMkLst>
        </pc:spChg>
      </pc:sldChg>
      <pc:sldChg chg="modSp">
        <pc:chgData name="José Antonio Ureta Santacreu" userId="e36999d1-2b92-424a-9e8c-5fde0c5fbdd2" providerId="ADAL" clId="{8E1CC941-A529-42BD-91F2-8926E50D0828}" dt="2024-06-25T11:06:57.220" v="0"/>
        <pc:sldMkLst>
          <pc:docMk/>
          <pc:sldMk cId="1583099370" sldId="1153"/>
        </pc:sldMkLst>
        <pc:spChg chg="mod">
          <ac:chgData name="José Antonio Ureta Santacreu" userId="e36999d1-2b92-424a-9e8c-5fde0c5fbdd2" providerId="ADAL" clId="{8E1CC941-A529-42BD-91F2-8926E50D0828}" dt="2024-06-25T11:06:57.220" v="0"/>
          <ac:spMkLst>
            <pc:docMk/>
            <pc:sldMk cId="1583099370" sldId="1153"/>
            <ac:spMk id="2" creationId="{EF7732F3-59F2-41C8-F51D-CE98D8937DF5}"/>
          </ac:spMkLst>
        </pc:spChg>
        <pc:spChg chg="mod">
          <ac:chgData name="José Antonio Ureta Santacreu" userId="e36999d1-2b92-424a-9e8c-5fde0c5fbdd2" providerId="ADAL" clId="{8E1CC941-A529-42BD-91F2-8926E50D0828}" dt="2024-06-25T11:06:57.220" v="0"/>
          <ac:spMkLst>
            <pc:docMk/>
            <pc:sldMk cId="1583099370" sldId="1153"/>
            <ac:spMk id="7" creationId="{8BC92F20-9C11-2AA3-4B5A-3608583CF6A1}"/>
          </ac:spMkLst>
        </pc:spChg>
        <pc:spChg chg="mod">
          <ac:chgData name="José Antonio Ureta Santacreu" userId="e36999d1-2b92-424a-9e8c-5fde0c5fbdd2" providerId="ADAL" clId="{8E1CC941-A529-42BD-91F2-8926E50D0828}" dt="2024-06-25T11:06:57.220" v="0"/>
          <ac:spMkLst>
            <pc:docMk/>
            <pc:sldMk cId="1583099370" sldId="1153"/>
            <ac:spMk id="8" creationId="{0CBF193E-9879-5D8C-5544-14968E93039E}"/>
          </ac:spMkLst>
        </pc:spChg>
        <pc:spChg chg="mod">
          <ac:chgData name="José Antonio Ureta Santacreu" userId="e36999d1-2b92-424a-9e8c-5fde0c5fbdd2" providerId="ADAL" clId="{8E1CC941-A529-42BD-91F2-8926E50D0828}" dt="2024-06-25T11:06:57.220" v="0"/>
          <ac:spMkLst>
            <pc:docMk/>
            <pc:sldMk cId="1583099370" sldId="1153"/>
            <ac:spMk id="9" creationId="{F066ADA4-F92E-32FB-3F86-ADFBC47C2366}"/>
          </ac:spMkLst>
        </pc:spChg>
      </pc:sldChg>
      <pc:sldChg chg="modSp">
        <pc:chgData name="José Antonio Ureta Santacreu" userId="e36999d1-2b92-424a-9e8c-5fde0c5fbdd2" providerId="ADAL" clId="{8E1CC941-A529-42BD-91F2-8926E50D0828}" dt="2024-06-25T11:06:57.220" v="0"/>
        <pc:sldMkLst>
          <pc:docMk/>
          <pc:sldMk cId="541296340" sldId="1154"/>
        </pc:sldMkLst>
        <pc:spChg chg="mod">
          <ac:chgData name="José Antonio Ureta Santacreu" userId="e36999d1-2b92-424a-9e8c-5fde0c5fbdd2" providerId="ADAL" clId="{8E1CC941-A529-42BD-91F2-8926E50D0828}" dt="2024-06-25T11:06:57.220" v="0"/>
          <ac:spMkLst>
            <pc:docMk/>
            <pc:sldMk cId="541296340" sldId="1154"/>
            <ac:spMk id="2" creationId="{F2A9B87F-B9E6-E532-DA74-514EA16DC13B}"/>
          </ac:spMkLst>
        </pc:spChg>
        <pc:spChg chg="mod">
          <ac:chgData name="José Antonio Ureta Santacreu" userId="e36999d1-2b92-424a-9e8c-5fde0c5fbdd2" providerId="ADAL" clId="{8E1CC941-A529-42BD-91F2-8926E50D0828}" dt="2024-06-25T11:06:57.220" v="0"/>
          <ac:spMkLst>
            <pc:docMk/>
            <pc:sldMk cId="541296340" sldId="1154"/>
            <ac:spMk id="4" creationId="{5520716A-7285-0A7A-7783-896C92461A30}"/>
          </ac:spMkLst>
        </pc:spChg>
        <pc:spChg chg="mod">
          <ac:chgData name="José Antonio Ureta Santacreu" userId="e36999d1-2b92-424a-9e8c-5fde0c5fbdd2" providerId="ADAL" clId="{8E1CC941-A529-42BD-91F2-8926E50D0828}" dt="2024-06-25T11:06:57.220" v="0"/>
          <ac:spMkLst>
            <pc:docMk/>
            <pc:sldMk cId="541296340" sldId="1154"/>
            <ac:spMk id="5" creationId="{1B65FF5C-EA3E-71B6-E0AC-08C225B82BDD}"/>
          </ac:spMkLst>
        </pc:spChg>
        <pc:spChg chg="mod">
          <ac:chgData name="José Antonio Ureta Santacreu" userId="e36999d1-2b92-424a-9e8c-5fde0c5fbdd2" providerId="ADAL" clId="{8E1CC941-A529-42BD-91F2-8926E50D0828}" dt="2024-06-25T11:06:57.220" v="0"/>
          <ac:spMkLst>
            <pc:docMk/>
            <pc:sldMk cId="541296340" sldId="1154"/>
            <ac:spMk id="6" creationId="{0719011E-7AC3-00BD-2A4F-0FC50E67B90E}"/>
          </ac:spMkLst>
        </pc:spChg>
      </pc:sldChg>
      <pc:sldChg chg="modSp">
        <pc:chgData name="José Antonio Ureta Santacreu" userId="e36999d1-2b92-424a-9e8c-5fde0c5fbdd2" providerId="ADAL" clId="{8E1CC941-A529-42BD-91F2-8926E50D0828}" dt="2024-06-25T11:06:57.220" v="0"/>
        <pc:sldMkLst>
          <pc:docMk/>
          <pc:sldMk cId="2779679737" sldId="1155"/>
        </pc:sldMkLst>
        <pc:spChg chg="mod">
          <ac:chgData name="José Antonio Ureta Santacreu" userId="e36999d1-2b92-424a-9e8c-5fde0c5fbdd2" providerId="ADAL" clId="{8E1CC941-A529-42BD-91F2-8926E50D0828}" dt="2024-06-25T11:06:57.220" v="0"/>
          <ac:spMkLst>
            <pc:docMk/>
            <pc:sldMk cId="2779679737" sldId="1155"/>
            <ac:spMk id="3" creationId="{9100964B-8354-56CC-59B8-3433FF0842A8}"/>
          </ac:spMkLst>
        </pc:spChg>
        <pc:picChg chg="mod">
          <ac:chgData name="José Antonio Ureta Santacreu" userId="e36999d1-2b92-424a-9e8c-5fde0c5fbdd2" providerId="ADAL" clId="{8E1CC941-A529-42BD-91F2-8926E50D0828}" dt="2024-06-25T11:06:57.220" v="0"/>
          <ac:picMkLst>
            <pc:docMk/>
            <pc:sldMk cId="2779679737" sldId="1155"/>
            <ac:picMk id="7" creationId="{C205EFB2-5D82-5DF6-74CE-EF11DAD24F15}"/>
          </ac:picMkLst>
        </pc:picChg>
      </pc:sldChg>
      <pc:sldChg chg="modSp mod">
        <pc:chgData name="José Antonio Ureta Santacreu" userId="e36999d1-2b92-424a-9e8c-5fde0c5fbdd2" providerId="ADAL" clId="{8E1CC941-A529-42BD-91F2-8926E50D0828}" dt="2024-06-25T11:06:59.110" v="39" actId="27636"/>
        <pc:sldMkLst>
          <pc:docMk/>
          <pc:sldMk cId="1024489870" sldId="1156"/>
        </pc:sldMkLst>
        <pc:spChg chg="mod">
          <ac:chgData name="José Antonio Ureta Santacreu" userId="e36999d1-2b92-424a-9e8c-5fde0c5fbdd2" providerId="ADAL" clId="{8E1CC941-A529-42BD-91F2-8926E50D0828}" dt="2024-06-25T11:06:57.220" v="0"/>
          <ac:spMkLst>
            <pc:docMk/>
            <pc:sldMk cId="1024489870" sldId="1156"/>
            <ac:spMk id="2" creationId="{454A5B2D-61FD-61DF-B2FD-A7B06F314B6E}"/>
          </ac:spMkLst>
        </pc:spChg>
        <pc:spChg chg="mod">
          <ac:chgData name="José Antonio Ureta Santacreu" userId="e36999d1-2b92-424a-9e8c-5fde0c5fbdd2" providerId="ADAL" clId="{8E1CC941-A529-42BD-91F2-8926E50D0828}" dt="2024-06-25T11:06:57.220" v="0"/>
          <ac:spMkLst>
            <pc:docMk/>
            <pc:sldMk cId="1024489870" sldId="1156"/>
            <ac:spMk id="3" creationId="{B8EA1421-02C1-2145-427B-E791BFBF8A11}"/>
          </ac:spMkLst>
        </pc:spChg>
        <pc:spChg chg="mod">
          <ac:chgData name="José Antonio Ureta Santacreu" userId="e36999d1-2b92-424a-9e8c-5fde0c5fbdd2" providerId="ADAL" clId="{8E1CC941-A529-42BD-91F2-8926E50D0828}" dt="2024-06-25T11:06:57.220" v="0"/>
          <ac:spMkLst>
            <pc:docMk/>
            <pc:sldMk cId="1024489870" sldId="1156"/>
            <ac:spMk id="4" creationId="{9C512590-6E16-71E0-9294-99C7F8AA044C}"/>
          </ac:spMkLst>
        </pc:spChg>
        <pc:spChg chg="mod">
          <ac:chgData name="José Antonio Ureta Santacreu" userId="e36999d1-2b92-424a-9e8c-5fde0c5fbdd2" providerId="ADAL" clId="{8E1CC941-A529-42BD-91F2-8926E50D0828}" dt="2024-06-25T11:06:57.220" v="0"/>
          <ac:spMkLst>
            <pc:docMk/>
            <pc:sldMk cId="1024489870" sldId="1156"/>
            <ac:spMk id="5" creationId="{346A29F3-C733-532B-5337-C68E2A83A641}"/>
          </ac:spMkLst>
        </pc:spChg>
        <pc:spChg chg="mod">
          <ac:chgData name="José Antonio Ureta Santacreu" userId="e36999d1-2b92-424a-9e8c-5fde0c5fbdd2" providerId="ADAL" clId="{8E1CC941-A529-42BD-91F2-8926E50D0828}" dt="2024-06-25T11:06:59.110" v="39" actId="27636"/>
          <ac:spMkLst>
            <pc:docMk/>
            <pc:sldMk cId="1024489870" sldId="1156"/>
            <ac:spMk id="7" creationId="{EBBAF0D4-9DB9-B45B-F736-759586E50E5E}"/>
          </ac:spMkLst>
        </pc:spChg>
        <pc:picChg chg="mod">
          <ac:chgData name="José Antonio Ureta Santacreu" userId="e36999d1-2b92-424a-9e8c-5fde0c5fbdd2" providerId="ADAL" clId="{8E1CC941-A529-42BD-91F2-8926E50D0828}" dt="2024-06-25T11:06:57.220" v="0"/>
          <ac:picMkLst>
            <pc:docMk/>
            <pc:sldMk cId="1024489870" sldId="1156"/>
            <ac:picMk id="2050" creationId="{0E1DB7EC-BC0E-3B6B-3301-058B5101D467}"/>
          </ac:picMkLst>
        </pc:picChg>
      </pc:sldChg>
      <pc:sldChg chg="modSp mod">
        <pc:chgData name="José Antonio Ureta Santacreu" userId="e36999d1-2b92-424a-9e8c-5fde0c5fbdd2" providerId="ADAL" clId="{8E1CC941-A529-42BD-91F2-8926E50D0828}" dt="2024-06-25T11:06:59.204" v="42" actId="27636"/>
        <pc:sldMkLst>
          <pc:docMk/>
          <pc:sldMk cId="1824129569" sldId="1157"/>
        </pc:sldMkLst>
        <pc:spChg chg="mod">
          <ac:chgData name="José Antonio Ureta Santacreu" userId="e36999d1-2b92-424a-9e8c-5fde0c5fbdd2" providerId="ADAL" clId="{8E1CC941-A529-42BD-91F2-8926E50D0828}" dt="2024-06-25T11:06:57.220" v="0"/>
          <ac:spMkLst>
            <pc:docMk/>
            <pc:sldMk cId="1824129569" sldId="1157"/>
            <ac:spMk id="2" creationId="{47267E3D-C8FD-DEAA-A536-5B146C8F8CF2}"/>
          </ac:spMkLst>
        </pc:spChg>
        <pc:spChg chg="mod">
          <ac:chgData name="José Antonio Ureta Santacreu" userId="e36999d1-2b92-424a-9e8c-5fde0c5fbdd2" providerId="ADAL" clId="{8E1CC941-A529-42BD-91F2-8926E50D0828}" dt="2024-06-25T11:06:57.220" v="0"/>
          <ac:spMkLst>
            <pc:docMk/>
            <pc:sldMk cId="1824129569" sldId="1157"/>
            <ac:spMk id="3" creationId="{28565805-B1CB-301F-F3B6-ED2360270B95}"/>
          </ac:spMkLst>
        </pc:spChg>
        <pc:spChg chg="mod">
          <ac:chgData name="José Antonio Ureta Santacreu" userId="e36999d1-2b92-424a-9e8c-5fde0c5fbdd2" providerId="ADAL" clId="{8E1CC941-A529-42BD-91F2-8926E50D0828}" dt="2024-06-25T11:06:57.220" v="0"/>
          <ac:spMkLst>
            <pc:docMk/>
            <pc:sldMk cId="1824129569" sldId="1157"/>
            <ac:spMk id="4" creationId="{77358EE9-32A9-FA05-924C-6C0C6D55AEF8}"/>
          </ac:spMkLst>
        </pc:spChg>
        <pc:spChg chg="mod">
          <ac:chgData name="José Antonio Ureta Santacreu" userId="e36999d1-2b92-424a-9e8c-5fde0c5fbdd2" providerId="ADAL" clId="{8E1CC941-A529-42BD-91F2-8926E50D0828}" dt="2024-06-25T11:06:57.220" v="0"/>
          <ac:spMkLst>
            <pc:docMk/>
            <pc:sldMk cId="1824129569" sldId="1157"/>
            <ac:spMk id="5" creationId="{EF2E3042-35E0-91ED-D663-C35A887B7496}"/>
          </ac:spMkLst>
        </pc:spChg>
        <pc:spChg chg="mod">
          <ac:chgData name="José Antonio Ureta Santacreu" userId="e36999d1-2b92-424a-9e8c-5fde0c5fbdd2" providerId="ADAL" clId="{8E1CC941-A529-42BD-91F2-8926E50D0828}" dt="2024-06-25T11:06:59.204" v="41" actId="27636"/>
          <ac:spMkLst>
            <pc:docMk/>
            <pc:sldMk cId="1824129569" sldId="1157"/>
            <ac:spMk id="6" creationId="{503A5F2B-B617-CCFB-D05D-37D5832808A7}"/>
          </ac:spMkLst>
        </pc:spChg>
        <pc:spChg chg="mod">
          <ac:chgData name="José Antonio Ureta Santacreu" userId="e36999d1-2b92-424a-9e8c-5fde0c5fbdd2" providerId="ADAL" clId="{8E1CC941-A529-42BD-91F2-8926E50D0828}" dt="2024-06-25T11:06:59.204" v="42" actId="27636"/>
          <ac:spMkLst>
            <pc:docMk/>
            <pc:sldMk cId="1824129569" sldId="1157"/>
            <ac:spMk id="16" creationId="{8360F17E-8024-442B-C1E6-FDCAC2B3A7A9}"/>
          </ac:spMkLst>
        </pc:spChg>
      </pc:sldChg>
      <pc:sldChg chg="modSp">
        <pc:chgData name="José Antonio Ureta Santacreu" userId="e36999d1-2b92-424a-9e8c-5fde0c5fbdd2" providerId="ADAL" clId="{8E1CC941-A529-42BD-91F2-8926E50D0828}" dt="2024-06-25T11:06:57.220" v="0"/>
        <pc:sldMkLst>
          <pc:docMk/>
          <pc:sldMk cId="127888367" sldId="1158"/>
        </pc:sldMkLst>
        <pc:spChg chg="mod">
          <ac:chgData name="José Antonio Ureta Santacreu" userId="e36999d1-2b92-424a-9e8c-5fde0c5fbdd2" providerId="ADAL" clId="{8E1CC941-A529-42BD-91F2-8926E50D0828}" dt="2024-06-25T11:06:57.220" v="0"/>
          <ac:spMkLst>
            <pc:docMk/>
            <pc:sldMk cId="127888367" sldId="1158"/>
            <ac:spMk id="3" creationId="{B8C2B561-0DA1-1BD2-CBD0-EBABBE4B0F4E}"/>
          </ac:spMkLst>
        </pc:spChg>
        <pc:picChg chg="mod">
          <ac:chgData name="José Antonio Ureta Santacreu" userId="e36999d1-2b92-424a-9e8c-5fde0c5fbdd2" providerId="ADAL" clId="{8E1CC941-A529-42BD-91F2-8926E50D0828}" dt="2024-06-25T11:06:57.220" v="0"/>
          <ac:picMkLst>
            <pc:docMk/>
            <pc:sldMk cId="127888367" sldId="1158"/>
            <ac:picMk id="4" creationId="{72AF981E-3024-0F36-1C62-ECFD885A88AA}"/>
          </ac:picMkLst>
        </pc:picChg>
      </pc:sldChg>
      <pc:sldChg chg="modSp">
        <pc:chgData name="José Antonio Ureta Santacreu" userId="e36999d1-2b92-424a-9e8c-5fde0c5fbdd2" providerId="ADAL" clId="{8E1CC941-A529-42BD-91F2-8926E50D0828}" dt="2024-06-25T11:06:57.220" v="0"/>
        <pc:sldMkLst>
          <pc:docMk/>
          <pc:sldMk cId="4155218395" sldId="1159"/>
        </pc:sldMkLst>
        <pc:spChg chg="mod">
          <ac:chgData name="José Antonio Ureta Santacreu" userId="e36999d1-2b92-424a-9e8c-5fde0c5fbdd2" providerId="ADAL" clId="{8E1CC941-A529-42BD-91F2-8926E50D0828}" dt="2024-06-25T11:06:57.220" v="0"/>
          <ac:spMkLst>
            <pc:docMk/>
            <pc:sldMk cId="4155218395" sldId="1159"/>
            <ac:spMk id="2" creationId="{25B766FF-9BDA-B298-416E-EA0F35567BC7}"/>
          </ac:spMkLst>
        </pc:spChg>
        <pc:spChg chg="mod">
          <ac:chgData name="José Antonio Ureta Santacreu" userId="e36999d1-2b92-424a-9e8c-5fde0c5fbdd2" providerId="ADAL" clId="{8E1CC941-A529-42BD-91F2-8926E50D0828}" dt="2024-06-25T11:06:57.220" v="0"/>
          <ac:spMkLst>
            <pc:docMk/>
            <pc:sldMk cId="4155218395" sldId="1159"/>
            <ac:spMk id="4" creationId="{B6CBBEC1-470C-8869-D8DB-0016D99725DA}"/>
          </ac:spMkLst>
        </pc:spChg>
        <pc:spChg chg="mod">
          <ac:chgData name="José Antonio Ureta Santacreu" userId="e36999d1-2b92-424a-9e8c-5fde0c5fbdd2" providerId="ADAL" clId="{8E1CC941-A529-42BD-91F2-8926E50D0828}" dt="2024-06-25T11:06:57.220" v="0"/>
          <ac:spMkLst>
            <pc:docMk/>
            <pc:sldMk cId="4155218395" sldId="1159"/>
            <ac:spMk id="5" creationId="{F8476DAF-74F1-CBAB-5E86-2BAABC37D15D}"/>
          </ac:spMkLst>
        </pc:spChg>
        <pc:spChg chg="mod">
          <ac:chgData name="José Antonio Ureta Santacreu" userId="e36999d1-2b92-424a-9e8c-5fde0c5fbdd2" providerId="ADAL" clId="{8E1CC941-A529-42BD-91F2-8926E50D0828}" dt="2024-06-25T11:06:57.220" v="0"/>
          <ac:spMkLst>
            <pc:docMk/>
            <pc:sldMk cId="4155218395" sldId="1159"/>
            <ac:spMk id="6" creationId="{4C549A64-3440-89F6-F9B3-66084108AD7D}"/>
          </ac:spMkLst>
        </pc:spChg>
        <pc:picChg chg="mod">
          <ac:chgData name="José Antonio Ureta Santacreu" userId="e36999d1-2b92-424a-9e8c-5fde0c5fbdd2" providerId="ADAL" clId="{8E1CC941-A529-42BD-91F2-8926E50D0828}" dt="2024-06-25T11:06:57.220" v="0"/>
          <ac:picMkLst>
            <pc:docMk/>
            <pc:sldMk cId="4155218395" sldId="1159"/>
            <ac:picMk id="10" creationId="{7426AD32-C2F9-AE36-BA67-BDCE732A82F5}"/>
          </ac:picMkLst>
        </pc:picChg>
      </pc:sldChg>
      <pc:sldChg chg="modSp">
        <pc:chgData name="José Antonio Ureta Santacreu" userId="e36999d1-2b92-424a-9e8c-5fde0c5fbdd2" providerId="ADAL" clId="{8E1CC941-A529-42BD-91F2-8926E50D0828}" dt="2024-06-25T11:06:57.220" v="0"/>
        <pc:sldMkLst>
          <pc:docMk/>
          <pc:sldMk cId="1510898192" sldId="1160"/>
        </pc:sldMkLst>
        <pc:spChg chg="mod">
          <ac:chgData name="José Antonio Ureta Santacreu" userId="e36999d1-2b92-424a-9e8c-5fde0c5fbdd2" providerId="ADAL" clId="{8E1CC941-A529-42BD-91F2-8926E50D0828}" dt="2024-06-25T11:06:57.220" v="0"/>
          <ac:spMkLst>
            <pc:docMk/>
            <pc:sldMk cId="1510898192" sldId="1160"/>
            <ac:spMk id="3" creationId="{B35D0292-292E-7A8B-7A01-49CD339B7129}"/>
          </ac:spMkLst>
        </pc:spChg>
        <pc:spChg chg="mod">
          <ac:chgData name="José Antonio Ureta Santacreu" userId="e36999d1-2b92-424a-9e8c-5fde0c5fbdd2" providerId="ADAL" clId="{8E1CC941-A529-42BD-91F2-8926E50D0828}" dt="2024-06-25T11:06:57.220" v="0"/>
          <ac:spMkLst>
            <pc:docMk/>
            <pc:sldMk cId="1510898192" sldId="1160"/>
            <ac:spMk id="4" creationId="{246D59C4-57EB-A2C8-B3FB-BBEF5944C689}"/>
          </ac:spMkLst>
        </pc:spChg>
        <pc:spChg chg="mod">
          <ac:chgData name="José Antonio Ureta Santacreu" userId="e36999d1-2b92-424a-9e8c-5fde0c5fbdd2" providerId="ADAL" clId="{8E1CC941-A529-42BD-91F2-8926E50D0828}" dt="2024-06-25T11:06:57.220" v="0"/>
          <ac:spMkLst>
            <pc:docMk/>
            <pc:sldMk cId="1510898192" sldId="1160"/>
            <ac:spMk id="5" creationId="{CF0476AD-9B3D-9FB2-C624-5559AFB2F155}"/>
          </ac:spMkLst>
        </pc:spChg>
        <pc:spChg chg="mod">
          <ac:chgData name="José Antonio Ureta Santacreu" userId="e36999d1-2b92-424a-9e8c-5fde0c5fbdd2" providerId="ADAL" clId="{8E1CC941-A529-42BD-91F2-8926E50D0828}" dt="2024-06-25T11:06:57.220" v="0"/>
          <ac:spMkLst>
            <pc:docMk/>
            <pc:sldMk cId="1510898192" sldId="1160"/>
            <ac:spMk id="6" creationId="{9F9AA9F4-5C75-8CBA-F5DD-F71AEB0069E1}"/>
          </ac:spMkLst>
        </pc:spChg>
      </pc:sldChg>
      <pc:sldChg chg="modSp">
        <pc:chgData name="José Antonio Ureta Santacreu" userId="e36999d1-2b92-424a-9e8c-5fde0c5fbdd2" providerId="ADAL" clId="{8E1CC941-A529-42BD-91F2-8926E50D0828}" dt="2024-06-25T11:06:57.220" v="0"/>
        <pc:sldMkLst>
          <pc:docMk/>
          <pc:sldMk cId="682606640" sldId="1161"/>
        </pc:sldMkLst>
        <pc:spChg chg="mod">
          <ac:chgData name="José Antonio Ureta Santacreu" userId="e36999d1-2b92-424a-9e8c-5fde0c5fbdd2" providerId="ADAL" clId="{8E1CC941-A529-42BD-91F2-8926E50D0828}" dt="2024-06-25T11:06:57.220" v="0"/>
          <ac:spMkLst>
            <pc:docMk/>
            <pc:sldMk cId="682606640" sldId="1161"/>
            <ac:spMk id="2" creationId="{8C04152D-FF88-A47B-308F-185E4849742A}"/>
          </ac:spMkLst>
        </pc:spChg>
        <pc:spChg chg="mod">
          <ac:chgData name="José Antonio Ureta Santacreu" userId="e36999d1-2b92-424a-9e8c-5fde0c5fbdd2" providerId="ADAL" clId="{8E1CC941-A529-42BD-91F2-8926E50D0828}" dt="2024-06-25T11:06:57.220" v="0"/>
          <ac:spMkLst>
            <pc:docMk/>
            <pc:sldMk cId="682606640" sldId="1161"/>
            <ac:spMk id="3" creationId="{A529476D-7809-AA37-070B-FD60A5387EEE}"/>
          </ac:spMkLst>
        </pc:spChg>
        <pc:spChg chg="mod">
          <ac:chgData name="José Antonio Ureta Santacreu" userId="e36999d1-2b92-424a-9e8c-5fde0c5fbdd2" providerId="ADAL" clId="{8E1CC941-A529-42BD-91F2-8926E50D0828}" dt="2024-06-25T11:06:57.220" v="0"/>
          <ac:spMkLst>
            <pc:docMk/>
            <pc:sldMk cId="682606640" sldId="1161"/>
            <ac:spMk id="4" creationId="{2B9A106F-63F0-162B-E07A-11CFCC34D329}"/>
          </ac:spMkLst>
        </pc:spChg>
        <pc:spChg chg="mod">
          <ac:chgData name="José Antonio Ureta Santacreu" userId="e36999d1-2b92-424a-9e8c-5fde0c5fbdd2" providerId="ADAL" clId="{8E1CC941-A529-42BD-91F2-8926E50D0828}" dt="2024-06-25T11:06:57.220" v="0"/>
          <ac:spMkLst>
            <pc:docMk/>
            <pc:sldMk cId="682606640" sldId="1161"/>
            <ac:spMk id="5" creationId="{28329DB4-3923-CD62-A1D6-313D734FACA8}"/>
          </ac:spMkLst>
        </pc:spChg>
        <pc:picChg chg="mod">
          <ac:chgData name="José Antonio Ureta Santacreu" userId="e36999d1-2b92-424a-9e8c-5fde0c5fbdd2" providerId="ADAL" clId="{8E1CC941-A529-42BD-91F2-8926E50D0828}" dt="2024-06-25T11:06:57.220" v="0"/>
          <ac:picMkLst>
            <pc:docMk/>
            <pc:sldMk cId="682606640" sldId="1161"/>
            <ac:picMk id="8" creationId="{42580E3C-2624-35C7-2AF3-A769D8C3F528}"/>
          </ac:picMkLst>
        </pc:picChg>
      </pc:sldChg>
      <pc:sldChg chg="modSp mod">
        <pc:chgData name="José Antonio Ureta Santacreu" userId="e36999d1-2b92-424a-9e8c-5fde0c5fbdd2" providerId="ADAL" clId="{8E1CC941-A529-42BD-91F2-8926E50D0828}" dt="2024-07-19T09:05:19.229" v="689" actId="20577"/>
        <pc:sldMkLst>
          <pc:docMk/>
          <pc:sldMk cId="914379010" sldId="1163"/>
        </pc:sldMkLst>
        <pc:spChg chg="mod">
          <ac:chgData name="José Antonio Ureta Santacreu" userId="e36999d1-2b92-424a-9e8c-5fde0c5fbdd2" providerId="ADAL" clId="{8E1CC941-A529-42BD-91F2-8926E50D0828}" dt="2024-07-19T09:05:19.229" v="689" actId="20577"/>
          <ac:spMkLst>
            <pc:docMk/>
            <pc:sldMk cId="914379010" sldId="1163"/>
            <ac:spMk id="2" creationId="{34597ACB-E9CE-746D-4332-1DE69E2F8856}"/>
          </ac:spMkLst>
        </pc:spChg>
        <pc:spChg chg="mod">
          <ac:chgData name="José Antonio Ureta Santacreu" userId="e36999d1-2b92-424a-9e8c-5fde0c5fbdd2" providerId="ADAL" clId="{8E1CC941-A529-42BD-91F2-8926E50D0828}" dt="2024-06-25T11:06:57.220" v="0"/>
          <ac:spMkLst>
            <pc:docMk/>
            <pc:sldMk cId="914379010" sldId="1163"/>
            <ac:spMk id="4" creationId="{2A476A54-AD37-BA4D-0687-8691CA2C9C36}"/>
          </ac:spMkLst>
        </pc:spChg>
        <pc:spChg chg="mod">
          <ac:chgData name="José Antonio Ureta Santacreu" userId="e36999d1-2b92-424a-9e8c-5fde0c5fbdd2" providerId="ADAL" clId="{8E1CC941-A529-42BD-91F2-8926E50D0828}" dt="2024-06-25T11:06:57.220" v="0"/>
          <ac:spMkLst>
            <pc:docMk/>
            <pc:sldMk cId="914379010" sldId="1163"/>
            <ac:spMk id="5" creationId="{B28AC2A2-19DD-344D-79A7-3E6AA37840AE}"/>
          </ac:spMkLst>
        </pc:spChg>
        <pc:spChg chg="mod">
          <ac:chgData name="José Antonio Ureta Santacreu" userId="e36999d1-2b92-424a-9e8c-5fde0c5fbdd2" providerId="ADAL" clId="{8E1CC941-A529-42BD-91F2-8926E50D0828}" dt="2024-06-25T11:06:57.220" v="0"/>
          <ac:spMkLst>
            <pc:docMk/>
            <pc:sldMk cId="914379010" sldId="1163"/>
            <ac:spMk id="6" creationId="{FB9D322D-1BA8-3980-BDAF-9079B3D23F26}"/>
          </ac:spMkLst>
        </pc:spChg>
      </pc:sldChg>
      <pc:sldChg chg="add">
        <pc:chgData name="José Antonio Ureta Santacreu" userId="e36999d1-2b92-424a-9e8c-5fde0c5fbdd2" providerId="ADAL" clId="{8E1CC941-A529-42BD-91F2-8926E50D0828}" dt="2024-07-10T11:42:05.718" v="359"/>
        <pc:sldMkLst>
          <pc:docMk/>
          <pc:sldMk cId="774419882" sldId="1164"/>
        </pc:sldMkLst>
      </pc:sldChg>
      <pc:sldChg chg="modSp del">
        <pc:chgData name="José Antonio Ureta Santacreu" userId="e36999d1-2b92-424a-9e8c-5fde0c5fbdd2" providerId="ADAL" clId="{8E1CC941-A529-42BD-91F2-8926E50D0828}" dt="2024-07-10T11:41:59.027" v="358" actId="2696"/>
        <pc:sldMkLst>
          <pc:docMk/>
          <pc:sldMk cId="1488719262" sldId="1164"/>
        </pc:sldMkLst>
        <pc:spChg chg="mod">
          <ac:chgData name="José Antonio Ureta Santacreu" userId="e36999d1-2b92-424a-9e8c-5fde0c5fbdd2" providerId="ADAL" clId="{8E1CC941-A529-42BD-91F2-8926E50D0828}" dt="2024-06-25T11:06:57.220" v="0"/>
          <ac:spMkLst>
            <pc:docMk/>
            <pc:sldMk cId="1488719262" sldId="1164"/>
            <ac:spMk id="2" creationId="{151BC754-2494-E769-7218-EB8F52E91F1F}"/>
          </ac:spMkLst>
        </pc:spChg>
        <pc:spChg chg="mod">
          <ac:chgData name="José Antonio Ureta Santacreu" userId="e36999d1-2b92-424a-9e8c-5fde0c5fbdd2" providerId="ADAL" clId="{8E1CC941-A529-42BD-91F2-8926E50D0828}" dt="2024-06-25T11:06:57.220" v="0"/>
          <ac:spMkLst>
            <pc:docMk/>
            <pc:sldMk cId="1488719262" sldId="1164"/>
            <ac:spMk id="5" creationId="{A6B67E8A-1AED-22CA-12F6-D201B02C4E3D}"/>
          </ac:spMkLst>
        </pc:spChg>
        <pc:picChg chg="mod">
          <ac:chgData name="José Antonio Ureta Santacreu" userId="e36999d1-2b92-424a-9e8c-5fde0c5fbdd2" providerId="ADAL" clId="{8E1CC941-A529-42BD-91F2-8926E50D0828}" dt="2024-06-25T11:06:57.220" v="0"/>
          <ac:picMkLst>
            <pc:docMk/>
            <pc:sldMk cId="1488719262" sldId="1164"/>
            <ac:picMk id="7" creationId="{AF381073-92BC-F9A6-5E85-E185B2215582}"/>
          </ac:picMkLst>
        </pc:picChg>
        <pc:picChg chg="mod">
          <ac:chgData name="José Antonio Ureta Santacreu" userId="e36999d1-2b92-424a-9e8c-5fde0c5fbdd2" providerId="ADAL" clId="{8E1CC941-A529-42BD-91F2-8926E50D0828}" dt="2024-06-25T11:06:57.220" v="0"/>
          <ac:picMkLst>
            <pc:docMk/>
            <pc:sldMk cId="1488719262" sldId="1164"/>
            <ac:picMk id="10" creationId="{F463F5BF-BF6D-BEEE-50E8-F4AFA25EE98D}"/>
          </ac:picMkLst>
        </pc:picChg>
      </pc:sldChg>
      <pc:sldChg chg="modSp del mod">
        <pc:chgData name="José Antonio Ureta Santacreu" userId="e36999d1-2b92-424a-9e8c-5fde0c5fbdd2" providerId="ADAL" clId="{8E1CC941-A529-42BD-91F2-8926E50D0828}" dt="2024-07-10T11:41:59.027" v="358" actId="2696"/>
        <pc:sldMkLst>
          <pc:docMk/>
          <pc:sldMk cId="3384113799" sldId="1165"/>
        </pc:sldMkLst>
        <pc:spChg chg="mod">
          <ac:chgData name="José Antonio Ureta Santacreu" userId="e36999d1-2b92-424a-9e8c-5fde0c5fbdd2" providerId="ADAL" clId="{8E1CC941-A529-42BD-91F2-8926E50D0828}" dt="2024-06-25T11:06:58.007" v="8" actId="27636"/>
          <ac:spMkLst>
            <pc:docMk/>
            <pc:sldMk cId="3384113799" sldId="1165"/>
            <ac:spMk id="2" creationId="{AAD2B168-7CA9-8897-DF27-68B59EF022A8}"/>
          </ac:spMkLst>
        </pc:spChg>
        <pc:picChg chg="mod">
          <ac:chgData name="José Antonio Ureta Santacreu" userId="e36999d1-2b92-424a-9e8c-5fde0c5fbdd2" providerId="ADAL" clId="{8E1CC941-A529-42BD-91F2-8926E50D0828}" dt="2024-06-25T11:06:57.220" v="0"/>
          <ac:picMkLst>
            <pc:docMk/>
            <pc:sldMk cId="3384113799" sldId="1165"/>
            <ac:picMk id="23" creationId="{452B0E25-E977-5433-4200-FE8073282EF3}"/>
          </ac:picMkLst>
        </pc:picChg>
      </pc:sldChg>
      <pc:sldChg chg="add">
        <pc:chgData name="José Antonio Ureta Santacreu" userId="e36999d1-2b92-424a-9e8c-5fde0c5fbdd2" providerId="ADAL" clId="{8E1CC941-A529-42BD-91F2-8926E50D0828}" dt="2024-07-10T11:42:05.718" v="359"/>
        <pc:sldMkLst>
          <pc:docMk/>
          <pc:sldMk cId="4023214103" sldId="1165"/>
        </pc:sldMkLst>
      </pc:sldChg>
      <pc:sldChg chg="add">
        <pc:chgData name="José Antonio Ureta Santacreu" userId="e36999d1-2b92-424a-9e8c-5fde0c5fbdd2" providerId="ADAL" clId="{8E1CC941-A529-42BD-91F2-8926E50D0828}" dt="2024-07-10T11:42:05.718" v="359"/>
        <pc:sldMkLst>
          <pc:docMk/>
          <pc:sldMk cId="1523534304" sldId="1166"/>
        </pc:sldMkLst>
      </pc:sldChg>
      <pc:sldChg chg="modSp del">
        <pc:chgData name="José Antonio Ureta Santacreu" userId="e36999d1-2b92-424a-9e8c-5fde0c5fbdd2" providerId="ADAL" clId="{8E1CC941-A529-42BD-91F2-8926E50D0828}" dt="2024-07-10T11:41:59.027" v="358" actId="2696"/>
        <pc:sldMkLst>
          <pc:docMk/>
          <pc:sldMk cId="3960060090" sldId="1166"/>
        </pc:sldMkLst>
        <pc:spChg chg="mod">
          <ac:chgData name="José Antonio Ureta Santacreu" userId="e36999d1-2b92-424a-9e8c-5fde0c5fbdd2" providerId="ADAL" clId="{8E1CC941-A529-42BD-91F2-8926E50D0828}" dt="2024-06-25T11:06:57.220" v="0"/>
          <ac:spMkLst>
            <pc:docMk/>
            <pc:sldMk cId="3960060090" sldId="1166"/>
            <ac:spMk id="2" creationId="{785874CC-FFF5-77C4-FCBB-CF38A866B91D}"/>
          </ac:spMkLst>
        </pc:spChg>
        <pc:spChg chg="mod">
          <ac:chgData name="José Antonio Ureta Santacreu" userId="e36999d1-2b92-424a-9e8c-5fde0c5fbdd2" providerId="ADAL" clId="{8E1CC941-A529-42BD-91F2-8926E50D0828}" dt="2024-06-25T11:06:57.220" v="0"/>
          <ac:spMkLst>
            <pc:docMk/>
            <pc:sldMk cId="3960060090" sldId="1166"/>
            <ac:spMk id="5" creationId="{33977DF8-A426-E426-98AC-3F614B68487F}"/>
          </ac:spMkLst>
        </pc:spChg>
        <pc:picChg chg="mod">
          <ac:chgData name="José Antonio Ureta Santacreu" userId="e36999d1-2b92-424a-9e8c-5fde0c5fbdd2" providerId="ADAL" clId="{8E1CC941-A529-42BD-91F2-8926E50D0828}" dt="2024-06-25T11:06:57.220" v="0"/>
          <ac:picMkLst>
            <pc:docMk/>
            <pc:sldMk cId="3960060090" sldId="1166"/>
            <ac:picMk id="12" creationId="{38A530A1-8ED0-150B-8684-3EE922E9F95A}"/>
          </ac:picMkLst>
        </pc:picChg>
      </pc:sldChg>
      <pc:sldChg chg="modSp">
        <pc:chgData name="José Antonio Ureta Santacreu" userId="e36999d1-2b92-424a-9e8c-5fde0c5fbdd2" providerId="ADAL" clId="{8E1CC941-A529-42BD-91F2-8926E50D0828}" dt="2024-06-25T11:06:57.220" v="0"/>
        <pc:sldMkLst>
          <pc:docMk/>
          <pc:sldMk cId="4284332025" sldId="1167"/>
        </pc:sldMkLst>
        <pc:spChg chg="mod">
          <ac:chgData name="José Antonio Ureta Santacreu" userId="e36999d1-2b92-424a-9e8c-5fde0c5fbdd2" providerId="ADAL" clId="{8E1CC941-A529-42BD-91F2-8926E50D0828}" dt="2024-06-25T11:06:57.220" v="0"/>
          <ac:spMkLst>
            <pc:docMk/>
            <pc:sldMk cId="4284332025" sldId="1167"/>
            <ac:spMk id="2" creationId="{390FE10C-C971-98FB-77D6-F913D4A72749}"/>
          </ac:spMkLst>
        </pc:spChg>
        <pc:spChg chg="mod">
          <ac:chgData name="José Antonio Ureta Santacreu" userId="e36999d1-2b92-424a-9e8c-5fde0c5fbdd2" providerId="ADAL" clId="{8E1CC941-A529-42BD-91F2-8926E50D0828}" dt="2024-06-25T11:06:57.220" v="0"/>
          <ac:spMkLst>
            <pc:docMk/>
            <pc:sldMk cId="4284332025" sldId="1167"/>
            <ac:spMk id="3" creationId="{2F546D9E-FCE3-0830-F732-023D88293FA0}"/>
          </ac:spMkLst>
        </pc:spChg>
        <pc:spChg chg="mod">
          <ac:chgData name="José Antonio Ureta Santacreu" userId="e36999d1-2b92-424a-9e8c-5fde0c5fbdd2" providerId="ADAL" clId="{8E1CC941-A529-42BD-91F2-8926E50D0828}" dt="2024-06-25T11:06:57.220" v="0"/>
          <ac:spMkLst>
            <pc:docMk/>
            <pc:sldMk cId="4284332025" sldId="1167"/>
            <ac:spMk id="4" creationId="{A5CC570B-5158-79BC-D936-B53DB8F9CFCF}"/>
          </ac:spMkLst>
        </pc:spChg>
        <pc:spChg chg="mod">
          <ac:chgData name="José Antonio Ureta Santacreu" userId="e36999d1-2b92-424a-9e8c-5fde0c5fbdd2" providerId="ADAL" clId="{8E1CC941-A529-42BD-91F2-8926E50D0828}" dt="2024-06-25T11:06:57.220" v="0"/>
          <ac:spMkLst>
            <pc:docMk/>
            <pc:sldMk cId="4284332025" sldId="1167"/>
            <ac:spMk id="5" creationId="{DA2D4444-E79F-5AE0-38B1-37F4F79DF188}"/>
          </ac:spMkLst>
        </pc:spChg>
      </pc:sldChg>
      <pc:sldChg chg="modSp">
        <pc:chgData name="José Antonio Ureta Santacreu" userId="e36999d1-2b92-424a-9e8c-5fde0c5fbdd2" providerId="ADAL" clId="{8E1CC941-A529-42BD-91F2-8926E50D0828}" dt="2024-06-25T11:06:57.220" v="0"/>
        <pc:sldMkLst>
          <pc:docMk/>
          <pc:sldMk cId="878909551" sldId="1168"/>
        </pc:sldMkLst>
        <pc:spChg chg="mod">
          <ac:chgData name="José Antonio Ureta Santacreu" userId="e36999d1-2b92-424a-9e8c-5fde0c5fbdd2" providerId="ADAL" clId="{8E1CC941-A529-42BD-91F2-8926E50D0828}" dt="2024-06-25T11:06:57.220" v="0"/>
          <ac:spMkLst>
            <pc:docMk/>
            <pc:sldMk cId="878909551" sldId="1168"/>
            <ac:spMk id="2" creationId="{635F645A-19D2-CDD7-5E49-FA5AFF625476}"/>
          </ac:spMkLst>
        </pc:spChg>
        <pc:spChg chg="mod">
          <ac:chgData name="José Antonio Ureta Santacreu" userId="e36999d1-2b92-424a-9e8c-5fde0c5fbdd2" providerId="ADAL" clId="{8E1CC941-A529-42BD-91F2-8926E50D0828}" dt="2024-06-25T11:06:57.220" v="0"/>
          <ac:spMkLst>
            <pc:docMk/>
            <pc:sldMk cId="878909551" sldId="1168"/>
            <ac:spMk id="3" creationId="{F96F4AD1-E521-08EB-2657-428B8412F671}"/>
          </ac:spMkLst>
        </pc:spChg>
        <pc:spChg chg="mod">
          <ac:chgData name="José Antonio Ureta Santacreu" userId="e36999d1-2b92-424a-9e8c-5fde0c5fbdd2" providerId="ADAL" clId="{8E1CC941-A529-42BD-91F2-8926E50D0828}" dt="2024-06-25T11:06:57.220" v="0"/>
          <ac:spMkLst>
            <pc:docMk/>
            <pc:sldMk cId="878909551" sldId="1168"/>
            <ac:spMk id="4" creationId="{41A434BD-52FE-0461-67BA-DB66CD3F3C7E}"/>
          </ac:spMkLst>
        </pc:spChg>
        <pc:spChg chg="mod">
          <ac:chgData name="José Antonio Ureta Santacreu" userId="e36999d1-2b92-424a-9e8c-5fde0c5fbdd2" providerId="ADAL" clId="{8E1CC941-A529-42BD-91F2-8926E50D0828}" dt="2024-06-25T11:06:57.220" v="0"/>
          <ac:spMkLst>
            <pc:docMk/>
            <pc:sldMk cId="878909551" sldId="1168"/>
            <ac:spMk id="5" creationId="{70C9576D-585A-806E-568A-8FA0FE1C9376}"/>
          </ac:spMkLst>
        </pc:spChg>
      </pc:sldChg>
      <pc:sldChg chg="modSp mod">
        <pc:chgData name="José Antonio Ureta Santacreu" userId="e36999d1-2b92-424a-9e8c-5fde0c5fbdd2" providerId="ADAL" clId="{8E1CC941-A529-42BD-91F2-8926E50D0828}" dt="2024-06-25T11:06:58.085" v="12" actId="27636"/>
        <pc:sldMkLst>
          <pc:docMk/>
          <pc:sldMk cId="1535259986" sldId="1169"/>
        </pc:sldMkLst>
        <pc:spChg chg="mod">
          <ac:chgData name="José Antonio Ureta Santacreu" userId="e36999d1-2b92-424a-9e8c-5fde0c5fbdd2" providerId="ADAL" clId="{8E1CC941-A529-42BD-91F2-8926E50D0828}" dt="2024-06-25T11:06:58.085" v="12" actId="27636"/>
          <ac:spMkLst>
            <pc:docMk/>
            <pc:sldMk cId="1535259986" sldId="1169"/>
            <ac:spMk id="3" creationId="{8FE3E05B-8E8E-A84A-6A06-906CFB42D228}"/>
          </ac:spMkLst>
        </pc:spChg>
        <pc:spChg chg="mod">
          <ac:chgData name="José Antonio Ureta Santacreu" userId="e36999d1-2b92-424a-9e8c-5fde0c5fbdd2" providerId="ADAL" clId="{8E1CC941-A529-42BD-91F2-8926E50D0828}" dt="2024-06-25T11:06:57.220" v="0"/>
          <ac:spMkLst>
            <pc:docMk/>
            <pc:sldMk cId="1535259986" sldId="1169"/>
            <ac:spMk id="4" creationId="{E0C41D8C-7918-EC05-CCF5-BF723BC327C9}"/>
          </ac:spMkLst>
        </pc:spChg>
        <pc:spChg chg="mod">
          <ac:chgData name="José Antonio Ureta Santacreu" userId="e36999d1-2b92-424a-9e8c-5fde0c5fbdd2" providerId="ADAL" clId="{8E1CC941-A529-42BD-91F2-8926E50D0828}" dt="2024-06-25T11:06:57.220" v="0"/>
          <ac:spMkLst>
            <pc:docMk/>
            <pc:sldMk cId="1535259986" sldId="1169"/>
            <ac:spMk id="5" creationId="{F94475D0-17E4-8EAA-078D-54CCBFB416BF}"/>
          </ac:spMkLst>
        </pc:spChg>
        <pc:spChg chg="mod">
          <ac:chgData name="José Antonio Ureta Santacreu" userId="e36999d1-2b92-424a-9e8c-5fde0c5fbdd2" providerId="ADAL" clId="{8E1CC941-A529-42BD-91F2-8926E50D0828}" dt="2024-06-25T11:06:57.220" v="0"/>
          <ac:spMkLst>
            <pc:docMk/>
            <pc:sldMk cId="1535259986" sldId="1169"/>
            <ac:spMk id="6" creationId="{DB8B3316-B26E-2EDF-D9C1-C5FEEA8510AB}"/>
          </ac:spMkLst>
        </pc:spChg>
        <pc:spChg chg="mod">
          <ac:chgData name="José Antonio Ureta Santacreu" userId="e36999d1-2b92-424a-9e8c-5fde0c5fbdd2" providerId="ADAL" clId="{8E1CC941-A529-42BD-91F2-8926E50D0828}" dt="2024-06-25T11:06:57.220" v="0"/>
          <ac:spMkLst>
            <pc:docMk/>
            <pc:sldMk cId="1535259986" sldId="1169"/>
            <ac:spMk id="7" creationId="{3BC4D568-F242-2ACB-ABBE-99E0DBF62BEB}"/>
          </ac:spMkLst>
        </pc:spChg>
        <pc:spChg chg="mod">
          <ac:chgData name="José Antonio Ureta Santacreu" userId="e36999d1-2b92-424a-9e8c-5fde0c5fbdd2" providerId="ADAL" clId="{8E1CC941-A529-42BD-91F2-8926E50D0828}" dt="2024-06-25T11:06:57.220" v="0"/>
          <ac:spMkLst>
            <pc:docMk/>
            <pc:sldMk cId="1535259986" sldId="1169"/>
            <ac:spMk id="8" creationId="{BDB21F5B-C89C-87FC-5B46-9E694E2273DE}"/>
          </ac:spMkLst>
        </pc:spChg>
        <pc:picChg chg="mod">
          <ac:chgData name="José Antonio Ureta Santacreu" userId="e36999d1-2b92-424a-9e8c-5fde0c5fbdd2" providerId="ADAL" clId="{8E1CC941-A529-42BD-91F2-8926E50D0828}" dt="2024-06-25T11:06:57.220" v="0"/>
          <ac:picMkLst>
            <pc:docMk/>
            <pc:sldMk cId="1535259986" sldId="1169"/>
            <ac:picMk id="14" creationId="{431705DB-20F6-E4B9-6112-7D01EA30FBBE}"/>
          </ac:picMkLst>
        </pc:picChg>
      </pc:sldChg>
      <pc:sldChg chg="modSp">
        <pc:chgData name="José Antonio Ureta Santacreu" userId="e36999d1-2b92-424a-9e8c-5fde0c5fbdd2" providerId="ADAL" clId="{8E1CC941-A529-42BD-91F2-8926E50D0828}" dt="2024-06-25T11:06:57.220" v="0"/>
        <pc:sldMkLst>
          <pc:docMk/>
          <pc:sldMk cId="891381203" sldId="1171"/>
        </pc:sldMkLst>
        <pc:spChg chg="mod">
          <ac:chgData name="José Antonio Ureta Santacreu" userId="e36999d1-2b92-424a-9e8c-5fde0c5fbdd2" providerId="ADAL" clId="{8E1CC941-A529-42BD-91F2-8926E50D0828}" dt="2024-06-25T11:06:57.220" v="0"/>
          <ac:spMkLst>
            <pc:docMk/>
            <pc:sldMk cId="891381203" sldId="1171"/>
            <ac:spMk id="2" creationId="{112FCEE1-F48F-9A16-8756-2B80745CF114}"/>
          </ac:spMkLst>
        </pc:spChg>
        <pc:spChg chg="mod">
          <ac:chgData name="José Antonio Ureta Santacreu" userId="e36999d1-2b92-424a-9e8c-5fde0c5fbdd2" providerId="ADAL" clId="{8E1CC941-A529-42BD-91F2-8926E50D0828}" dt="2024-06-25T11:06:57.220" v="0"/>
          <ac:spMkLst>
            <pc:docMk/>
            <pc:sldMk cId="891381203" sldId="1171"/>
            <ac:spMk id="3" creationId="{B597FD88-C4B6-BC4C-361B-E352A2944232}"/>
          </ac:spMkLst>
        </pc:spChg>
        <pc:spChg chg="mod">
          <ac:chgData name="José Antonio Ureta Santacreu" userId="e36999d1-2b92-424a-9e8c-5fde0c5fbdd2" providerId="ADAL" clId="{8E1CC941-A529-42BD-91F2-8926E50D0828}" dt="2024-06-25T11:06:57.220" v="0"/>
          <ac:spMkLst>
            <pc:docMk/>
            <pc:sldMk cId="891381203" sldId="1171"/>
            <ac:spMk id="4" creationId="{6E62D121-B238-0860-084C-9871C41B406E}"/>
          </ac:spMkLst>
        </pc:spChg>
        <pc:spChg chg="mod">
          <ac:chgData name="José Antonio Ureta Santacreu" userId="e36999d1-2b92-424a-9e8c-5fde0c5fbdd2" providerId="ADAL" clId="{8E1CC941-A529-42BD-91F2-8926E50D0828}" dt="2024-06-25T11:06:57.220" v="0"/>
          <ac:spMkLst>
            <pc:docMk/>
            <pc:sldMk cId="891381203" sldId="1171"/>
            <ac:spMk id="5" creationId="{64E224A4-4FC7-DD91-FF6D-C2F8D7F49FA9}"/>
          </ac:spMkLst>
        </pc:spChg>
      </pc:sldChg>
      <pc:sldChg chg="modSp">
        <pc:chgData name="José Antonio Ureta Santacreu" userId="e36999d1-2b92-424a-9e8c-5fde0c5fbdd2" providerId="ADAL" clId="{8E1CC941-A529-42BD-91F2-8926E50D0828}" dt="2024-06-25T11:06:57.220" v="0"/>
        <pc:sldMkLst>
          <pc:docMk/>
          <pc:sldMk cId="1475674366" sldId="1172"/>
        </pc:sldMkLst>
        <pc:spChg chg="mod">
          <ac:chgData name="José Antonio Ureta Santacreu" userId="e36999d1-2b92-424a-9e8c-5fde0c5fbdd2" providerId="ADAL" clId="{8E1CC941-A529-42BD-91F2-8926E50D0828}" dt="2024-06-25T11:06:57.220" v="0"/>
          <ac:spMkLst>
            <pc:docMk/>
            <pc:sldMk cId="1475674366" sldId="1172"/>
            <ac:spMk id="2" creationId="{976B3990-730D-2132-5DD7-A38A2D34B06B}"/>
          </ac:spMkLst>
        </pc:spChg>
        <pc:spChg chg="mod">
          <ac:chgData name="José Antonio Ureta Santacreu" userId="e36999d1-2b92-424a-9e8c-5fde0c5fbdd2" providerId="ADAL" clId="{8E1CC941-A529-42BD-91F2-8926E50D0828}" dt="2024-06-25T11:06:57.220" v="0"/>
          <ac:spMkLst>
            <pc:docMk/>
            <pc:sldMk cId="1475674366" sldId="1172"/>
            <ac:spMk id="3" creationId="{460FD357-5B37-D536-F7EC-1EC0B7EBE75D}"/>
          </ac:spMkLst>
        </pc:spChg>
        <pc:spChg chg="mod">
          <ac:chgData name="José Antonio Ureta Santacreu" userId="e36999d1-2b92-424a-9e8c-5fde0c5fbdd2" providerId="ADAL" clId="{8E1CC941-A529-42BD-91F2-8926E50D0828}" dt="2024-06-25T11:06:57.220" v="0"/>
          <ac:spMkLst>
            <pc:docMk/>
            <pc:sldMk cId="1475674366" sldId="1172"/>
            <ac:spMk id="4" creationId="{A954EB93-0B51-8AC7-001D-3C1C7ED3D4EB}"/>
          </ac:spMkLst>
        </pc:spChg>
        <pc:spChg chg="mod">
          <ac:chgData name="José Antonio Ureta Santacreu" userId="e36999d1-2b92-424a-9e8c-5fde0c5fbdd2" providerId="ADAL" clId="{8E1CC941-A529-42BD-91F2-8926E50D0828}" dt="2024-06-25T11:06:57.220" v="0"/>
          <ac:spMkLst>
            <pc:docMk/>
            <pc:sldMk cId="1475674366" sldId="1172"/>
            <ac:spMk id="5" creationId="{A3A74A8B-E2CB-3C69-FA30-1157BAE40FDE}"/>
          </ac:spMkLst>
        </pc:spChg>
      </pc:sldChg>
      <pc:sldChg chg="modSp">
        <pc:chgData name="José Antonio Ureta Santacreu" userId="e36999d1-2b92-424a-9e8c-5fde0c5fbdd2" providerId="ADAL" clId="{8E1CC941-A529-42BD-91F2-8926E50D0828}" dt="2024-06-25T11:06:57.220" v="0"/>
        <pc:sldMkLst>
          <pc:docMk/>
          <pc:sldMk cId="483946857" sldId="1173"/>
        </pc:sldMkLst>
        <pc:spChg chg="mod">
          <ac:chgData name="José Antonio Ureta Santacreu" userId="e36999d1-2b92-424a-9e8c-5fde0c5fbdd2" providerId="ADAL" clId="{8E1CC941-A529-42BD-91F2-8926E50D0828}" dt="2024-06-25T11:06:57.220" v="0"/>
          <ac:spMkLst>
            <pc:docMk/>
            <pc:sldMk cId="483946857" sldId="1173"/>
            <ac:spMk id="4" creationId="{37F5D82D-3006-4FDB-A274-60CB76856CEE}"/>
          </ac:spMkLst>
        </pc:spChg>
      </pc:sldChg>
      <pc:sldChg chg="modSp">
        <pc:chgData name="José Antonio Ureta Santacreu" userId="e36999d1-2b92-424a-9e8c-5fde0c5fbdd2" providerId="ADAL" clId="{8E1CC941-A529-42BD-91F2-8926E50D0828}" dt="2024-06-25T11:06:57.220" v="0"/>
        <pc:sldMkLst>
          <pc:docMk/>
          <pc:sldMk cId="573847709" sldId="1174"/>
        </pc:sldMkLst>
        <pc:spChg chg="mod">
          <ac:chgData name="José Antonio Ureta Santacreu" userId="e36999d1-2b92-424a-9e8c-5fde0c5fbdd2" providerId="ADAL" clId="{8E1CC941-A529-42BD-91F2-8926E50D0828}" dt="2024-06-25T11:06:57.220" v="0"/>
          <ac:spMkLst>
            <pc:docMk/>
            <pc:sldMk cId="573847709" sldId="1174"/>
            <ac:spMk id="2" creationId="{B7A56336-BCEC-4970-9A88-68200CDF8A57}"/>
          </ac:spMkLst>
        </pc:spChg>
        <pc:spChg chg="mod">
          <ac:chgData name="José Antonio Ureta Santacreu" userId="e36999d1-2b92-424a-9e8c-5fde0c5fbdd2" providerId="ADAL" clId="{8E1CC941-A529-42BD-91F2-8926E50D0828}" dt="2024-06-25T11:06:57.220" v="0"/>
          <ac:spMkLst>
            <pc:docMk/>
            <pc:sldMk cId="573847709" sldId="1174"/>
            <ac:spMk id="15" creationId="{2234BF29-1084-43DB-A014-E436EEEC392C}"/>
          </ac:spMkLst>
        </pc:spChg>
      </pc:sldChg>
      <pc:sldChg chg="modSp">
        <pc:chgData name="José Antonio Ureta Santacreu" userId="e36999d1-2b92-424a-9e8c-5fde0c5fbdd2" providerId="ADAL" clId="{8E1CC941-A529-42BD-91F2-8926E50D0828}" dt="2024-06-25T11:06:57.220" v="0"/>
        <pc:sldMkLst>
          <pc:docMk/>
          <pc:sldMk cId="1997208476" sldId="1175"/>
        </pc:sldMkLst>
        <pc:spChg chg="mod">
          <ac:chgData name="José Antonio Ureta Santacreu" userId="e36999d1-2b92-424a-9e8c-5fde0c5fbdd2" providerId="ADAL" clId="{8E1CC941-A529-42BD-91F2-8926E50D0828}" dt="2024-06-25T11:06:57.220" v="0"/>
          <ac:spMkLst>
            <pc:docMk/>
            <pc:sldMk cId="1997208476" sldId="1175"/>
            <ac:spMk id="6" creationId="{2E550C35-3685-DD88-5DED-05C736FFC871}"/>
          </ac:spMkLst>
        </pc:spChg>
        <pc:spChg chg="mod">
          <ac:chgData name="José Antonio Ureta Santacreu" userId="e36999d1-2b92-424a-9e8c-5fde0c5fbdd2" providerId="ADAL" clId="{8E1CC941-A529-42BD-91F2-8926E50D0828}" dt="2024-06-25T11:06:57.220" v="0"/>
          <ac:spMkLst>
            <pc:docMk/>
            <pc:sldMk cId="1997208476" sldId="1175"/>
            <ac:spMk id="7" creationId="{B3CC0596-2685-48E6-8BF5-46CAB7151AAF}"/>
          </ac:spMkLst>
        </pc:spChg>
        <pc:spChg chg="mod">
          <ac:chgData name="José Antonio Ureta Santacreu" userId="e36999d1-2b92-424a-9e8c-5fde0c5fbdd2" providerId="ADAL" clId="{8E1CC941-A529-42BD-91F2-8926E50D0828}" dt="2024-06-25T11:06:57.220" v="0"/>
          <ac:spMkLst>
            <pc:docMk/>
            <pc:sldMk cId="1997208476" sldId="1175"/>
            <ac:spMk id="8" creationId="{B752FD4C-CA56-F364-E913-80352D659F2B}"/>
          </ac:spMkLst>
        </pc:spChg>
        <pc:spChg chg="mod">
          <ac:chgData name="José Antonio Ureta Santacreu" userId="e36999d1-2b92-424a-9e8c-5fde0c5fbdd2" providerId="ADAL" clId="{8E1CC941-A529-42BD-91F2-8926E50D0828}" dt="2024-06-25T11:06:57.220" v="0"/>
          <ac:spMkLst>
            <pc:docMk/>
            <pc:sldMk cId="1997208476" sldId="1175"/>
            <ac:spMk id="9" creationId="{D76035A1-C131-EC76-EF2E-4AA864BDDCD6}"/>
          </ac:spMkLst>
        </pc:spChg>
        <pc:graphicFrameChg chg="mod">
          <ac:chgData name="José Antonio Ureta Santacreu" userId="e36999d1-2b92-424a-9e8c-5fde0c5fbdd2" providerId="ADAL" clId="{8E1CC941-A529-42BD-91F2-8926E50D0828}" dt="2024-06-25T11:06:57.220" v="0"/>
          <ac:graphicFrameMkLst>
            <pc:docMk/>
            <pc:sldMk cId="1997208476" sldId="1175"/>
            <ac:graphicFrameMk id="10" creationId="{B826708F-FD6C-8E13-1A96-E7FFED669932}"/>
          </ac:graphicFrameMkLst>
        </pc:graphicFrameChg>
      </pc:sldChg>
      <pc:sldChg chg="modSp">
        <pc:chgData name="José Antonio Ureta Santacreu" userId="e36999d1-2b92-424a-9e8c-5fde0c5fbdd2" providerId="ADAL" clId="{8E1CC941-A529-42BD-91F2-8926E50D0828}" dt="2024-06-25T11:06:57.220" v="0"/>
        <pc:sldMkLst>
          <pc:docMk/>
          <pc:sldMk cId="470263772" sldId="1176"/>
        </pc:sldMkLst>
        <pc:spChg chg="mod">
          <ac:chgData name="José Antonio Ureta Santacreu" userId="e36999d1-2b92-424a-9e8c-5fde0c5fbdd2" providerId="ADAL" clId="{8E1CC941-A529-42BD-91F2-8926E50D0828}" dt="2024-06-25T11:06:57.220" v="0"/>
          <ac:spMkLst>
            <pc:docMk/>
            <pc:sldMk cId="470263772" sldId="1176"/>
            <ac:spMk id="4" creationId="{2E71A483-6E28-5B18-D31D-8938CFE220B4}"/>
          </ac:spMkLst>
        </pc:spChg>
        <pc:spChg chg="mod">
          <ac:chgData name="José Antonio Ureta Santacreu" userId="e36999d1-2b92-424a-9e8c-5fde0c5fbdd2" providerId="ADAL" clId="{8E1CC941-A529-42BD-91F2-8926E50D0828}" dt="2024-06-25T11:06:57.220" v="0"/>
          <ac:spMkLst>
            <pc:docMk/>
            <pc:sldMk cId="470263772" sldId="1176"/>
            <ac:spMk id="5" creationId="{9EED9796-0555-E7AE-8E4D-CC0330F15B10}"/>
          </ac:spMkLst>
        </pc:spChg>
        <pc:spChg chg="mod">
          <ac:chgData name="José Antonio Ureta Santacreu" userId="e36999d1-2b92-424a-9e8c-5fde0c5fbdd2" providerId="ADAL" clId="{8E1CC941-A529-42BD-91F2-8926E50D0828}" dt="2024-06-25T11:06:57.220" v="0"/>
          <ac:spMkLst>
            <pc:docMk/>
            <pc:sldMk cId="470263772" sldId="1176"/>
            <ac:spMk id="6" creationId="{6B95B113-A91E-4F0B-5FBC-FC0858AAEB37}"/>
          </ac:spMkLst>
        </pc:spChg>
      </pc:sldChg>
      <pc:sldChg chg="modSp">
        <pc:chgData name="José Antonio Ureta Santacreu" userId="e36999d1-2b92-424a-9e8c-5fde0c5fbdd2" providerId="ADAL" clId="{8E1CC941-A529-42BD-91F2-8926E50D0828}" dt="2024-06-25T11:06:57.220" v="0"/>
        <pc:sldMkLst>
          <pc:docMk/>
          <pc:sldMk cId="3661719855" sldId="1177"/>
        </pc:sldMkLst>
        <pc:spChg chg="mod">
          <ac:chgData name="José Antonio Ureta Santacreu" userId="e36999d1-2b92-424a-9e8c-5fde0c5fbdd2" providerId="ADAL" clId="{8E1CC941-A529-42BD-91F2-8926E50D0828}" dt="2024-06-25T11:06:57.220" v="0"/>
          <ac:spMkLst>
            <pc:docMk/>
            <pc:sldMk cId="3661719855" sldId="1177"/>
            <ac:spMk id="2" creationId="{0D5296A2-0297-CCA4-926C-CD89349DFDFB}"/>
          </ac:spMkLst>
        </pc:spChg>
        <pc:spChg chg="mod">
          <ac:chgData name="José Antonio Ureta Santacreu" userId="e36999d1-2b92-424a-9e8c-5fde0c5fbdd2" providerId="ADAL" clId="{8E1CC941-A529-42BD-91F2-8926E50D0828}" dt="2024-06-25T11:06:57.220" v="0"/>
          <ac:spMkLst>
            <pc:docMk/>
            <pc:sldMk cId="3661719855" sldId="1177"/>
            <ac:spMk id="4" creationId="{FE116FAD-0F9E-F184-1B06-76D83C5C20FE}"/>
          </ac:spMkLst>
        </pc:spChg>
        <pc:spChg chg="mod">
          <ac:chgData name="José Antonio Ureta Santacreu" userId="e36999d1-2b92-424a-9e8c-5fde0c5fbdd2" providerId="ADAL" clId="{8E1CC941-A529-42BD-91F2-8926E50D0828}" dt="2024-06-25T11:06:57.220" v="0"/>
          <ac:spMkLst>
            <pc:docMk/>
            <pc:sldMk cId="3661719855" sldId="1177"/>
            <ac:spMk id="5" creationId="{85789108-AD7F-92EB-4AD7-3B49AB2610C7}"/>
          </ac:spMkLst>
        </pc:spChg>
        <pc:spChg chg="mod">
          <ac:chgData name="José Antonio Ureta Santacreu" userId="e36999d1-2b92-424a-9e8c-5fde0c5fbdd2" providerId="ADAL" clId="{8E1CC941-A529-42BD-91F2-8926E50D0828}" dt="2024-06-25T11:06:57.220" v="0"/>
          <ac:spMkLst>
            <pc:docMk/>
            <pc:sldMk cId="3661719855" sldId="1177"/>
            <ac:spMk id="6" creationId="{672E823F-FCAF-0BE0-2B63-0E464F6F3F87}"/>
          </ac:spMkLst>
        </pc:spChg>
        <pc:picChg chg="mod">
          <ac:chgData name="José Antonio Ureta Santacreu" userId="e36999d1-2b92-424a-9e8c-5fde0c5fbdd2" providerId="ADAL" clId="{8E1CC941-A529-42BD-91F2-8926E50D0828}" dt="2024-06-25T11:06:57.220" v="0"/>
          <ac:picMkLst>
            <pc:docMk/>
            <pc:sldMk cId="3661719855" sldId="1177"/>
            <ac:picMk id="8" creationId="{2FDFD4A1-7160-574B-3610-A29D0D2E969A}"/>
          </ac:picMkLst>
        </pc:picChg>
      </pc:sldChg>
      <pc:sldChg chg="modSp">
        <pc:chgData name="José Antonio Ureta Santacreu" userId="e36999d1-2b92-424a-9e8c-5fde0c5fbdd2" providerId="ADAL" clId="{8E1CC941-A529-42BD-91F2-8926E50D0828}" dt="2024-06-25T11:06:57.220" v="0"/>
        <pc:sldMkLst>
          <pc:docMk/>
          <pc:sldMk cId="3607409308" sldId="1178"/>
        </pc:sldMkLst>
        <pc:spChg chg="mod">
          <ac:chgData name="José Antonio Ureta Santacreu" userId="e36999d1-2b92-424a-9e8c-5fde0c5fbdd2" providerId="ADAL" clId="{8E1CC941-A529-42BD-91F2-8926E50D0828}" dt="2024-06-25T11:06:57.220" v="0"/>
          <ac:spMkLst>
            <pc:docMk/>
            <pc:sldMk cId="3607409308" sldId="1178"/>
            <ac:spMk id="2" creationId="{5EAD4719-0FC9-AD8B-BF2E-D534B9FF6FC4}"/>
          </ac:spMkLst>
        </pc:spChg>
        <pc:spChg chg="mod">
          <ac:chgData name="José Antonio Ureta Santacreu" userId="e36999d1-2b92-424a-9e8c-5fde0c5fbdd2" providerId="ADAL" clId="{8E1CC941-A529-42BD-91F2-8926E50D0828}" dt="2024-06-25T11:06:57.220" v="0"/>
          <ac:spMkLst>
            <pc:docMk/>
            <pc:sldMk cId="3607409308" sldId="1178"/>
            <ac:spMk id="5" creationId="{DAC00557-3119-151C-935A-FF40D4E6A6E8}"/>
          </ac:spMkLst>
        </pc:spChg>
        <pc:spChg chg="mod">
          <ac:chgData name="José Antonio Ureta Santacreu" userId="e36999d1-2b92-424a-9e8c-5fde0c5fbdd2" providerId="ADAL" clId="{8E1CC941-A529-42BD-91F2-8926E50D0828}" dt="2024-06-25T11:06:57.220" v="0"/>
          <ac:spMkLst>
            <pc:docMk/>
            <pc:sldMk cId="3607409308" sldId="1178"/>
            <ac:spMk id="6" creationId="{7A584D76-4F32-B706-8584-80D81BBDF46C}"/>
          </ac:spMkLst>
        </pc:spChg>
        <pc:spChg chg="mod">
          <ac:chgData name="José Antonio Ureta Santacreu" userId="e36999d1-2b92-424a-9e8c-5fde0c5fbdd2" providerId="ADAL" clId="{8E1CC941-A529-42BD-91F2-8926E50D0828}" dt="2024-06-25T11:06:57.220" v="0"/>
          <ac:spMkLst>
            <pc:docMk/>
            <pc:sldMk cId="3607409308" sldId="1178"/>
            <ac:spMk id="7" creationId="{2E087F13-DFDC-D05F-2279-64C1B6F06733}"/>
          </ac:spMkLst>
        </pc:spChg>
      </pc:sldChg>
      <pc:sldChg chg="modSp">
        <pc:chgData name="José Antonio Ureta Santacreu" userId="e36999d1-2b92-424a-9e8c-5fde0c5fbdd2" providerId="ADAL" clId="{8E1CC941-A529-42BD-91F2-8926E50D0828}" dt="2024-06-25T11:06:57.220" v="0"/>
        <pc:sldMkLst>
          <pc:docMk/>
          <pc:sldMk cId="1406289553" sldId="1179"/>
        </pc:sldMkLst>
        <pc:spChg chg="mod">
          <ac:chgData name="José Antonio Ureta Santacreu" userId="e36999d1-2b92-424a-9e8c-5fde0c5fbdd2" providerId="ADAL" clId="{8E1CC941-A529-42BD-91F2-8926E50D0828}" dt="2024-06-25T11:06:57.220" v="0"/>
          <ac:spMkLst>
            <pc:docMk/>
            <pc:sldMk cId="1406289553" sldId="1179"/>
            <ac:spMk id="2" creationId="{81DB5B5E-A76F-E365-3872-3124864435ED}"/>
          </ac:spMkLst>
        </pc:spChg>
        <pc:spChg chg="mod">
          <ac:chgData name="José Antonio Ureta Santacreu" userId="e36999d1-2b92-424a-9e8c-5fde0c5fbdd2" providerId="ADAL" clId="{8E1CC941-A529-42BD-91F2-8926E50D0828}" dt="2024-06-25T11:06:57.220" v="0"/>
          <ac:spMkLst>
            <pc:docMk/>
            <pc:sldMk cId="1406289553" sldId="1179"/>
            <ac:spMk id="5" creationId="{3B501AC2-F841-465B-FB79-7CB0163DD6D0}"/>
          </ac:spMkLst>
        </pc:spChg>
        <pc:spChg chg="mod">
          <ac:chgData name="José Antonio Ureta Santacreu" userId="e36999d1-2b92-424a-9e8c-5fde0c5fbdd2" providerId="ADAL" clId="{8E1CC941-A529-42BD-91F2-8926E50D0828}" dt="2024-06-25T11:06:57.220" v="0"/>
          <ac:spMkLst>
            <pc:docMk/>
            <pc:sldMk cId="1406289553" sldId="1179"/>
            <ac:spMk id="6" creationId="{8F4FE48B-E514-9F2F-0DD7-4485952786FA}"/>
          </ac:spMkLst>
        </pc:spChg>
        <pc:spChg chg="mod">
          <ac:chgData name="José Antonio Ureta Santacreu" userId="e36999d1-2b92-424a-9e8c-5fde0c5fbdd2" providerId="ADAL" clId="{8E1CC941-A529-42BD-91F2-8926E50D0828}" dt="2024-06-25T11:06:57.220" v="0"/>
          <ac:spMkLst>
            <pc:docMk/>
            <pc:sldMk cId="1406289553" sldId="1179"/>
            <ac:spMk id="7" creationId="{C0DEA432-32AE-FCD8-D204-C4AD21D2BD1D}"/>
          </ac:spMkLst>
        </pc:spChg>
      </pc:sldChg>
      <pc:sldChg chg="modSp">
        <pc:chgData name="José Antonio Ureta Santacreu" userId="e36999d1-2b92-424a-9e8c-5fde0c5fbdd2" providerId="ADAL" clId="{8E1CC941-A529-42BD-91F2-8926E50D0828}" dt="2024-06-25T11:06:57.220" v="0"/>
        <pc:sldMkLst>
          <pc:docMk/>
          <pc:sldMk cId="2027027250" sldId="1180"/>
        </pc:sldMkLst>
        <pc:spChg chg="mod">
          <ac:chgData name="José Antonio Ureta Santacreu" userId="e36999d1-2b92-424a-9e8c-5fde0c5fbdd2" providerId="ADAL" clId="{8E1CC941-A529-42BD-91F2-8926E50D0828}" dt="2024-06-25T11:06:57.220" v="0"/>
          <ac:spMkLst>
            <pc:docMk/>
            <pc:sldMk cId="2027027250" sldId="1180"/>
            <ac:spMk id="2" creationId="{DEEDE645-A463-13E9-B96A-379E197D415E}"/>
          </ac:spMkLst>
        </pc:spChg>
        <pc:spChg chg="mod">
          <ac:chgData name="José Antonio Ureta Santacreu" userId="e36999d1-2b92-424a-9e8c-5fde0c5fbdd2" providerId="ADAL" clId="{8E1CC941-A529-42BD-91F2-8926E50D0828}" dt="2024-06-25T11:06:57.220" v="0"/>
          <ac:spMkLst>
            <pc:docMk/>
            <pc:sldMk cId="2027027250" sldId="1180"/>
            <ac:spMk id="4" creationId="{01C208E4-1450-7F3E-8B76-FF2D26D95772}"/>
          </ac:spMkLst>
        </pc:spChg>
        <pc:spChg chg="mod">
          <ac:chgData name="José Antonio Ureta Santacreu" userId="e36999d1-2b92-424a-9e8c-5fde0c5fbdd2" providerId="ADAL" clId="{8E1CC941-A529-42BD-91F2-8926E50D0828}" dt="2024-06-25T11:06:57.220" v="0"/>
          <ac:spMkLst>
            <pc:docMk/>
            <pc:sldMk cId="2027027250" sldId="1180"/>
            <ac:spMk id="5" creationId="{478D98A2-205E-00F0-CA13-84B8100D1DAC}"/>
          </ac:spMkLst>
        </pc:spChg>
        <pc:spChg chg="mod">
          <ac:chgData name="José Antonio Ureta Santacreu" userId="e36999d1-2b92-424a-9e8c-5fde0c5fbdd2" providerId="ADAL" clId="{8E1CC941-A529-42BD-91F2-8926E50D0828}" dt="2024-06-25T11:06:57.220" v="0"/>
          <ac:spMkLst>
            <pc:docMk/>
            <pc:sldMk cId="2027027250" sldId="1180"/>
            <ac:spMk id="6" creationId="{200551A9-CC6B-3F56-DDE3-BDB19360142C}"/>
          </ac:spMkLst>
        </pc:spChg>
        <pc:graphicFrameChg chg="mod">
          <ac:chgData name="José Antonio Ureta Santacreu" userId="e36999d1-2b92-424a-9e8c-5fde0c5fbdd2" providerId="ADAL" clId="{8E1CC941-A529-42BD-91F2-8926E50D0828}" dt="2024-06-25T11:06:57.220" v="0"/>
          <ac:graphicFrameMkLst>
            <pc:docMk/>
            <pc:sldMk cId="2027027250" sldId="1180"/>
            <ac:graphicFrameMk id="7" creationId="{90416AB9-6134-3106-025A-B95CA5F65F31}"/>
          </ac:graphicFrameMkLst>
        </pc:graphicFrameChg>
      </pc:sldChg>
      <pc:sldChg chg="modSp">
        <pc:chgData name="José Antonio Ureta Santacreu" userId="e36999d1-2b92-424a-9e8c-5fde0c5fbdd2" providerId="ADAL" clId="{8E1CC941-A529-42BD-91F2-8926E50D0828}" dt="2024-06-25T11:06:57.220" v="0"/>
        <pc:sldMkLst>
          <pc:docMk/>
          <pc:sldMk cId="3226337980" sldId="1182"/>
        </pc:sldMkLst>
        <pc:spChg chg="mod">
          <ac:chgData name="José Antonio Ureta Santacreu" userId="e36999d1-2b92-424a-9e8c-5fde0c5fbdd2" providerId="ADAL" clId="{8E1CC941-A529-42BD-91F2-8926E50D0828}" dt="2024-06-25T11:06:57.220" v="0"/>
          <ac:spMkLst>
            <pc:docMk/>
            <pc:sldMk cId="3226337980" sldId="1182"/>
            <ac:spMk id="2" creationId="{8F9A4B20-C301-F90A-A6C7-D045E0133C39}"/>
          </ac:spMkLst>
        </pc:spChg>
        <pc:spChg chg="mod">
          <ac:chgData name="José Antonio Ureta Santacreu" userId="e36999d1-2b92-424a-9e8c-5fde0c5fbdd2" providerId="ADAL" clId="{8E1CC941-A529-42BD-91F2-8926E50D0828}" dt="2024-06-25T11:06:57.220" v="0"/>
          <ac:spMkLst>
            <pc:docMk/>
            <pc:sldMk cId="3226337980" sldId="1182"/>
            <ac:spMk id="4" creationId="{25C1A479-C4A6-DA05-BC72-7304E12091EC}"/>
          </ac:spMkLst>
        </pc:spChg>
        <pc:spChg chg="mod">
          <ac:chgData name="José Antonio Ureta Santacreu" userId="e36999d1-2b92-424a-9e8c-5fde0c5fbdd2" providerId="ADAL" clId="{8E1CC941-A529-42BD-91F2-8926E50D0828}" dt="2024-06-25T11:06:57.220" v="0"/>
          <ac:spMkLst>
            <pc:docMk/>
            <pc:sldMk cId="3226337980" sldId="1182"/>
            <ac:spMk id="5" creationId="{15A070C5-3A9E-9CC4-2F8F-8724BFC05BD6}"/>
          </ac:spMkLst>
        </pc:spChg>
        <pc:spChg chg="mod">
          <ac:chgData name="José Antonio Ureta Santacreu" userId="e36999d1-2b92-424a-9e8c-5fde0c5fbdd2" providerId="ADAL" clId="{8E1CC941-A529-42BD-91F2-8926E50D0828}" dt="2024-06-25T11:06:57.220" v="0"/>
          <ac:spMkLst>
            <pc:docMk/>
            <pc:sldMk cId="3226337980" sldId="1182"/>
            <ac:spMk id="6" creationId="{D4DD0225-3FAE-EA39-AC3F-678599345488}"/>
          </ac:spMkLst>
        </pc:spChg>
        <pc:picChg chg="mod">
          <ac:chgData name="José Antonio Ureta Santacreu" userId="e36999d1-2b92-424a-9e8c-5fde0c5fbdd2" providerId="ADAL" clId="{8E1CC941-A529-42BD-91F2-8926E50D0828}" dt="2024-06-25T11:06:57.220" v="0"/>
          <ac:picMkLst>
            <pc:docMk/>
            <pc:sldMk cId="3226337980" sldId="1182"/>
            <ac:picMk id="14" creationId="{01377CF1-80EF-44FF-CD11-DCC291AAF92E}"/>
          </ac:picMkLst>
        </pc:picChg>
      </pc:sldChg>
      <pc:sldChg chg="modSp">
        <pc:chgData name="José Antonio Ureta Santacreu" userId="e36999d1-2b92-424a-9e8c-5fde0c5fbdd2" providerId="ADAL" clId="{8E1CC941-A529-42BD-91F2-8926E50D0828}" dt="2024-06-25T11:06:57.220" v="0"/>
        <pc:sldMkLst>
          <pc:docMk/>
          <pc:sldMk cId="546133685" sldId="1183"/>
        </pc:sldMkLst>
        <pc:spChg chg="mod">
          <ac:chgData name="José Antonio Ureta Santacreu" userId="e36999d1-2b92-424a-9e8c-5fde0c5fbdd2" providerId="ADAL" clId="{8E1CC941-A529-42BD-91F2-8926E50D0828}" dt="2024-06-25T11:06:57.220" v="0"/>
          <ac:spMkLst>
            <pc:docMk/>
            <pc:sldMk cId="546133685" sldId="1183"/>
            <ac:spMk id="2" creationId="{BB3FEB5A-4314-EDB6-E8DF-183E89980F0C}"/>
          </ac:spMkLst>
        </pc:spChg>
        <pc:spChg chg="mod">
          <ac:chgData name="José Antonio Ureta Santacreu" userId="e36999d1-2b92-424a-9e8c-5fde0c5fbdd2" providerId="ADAL" clId="{8E1CC941-A529-42BD-91F2-8926E50D0828}" dt="2024-06-25T11:06:57.220" v="0"/>
          <ac:spMkLst>
            <pc:docMk/>
            <pc:sldMk cId="546133685" sldId="1183"/>
            <ac:spMk id="3" creationId="{3A4A35F4-D67A-3DD9-1484-C84ECDDD3DAE}"/>
          </ac:spMkLst>
        </pc:spChg>
        <pc:spChg chg="mod">
          <ac:chgData name="José Antonio Ureta Santacreu" userId="e36999d1-2b92-424a-9e8c-5fde0c5fbdd2" providerId="ADAL" clId="{8E1CC941-A529-42BD-91F2-8926E50D0828}" dt="2024-06-25T11:06:57.220" v="0"/>
          <ac:spMkLst>
            <pc:docMk/>
            <pc:sldMk cId="546133685" sldId="1183"/>
            <ac:spMk id="4" creationId="{909C7E39-952D-D831-F50E-D0AE75AD3DF9}"/>
          </ac:spMkLst>
        </pc:spChg>
        <pc:spChg chg="mod">
          <ac:chgData name="José Antonio Ureta Santacreu" userId="e36999d1-2b92-424a-9e8c-5fde0c5fbdd2" providerId="ADAL" clId="{8E1CC941-A529-42BD-91F2-8926E50D0828}" dt="2024-06-25T11:06:57.220" v="0"/>
          <ac:spMkLst>
            <pc:docMk/>
            <pc:sldMk cId="546133685" sldId="1183"/>
            <ac:spMk id="5" creationId="{69F1B02C-E663-4F37-9811-1D425EE3E977}"/>
          </ac:spMkLst>
        </pc:spChg>
      </pc:sldChg>
      <pc:sldChg chg="modSp">
        <pc:chgData name="José Antonio Ureta Santacreu" userId="e36999d1-2b92-424a-9e8c-5fde0c5fbdd2" providerId="ADAL" clId="{8E1CC941-A529-42BD-91F2-8926E50D0828}" dt="2024-06-25T11:06:57.220" v="0"/>
        <pc:sldMkLst>
          <pc:docMk/>
          <pc:sldMk cId="1609561477" sldId="1184"/>
        </pc:sldMkLst>
        <pc:spChg chg="mod">
          <ac:chgData name="José Antonio Ureta Santacreu" userId="e36999d1-2b92-424a-9e8c-5fde0c5fbdd2" providerId="ADAL" clId="{8E1CC941-A529-42BD-91F2-8926E50D0828}" dt="2024-06-25T11:06:57.220" v="0"/>
          <ac:spMkLst>
            <pc:docMk/>
            <pc:sldMk cId="1609561477" sldId="1184"/>
            <ac:spMk id="2" creationId="{702E938F-3339-4DB8-4857-C898D2658408}"/>
          </ac:spMkLst>
        </pc:spChg>
        <pc:spChg chg="mod">
          <ac:chgData name="José Antonio Ureta Santacreu" userId="e36999d1-2b92-424a-9e8c-5fde0c5fbdd2" providerId="ADAL" clId="{8E1CC941-A529-42BD-91F2-8926E50D0828}" dt="2024-06-25T11:06:57.220" v="0"/>
          <ac:spMkLst>
            <pc:docMk/>
            <pc:sldMk cId="1609561477" sldId="1184"/>
            <ac:spMk id="3" creationId="{572131BA-62CA-0ADE-098E-A5AE61425ED0}"/>
          </ac:spMkLst>
        </pc:spChg>
        <pc:spChg chg="mod">
          <ac:chgData name="José Antonio Ureta Santacreu" userId="e36999d1-2b92-424a-9e8c-5fde0c5fbdd2" providerId="ADAL" clId="{8E1CC941-A529-42BD-91F2-8926E50D0828}" dt="2024-06-25T11:06:57.220" v="0"/>
          <ac:spMkLst>
            <pc:docMk/>
            <pc:sldMk cId="1609561477" sldId="1184"/>
            <ac:spMk id="4" creationId="{EA25A8F9-A019-060E-2D38-56273DCD9938}"/>
          </ac:spMkLst>
        </pc:spChg>
        <pc:spChg chg="mod">
          <ac:chgData name="José Antonio Ureta Santacreu" userId="e36999d1-2b92-424a-9e8c-5fde0c5fbdd2" providerId="ADAL" clId="{8E1CC941-A529-42BD-91F2-8926E50D0828}" dt="2024-06-25T11:06:57.220" v="0"/>
          <ac:spMkLst>
            <pc:docMk/>
            <pc:sldMk cId="1609561477" sldId="1184"/>
            <ac:spMk id="5" creationId="{B87B8FFD-BDFA-6317-6BC7-0891F80CA54D}"/>
          </ac:spMkLst>
        </pc:spChg>
      </pc:sldChg>
      <pc:sldChg chg="modSp">
        <pc:chgData name="José Antonio Ureta Santacreu" userId="e36999d1-2b92-424a-9e8c-5fde0c5fbdd2" providerId="ADAL" clId="{8E1CC941-A529-42BD-91F2-8926E50D0828}" dt="2024-06-25T11:06:57.220" v="0"/>
        <pc:sldMkLst>
          <pc:docMk/>
          <pc:sldMk cId="2195005296" sldId="1185"/>
        </pc:sldMkLst>
        <pc:spChg chg="mod">
          <ac:chgData name="José Antonio Ureta Santacreu" userId="e36999d1-2b92-424a-9e8c-5fde0c5fbdd2" providerId="ADAL" clId="{8E1CC941-A529-42BD-91F2-8926E50D0828}" dt="2024-06-25T11:06:57.220" v="0"/>
          <ac:spMkLst>
            <pc:docMk/>
            <pc:sldMk cId="2195005296" sldId="1185"/>
            <ac:spMk id="2" creationId="{33191D2F-A073-B63A-3F27-FDFBE415891A}"/>
          </ac:spMkLst>
        </pc:spChg>
        <pc:spChg chg="mod">
          <ac:chgData name="José Antonio Ureta Santacreu" userId="e36999d1-2b92-424a-9e8c-5fde0c5fbdd2" providerId="ADAL" clId="{8E1CC941-A529-42BD-91F2-8926E50D0828}" dt="2024-06-25T11:06:57.220" v="0"/>
          <ac:spMkLst>
            <pc:docMk/>
            <pc:sldMk cId="2195005296" sldId="1185"/>
            <ac:spMk id="4" creationId="{71A90BAA-FD7C-89EA-14C0-5478E5335897}"/>
          </ac:spMkLst>
        </pc:spChg>
        <pc:spChg chg="mod">
          <ac:chgData name="José Antonio Ureta Santacreu" userId="e36999d1-2b92-424a-9e8c-5fde0c5fbdd2" providerId="ADAL" clId="{8E1CC941-A529-42BD-91F2-8926E50D0828}" dt="2024-06-25T11:06:57.220" v="0"/>
          <ac:spMkLst>
            <pc:docMk/>
            <pc:sldMk cId="2195005296" sldId="1185"/>
            <ac:spMk id="5" creationId="{E6073C40-5E77-7934-E11E-2B1E0087337F}"/>
          </ac:spMkLst>
        </pc:spChg>
        <pc:spChg chg="mod">
          <ac:chgData name="José Antonio Ureta Santacreu" userId="e36999d1-2b92-424a-9e8c-5fde0c5fbdd2" providerId="ADAL" clId="{8E1CC941-A529-42BD-91F2-8926E50D0828}" dt="2024-06-25T11:06:57.220" v="0"/>
          <ac:spMkLst>
            <pc:docMk/>
            <pc:sldMk cId="2195005296" sldId="1185"/>
            <ac:spMk id="6" creationId="{AE00C438-71FF-4801-E95D-28B26868760E}"/>
          </ac:spMkLst>
        </pc:spChg>
        <pc:graphicFrameChg chg="mod">
          <ac:chgData name="José Antonio Ureta Santacreu" userId="e36999d1-2b92-424a-9e8c-5fde0c5fbdd2" providerId="ADAL" clId="{8E1CC941-A529-42BD-91F2-8926E50D0828}" dt="2024-06-25T11:06:57.220" v="0"/>
          <ac:graphicFrameMkLst>
            <pc:docMk/>
            <pc:sldMk cId="2195005296" sldId="1185"/>
            <ac:graphicFrameMk id="12" creationId="{738EFFB9-5E3C-2527-C43D-55F2CA308FE2}"/>
          </ac:graphicFrameMkLst>
        </pc:graphicFrameChg>
      </pc:sldChg>
      <pc:sldChg chg="modSp">
        <pc:chgData name="José Antonio Ureta Santacreu" userId="e36999d1-2b92-424a-9e8c-5fde0c5fbdd2" providerId="ADAL" clId="{8E1CC941-A529-42BD-91F2-8926E50D0828}" dt="2024-06-25T11:06:57.220" v="0"/>
        <pc:sldMkLst>
          <pc:docMk/>
          <pc:sldMk cId="960652425" sldId="1186"/>
        </pc:sldMkLst>
        <pc:spChg chg="mod">
          <ac:chgData name="José Antonio Ureta Santacreu" userId="e36999d1-2b92-424a-9e8c-5fde0c5fbdd2" providerId="ADAL" clId="{8E1CC941-A529-42BD-91F2-8926E50D0828}" dt="2024-06-25T11:06:57.220" v="0"/>
          <ac:spMkLst>
            <pc:docMk/>
            <pc:sldMk cId="960652425" sldId="1186"/>
            <ac:spMk id="2" creationId="{B560559D-BBC2-F82B-2820-D51C9DCF96F8}"/>
          </ac:spMkLst>
        </pc:spChg>
        <pc:spChg chg="mod">
          <ac:chgData name="José Antonio Ureta Santacreu" userId="e36999d1-2b92-424a-9e8c-5fde0c5fbdd2" providerId="ADAL" clId="{8E1CC941-A529-42BD-91F2-8926E50D0828}" dt="2024-06-25T11:06:57.220" v="0"/>
          <ac:spMkLst>
            <pc:docMk/>
            <pc:sldMk cId="960652425" sldId="1186"/>
            <ac:spMk id="3" creationId="{3AADAB32-7CD8-0FF6-5A40-CA6F8351E09C}"/>
          </ac:spMkLst>
        </pc:spChg>
        <pc:spChg chg="mod">
          <ac:chgData name="José Antonio Ureta Santacreu" userId="e36999d1-2b92-424a-9e8c-5fde0c5fbdd2" providerId="ADAL" clId="{8E1CC941-A529-42BD-91F2-8926E50D0828}" dt="2024-06-25T11:06:57.220" v="0"/>
          <ac:spMkLst>
            <pc:docMk/>
            <pc:sldMk cId="960652425" sldId="1186"/>
            <ac:spMk id="4" creationId="{E1CDC289-E5B8-5349-037C-5DB8B2CE5D0D}"/>
          </ac:spMkLst>
        </pc:spChg>
        <pc:spChg chg="mod">
          <ac:chgData name="José Antonio Ureta Santacreu" userId="e36999d1-2b92-424a-9e8c-5fde0c5fbdd2" providerId="ADAL" clId="{8E1CC941-A529-42BD-91F2-8926E50D0828}" dt="2024-06-25T11:06:57.220" v="0"/>
          <ac:spMkLst>
            <pc:docMk/>
            <pc:sldMk cId="960652425" sldId="1186"/>
            <ac:spMk id="5" creationId="{67462466-D14F-BDA4-5724-0298A6E17680}"/>
          </ac:spMkLst>
        </pc:spChg>
        <pc:picChg chg="mod">
          <ac:chgData name="José Antonio Ureta Santacreu" userId="e36999d1-2b92-424a-9e8c-5fde0c5fbdd2" providerId="ADAL" clId="{8E1CC941-A529-42BD-91F2-8926E50D0828}" dt="2024-06-25T11:06:57.220" v="0"/>
          <ac:picMkLst>
            <pc:docMk/>
            <pc:sldMk cId="960652425" sldId="1186"/>
            <ac:picMk id="5122" creationId="{50524B6C-6A5D-0338-F401-34A6B0CFF3B1}"/>
          </ac:picMkLst>
        </pc:picChg>
      </pc:sldChg>
      <pc:sldChg chg="modSp">
        <pc:chgData name="José Antonio Ureta Santacreu" userId="e36999d1-2b92-424a-9e8c-5fde0c5fbdd2" providerId="ADAL" clId="{8E1CC941-A529-42BD-91F2-8926E50D0828}" dt="2024-06-25T11:06:57.220" v="0"/>
        <pc:sldMkLst>
          <pc:docMk/>
          <pc:sldMk cId="1450900591" sldId="1187"/>
        </pc:sldMkLst>
        <pc:spChg chg="mod">
          <ac:chgData name="José Antonio Ureta Santacreu" userId="e36999d1-2b92-424a-9e8c-5fde0c5fbdd2" providerId="ADAL" clId="{8E1CC941-A529-42BD-91F2-8926E50D0828}" dt="2024-06-25T11:06:57.220" v="0"/>
          <ac:spMkLst>
            <pc:docMk/>
            <pc:sldMk cId="1450900591" sldId="1187"/>
            <ac:spMk id="2" creationId="{49B13288-4F1E-6688-5F3B-22A53F0A193F}"/>
          </ac:spMkLst>
        </pc:spChg>
        <pc:spChg chg="mod">
          <ac:chgData name="José Antonio Ureta Santacreu" userId="e36999d1-2b92-424a-9e8c-5fde0c5fbdd2" providerId="ADAL" clId="{8E1CC941-A529-42BD-91F2-8926E50D0828}" dt="2024-06-25T11:06:57.220" v="0"/>
          <ac:spMkLst>
            <pc:docMk/>
            <pc:sldMk cId="1450900591" sldId="1187"/>
            <ac:spMk id="3" creationId="{46F9B09E-22F9-81C5-AB90-C8B5BF52B809}"/>
          </ac:spMkLst>
        </pc:spChg>
        <pc:spChg chg="mod">
          <ac:chgData name="José Antonio Ureta Santacreu" userId="e36999d1-2b92-424a-9e8c-5fde0c5fbdd2" providerId="ADAL" clId="{8E1CC941-A529-42BD-91F2-8926E50D0828}" dt="2024-06-25T11:06:57.220" v="0"/>
          <ac:spMkLst>
            <pc:docMk/>
            <pc:sldMk cId="1450900591" sldId="1187"/>
            <ac:spMk id="4" creationId="{75F5BA79-A2CF-78AF-1EEA-629C3A712D18}"/>
          </ac:spMkLst>
        </pc:spChg>
        <pc:spChg chg="mod">
          <ac:chgData name="José Antonio Ureta Santacreu" userId="e36999d1-2b92-424a-9e8c-5fde0c5fbdd2" providerId="ADAL" clId="{8E1CC941-A529-42BD-91F2-8926E50D0828}" dt="2024-06-25T11:06:57.220" v="0"/>
          <ac:spMkLst>
            <pc:docMk/>
            <pc:sldMk cId="1450900591" sldId="1187"/>
            <ac:spMk id="5" creationId="{342A7FD7-205F-1811-B29C-FD26BD21AE6B}"/>
          </ac:spMkLst>
        </pc:spChg>
      </pc:sldChg>
      <pc:sldChg chg="modSp">
        <pc:chgData name="José Antonio Ureta Santacreu" userId="e36999d1-2b92-424a-9e8c-5fde0c5fbdd2" providerId="ADAL" clId="{8E1CC941-A529-42BD-91F2-8926E50D0828}" dt="2024-06-25T11:06:57.220" v="0"/>
        <pc:sldMkLst>
          <pc:docMk/>
          <pc:sldMk cId="1057973825" sldId="1188"/>
        </pc:sldMkLst>
        <pc:spChg chg="mod">
          <ac:chgData name="José Antonio Ureta Santacreu" userId="e36999d1-2b92-424a-9e8c-5fde0c5fbdd2" providerId="ADAL" clId="{8E1CC941-A529-42BD-91F2-8926E50D0828}" dt="2024-06-25T11:06:57.220" v="0"/>
          <ac:spMkLst>
            <pc:docMk/>
            <pc:sldMk cId="1057973825" sldId="1188"/>
            <ac:spMk id="2" creationId="{960CA007-B82C-DC41-CBAB-82A1D716A4C9}"/>
          </ac:spMkLst>
        </pc:spChg>
        <pc:spChg chg="mod">
          <ac:chgData name="José Antonio Ureta Santacreu" userId="e36999d1-2b92-424a-9e8c-5fde0c5fbdd2" providerId="ADAL" clId="{8E1CC941-A529-42BD-91F2-8926E50D0828}" dt="2024-06-25T11:06:57.220" v="0"/>
          <ac:spMkLst>
            <pc:docMk/>
            <pc:sldMk cId="1057973825" sldId="1188"/>
            <ac:spMk id="3" creationId="{7256D010-476C-B24C-2449-7FC2E0A883C3}"/>
          </ac:spMkLst>
        </pc:spChg>
        <pc:spChg chg="mod">
          <ac:chgData name="José Antonio Ureta Santacreu" userId="e36999d1-2b92-424a-9e8c-5fde0c5fbdd2" providerId="ADAL" clId="{8E1CC941-A529-42BD-91F2-8926E50D0828}" dt="2024-06-25T11:06:57.220" v="0"/>
          <ac:spMkLst>
            <pc:docMk/>
            <pc:sldMk cId="1057973825" sldId="1188"/>
            <ac:spMk id="4" creationId="{55F2BE7D-076C-B7C1-4CA3-09D1ABA16063}"/>
          </ac:spMkLst>
        </pc:spChg>
        <pc:spChg chg="mod">
          <ac:chgData name="José Antonio Ureta Santacreu" userId="e36999d1-2b92-424a-9e8c-5fde0c5fbdd2" providerId="ADAL" clId="{8E1CC941-A529-42BD-91F2-8926E50D0828}" dt="2024-06-25T11:06:57.220" v="0"/>
          <ac:spMkLst>
            <pc:docMk/>
            <pc:sldMk cId="1057973825" sldId="1188"/>
            <ac:spMk id="5" creationId="{613E9C74-C02B-6203-1168-612756010D10}"/>
          </ac:spMkLst>
        </pc:spChg>
      </pc:sldChg>
      <pc:sldChg chg="modSp">
        <pc:chgData name="José Antonio Ureta Santacreu" userId="e36999d1-2b92-424a-9e8c-5fde0c5fbdd2" providerId="ADAL" clId="{8E1CC941-A529-42BD-91F2-8926E50D0828}" dt="2024-06-25T11:06:57.220" v="0"/>
        <pc:sldMkLst>
          <pc:docMk/>
          <pc:sldMk cId="1877415202" sldId="1189"/>
        </pc:sldMkLst>
        <pc:spChg chg="mod">
          <ac:chgData name="José Antonio Ureta Santacreu" userId="e36999d1-2b92-424a-9e8c-5fde0c5fbdd2" providerId="ADAL" clId="{8E1CC941-A529-42BD-91F2-8926E50D0828}" dt="2024-06-25T11:06:57.220" v="0"/>
          <ac:spMkLst>
            <pc:docMk/>
            <pc:sldMk cId="1877415202" sldId="1189"/>
            <ac:spMk id="2" creationId="{219B44C1-57E9-8D02-08B3-468EF1072CBE}"/>
          </ac:spMkLst>
        </pc:spChg>
        <pc:spChg chg="mod">
          <ac:chgData name="José Antonio Ureta Santacreu" userId="e36999d1-2b92-424a-9e8c-5fde0c5fbdd2" providerId="ADAL" clId="{8E1CC941-A529-42BD-91F2-8926E50D0828}" dt="2024-06-25T11:06:57.220" v="0"/>
          <ac:spMkLst>
            <pc:docMk/>
            <pc:sldMk cId="1877415202" sldId="1189"/>
            <ac:spMk id="3" creationId="{702ABCC3-690E-F250-881C-6D46710FF8F5}"/>
          </ac:spMkLst>
        </pc:spChg>
        <pc:spChg chg="mod">
          <ac:chgData name="José Antonio Ureta Santacreu" userId="e36999d1-2b92-424a-9e8c-5fde0c5fbdd2" providerId="ADAL" clId="{8E1CC941-A529-42BD-91F2-8926E50D0828}" dt="2024-06-25T11:06:57.220" v="0"/>
          <ac:spMkLst>
            <pc:docMk/>
            <pc:sldMk cId="1877415202" sldId="1189"/>
            <ac:spMk id="4" creationId="{BADFE124-C979-59A2-9719-B7EC5B0EB8A1}"/>
          </ac:spMkLst>
        </pc:spChg>
        <pc:spChg chg="mod">
          <ac:chgData name="José Antonio Ureta Santacreu" userId="e36999d1-2b92-424a-9e8c-5fde0c5fbdd2" providerId="ADAL" clId="{8E1CC941-A529-42BD-91F2-8926E50D0828}" dt="2024-06-25T11:06:57.220" v="0"/>
          <ac:spMkLst>
            <pc:docMk/>
            <pc:sldMk cId="1877415202" sldId="1189"/>
            <ac:spMk id="5" creationId="{E1F0CA67-04B0-91E5-EE55-E40F1EB84D89}"/>
          </ac:spMkLst>
        </pc:spChg>
      </pc:sldChg>
      <pc:sldChg chg="modSp">
        <pc:chgData name="José Antonio Ureta Santacreu" userId="e36999d1-2b92-424a-9e8c-5fde0c5fbdd2" providerId="ADAL" clId="{8E1CC941-A529-42BD-91F2-8926E50D0828}" dt="2024-06-25T11:06:57.220" v="0"/>
        <pc:sldMkLst>
          <pc:docMk/>
          <pc:sldMk cId="706612000" sldId="1190"/>
        </pc:sldMkLst>
        <pc:spChg chg="mod">
          <ac:chgData name="José Antonio Ureta Santacreu" userId="e36999d1-2b92-424a-9e8c-5fde0c5fbdd2" providerId="ADAL" clId="{8E1CC941-A529-42BD-91F2-8926E50D0828}" dt="2024-06-25T11:06:57.220" v="0"/>
          <ac:spMkLst>
            <pc:docMk/>
            <pc:sldMk cId="706612000" sldId="1190"/>
            <ac:spMk id="3" creationId="{289B7B69-048D-1BED-C56E-47A290BB82A9}"/>
          </ac:spMkLst>
        </pc:spChg>
        <pc:spChg chg="mod">
          <ac:chgData name="José Antonio Ureta Santacreu" userId="e36999d1-2b92-424a-9e8c-5fde0c5fbdd2" providerId="ADAL" clId="{8E1CC941-A529-42BD-91F2-8926E50D0828}" dt="2024-06-25T11:06:57.220" v="0"/>
          <ac:spMkLst>
            <pc:docMk/>
            <pc:sldMk cId="706612000" sldId="1190"/>
            <ac:spMk id="4" creationId="{4A210DD0-E6E0-497F-5A6A-B785EA5E8D3C}"/>
          </ac:spMkLst>
        </pc:spChg>
        <pc:spChg chg="mod">
          <ac:chgData name="José Antonio Ureta Santacreu" userId="e36999d1-2b92-424a-9e8c-5fde0c5fbdd2" providerId="ADAL" clId="{8E1CC941-A529-42BD-91F2-8926E50D0828}" dt="2024-06-25T11:06:57.220" v="0"/>
          <ac:spMkLst>
            <pc:docMk/>
            <pc:sldMk cId="706612000" sldId="1190"/>
            <ac:spMk id="5" creationId="{92404A57-BA59-B728-E43A-18B19728034F}"/>
          </ac:spMkLst>
        </pc:spChg>
        <pc:spChg chg="mod">
          <ac:chgData name="José Antonio Ureta Santacreu" userId="e36999d1-2b92-424a-9e8c-5fde0c5fbdd2" providerId="ADAL" clId="{8E1CC941-A529-42BD-91F2-8926E50D0828}" dt="2024-06-25T11:06:57.220" v="0"/>
          <ac:spMkLst>
            <pc:docMk/>
            <pc:sldMk cId="706612000" sldId="1190"/>
            <ac:spMk id="7" creationId="{C1A8DC45-6EA1-B84B-4277-16D403A38A43}"/>
          </ac:spMkLst>
        </pc:spChg>
      </pc:sldChg>
      <pc:sldChg chg="modSp">
        <pc:chgData name="José Antonio Ureta Santacreu" userId="e36999d1-2b92-424a-9e8c-5fde0c5fbdd2" providerId="ADAL" clId="{8E1CC941-A529-42BD-91F2-8926E50D0828}" dt="2024-06-25T11:06:57.220" v="0"/>
        <pc:sldMkLst>
          <pc:docMk/>
          <pc:sldMk cId="241457868" sldId="1191"/>
        </pc:sldMkLst>
        <pc:spChg chg="mod">
          <ac:chgData name="José Antonio Ureta Santacreu" userId="e36999d1-2b92-424a-9e8c-5fde0c5fbdd2" providerId="ADAL" clId="{8E1CC941-A529-42BD-91F2-8926E50D0828}" dt="2024-06-25T11:06:57.220" v="0"/>
          <ac:spMkLst>
            <pc:docMk/>
            <pc:sldMk cId="241457868" sldId="1191"/>
            <ac:spMk id="2" creationId="{D92664E9-AA51-F6B8-FE80-E8A45C9A9D5B}"/>
          </ac:spMkLst>
        </pc:spChg>
        <pc:spChg chg="mod">
          <ac:chgData name="José Antonio Ureta Santacreu" userId="e36999d1-2b92-424a-9e8c-5fde0c5fbdd2" providerId="ADAL" clId="{8E1CC941-A529-42BD-91F2-8926E50D0828}" dt="2024-06-25T11:06:57.220" v="0"/>
          <ac:spMkLst>
            <pc:docMk/>
            <pc:sldMk cId="241457868" sldId="1191"/>
            <ac:spMk id="3" creationId="{28AF6000-EBC5-E7BE-7649-91E926AD80B9}"/>
          </ac:spMkLst>
        </pc:spChg>
        <pc:spChg chg="mod">
          <ac:chgData name="José Antonio Ureta Santacreu" userId="e36999d1-2b92-424a-9e8c-5fde0c5fbdd2" providerId="ADAL" clId="{8E1CC941-A529-42BD-91F2-8926E50D0828}" dt="2024-06-25T11:06:57.220" v="0"/>
          <ac:spMkLst>
            <pc:docMk/>
            <pc:sldMk cId="241457868" sldId="1191"/>
            <ac:spMk id="4" creationId="{B814DE2C-3B66-E636-2946-0CADA7490BF0}"/>
          </ac:spMkLst>
        </pc:spChg>
        <pc:spChg chg="mod">
          <ac:chgData name="José Antonio Ureta Santacreu" userId="e36999d1-2b92-424a-9e8c-5fde0c5fbdd2" providerId="ADAL" clId="{8E1CC941-A529-42BD-91F2-8926E50D0828}" dt="2024-06-25T11:06:57.220" v="0"/>
          <ac:spMkLst>
            <pc:docMk/>
            <pc:sldMk cId="241457868" sldId="1191"/>
            <ac:spMk id="7" creationId="{1690F052-CA99-AE26-5BC2-02CD577DE123}"/>
          </ac:spMkLst>
        </pc:spChg>
      </pc:sldChg>
      <pc:sldChg chg="modSp">
        <pc:chgData name="José Antonio Ureta Santacreu" userId="e36999d1-2b92-424a-9e8c-5fde0c5fbdd2" providerId="ADAL" clId="{8E1CC941-A529-42BD-91F2-8926E50D0828}" dt="2024-06-25T11:06:57.220" v="0"/>
        <pc:sldMkLst>
          <pc:docMk/>
          <pc:sldMk cId="1490289559" sldId="1192"/>
        </pc:sldMkLst>
        <pc:spChg chg="mod">
          <ac:chgData name="José Antonio Ureta Santacreu" userId="e36999d1-2b92-424a-9e8c-5fde0c5fbdd2" providerId="ADAL" clId="{8E1CC941-A529-42BD-91F2-8926E50D0828}" dt="2024-06-25T11:06:57.220" v="0"/>
          <ac:spMkLst>
            <pc:docMk/>
            <pc:sldMk cId="1490289559" sldId="1192"/>
            <ac:spMk id="2" creationId="{FBB406FA-5C36-6B05-D77D-7550967D3E7E}"/>
          </ac:spMkLst>
        </pc:spChg>
        <pc:spChg chg="mod">
          <ac:chgData name="José Antonio Ureta Santacreu" userId="e36999d1-2b92-424a-9e8c-5fde0c5fbdd2" providerId="ADAL" clId="{8E1CC941-A529-42BD-91F2-8926E50D0828}" dt="2024-06-25T11:06:57.220" v="0"/>
          <ac:spMkLst>
            <pc:docMk/>
            <pc:sldMk cId="1490289559" sldId="1192"/>
            <ac:spMk id="3" creationId="{9EF00745-2918-57E0-07FC-36D63BC83164}"/>
          </ac:spMkLst>
        </pc:spChg>
        <pc:spChg chg="mod">
          <ac:chgData name="José Antonio Ureta Santacreu" userId="e36999d1-2b92-424a-9e8c-5fde0c5fbdd2" providerId="ADAL" clId="{8E1CC941-A529-42BD-91F2-8926E50D0828}" dt="2024-06-25T11:06:57.220" v="0"/>
          <ac:spMkLst>
            <pc:docMk/>
            <pc:sldMk cId="1490289559" sldId="1192"/>
            <ac:spMk id="4" creationId="{36F7F514-E8F8-4A1A-5901-1BA43AD605A5}"/>
          </ac:spMkLst>
        </pc:spChg>
        <pc:spChg chg="mod">
          <ac:chgData name="José Antonio Ureta Santacreu" userId="e36999d1-2b92-424a-9e8c-5fde0c5fbdd2" providerId="ADAL" clId="{8E1CC941-A529-42BD-91F2-8926E50D0828}" dt="2024-06-25T11:06:57.220" v="0"/>
          <ac:spMkLst>
            <pc:docMk/>
            <pc:sldMk cId="1490289559" sldId="1192"/>
            <ac:spMk id="5" creationId="{D0F35987-7360-03E4-92E6-E30407743D0A}"/>
          </ac:spMkLst>
        </pc:spChg>
      </pc:sldChg>
      <pc:sldChg chg="modSp">
        <pc:chgData name="José Antonio Ureta Santacreu" userId="e36999d1-2b92-424a-9e8c-5fde0c5fbdd2" providerId="ADAL" clId="{8E1CC941-A529-42BD-91F2-8926E50D0828}" dt="2024-06-25T11:06:57.220" v="0"/>
        <pc:sldMkLst>
          <pc:docMk/>
          <pc:sldMk cId="2370316623" sldId="1193"/>
        </pc:sldMkLst>
        <pc:spChg chg="mod">
          <ac:chgData name="José Antonio Ureta Santacreu" userId="e36999d1-2b92-424a-9e8c-5fde0c5fbdd2" providerId="ADAL" clId="{8E1CC941-A529-42BD-91F2-8926E50D0828}" dt="2024-06-25T11:06:57.220" v="0"/>
          <ac:spMkLst>
            <pc:docMk/>
            <pc:sldMk cId="2370316623" sldId="1193"/>
            <ac:spMk id="2" creationId="{33654007-EF2F-A35E-2C47-5677CD2FDA98}"/>
          </ac:spMkLst>
        </pc:spChg>
        <pc:spChg chg="mod">
          <ac:chgData name="José Antonio Ureta Santacreu" userId="e36999d1-2b92-424a-9e8c-5fde0c5fbdd2" providerId="ADAL" clId="{8E1CC941-A529-42BD-91F2-8926E50D0828}" dt="2024-06-25T11:06:57.220" v="0"/>
          <ac:spMkLst>
            <pc:docMk/>
            <pc:sldMk cId="2370316623" sldId="1193"/>
            <ac:spMk id="3" creationId="{CE3CEF77-13B3-E3C2-6672-1F1D0C099C2A}"/>
          </ac:spMkLst>
        </pc:spChg>
        <pc:spChg chg="mod">
          <ac:chgData name="José Antonio Ureta Santacreu" userId="e36999d1-2b92-424a-9e8c-5fde0c5fbdd2" providerId="ADAL" clId="{8E1CC941-A529-42BD-91F2-8926E50D0828}" dt="2024-06-25T11:06:57.220" v="0"/>
          <ac:spMkLst>
            <pc:docMk/>
            <pc:sldMk cId="2370316623" sldId="1193"/>
            <ac:spMk id="4" creationId="{283F89A2-D427-C0A2-C399-4BF8A218CB8B}"/>
          </ac:spMkLst>
        </pc:spChg>
        <pc:spChg chg="mod">
          <ac:chgData name="José Antonio Ureta Santacreu" userId="e36999d1-2b92-424a-9e8c-5fde0c5fbdd2" providerId="ADAL" clId="{8E1CC941-A529-42BD-91F2-8926E50D0828}" dt="2024-06-25T11:06:57.220" v="0"/>
          <ac:spMkLst>
            <pc:docMk/>
            <pc:sldMk cId="2370316623" sldId="1193"/>
            <ac:spMk id="5" creationId="{A3F6705C-B2DB-1F4A-E7F2-1B7A3468B298}"/>
          </ac:spMkLst>
        </pc:spChg>
      </pc:sldChg>
      <pc:sldChg chg="modSp">
        <pc:chgData name="José Antonio Ureta Santacreu" userId="e36999d1-2b92-424a-9e8c-5fde0c5fbdd2" providerId="ADAL" clId="{8E1CC941-A529-42BD-91F2-8926E50D0828}" dt="2024-06-25T11:06:57.220" v="0"/>
        <pc:sldMkLst>
          <pc:docMk/>
          <pc:sldMk cId="3814514601" sldId="1194"/>
        </pc:sldMkLst>
        <pc:spChg chg="mod">
          <ac:chgData name="José Antonio Ureta Santacreu" userId="e36999d1-2b92-424a-9e8c-5fde0c5fbdd2" providerId="ADAL" clId="{8E1CC941-A529-42BD-91F2-8926E50D0828}" dt="2024-06-25T11:06:57.220" v="0"/>
          <ac:spMkLst>
            <pc:docMk/>
            <pc:sldMk cId="3814514601" sldId="1194"/>
            <ac:spMk id="2" creationId="{DA64F8A0-11DD-1533-C2C6-3AAD3C1F95B0}"/>
          </ac:spMkLst>
        </pc:spChg>
        <pc:spChg chg="mod">
          <ac:chgData name="José Antonio Ureta Santacreu" userId="e36999d1-2b92-424a-9e8c-5fde0c5fbdd2" providerId="ADAL" clId="{8E1CC941-A529-42BD-91F2-8926E50D0828}" dt="2024-06-25T11:06:57.220" v="0"/>
          <ac:spMkLst>
            <pc:docMk/>
            <pc:sldMk cId="3814514601" sldId="1194"/>
            <ac:spMk id="3" creationId="{D934D36F-8F2A-0427-A7B7-981094F290B5}"/>
          </ac:spMkLst>
        </pc:spChg>
        <pc:spChg chg="mod">
          <ac:chgData name="José Antonio Ureta Santacreu" userId="e36999d1-2b92-424a-9e8c-5fde0c5fbdd2" providerId="ADAL" clId="{8E1CC941-A529-42BD-91F2-8926E50D0828}" dt="2024-06-25T11:06:57.220" v="0"/>
          <ac:spMkLst>
            <pc:docMk/>
            <pc:sldMk cId="3814514601" sldId="1194"/>
            <ac:spMk id="4" creationId="{71C502F7-E781-398A-8545-DAF4AE444C90}"/>
          </ac:spMkLst>
        </pc:spChg>
        <pc:spChg chg="mod">
          <ac:chgData name="José Antonio Ureta Santacreu" userId="e36999d1-2b92-424a-9e8c-5fde0c5fbdd2" providerId="ADAL" clId="{8E1CC941-A529-42BD-91F2-8926E50D0828}" dt="2024-06-25T11:06:57.220" v="0"/>
          <ac:spMkLst>
            <pc:docMk/>
            <pc:sldMk cId="3814514601" sldId="1194"/>
            <ac:spMk id="5" creationId="{1EBF49D9-D32C-8AE5-0DDB-8BAB7AFC59A1}"/>
          </ac:spMkLst>
        </pc:spChg>
      </pc:sldChg>
      <pc:sldChg chg="modSp new mod">
        <pc:chgData name="José Antonio Ureta Santacreu" userId="e36999d1-2b92-424a-9e8c-5fde0c5fbdd2" providerId="ADAL" clId="{8E1CC941-A529-42BD-91F2-8926E50D0828}" dt="2024-07-19T11:00:02.990" v="1657" actId="16803"/>
        <pc:sldMkLst>
          <pc:docMk/>
          <pc:sldMk cId="3281099205" sldId="1195"/>
        </pc:sldMkLst>
        <pc:spChg chg="mod">
          <ac:chgData name="José Antonio Ureta Santacreu" userId="e36999d1-2b92-424a-9e8c-5fde0c5fbdd2" providerId="ADAL" clId="{8E1CC941-A529-42BD-91F2-8926E50D0828}" dt="2024-06-25T11:18:34.303" v="98" actId="20577"/>
          <ac:spMkLst>
            <pc:docMk/>
            <pc:sldMk cId="3281099205" sldId="1195"/>
            <ac:spMk id="2" creationId="{CB1DCD1F-E8BC-B991-A5DF-E26A98E2035F}"/>
          </ac:spMkLst>
        </pc:spChg>
        <pc:spChg chg="mod">
          <ac:chgData name="José Antonio Ureta Santacreu" userId="e36999d1-2b92-424a-9e8c-5fde0c5fbdd2" providerId="ADAL" clId="{8E1CC941-A529-42BD-91F2-8926E50D0828}" dt="2024-06-25T11:21:19.790" v="207" actId="6549"/>
          <ac:spMkLst>
            <pc:docMk/>
            <pc:sldMk cId="3281099205" sldId="1195"/>
            <ac:spMk id="3" creationId="{949CF0BE-58E5-88C9-1544-9241E8A5BBFE}"/>
          </ac:spMkLst>
        </pc:spChg>
        <pc:graphicFrameChg chg="mod">
          <ac:chgData name="José Antonio Ureta Santacreu" userId="e36999d1-2b92-424a-9e8c-5fde0c5fbdd2" providerId="ADAL" clId="{8E1CC941-A529-42BD-91F2-8926E50D0828}" dt="2024-07-19T11:00:02.990" v="1657" actId="16803"/>
          <ac:graphicFrameMkLst>
            <pc:docMk/>
            <pc:sldMk cId="3281099205" sldId="1195"/>
            <ac:graphicFrameMk id="7" creationId="{69A3C6FB-1444-D938-0699-A6962F4F03E5}"/>
          </ac:graphicFrameMkLst>
        </pc:graphicFrameChg>
      </pc:sldChg>
      <pc:sldChg chg="addSp modSp add mod modClrScheme chgLayout">
        <pc:chgData name="José Antonio Ureta Santacreu" userId="e36999d1-2b92-424a-9e8c-5fde0c5fbdd2" providerId="ADAL" clId="{8E1CC941-A529-42BD-91F2-8926E50D0828}" dt="2024-07-19T08:54:35.131" v="451"/>
        <pc:sldMkLst>
          <pc:docMk/>
          <pc:sldMk cId="1554477428" sldId="1196"/>
        </pc:sldMkLst>
        <pc:spChg chg="mod ord">
          <ac:chgData name="José Antonio Ureta Santacreu" userId="e36999d1-2b92-424a-9e8c-5fde0c5fbdd2" providerId="ADAL" clId="{8E1CC941-A529-42BD-91F2-8926E50D0828}" dt="2024-07-19T08:54:33.291" v="450" actId="27636"/>
          <ac:spMkLst>
            <pc:docMk/>
            <pc:sldMk cId="1554477428" sldId="1196"/>
            <ac:spMk id="2" creationId="{3B494341-0002-D102-F730-1CB1F2E876E4}"/>
          </ac:spMkLst>
        </pc:spChg>
        <pc:spChg chg="mod ord">
          <ac:chgData name="José Antonio Ureta Santacreu" userId="e36999d1-2b92-424a-9e8c-5fde0c5fbdd2" providerId="ADAL" clId="{8E1CC941-A529-42BD-91F2-8926E50D0828}" dt="2024-07-19T08:54:12.716" v="446" actId="700"/>
          <ac:spMkLst>
            <pc:docMk/>
            <pc:sldMk cId="1554477428" sldId="1196"/>
            <ac:spMk id="3" creationId="{C3C3603A-BED5-1058-E297-D43BCF7A18AB}"/>
          </ac:spMkLst>
        </pc:spChg>
        <pc:spChg chg="mod ord">
          <ac:chgData name="José Antonio Ureta Santacreu" userId="e36999d1-2b92-424a-9e8c-5fde0c5fbdd2" providerId="ADAL" clId="{8E1CC941-A529-42BD-91F2-8926E50D0828}" dt="2024-07-19T08:54:12.716" v="446" actId="700"/>
          <ac:spMkLst>
            <pc:docMk/>
            <pc:sldMk cId="1554477428" sldId="1196"/>
            <ac:spMk id="4" creationId="{DE6CB70D-F403-C08D-4508-D5D678DE2BFD}"/>
          </ac:spMkLst>
        </pc:spChg>
        <pc:spChg chg="mod ord">
          <ac:chgData name="José Antonio Ureta Santacreu" userId="e36999d1-2b92-424a-9e8c-5fde0c5fbdd2" providerId="ADAL" clId="{8E1CC941-A529-42BD-91F2-8926E50D0828}" dt="2024-07-19T08:54:12.716" v="446" actId="700"/>
          <ac:spMkLst>
            <pc:docMk/>
            <pc:sldMk cId="1554477428" sldId="1196"/>
            <ac:spMk id="5" creationId="{0A6AD44B-DA5B-6B09-8249-5ADB624027F1}"/>
          </ac:spMkLst>
        </pc:spChg>
        <pc:spChg chg="add mod ord">
          <ac:chgData name="José Antonio Ureta Santacreu" userId="e36999d1-2b92-424a-9e8c-5fde0c5fbdd2" providerId="ADAL" clId="{8E1CC941-A529-42BD-91F2-8926E50D0828}" dt="2024-07-19T08:54:35.131" v="451"/>
          <ac:spMkLst>
            <pc:docMk/>
            <pc:sldMk cId="1554477428" sldId="1196"/>
            <ac:spMk id="6" creationId="{8644138A-9027-6D3E-0E20-8185A1F4270D}"/>
          </ac:spMkLst>
        </pc:spChg>
      </pc:sldChg>
      <pc:sldChg chg="del">
        <pc:chgData name="José Antonio Ureta Santacreu" userId="e36999d1-2b92-424a-9e8c-5fde0c5fbdd2" providerId="ADAL" clId="{8E1CC941-A529-42BD-91F2-8926E50D0828}" dt="2024-07-19T08:52:13.413" v="444" actId="2696"/>
        <pc:sldMkLst>
          <pc:docMk/>
          <pc:sldMk cId="4066135010" sldId="1196"/>
        </pc:sldMkLst>
      </pc:sldChg>
      <pc:sldChg chg="add">
        <pc:chgData name="José Antonio Ureta Santacreu" userId="e36999d1-2b92-424a-9e8c-5fde0c5fbdd2" providerId="ADAL" clId="{8E1CC941-A529-42BD-91F2-8926E50D0828}" dt="2024-07-19T08:58:05.796" v="662"/>
        <pc:sldMkLst>
          <pc:docMk/>
          <pc:sldMk cId="1969954241" sldId="1197"/>
        </pc:sldMkLst>
      </pc:sldChg>
      <pc:sldChg chg="addSp modSp add del mod modClrScheme chgLayout">
        <pc:chgData name="José Antonio Ureta Santacreu" userId="e36999d1-2b92-424a-9e8c-5fde0c5fbdd2" providerId="ADAL" clId="{8E1CC941-A529-42BD-91F2-8926E50D0828}" dt="2024-07-19T08:57:54.833" v="661" actId="2696"/>
        <pc:sldMkLst>
          <pc:docMk/>
          <pc:sldMk cId="3591312294" sldId="1197"/>
        </pc:sldMkLst>
        <pc:spChg chg="mod ord">
          <ac:chgData name="José Antonio Ureta Santacreu" userId="e36999d1-2b92-424a-9e8c-5fde0c5fbdd2" providerId="ADAL" clId="{8E1CC941-A529-42BD-91F2-8926E50D0828}" dt="2024-07-19T08:57:44.368" v="659" actId="27636"/>
          <ac:spMkLst>
            <pc:docMk/>
            <pc:sldMk cId="3591312294" sldId="1197"/>
            <ac:spMk id="2" creationId="{F211D47C-2880-9A38-626A-B3BE830AF27A}"/>
          </ac:spMkLst>
        </pc:spChg>
        <pc:spChg chg="mod ord">
          <ac:chgData name="José Antonio Ureta Santacreu" userId="e36999d1-2b92-424a-9e8c-5fde0c5fbdd2" providerId="ADAL" clId="{8E1CC941-A529-42BD-91F2-8926E50D0828}" dt="2024-07-19T08:57:39.844" v="657" actId="700"/>
          <ac:spMkLst>
            <pc:docMk/>
            <pc:sldMk cId="3591312294" sldId="1197"/>
            <ac:spMk id="3" creationId="{718A94B6-C830-9945-0271-B0BF1E0F4DFF}"/>
          </ac:spMkLst>
        </pc:spChg>
        <pc:spChg chg="mod ord">
          <ac:chgData name="José Antonio Ureta Santacreu" userId="e36999d1-2b92-424a-9e8c-5fde0c5fbdd2" providerId="ADAL" clId="{8E1CC941-A529-42BD-91F2-8926E50D0828}" dt="2024-07-19T08:57:39.844" v="657" actId="700"/>
          <ac:spMkLst>
            <pc:docMk/>
            <pc:sldMk cId="3591312294" sldId="1197"/>
            <ac:spMk id="4" creationId="{C2FCBA37-67CF-2790-3145-2004E8038F80}"/>
          </ac:spMkLst>
        </pc:spChg>
        <pc:spChg chg="mod ord">
          <ac:chgData name="José Antonio Ureta Santacreu" userId="e36999d1-2b92-424a-9e8c-5fde0c5fbdd2" providerId="ADAL" clId="{8E1CC941-A529-42BD-91F2-8926E50D0828}" dt="2024-07-19T08:57:39.844" v="657" actId="700"/>
          <ac:spMkLst>
            <pc:docMk/>
            <pc:sldMk cId="3591312294" sldId="1197"/>
            <ac:spMk id="5" creationId="{A9F0DB78-D891-7D04-9D98-FC1CB079CC09}"/>
          </ac:spMkLst>
        </pc:spChg>
        <pc:spChg chg="add mod ord">
          <ac:chgData name="José Antonio Ureta Santacreu" userId="e36999d1-2b92-424a-9e8c-5fde0c5fbdd2" providerId="ADAL" clId="{8E1CC941-A529-42BD-91F2-8926E50D0828}" dt="2024-07-19T08:57:46.277" v="660"/>
          <ac:spMkLst>
            <pc:docMk/>
            <pc:sldMk cId="3591312294" sldId="1197"/>
            <ac:spMk id="6" creationId="{4A62C848-223D-F08D-1EDE-CE439AF0EF00}"/>
          </ac:spMkLst>
        </pc:spChg>
      </pc:sldChg>
      <pc:sldChg chg="del">
        <pc:chgData name="José Antonio Ureta Santacreu" userId="e36999d1-2b92-424a-9e8c-5fde0c5fbdd2" providerId="ADAL" clId="{8E1CC941-A529-42BD-91F2-8926E50D0828}" dt="2024-07-19T08:57:11.800" v="655" actId="2696"/>
        <pc:sldMkLst>
          <pc:docMk/>
          <pc:sldMk cId="3885043451" sldId="1197"/>
        </pc:sldMkLst>
      </pc:sldChg>
      <pc:sldChg chg="del">
        <pc:chgData name="José Antonio Ureta Santacreu" userId="e36999d1-2b92-424a-9e8c-5fde0c5fbdd2" providerId="ADAL" clId="{8E1CC941-A529-42BD-91F2-8926E50D0828}" dt="2024-07-19T09:03:21.176" v="663" actId="2696"/>
        <pc:sldMkLst>
          <pc:docMk/>
          <pc:sldMk cId="4155422594" sldId="1198"/>
        </pc:sldMkLst>
      </pc:sldChg>
      <pc:sldChg chg="add">
        <pc:chgData name="José Antonio Ureta Santacreu" userId="e36999d1-2b92-424a-9e8c-5fde0c5fbdd2" providerId="ADAL" clId="{8E1CC941-A529-42BD-91F2-8926E50D0828}" dt="2024-07-10T11:40:49.643" v="210"/>
        <pc:sldMkLst>
          <pc:docMk/>
          <pc:sldMk cId="1477743789" sldId="1199"/>
        </pc:sldMkLst>
      </pc:sldChg>
      <pc:sldChg chg="del">
        <pc:chgData name="José Antonio Ureta Santacreu" userId="e36999d1-2b92-424a-9e8c-5fde0c5fbdd2" providerId="ADAL" clId="{8E1CC941-A529-42BD-91F2-8926E50D0828}" dt="2024-07-10T11:39:59.356" v="208" actId="2696"/>
        <pc:sldMkLst>
          <pc:docMk/>
          <pc:sldMk cId="2114408140" sldId="1199"/>
        </pc:sldMkLst>
      </pc:sldChg>
      <pc:sldChg chg="modSp add">
        <pc:chgData name="José Antonio Ureta Santacreu" userId="e36999d1-2b92-424a-9e8c-5fde0c5fbdd2" providerId="ADAL" clId="{8E1CC941-A529-42BD-91F2-8926E50D0828}" dt="2024-07-10T11:41:14.997" v="297" actId="1037"/>
        <pc:sldMkLst>
          <pc:docMk/>
          <pc:sldMk cId="1744600256" sldId="1200"/>
        </pc:sldMkLst>
        <pc:picChg chg="mod">
          <ac:chgData name="José Antonio Ureta Santacreu" userId="e36999d1-2b92-424a-9e8c-5fde0c5fbdd2" providerId="ADAL" clId="{8E1CC941-A529-42BD-91F2-8926E50D0828}" dt="2024-07-10T11:41:14.997" v="297" actId="1037"/>
          <ac:picMkLst>
            <pc:docMk/>
            <pc:sldMk cId="1744600256" sldId="1200"/>
            <ac:picMk id="1026" creationId="{E75E4CC1-82AE-E406-E848-F1033664A723}"/>
          </ac:picMkLst>
        </pc:picChg>
      </pc:sldChg>
      <pc:sldChg chg="modSp add">
        <pc:chgData name="José Antonio Ureta Santacreu" userId="e36999d1-2b92-424a-9e8c-5fde0c5fbdd2" providerId="ADAL" clId="{8E1CC941-A529-42BD-91F2-8926E50D0828}" dt="2024-07-10T11:41:29.944" v="357" actId="1038"/>
        <pc:sldMkLst>
          <pc:docMk/>
          <pc:sldMk cId="3363080973" sldId="1201"/>
        </pc:sldMkLst>
        <pc:picChg chg="mod">
          <ac:chgData name="José Antonio Ureta Santacreu" userId="e36999d1-2b92-424a-9e8c-5fde0c5fbdd2" providerId="ADAL" clId="{8E1CC941-A529-42BD-91F2-8926E50D0828}" dt="2024-07-10T11:41:29.944" v="357" actId="1038"/>
          <ac:picMkLst>
            <pc:docMk/>
            <pc:sldMk cId="3363080973" sldId="1201"/>
            <ac:picMk id="1026" creationId="{E75E4CC1-82AE-E406-E848-F1033664A723}"/>
          </ac:picMkLst>
        </pc:picChg>
      </pc:sldChg>
      <pc:sldChg chg="modSp add">
        <pc:chgData name="José Antonio Ureta Santacreu" userId="e36999d1-2b92-424a-9e8c-5fde0c5fbdd2" providerId="ADAL" clId="{8E1CC941-A529-42BD-91F2-8926E50D0828}" dt="2024-07-10T11:42:47.592" v="361" actId="1076"/>
        <pc:sldMkLst>
          <pc:docMk/>
          <pc:sldMk cId="3872315462" sldId="1202"/>
        </pc:sldMkLst>
        <pc:picChg chg="mod">
          <ac:chgData name="José Antonio Ureta Santacreu" userId="e36999d1-2b92-424a-9e8c-5fde0c5fbdd2" providerId="ADAL" clId="{8E1CC941-A529-42BD-91F2-8926E50D0828}" dt="2024-07-10T11:42:47.592" v="361" actId="1076"/>
          <ac:picMkLst>
            <pc:docMk/>
            <pc:sldMk cId="3872315462" sldId="1202"/>
            <ac:picMk id="1026" creationId="{E75E4CC1-82AE-E406-E848-F1033664A723}"/>
          </ac:picMkLst>
        </pc:picChg>
      </pc:sldChg>
      <pc:sldChg chg="modSp add del ord">
        <pc:chgData name="José Antonio Ureta Santacreu" userId="e36999d1-2b92-424a-9e8c-5fde0c5fbdd2" providerId="ADAL" clId="{8E1CC941-A529-42BD-91F2-8926E50D0828}" dt="2024-07-19T08:55:06.315" v="514" actId="47"/>
        <pc:sldMkLst>
          <pc:docMk/>
          <pc:sldMk cId="2078567425" sldId="1203"/>
        </pc:sldMkLst>
        <pc:picChg chg="mod">
          <ac:chgData name="José Antonio Ureta Santacreu" userId="e36999d1-2b92-424a-9e8c-5fde0c5fbdd2" providerId="ADAL" clId="{8E1CC941-A529-42BD-91F2-8926E50D0828}" dt="2024-07-10T11:49:48.817" v="432" actId="1038"/>
          <ac:picMkLst>
            <pc:docMk/>
            <pc:sldMk cId="2078567425" sldId="1203"/>
            <ac:picMk id="1026" creationId="{E75E4CC1-82AE-E406-E848-F1033664A723}"/>
          </ac:picMkLst>
        </pc:picChg>
      </pc:sldChg>
      <pc:sldChg chg="modSp add">
        <pc:chgData name="José Antonio Ureta Santacreu" userId="e36999d1-2b92-424a-9e8c-5fde0c5fbdd2" providerId="ADAL" clId="{8E1CC941-A529-42BD-91F2-8926E50D0828}" dt="2024-07-10T11:50:34.707" v="434" actId="1076"/>
        <pc:sldMkLst>
          <pc:docMk/>
          <pc:sldMk cId="1720981234" sldId="1204"/>
        </pc:sldMkLst>
        <pc:picChg chg="mod">
          <ac:chgData name="José Antonio Ureta Santacreu" userId="e36999d1-2b92-424a-9e8c-5fde0c5fbdd2" providerId="ADAL" clId="{8E1CC941-A529-42BD-91F2-8926E50D0828}" dt="2024-07-10T11:50:34.707" v="434" actId="1076"/>
          <ac:picMkLst>
            <pc:docMk/>
            <pc:sldMk cId="1720981234" sldId="1204"/>
            <ac:picMk id="1026" creationId="{E75E4CC1-82AE-E406-E848-F1033664A723}"/>
          </ac:picMkLst>
        </pc:picChg>
      </pc:sldChg>
      <pc:sldChg chg="modSp add">
        <pc:chgData name="José Antonio Ureta Santacreu" userId="e36999d1-2b92-424a-9e8c-5fde0c5fbdd2" providerId="ADAL" clId="{8E1CC941-A529-42BD-91F2-8926E50D0828}" dt="2024-07-10T11:50:47.072" v="436" actId="1076"/>
        <pc:sldMkLst>
          <pc:docMk/>
          <pc:sldMk cId="2617639372" sldId="1205"/>
        </pc:sldMkLst>
        <pc:picChg chg="mod">
          <ac:chgData name="José Antonio Ureta Santacreu" userId="e36999d1-2b92-424a-9e8c-5fde0c5fbdd2" providerId="ADAL" clId="{8E1CC941-A529-42BD-91F2-8926E50D0828}" dt="2024-07-10T11:50:47.072" v="436" actId="1076"/>
          <ac:picMkLst>
            <pc:docMk/>
            <pc:sldMk cId="2617639372" sldId="1205"/>
            <ac:picMk id="1026" creationId="{E75E4CC1-82AE-E406-E848-F1033664A723}"/>
          </ac:picMkLst>
        </pc:picChg>
      </pc:sldChg>
      <pc:sldChg chg="add del">
        <pc:chgData name="José Antonio Ureta Santacreu" userId="e36999d1-2b92-424a-9e8c-5fde0c5fbdd2" providerId="ADAL" clId="{8E1CC941-A529-42BD-91F2-8926E50D0828}" dt="2024-07-10T11:52:05.391" v="439" actId="2696"/>
        <pc:sldMkLst>
          <pc:docMk/>
          <pc:sldMk cId="122561489" sldId="1206"/>
        </pc:sldMkLst>
      </pc:sldChg>
      <pc:sldChg chg="modSp add">
        <pc:chgData name="José Antonio Ureta Santacreu" userId="e36999d1-2b92-424a-9e8c-5fde0c5fbdd2" providerId="ADAL" clId="{8E1CC941-A529-42BD-91F2-8926E50D0828}" dt="2024-07-10T11:53:02.616" v="441" actId="1076"/>
        <pc:sldMkLst>
          <pc:docMk/>
          <pc:sldMk cId="1663966221" sldId="1206"/>
        </pc:sldMkLst>
        <pc:picChg chg="mod">
          <ac:chgData name="José Antonio Ureta Santacreu" userId="e36999d1-2b92-424a-9e8c-5fde0c5fbdd2" providerId="ADAL" clId="{8E1CC941-A529-42BD-91F2-8926E50D0828}" dt="2024-07-10T11:53:02.616" v="441" actId="1076"/>
          <ac:picMkLst>
            <pc:docMk/>
            <pc:sldMk cId="1663966221" sldId="1206"/>
            <ac:picMk id="1026" creationId="{E75E4CC1-82AE-E406-E848-F1033664A723}"/>
          </ac:picMkLst>
        </pc:picChg>
      </pc:sldChg>
      <pc:sldChg chg="add">
        <pc:chgData name="José Antonio Ureta Santacreu" userId="e36999d1-2b92-424a-9e8c-5fde0c5fbdd2" providerId="ADAL" clId="{8E1CC941-A529-42BD-91F2-8926E50D0828}" dt="2024-07-10T11:53:28.219" v="443"/>
        <pc:sldMkLst>
          <pc:docMk/>
          <pc:sldMk cId="29619421" sldId="1207"/>
        </pc:sldMkLst>
      </pc:sldChg>
      <pc:sldChg chg="del">
        <pc:chgData name="José Antonio Ureta Santacreu" userId="e36999d1-2b92-424a-9e8c-5fde0c5fbdd2" providerId="ADAL" clId="{8E1CC941-A529-42BD-91F2-8926E50D0828}" dt="2024-07-19T09:18:49.420" v="1093" actId="47"/>
        <pc:sldMkLst>
          <pc:docMk/>
          <pc:sldMk cId="3175147911" sldId="1210"/>
        </pc:sldMkLst>
      </pc:sldChg>
      <pc:sldChg chg="modSp add">
        <pc:chgData name="José Antonio Ureta Santacreu" userId="e36999d1-2b92-424a-9e8c-5fde0c5fbdd2" providerId="ADAL" clId="{8E1CC941-A529-42BD-91F2-8926E50D0828}" dt="2024-07-19T08:54:24.154" v="448" actId="1076"/>
        <pc:sldMkLst>
          <pc:docMk/>
          <pc:sldMk cId="1138738013" sldId="1215"/>
        </pc:sldMkLst>
        <pc:picChg chg="mod">
          <ac:chgData name="José Antonio Ureta Santacreu" userId="e36999d1-2b92-424a-9e8c-5fde0c5fbdd2" providerId="ADAL" clId="{8E1CC941-A529-42BD-91F2-8926E50D0828}" dt="2024-07-19T08:54:24.154" v="448" actId="1076"/>
          <ac:picMkLst>
            <pc:docMk/>
            <pc:sldMk cId="1138738013" sldId="1215"/>
            <ac:picMk id="1026" creationId="{E75E4CC1-82AE-E406-E848-F1033664A723}"/>
          </ac:picMkLst>
        </pc:picChg>
      </pc:sldChg>
      <pc:sldChg chg="modSp add">
        <pc:chgData name="José Antonio Ureta Santacreu" userId="e36999d1-2b92-424a-9e8c-5fde0c5fbdd2" providerId="ADAL" clId="{8E1CC941-A529-42BD-91F2-8926E50D0828}" dt="2024-07-19T08:55:00.882" v="513" actId="1038"/>
        <pc:sldMkLst>
          <pc:docMk/>
          <pc:sldMk cId="1644450480" sldId="1216"/>
        </pc:sldMkLst>
        <pc:picChg chg="mod">
          <ac:chgData name="José Antonio Ureta Santacreu" userId="e36999d1-2b92-424a-9e8c-5fde0c5fbdd2" providerId="ADAL" clId="{8E1CC941-A529-42BD-91F2-8926E50D0828}" dt="2024-07-19T08:55:00.882" v="513" actId="1038"/>
          <ac:picMkLst>
            <pc:docMk/>
            <pc:sldMk cId="1644450480" sldId="1216"/>
            <ac:picMk id="1026" creationId="{E75E4CC1-82AE-E406-E848-F1033664A723}"/>
          </ac:picMkLst>
        </pc:picChg>
      </pc:sldChg>
      <pc:sldChg chg="addSp delSp modSp add">
        <pc:chgData name="José Antonio Ureta Santacreu" userId="e36999d1-2b92-424a-9e8c-5fde0c5fbdd2" providerId="ADAL" clId="{8E1CC941-A529-42BD-91F2-8926E50D0828}" dt="2024-07-19T09:53:44.375" v="1206" actId="13926"/>
        <pc:sldMkLst>
          <pc:docMk/>
          <pc:sldMk cId="85590059" sldId="1217"/>
        </pc:sldMkLst>
        <pc:graphicFrameChg chg="mod">
          <ac:chgData name="José Antonio Ureta Santacreu" userId="e36999d1-2b92-424a-9e8c-5fde0c5fbdd2" providerId="ADAL" clId="{8E1CC941-A529-42BD-91F2-8926E50D0828}" dt="2024-07-19T09:53:44.375" v="1206" actId="13926"/>
          <ac:graphicFrameMkLst>
            <pc:docMk/>
            <pc:sldMk cId="85590059" sldId="1217"/>
            <ac:graphicFrameMk id="7" creationId="{69A3C6FB-1444-D938-0699-A6962F4F03E5}"/>
          </ac:graphicFrameMkLst>
        </pc:graphicFrameChg>
        <pc:picChg chg="add del mod">
          <ac:chgData name="José Antonio Ureta Santacreu" userId="e36999d1-2b92-424a-9e8c-5fde0c5fbdd2" providerId="ADAL" clId="{8E1CC941-A529-42BD-91F2-8926E50D0828}" dt="2024-07-19T08:56:10.295" v="588" actId="478"/>
          <ac:picMkLst>
            <pc:docMk/>
            <pc:sldMk cId="85590059" sldId="1217"/>
            <ac:picMk id="3" creationId="{D57F96F6-7C63-BF96-96BC-0362E93B592F}"/>
          </ac:picMkLst>
        </pc:picChg>
        <pc:picChg chg="mod">
          <ac:chgData name="José Antonio Ureta Santacreu" userId="e36999d1-2b92-424a-9e8c-5fde0c5fbdd2" providerId="ADAL" clId="{8E1CC941-A529-42BD-91F2-8926E50D0828}" dt="2024-07-19T08:55:35.002" v="586" actId="1037"/>
          <ac:picMkLst>
            <pc:docMk/>
            <pc:sldMk cId="85590059" sldId="1217"/>
            <ac:picMk id="1026" creationId="{E75E4CC1-82AE-E406-E848-F1033664A723}"/>
          </ac:picMkLst>
        </pc:picChg>
      </pc:sldChg>
      <pc:sldChg chg="modSp add">
        <pc:chgData name="José Antonio Ureta Santacreu" userId="e36999d1-2b92-424a-9e8c-5fde0c5fbdd2" providerId="ADAL" clId="{8E1CC941-A529-42BD-91F2-8926E50D0828}" dt="2024-07-19T08:56:22.432" v="654" actId="1038"/>
        <pc:sldMkLst>
          <pc:docMk/>
          <pc:sldMk cId="682819924" sldId="1218"/>
        </pc:sldMkLst>
        <pc:picChg chg="mod">
          <ac:chgData name="José Antonio Ureta Santacreu" userId="e36999d1-2b92-424a-9e8c-5fde0c5fbdd2" providerId="ADAL" clId="{8E1CC941-A529-42BD-91F2-8926E50D0828}" dt="2024-07-19T08:56:22.432" v="654" actId="1038"/>
          <ac:picMkLst>
            <pc:docMk/>
            <pc:sldMk cId="682819924" sldId="1218"/>
            <ac:picMk id="1026" creationId="{E75E4CC1-82AE-E406-E848-F1033664A723}"/>
          </ac:picMkLst>
        </pc:picChg>
      </pc:sldChg>
      <pc:sldChg chg="addSp delSp modSp new mod">
        <pc:chgData name="José Antonio Ureta Santacreu" userId="e36999d1-2b92-424a-9e8c-5fde0c5fbdd2" providerId="ADAL" clId="{8E1CC941-A529-42BD-91F2-8926E50D0828}" dt="2024-07-19T09:18:31.156" v="1091" actId="20577"/>
        <pc:sldMkLst>
          <pc:docMk/>
          <pc:sldMk cId="2415639969" sldId="1219"/>
        </pc:sldMkLst>
        <pc:spChg chg="mod">
          <ac:chgData name="José Antonio Ureta Santacreu" userId="e36999d1-2b92-424a-9e8c-5fde0c5fbdd2" providerId="ADAL" clId="{8E1CC941-A529-42BD-91F2-8926E50D0828}" dt="2024-07-19T09:18:31.156" v="1091" actId="20577"/>
          <ac:spMkLst>
            <pc:docMk/>
            <pc:sldMk cId="2415639969" sldId="1219"/>
            <ac:spMk id="2" creationId="{E8E0C3E4-B740-91AA-555B-3848D3A5DECB}"/>
          </ac:spMkLst>
        </pc:spChg>
        <pc:spChg chg="add mod">
          <ac:chgData name="José Antonio Ureta Santacreu" userId="e36999d1-2b92-424a-9e8c-5fde0c5fbdd2" providerId="ADAL" clId="{8E1CC941-A529-42BD-91F2-8926E50D0828}" dt="2024-07-19T09:17:20.302" v="1007" actId="255"/>
          <ac:spMkLst>
            <pc:docMk/>
            <pc:sldMk cId="2415639969" sldId="1219"/>
            <ac:spMk id="6" creationId="{0DF9F279-69CB-48DA-84F2-04E432699C3B}"/>
          </ac:spMkLst>
        </pc:spChg>
        <pc:spChg chg="add mod">
          <ac:chgData name="José Antonio Ureta Santacreu" userId="e36999d1-2b92-424a-9e8c-5fde0c5fbdd2" providerId="ADAL" clId="{8E1CC941-A529-42BD-91F2-8926E50D0828}" dt="2024-07-19T09:17:20.302" v="1007" actId="255"/>
          <ac:spMkLst>
            <pc:docMk/>
            <pc:sldMk cId="2415639969" sldId="1219"/>
            <ac:spMk id="7" creationId="{C49999FB-8750-04A5-ADD7-46F9443DB7CD}"/>
          </ac:spMkLst>
        </pc:spChg>
        <pc:spChg chg="add mod">
          <ac:chgData name="José Antonio Ureta Santacreu" userId="e36999d1-2b92-424a-9e8c-5fde0c5fbdd2" providerId="ADAL" clId="{8E1CC941-A529-42BD-91F2-8926E50D0828}" dt="2024-07-19T09:17:20.302" v="1007" actId="255"/>
          <ac:spMkLst>
            <pc:docMk/>
            <pc:sldMk cId="2415639969" sldId="1219"/>
            <ac:spMk id="8" creationId="{49D40A54-7060-4AF0-B059-46FB163FE731}"/>
          </ac:spMkLst>
        </pc:spChg>
        <pc:spChg chg="add mod">
          <ac:chgData name="José Antonio Ureta Santacreu" userId="e36999d1-2b92-424a-9e8c-5fde0c5fbdd2" providerId="ADAL" clId="{8E1CC941-A529-42BD-91F2-8926E50D0828}" dt="2024-07-19T09:17:20.302" v="1007" actId="255"/>
          <ac:spMkLst>
            <pc:docMk/>
            <pc:sldMk cId="2415639969" sldId="1219"/>
            <ac:spMk id="9" creationId="{97975C2D-2FA9-47C6-B976-B3BCBC8FAD27}"/>
          </ac:spMkLst>
        </pc:spChg>
        <pc:spChg chg="add mod">
          <ac:chgData name="José Antonio Ureta Santacreu" userId="e36999d1-2b92-424a-9e8c-5fde0c5fbdd2" providerId="ADAL" clId="{8E1CC941-A529-42BD-91F2-8926E50D0828}" dt="2024-07-19T09:17:20.302" v="1007" actId="255"/>
          <ac:spMkLst>
            <pc:docMk/>
            <pc:sldMk cId="2415639969" sldId="1219"/>
            <ac:spMk id="10" creationId="{923F1029-7285-4EBD-8A3B-8A5D935128EB}"/>
          </ac:spMkLst>
        </pc:spChg>
        <pc:spChg chg="add del mod">
          <ac:chgData name="José Antonio Ureta Santacreu" userId="e36999d1-2b92-424a-9e8c-5fde0c5fbdd2" providerId="ADAL" clId="{8E1CC941-A529-42BD-91F2-8926E50D0828}" dt="2024-07-19T09:14:49.740" v="938" actId="478"/>
          <ac:spMkLst>
            <pc:docMk/>
            <pc:sldMk cId="2415639969" sldId="1219"/>
            <ac:spMk id="11" creationId="{DBA31325-95ED-460B-892D-FDE40AD9CFEB}"/>
          </ac:spMkLst>
        </pc:spChg>
        <pc:spChg chg="add mod">
          <ac:chgData name="José Antonio Ureta Santacreu" userId="e36999d1-2b92-424a-9e8c-5fde0c5fbdd2" providerId="ADAL" clId="{8E1CC941-A529-42BD-91F2-8926E50D0828}" dt="2024-07-19T09:17:20.302" v="1007" actId="255"/>
          <ac:spMkLst>
            <pc:docMk/>
            <pc:sldMk cId="2415639969" sldId="1219"/>
            <ac:spMk id="12" creationId="{E5ADCC2E-D0D6-4992-8E1B-646E115270A3}"/>
          </ac:spMkLst>
        </pc:spChg>
        <pc:spChg chg="add mod">
          <ac:chgData name="José Antonio Ureta Santacreu" userId="e36999d1-2b92-424a-9e8c-5fde0c5fbdd2" providerId="ADAL" clId="{8E1CC941-A529-42BD-91F2-8926E50D0828}" dt="2024-07-19T09:17:20.302" v="1007" actId="255"/>
          <ac:spMkLst>
            <pc:docMk/>
            <pc:sldMk cId="2415639969" sldId="1219"/>
            <ac:spMk id="13" creationId="{63D185DA-0E2B-47A4-B26A-07DBAFD6D762}"/>
          </ac:spMkLst>
        </pc:spChg>
        <pc:spChg chg="add mod">
          <ac:chgData name="José Antonio Ureta Santacreu" userId="e36999d1-2b92-424a-9e8c-5fde0c5fbdd2" providerId="ADAL" clId="{8E1CC941-A529-42BD-91F2-8926E50D0828}" dt="2024-07-19T09:17:20.302" v="1007" actId="255"/>
          <ac:spMkLst>
            <pc:docMk/>
            <pc:sldMk cId="2415639969" sldId="1219"/>
            <ac:spMk id="14" creationId="{76FE9A60-0881-4EFE-BC69-5E9B80E7CD06}"/>
          </ac:spMkLst>
        </pc:spChg>
        <pc:spChg chg="add mod">
          <ac:chgData name="José Antonio Ureta Santacreu" userId="e36999d1-2b92-424a-9e8c-5fde0c5fbdd2" providerId="ADAL" clId="{8E1CC941-A529-42BD-91F2-8926E50D0828}" dt="2024-07-19T09:17:20.302" v="1007" actId="255"/>
          <ac:spMkLst>
            <pc:docMk/>
            <pc:sldMk cId="2415639969" sldId="1219"/>
            <ac:spMk id="16" creationId="{74605C64-8039-40EE-980E-3DA552310706}"/>
          </ac:spMkLst>
        </pc:spChg>
        <pc:spChg chg="add mod">
          <ac:chgData name="José Antonio Ureta Santacreu" userId="e36999d1-2b92-424a-9e8c-5fde0c5fbdd2" providerId="ADAL" clId="{8E1CC941-A529-42BD-91F2-8926E50D0828}" dt="2024-07-19T09:17:20.302" v="1007" actId="255"/>
          <ac:spMkLst>
            <pc:docMk/>
            <pc:sldMk cId="2415639969" sldId="1219"/>
            <ac:spMk id="18" creationId="{23EFD84F-52FD-4B9F-9503-EF023EFA4DB0}"/>
          </ac:spMkLst>
        </pc:spChg>
        <pc:spChg chg="add mod">
          <ac:chgData name="José Antonio Ureta Santacreu" userId="e36999d1-2b92-424a-9e8c-5fde0c5fbdd2" providerId="ADAL" clId="{8E1CC941-A529-42BD-91F2-8926E50D0828}" dt="2024-07-19T09:17:54.651" v="1045" actId="14100"/>
          <ac:spMkLst>
            <pc:docMk/>
            <pc:sldMk cId="2415639969" sldId="1219"/>
            <ac:spMk id="20" creationId="{3E068635-210D-4818-AD20-1B21DFAA87B9}"/>
          </ac:spMkLst>
        </pc:spChg>
        <pc:spChg chg="add mod">
          <ac:chgData name="José Antonio Ureta Santacreu" userId="e36999d1-2b92-424a-9e8c-5fde0c5fbdd2" providerId="ADAL" clId="{8E1CC941-A529-42BD-91F2-8926E50D0828}" dt="2024-07-19T09:17:20.302" v="1007" actId="255"/>
          <ac:spMkLst>
            <pc:docMk/>
            <pc:sldMk cId="2415639969" sldId="1219"/>
            <ac:spMk id="21" creationId="{3D61459B-483B-4FAD-BAB2-157FFF3309B2}"/>
          </ac:spMkLst>
        </pc:spChg>
        <pc:spChg chg="add mod">
          <ac:chgData name="José Antonio Ureta Santacreu" userId="e36999d1-2b92-424a-9e8c-5fde0c5fbdd2" providerId="ADAL" clId="{8E1CC941-A529-42BD-91F2-8926E50D0828}" dt="2024-07-19T09:17:20.302" v="1007" actId="255"/>
          <ac:spMkLst>
            <pc:docMk/>
            <pc:sldMk cId="2415639969" sldId="1219"/>
            <ac:spMk id="22" creationId="{81DF61E8-B237-4FF5-A7DE-A746F305ED70}"/>
          </ac:spMkLst>
        </pc:spChg>
        <pc:spChg chg="add mod">
          <ac:chgData name="José Antonio Ureta Santacreu" userId="e36999d1-2b92-424a-9e8c-5fde0c5fbdd2" providerId="ADAL" clId="{8E1CC941-A529-42BD-91F2-8926E50D0828}" dt="2024-07-19T09:17:20.302" v="1007" actId="255"/>
          <ac:spMkLst>
            <pc:docMk/>
            <pc:sldMk cId="2415639969" sldId="1219"/>
            <ac:spMk id="23" creationId="{C60E7DDB-CCFD-45CB-91AD-384FAB86FDD6}"/>
          </ac:spMkLst>
        </pc:spChg>
        <pc:spChg chg="add mod">
          <ac:chgData name="José Antonio Ureta Santacreu" userId="e36999d1-2b92-424a-9e8c-5fde0c5fbdd2" providerId="ADAL" clId="{8E1CC941-A529-42BD-91F2-8926E50D0828}" dt="2024-07-19T09:16:59.865" v="1005" actId="1076"/>
          <ac:spMkLst>
            <pc:docMk/>
            <pc:sldMk cId="2415639969" sldId="1219"/>
            <ac:spMk id="24" creationId="{C7E07EA9-919D-4E0D-A8E7-A8A9FF62AD84}"/>
          </ac:spMkLst>
        </pc:spChg>
        <pc:picChg chg="add del mod">
          <ac:chgData name="José Antonio Ureta Santacreu" userId="e36999d1-2b92-424a-9e8c-5fde0c5fbdd2" providerId="ADAL" clId="{8E1CC941-A529-42BD-91F2-8926E50D0828}" dt="2024-07-19T09:11:07.639" v="820" actId="478"/>
          <ac:picMkLst>
            <pc:docMk/>
            <pc:sldMk cId="2415639969" sldId="1219"/>
            <ac:picMk id="1026" creationId="{DA939A86-4E82-4863-64FA-288D9740E61B}"/>
          </ac:picMkLst>
        </pc:picChg>
        <pc:picChg chg="add mod">
          <ac:chgData name="José Antonio Ureta Santacreu" userId="e36999d1-2b92-424a-9e8c-5fde0c5fbdd2" providerId="ADAL" clId="{8E1CC941-A529-42BD-91F2-8926E50D0828}" dt="2024-07-19T09:17:20.302" v="1007" actId="255"/>
          <ac:picMkLst>
            <pc:docMk/>
            <pc:sldMk cId="2415639969" sldId="1219"/>
            <ac:picMk id="1028" creationId="{022EE7D2-8483-C3A3-1B7E-6A506E738C5C}"/>
          </ac:picMkLst>
        </pc:picChg>
      </pc:sldChg>
      <pc:sldChg chg="modSp new del mod">
        <pc:chgData name="José Antonio Ureta Santacreu" userId="e36999d1-2b92-424a-9e8c-5fde0c5fbdd2" providerId="ADAL" clId="{8E1CC941-A529-42BD-91F2-8926E50D0828}" dt="2024-07-19T10:22:12.165" v="1342" actId="47"/>
        <pc:sldMkLst>
          <pc:docMk/>
          <pc:sldMk cId="3423832861" sldId="1220"/>
        </pc:sldMkLst>
        <pc:spChg chg="mod">
          <ac:chgData name="José Antonio Ureta Santacreu" userId="e36999d1-2b92-424a-9e8c-5fde0c5fbdd2" providerId="ADAL" clId="{8E1CC941-A529-42BD-91F2-8926E50D0828}" dt="2024-07-19T10:22:02.162" v="1340" actId="21"/>
          <ac:spMkLst>
            <pc:docMk/>
            <pc:sldMk cId="3423832861" sldId="1220"/>
            <ac:spMk id="2" creationId="{92417A54-1F41-77F8-82C8-99F432A7A22A}"/>
          </ac:spMkLst>
        </pc:spChg>
        <pc:spChg chg="mod">
          <ac:chgData name="José Antonio Ureta Santacreu" userId="e36999d1-2b92-424a-9e8c-5fde0c5fbdd2" providerId="ADAL" clId="{8E1CC941-A529-42BD-91F2-8926E50D0828}" dt="2024-07-19T10:21:46.626" v="1337" actId="21"/>
          <ac:spMkLst>
            <pc:docMk/>
            <pc:sldMk cId="3423832861" sldId="1220"/>
            <ac:spMk id="3" creationId="{9FD9371C-2A68-9DF3-0A65-8289A1CBDF26}"/>
          </ac:spMkLst>
        </pc:spChg>
      </pc:sldChg>
      <pc:sldChg chg="addSp delSp modSp new mod modClrScheme chgLayout">
        <pc:chgData name="José Antonio Ureta Santacreu" userId="e36999d1-2b92-424a-9e8c-5fde0c5fbdd2" providerId="ADAL" clId="{8E1CC941-A529-42BD-91F2-8926E50D0828}" dt="2024-07-19T09:51:32.447" v="1203" actId="20577"/>
        <pc:sldMkLst>
          <pc:docMk/>
          <pc:sldMk cId="678276020" sldId="1221"/>
        </pc:sldMkLst>
        <pc:spChg chg="mod ord">
          <ac:chgData name="José Antonio Ureta Santacreu" userId="e36999d1-2b92-424a-9e8c-5fde0c5fbdd2" providerId="ADAL" clId="{8E1CC941-A529-42BD-91F2-8926E50D0828}" dt="2024-07-19T09:47:55.582" v="1148" actId="700"/>
          <ac:spMkLst>
            <pc:docMk/>
            <pc:sldMk cId="678276020" sldId="1221"/>
            <ac:spMk id="2" creationId="{F82E75CA-F1D3-AB9C-E9F6-C3DF78158D1D}"/>
          </ac:spMkLst>
        </pc:spChg>
        <pc:spChg chg="mod ord">
          <ac:chgData name="José Antonio Ureta Santacreu" userId="e36999d1-2b92-424a-9e8c-5fde0c5fbdd2" providerId="ADAL" clId="{8E1CC941-A529-42BD-91F2-8926E50D0828}" dt="2024-07-19T09:47:55.582" v="1148" actId="700"/>
          <ac:spMkLst>
            <pc:docMk/>
            <pc:sldMk cId="678276020" sldId="1221"/>
            <ac:spMk id="3" creationId="{2BB3A2DD-72A2-4416-CA68-95A4C954E775}"/>
          </ac:spMkLst>
        </pc:spChg>
        <pc:spChg chg="mod ord">
          <ac:chgData name="José Antonio Ureta Santacreu" userId="e36999d1-2b92-424a-9e8c-5fde0c5fbdd2" providerId="ADAL" clId="{8E1CC941-A529-42BD-91F2-8926E50D0828}" dt="2024-07-19T09:47:55.582" v="1148" actId="700"/>
          <ac:spMkLst>
            <pc:docMk/>
            <pc:sldMk cId="678276020" sldId="1221"/>
            <ac:spMk id="4" creationId="{1A1DE95E-98DB-2BE9-50B9-A2B1002AC2E1}"/>
          </ac:spMkLst>
        </pc:spChg>
        <pc:spChg chg="mod ord">
          <ac:chgData name="José Antonio Ureta Santacreu" userId="e36999d1-2b92-424a-9e8c-5fde0c5fbdd2" providerId="ADAL" clId="{8E1CC941-A529-42BD-91F2-8926E50D0828}" dt="2024-07-19T09:47:55.582" v="1148" actId="700"/>
          <ac:spMkLst>
            <pc:docMk/>
            <pc:sldMk cId="678276020" sldId="1221"/>
            <ac:spMk id="5" creationId="{A2FB2C9F-D5C4-F5F0-4587-EFEB0F35E36B}"/>
          </ac:spMkLst>
        </pc:spChg>
        <pc:spChg chg="add del mod ord">
          <ac:chgData name="José Antonio Ureta Santacreu" userId="e36999d1-2b92-424a-9e8c-5fde0c5fbdd2" providerId="ADAL" clId="{8E1CC941-A529-42BD-91F2-8926E50D0828}" dt="2024-07-19T09:51:01.607" v="1195" actId="478"/>
          <ac:spMkLst>
            <pc:docMk/>
            <pc:sldMk cId="678276020" sldId="1221"/>
            <ac:spMk id="6" creationId="{5926A76E-7657-F1BA-902A-3CA63873FF4F}"/>
          </ac:spMkLst>
        </pc:spChg>
        <pc:spChg chg="add del mod">
          <ac:chgData name="José Antonio Ureta Santacreu" userId="e36999d1-2b92-424a-9e8c-5fde0c5fbdd2" providerId="ADAL" clId="{8E1CC941-A529-42BD-91F2-8926E50D0828}" dt="2024-07-19T09:51:08.512" v="1197"/>
          <ac:spMkLst>
            <pc:docMk/>
            <pc:sldMk cId="678276020" sldId="1221"/>
            <ac:spMk id="11" creationId="{8B222604-9E00-290C-EEC7-6E2B00C0CB43}"/>
          </ac:spMkLst>
        </pc:spChg>
        <pc:graphicFrameChg chg="add mod">
          <ac:chgData name="José Antonio Ureta Santacreu" userId="e36999d1-2b92-424a-9e8c-5fde0c5fbdd2" providerId="ADAL" clId="{8E1CC941-A529-42BD-91F2-8926E50D0828}" dt="2024-07-19T09:48:09.942" v="1151"/>
          <ac:graphicFrameMkLst>
            <pc:docMk/>
            <pc:sldMk cId="678276020" sldId="1221"/>
            <ac:graphicFrameMk id="7" creationId="{77E5B9AA-B698-D6F8-9DE5-56E466AD7826}"/>
          </ac:graphicFrameMkLst>
        </pc:graphicFrameChg>
        <pc:graphicFrameChg chg="add mod">
          <ac:chgData name="José Antonio Ureta Santacreu" userId="e36999d1-2b92-424a-9e8c-5fde0c5fbdd2" providerId="ADAL" clId="{8E1CC941-A529-42BD-91F2-8926E50D0828}" dt="2024-07-19T09:48:18.782" v="1153"/>
          <ac:graphicFrameMkLst>
            <pc:docMk/>
            <pc:sldMk cId="678276020" sldId="1221"/>
            <ac:graphicFrameMk id="8" creationId="{1D05F638-16AD-7A49-0C9C-B4A52660DA00}"/>
          </ac:graphicFrameMkLst>
        </pc:graphicFrameChg>
        <pc:graphicFrameChg chg="add del mod modGraphic">
          <ac:chgData name="José Antonio Ureta Santacreu" userId="e36999d1-2b92-424a-9e8c-5fde0c5fbdd2" providerId="ADAL" clId="{8E1CC941-A529-42BD-91F2-8926E50D0828}" dt="2024-07-19T09:51:06.816" v="1196" actId="21"/>
          <ac:graphicFrameMkLst>
            <pc:docMk/>
            <pc:sldMk cId="678276020" sldId="1221"/>
            <ac:graphicFrameMk id="9" creationId="{CA803C2B-45D3-884E-25E3-38828697EE54}"/>
          </ac:graphicFrameMkLst>
        </pc:graphicFrameChg>
        <pc:graphicFrameChg chg="add mod modGraphic">
          <ac:chgData name="José Antonio Ureta Santacreu" userId="e36999d1-2b92-424a-9e8c-5fde0c5fbdd2" providerId="ADAL" clId="{8E1CC941-A529-42BD-91F2-8926E50D0828}" dt="2024-07-19T09:51:32.447" v="1203" actId="20577"/>
          <ac:graphicFrameMkLst>
            <pc:docMk/>
            <pc:sldMk cId="678276020" sldId="1221"/>
            <ac:graphicFrameMk id="12" creationId="{CA803C2B-45D3-884E-25E3-38828697EE54}"/>
          </ac:graphicFrameMkLst>
        </pc:graphicFrameChg>
      </pc:sldChg>
      <pc:sldChg chg="addSp modSp new del">
        <pc:chgData name="José Antonio Ureta Santacreu" userId="e36999d1-2b92-424a-9e8c-5fde0c5fbdd2" providerId="ADAL" clId="{8E1CC941-A529-42BD-91F2-8926E50D0828}" dt="2024-07-19T10:26:09.162" v="1623" actId="47"/>
        <pc:sldMkLst>
          <pc:docMk/>
          <pc:sldMk cId="1467032655" sldId="1222"/>
        </pc:sldMkLst>
        <pc:graphicFrameChg chg="add mod">
          <ac:chgData name="José Antonio Ureta Santacreu" userId="e36999d1-2b92-424a-9e8c-5fde0c5fbdd2" providerId="ADAL" clId="{8E1CC941-A529-42BD-91F2-8926E50D0828}" dt="2024-07-19T09:48:26.922" v="1155"/>
          <ac:graphicFrameMkLst>
            <pc:docMk/>
            <pc:sldMk cId="1467032655" sldId="1222"/>
            <ac:graphicFrameMk id="5" creationId="{89DFDCE4-9ED4-CD34-DA2D-84CD438DC312}"/>
          </ac:graphicFrameMkLst>
        </pc:graphicFrameChg>
      </pc:sldChg>
      <pc:sldChg chg="addSp delSp modSp new mod">
        <pc:chgData name="José Antonio Ureta Santacreu" userId="e36999d1-2b92-424a-9e8c-5fde0c5fbdd2" providerId="ADAL" clId="{8E1CC941-A529-42BD-91F2-8926E50D0828}" dt="2024-07-19T10:22:08.997" v="1341"/>
        <pc:sldMkLst>
          <pc:docMk/>
          <pc:sldMk cId="1571326366" sldId="1223"/>
        </pc:sldMkLst>
        <pc:spChg chg="mod">
          <ac:chgData name="José Antonio Ureta Santacreu" userId="e36999d1-2b92-424a-9e8c-5fde0c5fbdd2" providerId="ADAL" clId="{8E1CC941-A529-42BD-91F2-8926E50D0828}" dt="2024-07-19T10:22:08.997" v="1341"/>
          <ac:spMkLst>
            <pc:docMk/>
            <pc:sldMk cId="1571326366" sldId="1223"/>
            <ac:spMk id="2" creationId="{9E2694F2-680F-BCA7-DAFC-1EB1627727FF}"/>
          </ac:spMkLst>
        </pc:spChg>
        <pc:spChg chg="del">
          <ac:chgData name="José Antonio Ureta Santacreu" userId="e36999d1-2b92-424a-9e8c-5fde0c5fbdd2" providerId="ADAL" clId="{8E1CC941-A529-42BD-91F2-8926E50D0828}" dt="2024-07-19T09:59:46.845" v="1247" actId="3680"/>
          <ac:spMkLst>
            <pc:docMk/>
            <pc:sldMk cId="1571326366" sldId="1223"/>
            <ac:spMk id="3" creationId="{498059F3-9E2F-C0EC-E607-5181C623ABDC}"/>
          </ac:spMkLst>
        </pc:spChg>
        <pc:graphicFrameChg chg="add mod ord modGraphic">
          <ac:chgData name="José Antonio Ureta Santacreu" userId="e36999d1-2b92-424a-9e8c-5fde0c5fbdd2" providerId="ADAL" clId="{8E1CC941-A529-42BD-91F2-8926E50D0828}" dt="2024-07-19T10:21:53.358" v="1339" actId="20577"/>
          <ac:graphicFrameMkLst>
            <pc:docMk/>
            <pc:sldMk cId="1571326366" sldId="1223"/>
            <ac:graphicFrameMk id="7" creationId="{756F3A8C-1498-79D8-72BD-E8CF69B05A14}"/>
          </ac:graphicFrameMkLst>
        </pc:graphicFrameChg>
      </pc:sldChg>
      <pc:sldChg chg="addSp delSp modSp new mod modClrScheme chgLayout">
        <pc:chgData name="José Antonio Ureta Santacreu" userId="e36999d1-2b92-424a-9e8c-5fde0c5fbdd2" providerId="ADAL" clId="{8E1CC941-A529-42BD-91F2-8926E50D0828}" dt="2024-07-19T10:28:10.009" v="1652" actId="14100"/>
        <pc:sldMkLst>
          <pc:docMk/>
          <pc:sldMk cId="2653385888" sldId="1224"/>
        </pc:sldMkLst>
        <pc:spChg chg="del">
          <ac:chgData name="José Antonio Ureta Santacreu" userId="e36999d1-2b92-424a-9e8c-5fde0c5fbdd2" providerId="ADAL" clId="{8E1CC941-A529-42BD-91F2-8926E50D0828}" dt="2024-07-19T10:23:16.323" v="1432" actId="700"/>
          <ac:spMkLst>
            <pc:docMk/>
            <pc:sldMk cId="2653385888" sldId="1224"/>
            <ac:spMk id="2" creationId="{74FC7439-5319-301C-12DD-D47990C4B090}"/>
          </ac:spMkLst>
        </pc:spChg>
        <pc:spChg chg="del mod">
          <ac:chgData name="José Antonio Ureta Santacreu" userId="e36999d1-2b92-424a-9e8c-5fde0c5fbdd2" providerId="ADAL" clId="{8E1CC941-A529-42BD-91F2-8926E50D0828}" dt="2024-07-19T10:23:16.323" v="1432" actId="700"/>
          <ac:spMkLst>
            <pc:docMk/>
            <pc:sldMk cId="2653385888" sldId="1224"/>
            <ac:spMk id="3" creationId="{A481B8F9-2FD8-C7BA-2516-38C312D2834A}"/>
          </ac:spMkLst>
        </pc:spChg>
        <pc:spChg chg="mod ord">
          <ac:chgData name="José Antonio Ureta Santacreu" userId="e36999d1-2b92-424a-9e8c-5fde0c5fbdd2" providerId="ADAL" clId="{8E1CC941-A529-42BD-91F2-8926E50D0828}" dt="2024-07-19T10:23:16.323" v="1432" actId="700"/>
          <ac:spMkLst>
            <pc:docMk/>
            <pc:sldMk cId="2653385888" sldId="1224"/>
            <ac:spMk id="4" creationId="{460953D9-36F5-CD49-64B3-70EEF9652692}"/>
          </ac:spMkLst>
        </pc:spChg>
        <pc:spChg chg="mod ord">
          <ac:chgData name="José Antonio Ureta Santacreu" userId="e36999d1-2b92-424a-9e8c-5fde0c5fbdd2" providerId="ADAL" clId="{8E1CC941-A529-42BD-91F2-8926E50D0828}" dt="2024-07-19T10:23:16.323" v="1432" actId="700"/>
          <ac:spMkLst>
            <pc:docMk/>
            <pc:sldMk cId="2653385888" sldId="1224"/>
            <ac:spMk id="5" creationId="{4690D2D0-AF46-CE9A-CD27-31BB8191D972}"/>
          </ac:spMkLst>
        </pc:spChg>
        <pc:spChg chg="mod ord">
          <ac:chgData name="José Antonio Ureta Santacreu" userId="e36999d1-2b92-424a-9e8c-5fde0c5fbdd2" providerId="ADAL" clId="{8E1CC941-A529-42BD-91F2-8926E50D0828}" dt="2024-07-19T10:23:16.323" v="1432" actId="700"/>
          <ac:spMkLst>
            <pc:docMk/>
            <pc:sldMk cId="2653385888" sldId="1224"/>
            <ac:spMk id="6" creationId="{BDB28EF4-E93A-4FAD-25BB-5FB302DD7E3D}"/>
          </ac:spMkLst>
        </pc:spChg>
        <pc:spChg chg="add mod">
          <ac:chgData name="José Antonio Ureta Santacreu" userId="e36999d1-2b92-424a-9e8c-5fde0c5fbdd2" providerId="ADAL" clId="{8E1CC941-A529-42BD-91F2-8926E50D0828}" dt="2024-07-19T10:28:05.941" v="1651" actId="14100"/>
          <ac:spMkLst>
            <pc:docMk/>
            <pc:sldMk cId="2653385888" sldId="1224"/>
            <ac:spMk id="7" creationId="{1978E2D9-3D62-133F-152D-31749D533AF7}"/>
          </ac:spMkLst>
        </pc:spChg>
        <pc:picChg chg="add mod">
          <ac:chgData name="José Antonio Ureta Santacreu" userId="e36999d1-2b92-424a-9e8c-5fde0c5fbdd2" providerId="ADAL" clId="{8E1CC941-A529-42BD-91F2-8926E50D0828}" dt="2024-07-19T10:28:10.009" v="1652" actId="14100"/>
          <ac:picMkLst>
            <pc:docMk/>
            <pc:sldMk cId="2653385888" sldId="1224"/>
            <ac:picMk id="4098" creationId="{CD33D4C4-8196-DD15-E2FA-D78F1122F3F7}"/>
          </ac:picMkLst>
        </pc:picChg>
      </pc:sldChg>
      <pc:sldChg chg="addSp modSp new mod ord">
        <pc:chgData name="José Antonio Ureta Santacreu" userId="e36999d1-2b92-424a-9e8c-5fde0c5fbdd2" providerId="ADAL" clId="{8E1CC941-A529-42BD-91F2-8926E50D0828}" dt="2024-07-19T10:26:13.864" v="1624" actId="1076"/>
        <pc:sldMkLst>
          <pc:docMk/>
          <pc:sldMk cId="3613380387" sldId="1225"/>
        </pc:sldMkLst>
        <pc:spChg chg="mod">
          <ac:chgData name="José Antonio Ureta Santacreu" userId="e36999d1-2b92-424a-9e8c-5fde0c5fbdd2" providerId="ADAL" clId="{8E1CC941-A529-42BD-91F2-8926E50D0828}" dt="2024-07-19T10:25:52.846" v="1620" actId="20577"/>
          <ac:spMkLst>
            <pc:docMk/>
            <pc:sldMk cId="3613380387" sldId="1225"/>
            <ac:spMk id="2" creationId="{7F66E439-FEA2-13F0-A5FE-8019B06EBBC9}"/>
          </ac:spMkLst>
        </pc:spChg>
        <pc:picChg chg="add mod">
          <ac:chgData name="José Antonio Ureta Santacreu" userId="e36999d1-2b92-424a-9e8c-5fde0c5fbdd2" providerId="ADAL" clId="{8E1CC941-A529-42BD-91F2-8926E50D0828}" dt="2024-07-19T10:26:13.864" v="1624" actId="1076"/>
          <ac:picMkLst>
            <pc:docMk/>
            <pc:sldMk cId="3613380387" sldId="1225"/>
            <ac:picMk id="7" creationId="{3AD6E1CC-0E9D-CD60-F139-7C39E0AE2066}"/>
          </ac:picMkLst>
        </pc:picChg>
      </pc:sldChg>
      <pc:sldChg chg="delSp add mod modShow">
        <pc:chgData name="José Antonio Ureta Santacreu" userId="e36999d1-2b92-424a-9e8c-5fde0c5fbdd2" providerId="ADAL" clId="{8E1CC941-A529-42BD-91F2-8926E50D0828}" dt="2024-07-19T10:32:49.080" v="1655" actId="478"/>
        <pc:sldMkLst>
          <pc:docMk/>
          <pc:sldMk cId="4190830066" sldId="1226"/>
        </pc:sldMkLst>
        <pc:spChg chg="del">
          <ac:chgData name="José Antonio Ureta Santacreu" userId="e36999d1-2b92-424a-9e8c-5fde0c5fbdd2" providerId="ADAL" clId="{8E1CC941-A529-42BD-91F2-8926E50D0828}" dt="2024-07-19T10:32:49.080" v="1655" actId="478"/>
          <ac:spMkLst>
            <pc:docMk/>
            <pc:sldMk cId="4190830066" sldId="1226"/>
            <ac:spMk id="10" creationId="{21EBD93A-A641-4AF8-804D-301A3699784D}"/>
          </ac:spMkLst>
        </pc:spChg>
      </pc:sldChg>
      <pc:sldMasterChg chg="delSldLayout modSldLayout">
        <pc:chgData name="José Antonio Ureta Santacreu" userId="e36999d1-2b92-424a-9e8c-5fde0c5fbdd2" providerId="ADAL" clId="{8E1CC941-A529-42BD-91F2-8926E50D0828}" dt="2024-07-10T11:41:59.027" v="358" actId="2696"/>
        <pc:sldMasterMkLst>
          <pc:docMk/>
          <pc:sldMasterMk cId="124638484" sldId="2147483777"/>
        </pc:sldMasterMkLst>
        <pc:sldLayoutChg chg="del">
          <pc:chgData name="José Antonio Ureta Santacreu" userId="e36999d1-2b92-424a-9e8c-5fde0c5fbdd2" providerId="ADAL" clId="{8E1CC941-A529-42BD-91F2-8926E50D0828}" dt="2024-06-25T11:08:01.354" v="90" actId="2696"/>
          <pc:sldLayoutMkLst>
            <pc:docMk/>
            <pc:sldMasterMk cId="124638484" sldId="2147483777"/>
            <pc:sldLayoutMk cId="208628267" sldId="2147483751"/>
          </pc:sldLayoutMkLst>
        </pc:sldLayoutChg>
        <pc:sldLayoutChg chg="addSp">
          <pc:chgData name="José Antonio Ureta Santacreu" userId="e36999d1-2b92-424a-9e8c-5fde0c5fbdd2" providerId="ADAL" clId="{8E1CC941-A529-42BD-91F2-8926E50D0828}" dt="2024-06-25T11:06:57.220" v="0"/>
          <pc:sldLayoutMkLst>
            <pc:docMk/>
            <pc:sldMasterMk cId="124638484" sldId="2147483777"/>
            <pc:sldLayoutMk cId="3718128730" sldId="2147483783"/>
          </pc:sldLayoutMkLst>
          <pc:cxnChg chg="add">
            <ac:chgData name="José Antonio Ureta Santacreu" userId="e36999d1-2b92-424a-9e8c-5fde0c5fbdd2" providerId="ADAL" clId="{8E1CC941-A529-42BD-91F2-8926E50D0828}" dt="2024-06-25T11:06:57.220" v="0"/>
            <ac:cxnSpMkLst>
              <pc:docMk/>
              <pc:sldMasterMk cId="124638484" sldId="2147483777"/>
              <pc:sldLayoutMk cId="3718128730" sldId="2147483783"/>
              <ac:cxnSpMk id="2" creationId="{B8DACE81-5683-462F-950F-1F8D51F7D94B}"/>
            </ac:cxnSpMkLst>
          </pc:cxnChg>
          <pc:cxnChg chg="add">
            <ac:chgData name="José Antonio Ureta Santacreu" userId="e36999d1-2b92-424a-9e8c-5fde0c5fbdd2" providerId="ADAL" clId="{8E1CC941-A529-42BD-91F2-8926E50D0828}" dt="2024-06-25T11:06:57.220" v="0"/>
            <ac:cxnSpMkLst>
              <pc:docMk/>
              <pc:sldMasterMk cId="124638484" sldId="2147483777"/>
              <pc:sldLayoutMk cId="3718128730" sldId="2147483783"/>
              <ac:cxnSpMk id="13" creationId="{7AB42AA1-5B57-4342-19B1-AE0878A26658}"/>
            </ac:cxnSpMkLst>
          </pc:cxnChg>
        </pc:sldLayoutChg>
        <pc:sldLayoutChg chg="addSp">
          <pc:chgData name="José Antonio Ureta Santacreu" userId="e36999d1-2b92-424a-9e8c-5fde0c5fbdd2" providerId="ADAL" clId="{8E1CC941-A529-42BD-91F2-8926E50D0828}" dt="2024-06-25T11:06:57.220" v="0"/>
          <pc:sldLayoutMkLst>
            <pc:docMk/>
            <pc:sldMasterMk cId="124638484" sldId="2147483777"/>
            <pc:sldLayoutMk cId="2598267176" sldId="2147483787"/>
          </pc:sldLayoutMkLst>
          <pc:spChg chg="add">
            <ac:chgData name="José Antonio Ureta Santacreu" userId="e36999d1-2b92-424a-9e8c-5fde0c5fbdd2" providerId="ADAL" clId="{8E1CC941-A529-42BD-91F2-8926E50D0828}" dt="2024-06-25T11:06:57.220" v="0"/>
            <ac:spMkLst>
              <pc:docMk/>
              <pc:sldMasterMk cId="124638484" sldId="2147483777"/>
              <pc:sldLayoutMk cId="2598267176" sldId="2147483787"/>
              <ac:spMk id="2" creationId="{84BBA1EF-55E1-E336-F16E-1D837F425BE7}"/>
            </ac:spMkLst>
          </pc:spChg>
          <pc:spChg chg="add">
            <ac:chgData name="José Antonio Ureta Santacreu" userId="e36999d1-2b92-424a-9e8c-5fde0c5fbdd2" providerId="ADAL" clId="{8E1CC941-A529-42BD-91F2-8926E50D0828}" dt="2024-06-25T11:06:57.220" v="0"/>
            <ac:spMkLst>
              <pc:docMk/>
              <pc:sldMasterMk cId="124638484" sldId="2147483777"/>
              <pc:sldLayoutMk cId="2598267176" sldId="2147483787"/>
              <ac:spMk id="9" creationId="{1F2B3216-4865-3ECF-AFEF-E0C28720CCA0}"/>
            </ac:spMkLst>
          </pc:spChg>
        </pc:sldLayoutChg>
        <pc:sldLayoutChg chg="delSp">
          <pc:chgData name="José Antonio Ureta Santacreu" userId="e36999d1-2b92-424a-9e8c-5fde0c5fbdd2" providerId="ADAL" clId="{8E1CC941-A529-42BD-91F2-8926E50D0828}" dt="2024-06-25T11:06:57.220" v="0"/>
          <pc:sldLayoutMkLst>
            <pc:docMk/>
            <pc:sldMasterMk cId="124638484" sldId="2147483777"/>
            <pc:sldLayoutMk cId="483417985" sldId="2147483788"/>
          </pc:sldLayoutMkLst>
          <pc:grpChg chg="del">
            <ac:chgData name="José Antonio Ureta Santacreu" userId="e36999d1-2b92-424a-9e8c-5fde0c5fbdd2" providerId="ADAL" clId="{8E1CC941-A529-42BD-91F2-8926E50D0828}" dt="2024-06-25T11:06:57.220" v="0"/>
            <ac:grpSpMkLst>
              <pc:docMk/>
              <pc:sldMasterMk cId="124638484" sldId="2147483777"/>
              <pc:sldLayoutMk cId="483417985" sldId="2147483788"/>
              <ac:grpSpMk id="7" creationId="{030CE3FD-B952-4D68-A211-14DE1BE310FA}"/>
            </ac:grpSpMkLst>
          </pc:grpChg>
          <pc:grpChg chg="del">
            <ac:chgData name="José Antonio Ureta Santacreu" userId="e36999d1-2b92-424a-9e8c-5fde0c5fbdd2" providerId="ADAL" clId="{8E1CC941-A529-42BD-91F2-8926E50D0828}" dt="2024-06-25T11:06:57.220" v="0"/>
            <ac:grpSpMkLst>
              <pc:docMk/>
              <pc:sldMasterMk cId="124638484" sldId="2147483777"/>
              <pc:sldLayoutMk cId="483417985" sldId="2147483788"/>
              <ac:grpSpMk id="10" creationId="{0FF73387-F6A3-4C7C-B2FD-7240780EA4E0}"/>
            </ac:grpSpMkLst>
          </pc:grpChg>
          <pc:picChg chg="del">
            <ac:chgData name="José Antonio Ureta Santacreu" userId="e36999d1-2b92-424a-9e8c-5fde0c5fbdd2" providerId="ADAL" clId="{8E1CC941-A529-42BD-91F2-8926E50D0828}" dt="2024-06-25T11:06:57.220" v="0"/>
            <ac:picMkLst>
              <pc:docMk/>
              <pc:sldMasterMk cId="124638484" sldId="2147483777"/>
              <pc:sldLayoutMk cId="483417985" sldId="2147483788"/>
              <ac:picMk id="15" creationId="{A3658E9A-9F60-41FC-92C6-9FD5B238AE6A}"/>
            </ac:picMkLst>
          </pc:picChg>
        </pc:sldLayoutChg>
        <pc:sldLayoutChg chg="del">
          <pc:chgData name="José Antonio Ureta Santacreu" userId="e36999d1-2b92-424a-9e8c-5fde0c5fbdd2" providerId="ADAL" clId="{8E1CC941-A529-42BD-91F2-8926E50D0828}" dt="2024-07-10T11:41:59.027" v="358" actId="2696"/>
          <pc:sldLayoutMkLst>
            <pc:docMk/>
            <pc:sldMasterMk cId="124638484" sldId="2147483777"/>
            <pc:sldLayoutMk cId="2757886399" sldId="2147483790"/>
          </pc:sldLayoutMkLst>
        </pc:sldLayoutChg>
        <pc:sldLayoutChg chg="del">
          <pc:chgData name="José Antonio Ureta Santacreu" userId="e36999d1-2b92-424a-9e8c-5fde0c5fbdd2" providerId="ADAL" clId="{8E1CC941-A529-42BD-91F2-8926E50D0828}" dt="2024-07-10T11:41:59.027" v="358" actId="2696"/>
          <pc:sldLayoutMkLst>
            <pc:docMk/>
            <pc:sldMasterMk cId="124638484" sldId="2147483777"/>
            <pc:sldLayoutMk cId="920323535" sldId="2147483791"/>
          </pc:sldLayoutMkLst>
        </pc:sldLayoutChg>
        <pc:sldLayoutChg chg="del">
          <pc:chgData name="José Antonio Ureta Santacreu" userId="e36999d1-2b92-424a-9e8c-5fde0c5fbdd2" providerId="ADAL" clId="{8E1CC941-A529-42BD-91F2-8926E50D0828}" dt="2024-07-10T11:41:59.027" v="358" actId="2696"/>
          <pc:sldLayoutMkLst>
            <pc:docMk/>
            <pc:sldMasterMk cId="124638484" sldId="2147483777"/>
            <pc:sldLayoutMk cId="1219781104" sldId="2147483792"/>
          </pc:sldLayoutMkLst>
        </pc:sldLayoutChg>
        <pc:sldLayoutChg chg="del">
          <pc:chgData name="José Antonio Ureta Santacreu" userId="e36999d1-2b92-424a-9e8c-5fde0c5fbdd2" providerId="ADAL" clId="{8E1CC941-A529-42BD-91F2-8926E50D0828}" dt="2024-07-10T11:41:59.027" v="358" actId="2696"/>
          <pc:sldLayoutMkLst>
            <pc:docMk/>
            <pc:sldMasterMk cId="124638484" sldId="2147483777"/>
            <pc:sldLayoutMk cId="1349071302" sldId="2147483793"/>
          </pc:sldLayoutMkLst>
        </pc:sldLayoutChg>
        <pc:sldLayoutChg chg="del">
          <pc:chgData name="José Antonio Ureta Santacreu" userId="e36999d1-2b92-424a-9e8c-5fde0c5fbdd2" providerId="ADAL" clId="{8E1CC941-A529-42BD-91F2-8926E50D0828}" dt="2024-07-10T11:41:59.027" v="358" actId="2696"/>
          <pc:sldLayoutMkLst>
            <pc:docMk/>
            <pc:sldMasterMk cId="124638484" sldId="2147483777"/>
            <pc:sldLayoutMk cId="2721742486" sldId="2147483794"/>
          </pc:sldLayoutMkLst>
        </pc:sldLayoutChg>
      </pc:sldMasterChg>
    </pc:docChg>
  </pc:docChgLst>
  <pc:docChgLst>
    <pc:chgData name="José Antonio Ureta Santacreu" userId="e36999d1-2b92-424a-9e8c-5fde0c5fbdd2" providerId="ADAL" clId="{B441C459-42E0-4465-B296-199851FC6E31}"/>
    <pc:docChg chg="undo custSel addSld delSld modSld sldOrd modMainMaster">
      <pc:chgData name="José Antonio Ureta Santacreu" userId="e36999d1-2b92-424a-9e8c-5fde0c5fbdd2" providerId="ADAL" clId="{B441C459-42E0-4465-B296-199851FC6E31}" dt="2024-09-12T15:53:41.961" v="5240" actId="20577"/>
      <pc:docMkLst>
        <pc:docMk/>
      </pc:docMkLst>
      <pc:sldChg chg="addSp delSp modSp mod chgLayout">
        <pc:chgData name="José Antonio Ureta Santacreu" userId="e36999d1-2b92-424a-9e8c-5fde0c5fbdd2" providerId="ADAL" clId="{B441C459-42E0-4465-B296-199851FC6E31}" dt="2024-09-11T11:12:14.001" v="3782" actId="6264"/>
        <pc:sldMkLst>
          <pc:docMk/>
          <pc:sldMk cId="0" sldId="256"/>
        </pc:sldMkLst>
        <pc:spChg chg="add del mod">
          <ac:chgData name="José Antonio Ureta Santacreu" userId="e36999d1-2b92-424a-9e8c-5fde0c5fbdd2" providerId="ADAL" clId="{B441C459-42E0-4465-B296-199851FC6E31}" dt="2024-09-11T11:12:14.001" v="3782" actId="6264"/>
          <ac:spMkLst>
            <pc:docMk/>
            <pc:sldMk cId="0" sldId="256"/>
            <ac:spMk id="2" creationId="{F4B0149F-4C10-4D12-83B6-22B3E749AF2F}"/>
          </ac:spMkLst>
        </pc:spChg>
        <pc:spChg chg="mod ord">
          <ac:chgData name="José Antonio Ureta Santacreu" userId="e36999d1-2b92-424a-9e8c-5fde0c5fbdd2" providerId="ADAL" clId="{B441C459-42E0-4465-B296-199851FC6E31}" dt="2024-09-11T11:12:14.001" v="3782" actId="6264"/>
          <ac:spMkLst>
            <pc:docMk/>
            <pc:sldMk cId="0" sldId="256"/>
            <ac:spMk id="3" creationId="{AC5BCA3A-F123-49D4-BB84-16779C15ABB6}"/>
          </ac:spMkLst>
        </pc:spChg>
        <pc:spChg chg="add del mod">
          <ac:chgData name="José Antonio Ureta Santacreu" userId="e36999d1-2b92-424a-9e8c-5fde0c5fbdd2" providerId="ADAL" clId="{B441C459-42E0-4465-B296-199851FC6E31}" dt="2024-09-11T11:12:14.001" v="3782" actId="6264"/>
          <ac:spMkLst>
            <pc:docMk/>
            <pc:sldMk cId="0" sldId="256"/>
            <ac:spMk id="5" creationId="{EEF29317-500E-B7C7-E0E2-C466BB8C6A94}"/>
          </ac:spMkLst>
        </pc:spChg>
        <pc:spChg chg="add del mod">
          <ac:chgData name="José Antonio Ureta Santacreu" userId="e36999d1-2b92-424a-9e8c-5fde0c5fbdd2" providerId="ADAL" clId="{B441C459-42E0-4465-B296-199851FC6E31}" dt="2024-09-11T11:12:14.001" v="3782" actId="6264"/>
          <ac:spMkLst>
            <pc:docMk/>
            <pc:sldMk cId="0" sldId="256"/>
            <ac:spMk id="6" creationId="{6D89B9FD-DEF5-7D7A-6F02-BDA3D9D6430F}"/>
          </ac:spMkLst>
        </pc:spChg>
        <pc:spChg chg="mod ord">
          <ac:chgData name="José Antonio Ureta Santacreu" userId="e36999d1-2b92-424a-9e8c-5fde0c5fbdd2" providerId="ADAL" clId="{B441C459-42E0-4465-B296-199851FC6E31}" dt="2024-09-11T11:12:14.001" v="3782" actId="6264"/>
          <ac:spMkLst>
            <pc:docMk/>
            <pc:sldMk cId="0" sldId="256"/>
            <ac:spMk id="13315" creationId="{00000000-0000-0000-0000-000000000000}"/>
          </ac:spMkLst>
        </pc:spChg>
        <pc:picChg chg="mod ord">
          <ac:chgData name="José Antonio Ureta Santacreu" userId="e36999d1-2b92-424a-9e8c-5fde0c5fbdd2" providerId="ADAL" clId="{B441C459-42E0-4465-B296-199851FC6E31}" dt="2024-09-11T11:12:14.001" v="3782" actId="6264"/>
          <ac:picMkLst>
            <pc:docMk/>
            <pc:sldMk cId="0" sldId="256"/>
            <ac:picMk id="4" creationId="{125DF0DB-823D-66AF-5208-191F74EEBADA}"/>
          </ac:picMkLst>
        </pc:picChg>
      </pc:sldChg>
      <pc:sldChg chg="addSp delSp modSp mod chgLayout">
        <pc:chgData name="José Antonio Ureta Santacreu" userId="e36999d1-2b92-424a-9e8c-5fde0c5fbdd2" providerId="ADAL" clId="{B441C459-42E0-4465-B296-199851FC6E31}" dt="2024-09-11T11:12:14.001" v="3782" actId="6264"/>
        <pc:sldMkLst>
          <pc:docMk/>
          <pc:sldMk cId="3488578706" sldId="257"/>
        </pc:sldMkLst>
        <pc:spChg chg="mod ord">
          <ac:chgData name="José Antonio Ureta Santacreu" userId="e36999d1-2b92-424a-9e8c-5fde0c5fbdd2" providerId="ADAL" clId="{B441C459-42E0-4465-B296-199851FC6E31}" dt="2024-09-11T11:12:14.001" v="3782" actId="6264"/>
          <ac:spMkLst>
            <pc:docMk/>
            <pc:sldMk cId="3488578706" sldId="257"/>
            <ac:spMk id="2" creationId="{25BE0FAF-A033-7089-3B46-E75F850DC8D9}"/>
          </ac:spMkLst>
        </pc:spChg>
        <pc:spChg chg="mod ord">
          <ac:chgData name="José Antonio Ureta Santacreu" userId="e36999d1-2b92-424a-9e8c-5fde0c5fbdd2" providerId="ADAL" clId="{B441C459-42E0-4465-B296-199851FC6E31}" dt="2024-09-11T11:12:14.001" v="3782" actId="6264"/>
          <ac:spMkLst>
            <pc:docMk/>
            <pc:sldMk cId="3488578706" sldId="257"/>
            <ac:spMk id="3" creationId="{E594DDC1-909A-4696-1897-9FDBD9A14DA2}"/>
          </ac:spMkLst>
        </pc:spChg>
        <pc:spChg chg="mod ord">
          <ac:chgData name="José Antonio Ureta Santacreu" userId="e36999d1-2b92-424a-9e8c-5fde0c5fbdd2" providerId="ADAL" clId="{B441C459-42E0-4465-B296-199851FC6E31}" dt="2024-09-11T11:12:14.001" v="3782" actId="6264"/>
          <ac:spMkLst>
            <pc:docMk/>
            <pc:sldMk cId="3488578706" sldId="257"/>
            <ac:spMk id="4" creationId="{3A78B1F1-8AA6-B91A-0B2A-7C8E559E8408}"/>
          </ac:spMkLst>
        </pc:spChg>
        <pc:spChg chg="add del mod">
          <ac:chgData name="José Antonio Ureta Santacreu" userId="e36999d1-2b92-424a-9e8c-5fde0c5fbdd2" providerId="ADAL" clId="{B441C459-42E0-4465-B296-199851FC6E31}" dt="2024-09-11T11:12:14.001" v="3782" actId="6264"/>
          <ac:spMkLst>
            <pc:docMk/>
            <pc:sldMk cId="3488578706" sldId="257"/>
            <ac:spMk id="5" creationId="{7AB6871F-9085-26C2-0A8D-CF02F9D07635}"/>
          </ac:spMkLst>
        </pc:spChg>
        <pc:spChg chg="add del mod">
          <ac:chgData name="José Antonio Ureta Santacreu" userId="e36999d1-2b92-424a-9e8c-5fde0c5fbdd2" providerId="ADAL" clId="{B441C459-42E0-4465-B296-199851FC6E31}" dt="2024-09-11T11:12:14.001" v="3782" actId="6264"/>
          <ac:spMkLst>
            <pc:docMk/>
            <pc:sldMk cId="3488578706" sldId="257"/>
            <ac:spMk id="6" creationId="{58C5E2EA-BCE9-3B23-ABB8-4F303966EEB7}"/>
          </ac:spMkLst>
        </pc:spChg>
        <pc:spChg chg="mod ord">
          <ac:chgData name="José Antonio Ureta Santacreu" userId="e36999d1-2b92-424a-9e8c-5fde0c5fbdd2" providerId="ADAL" clId="{B441C459-42E0-4465-B296-199851FC6E31}" dt="2024-09-11T11:12:14.001" v="3782" actId="6264"/>
          <ac:spMkLst>
            <pc:docMk/>
            <pc:sldMk cId="3488578706" sldId="257"/>
            <ac:spMk id="7" creationId="{1690F052-CA99-AE26-5BC2-02CD577DE123}"/>
          </ac:spMkLst>
        </pc:spChg>
        <pc:spChg chg="add del mod">
          <ac:chgData name="José Antonio Ureta Santacreu" userId="e36999d1-2b92-424a-9e8c-5fde0c5fbdd2" providerId="ADAL" clId="{B441C459-42E0-4465-B296-199851FC6E31}" dt="2024-09-11T11:12:14.001" v="3782" actId="6264"/>
          <ac:spMkLst>
            <pc:docMk/>
            <pc:sldMk cId="3488578706" sldId="257"/>
            <ac:spMk id="8" creationId="{2833E26B-6D41-F13F-92A7-4998015744B2}"/>
          </ac:spMkLst>
        </pc:spChg>
        <pc:spChg chg="add del mod">
          <ac:chgData name="José Antonio Ureta Santacreu" userId="e36999d1-2b92-424a-9e8c-5fde0c5fbdd2" providerId="ADAL" clId="{B441C459-42E0-4465-B296-199851FC6E31}" dt="2024-09-11T11:12:14.001" v="3782" actId="6264"/>
          <ac:spMkLst>
            <pc:docMk/>
            <pc:sldMk cId="3488578706" sldId="257"/>
            <ac:spMk id="9" creationId="{985ED0EC-8088-2B67-5D7F-E33A7539F77D}"/>
          </ac:spMkLst>
        </pc:spChg>
        <pc:spChg chg="add del mod">
          <ac:chgData name="José Antonio Ureta Santacreu" userId="e36999d1-2b92-424a-9e8c-5fde0c5fbdd2" providerId="ADAL" clId="{B441C459-42E0-4465-B296-199851FC6E31}" dt="2024-09-11T11:12:14.001" v="3782" actId="6264"/>
          <ac:spMkLst>
            <pc:docMk/>
            <pc:sldMk cId="3488578706" sldId="257"/>
            <ac:spMk id="10" creationId="{917EA040-C254-7821-8089-DD9561C93AE5}"/>
          </ac:spMkLst>
        </pc:spChg>
        <pc:spChg chg="add del mod">
          <ac:chgData name="José Antonio Ureta Santacreu" userId="e36999d1-2b92-424a-9e8c-5fde0c5fbdd2" providerId="ADAL" clId="{B441C459-42E0-4465-B296-199851FC6E31}" dt="2024-09-11T11:12:14.001" v="3782" actId="6264"/>
          <ac:spMkLst>
            <pc:docMk/>
            <pc:sldMk cId="3488578706" sldId="257"/>
            <ac:spMk id="11" creationId="{2D13A97F-2F9A-FA9A-78ED-0AA7098B7752}"/>
          </ac:spMkLst>
        </pc:spChg>
        <pc:graphicFrameChg chg="mod ord">
          <ac:chgData name="José Antonio Ureta Santacreu" userId="e36999d1-2b92-424a-9e8c-5fde0c5fbdd2" providerId="ADAL" clId="{B441C459-42E0-4465-B296-199851FC6E31}" dt="2024-09-11T11:12:14.001" v="3782" actId="6264"/>
          <ac:graphicFrameMkLst>
            <pc:docMk/>
            <pc:sldMk cId="3488578706" sldId="257"/>
            <ac:graphicFrameMk id="35" creationId="{84BC839D-9AFC-AB1B-1B26-8715F18AC57B}"/>
          </ac:graphicFrameMkLst>
        </pc:graphicFrameChg>
        <pc:picChg chg="mod ord">
          <ac:chgData name="José Antonio Ureta Santacreu" userId="e36999d1-2b92-424a-9e8c-5fde0c5fbdd2" providerId="ADAL" clId="{B441C459-42E0-4465-B296-199851FC6E31}" dt="2024-09-11T11:12:14.001" v="3782" actId="6264"/>
          <ac:picMkLst>
            <pc:docMk/>
            <pc:sldMk cId="3488578706" sldId="257"/>
            <ac:picMk id="34" creationId="{0B2E698B-28EE-E8C9-FC18-013E4759E8D5}"/>
          </ac:picMkLst>
        </pc:picChg>
      </pc:sldChg>
      <pc:sldChg chg="addSp delSp modSp add mod chgLayout">
        <pc:chgData name="José Antonio Ureta Santacreu" userId="e36999d1-2b92-424a-9e8c-5fde0c5fbdd2" providerId="ADAL" clId="{B441C459-42E0-4465-B296-199851FC6E31}" dt="2024-09-12T11:13:44.677" v="4384" actId="255"/>
        <pc:sldMkLst>
          <pc:docMk/>
          <pc:sldMk cId="3784393299" sldId="259"/>
        </pc:sldMkLst>
        <pc:spChg chg="mod ord">
          <ac:chgData name="José Antonio Ureta Santacreu" userId="e36999d1-2b92-424a-9e8c-5fde0c5fbdd2" providerId="ADAL" clId="{B441C459-42E0-4465-B296-199851FC6E31}" dt="2024-09-11T11:12:14.001" v="3782" actId="6264"/>
          <ac:spMkLst>
            <pc:docMk/>
            <pc:sldMk cId="3784393299" sldId="259"/>
            <ac:spMk id="2" creationId="{33835B1D-FBA7-D8BD-9431-0C4F20B5528E}"/>
          </ac:spMkLst>
        </pc:spChg>
        <pc:spChg chg="mod ord">
          <ac:chgData name="José Antonio Ureta Santacreu" userId="e36999d1-2b92-424a-9e8c-5fde0c5fbdd2" providerId="ADAL" clId="{B441C459-42E0-4465-B296-199851FC6E31}" dt="2024-09-12T11:13:22.944" v="4378" actId="27636"/>
          <ac:spMkLst>
            <pc:docMk/>
            <pc:sldMk cId="3784393299" sldId="259"/>
            <ac:spMk id="3" creationId="{723D6021-B400-0320-1042-EA45F677753F}"/>
          </ac:spMkLst>
        </pc:spChg>
        <pc:spChg chg="add del mod">
          <ac:chgData name="José Antonio Ureta Santacreu" userId="e36999d1-2b92-424a-9e8c-5fde0c5fbdd2" providerId="ADAL" clId="{B441C459-42E0-4465-B296-199851FC6E31}" dt="2024-09-11T11:12:14.001" v="3782" actId="6264"/>
          <ac:spMkLst>
            <pc:docMk/>
            <pc:sldMk cId="3784393299" sldId="259"/>
            <ac:spMk id="5" creationId="{E6DFCBEE-76B2-99C3-23A0-3617EE60FD80}"/>
          </ac:spMkLst>
        </pc:spChg>
        <pc:spChg chg="add del mod">
          <ac:chgData name="José Antonio Ureta Santacreu" userId="e36999d1-2b92-424a-9e8c-5fde0c5fbdd2" providerId="ADAL" clId="{B441C459-42E0-4465-B296-199851FC6E31}" dt="2024-09-11T11:12:14.001" v="3782" actId="6264"/>
          <ac:spMkLst>
            <pc:docMk/>
            <pc:sldMk cId="3784393299" sldId="259"/>
            <ac:spMk id="6" creationId="{9C0587C7-594F-B1ED-3CFC-3054488FF40A}"/>
          </ac:spMkLst>
        </pc:spChg>
        <pc:spChg chg="add del mod">
          <ac:chgData name="José Antonio Ureta Santacreu" userId="e36999d1-2b92-424a-9e8c-5fde0c5fbdd2" providerId="ADAL" clId="{B441C459-42E0-4465-B296-199851FC6E31}" dt="2024-09-11T11:12:14.001" v="3782" actId="6264"/>
          <ac:spMkLst>
            <pc:docMk/>
            <pc:sldMk cId="3784393299" sldId="259"/>
            <ac:spMk id="7" creationId="{8780FDED-E489-11B1-CAFA-BB7246193A2C}"/>
          </ac:spMkLst>
        </pc:spChg>
        <pc:spChg chg="mod ord">
          <ac:chgData name="José Antonio Ureta Santacreu" userId="e36999d1-2b92-424a-9e8c-5fde0c5fbdd2" providerId="ADAL" clId="{B441C459-42E0-4465-B296-199851FC6E31}" dt="2024-09-11T11:12:14.001" v="3782" actId="6264"/>
          <ac:spMkLst>
            <pc:docMk/>
            <pc:sldMk cId="3784393299" sldId="259"/>
            <ac:spMk id="9" creationId="{762F1FD5-50EA-57DA-232D-E7B9C22DE4F8}"/>
          </ac:spMkLst>
        </pc:spChg>
        <pc:spChg chg="mod ord">
          <ac:chgData name="José Antonio Ureta Santacreu" userId="e36999d1-2b92-424a-9e8c-5fde0c5fbdd2" providerId="ADAL" clId="{B441C459-42E0-4465-B296-199851FC6E31}" dt="2024-09-11T11:12:14.001" v="3782" actId="6264"/>
          <ac:spMkLst>
            <pc:docMk/>
            <pc:sldMk cId="3784393299" sldId="259"/>
            <ac:spMk id="10" creationId="{9F518A05-7679-346A-8073-5B3DA01F05CA}"/>
          </ac:spMkLst>
        </pc:spChg>
        <pc:spChg chg="mod ord">
          <ac:chgData name="José Antonio Ureta Santacreu" userId="e36999d1-2b92-424a-9e8c-5fde0c5fbdd2" providerId="ADAL" clId="{B441C459-42E0-4465-B296-199851FC6E31}" dt="2024-09-11T11:12:14.001" v="3782" actId="6264"/>
          <ac:spMkLst>
            <pc:docMk/>
            <pc:sldMk cId="3784393299" sldId="259"/>
            <ac:spMk id="11" creationId="{D099B4A0-F9C6-E767-7A39-5D352BD9B822}"/>
          </ac:spMkLst>
        </pc:spChg>
        <pc:spChg chg="add del mod">
          <ac:chgData name="José Antonio Ureta Santacreu" userId="e36999d1-2b92-424a-9e8c-5fde0c5fbdd2" providerId="ADAL" clId="{B441C459-42E0-4465-B296-199851FC6E31}" dt="2024-09-11T11:12:14.001" v="3782" actId="6264"/>
          <ac:spMkLst>
            <pc:docMk/>
            <pc:sldMk cId="3784393299" sldId="259"/>
            <ac:spMk id="12" creationId="{A2BAD1A9-20FF-77B3-ADC5-E6F7AC3CA022}"/>
          </ac:spMkLst>
        </pc:spChg>
        <pc:spChg chg="add del mod">
          <ac:chgData name="José Antonio Ureta Santacreu" userId="e36999d1-2b92-424a-9e8c-5fde0c5fbdd2" providerId="ADAL" clId="{B441C459-42E0-4465-B296-199851FC6E31}" dt="2024-09-11T11:12:14.001" v="3782" actId="6264"/>
          <ac:spMkLst>
            <pc:docMk/>
            <pc:sldMk cId="3784393299" sldId="259"/>
            <ac:spMk id="13" creationId="{8745841D-989E-5C8C-0F6B-A47F5606D2D3}"/>
          </ac:spMkLst>
        </pc:spChg>
        <pc:spChg chg="add del mod">
          <ac:chgData name="José Antonio Ureta Santacreu" userId="e36999d1-2b92-424a-9e8c-5fde0c5fbdd2" providerId="ADAL" clId="{B441C459-42E0-4465-B296-199851FC6E31}" dt="2024-09-11T11:12:14.001" v="3782" actId="6264"/>
          <ac:spMkLst>
            <pc:docMk/>
            <pc:sldMk cId="3784393299" sldId="259"/>
            <ac:spMk id="14" creationId="{7236FD1F-89F1-26D9-46AB-05C462F68A32}"/>
          </ac:spMkLst>
        </pc:spChg>
        <pc:graphicFrameChg chg="add mod modGraphic">
          <ac:chgData name="José Antonio Ureta Santacreu" userId="e36999d1-2b92-424a-9e8c-5fde0c5fbdd2" providerId="ADAL" clId="{B441C459-42E0-4465-B296-199851FC6E31}" dt="2024-09-12T11:13:44.677" v="4384" actId="255"/>
          <ac:graphicFrameMkLst>
            <pc:docMk/>
            <pc:sldMk cId="3784393299" sldId="259"/>
            <ac:graphicFrameMk id="4" creationId="{0EF9C03E-ACA8-8CE8-582A-4B04A5A33183}"/>
          </ac:graphicFrameMkLst>
        </pc:graphicFrameChg>
        <pc:picChg chg="mod ord">
          <ac:chgData name="José Antonio Ureta Santacreu" userId="e36999d1-2b92-424a-9e8c-5fde0c5fbdd2" providerId="ADAL" clId="{B441C459-42E0-4465-B296-199851FC6E31}" dt="2024-09-12T11:13:31.898" v="4381" actId="1076"/>
          <ac:picMkLst>
            <pc:docMk/>
            <pc:sldMk cId="3784393299" sldId="259"/>
            <ac:picMk id="8" creationId="{D3C353DD-69D2-9745-8E71-DDB947B8A783}"/>
          </ac:picMkLst>
        </pc:picChg>
      </pc:sldChg>
      <pc:sldChg chg="del">
        <pc:chgData name="José Antonio Ureta Santacreu" userId="e36999d1-2b92-424a-9e8c-5fde0c5fbdd2" providerId="ADAL" clId="{B441C459-42E0-4465-B296-199851FC6E31}" dt="2024-07-23T10:41:54.955" v="271" actId="2696"/>
        <pc:sldMkLst>
          <pc:docMk/>
          <pc:sldMk cId="2402355785" sldId="263"/>
        </pc:sldMkLst>
      </pc:sldChg>
      <pc:sldChg chg="addSp delSp modSp add mod modClrScheme chgLayout">
        <pc:chgData name="José Antonio Ureta Santacreu" userId="e36999d1-2b92-424a-9e8c-5fde0c5fbdd2" providerId="ADAL" clId="{B441C459-42E0-4465-B296-199851FC6E31}" dt="2024-09-12T11:15:15.262" v="4419" actId="478"/>
        <pc:sldMkLst>
          <pc:docMk/>
          <pc:sldMk cId="2716384860" sldId="263"/>
        </pc:sldMkLst>
        <pc:spChg chg="mod ord">
          <ac:chgData name="José Antonio Ureta Santacreu" userId="e36999d1-2b92-424a-9e8c-5fde0c5fbdd2" providerId="ADAL" clId="{B441C459-42E0-4465-B296-199851FC6E31}" dt="2024-09-12T11:14:26.395" v="4389" actId="700"/>
          <ac:spMkLst>
            <pc:docMk/>
            <pc:sldMk cId="2716384860" sldId="263"/>
            <ac:spMk id="2" creationId="{F442513C-2B39-4643-BEA4-11588D25713A}"/>
          </ac:spMkLst>
        </pc:spChg>
        <pc:spChg chg="mod ord">
          <ac:chgData name="José Antonio Ureta Santacreu" userId="e36999d1-2b92-424a-9e8c-5fde0c5fbdd2" providerId="ADAL" clId="{B441C459-42E0-4465-B296-199851FC6E31}" dt="2024-09-12T11:14:26.395" v="4389" actId="700"/>
          <ac:spMkLst>
            <pc:docMk/>
            <pc:sldMk cId="2716384860" sldId="263"/>
            <ac:spMk id="3" creationId="{E5F78ACA-F3D8-4F2A-A9E9-29E9B1141A3B}"/>
          </ac:spMkLst>
        </pc:spChg>
        <pc:spChg chg="mod ord">
          <ac:chgData name="José Antonio Ureta Santacreu" userId="e36999d1-2b92-424a-9e8c-5fde0c5fbdd2" providerId="ADAL" clId="{B441C459-42E0-4465-B296-199851FC6E31}" dt="2024-09-12T11:14:26.395" v="4389" actId="700"/>
          <ac:spMkLst>
            <pc:docMk/>
            <pc:sldMk cId="2716384860" sldId="263"/>
            <ac:spMk id="4" creationId="{72F7A903-A1A1-4190-911D-FC1E95DA0E72}"/>
          </ac:spMkLst>
        </pc:spChg>
        <pc:spChg chg="del">
          <ac:chgData name="José Antonio Ureta Santacreu" userId="e36999d1-2b92-424a-9e8c-5fde0c5fbdd2" providerId="ADAL" clId="{B441C459-42E0-4465-B296-199851FC6E31}" dt="2024-09-12T11:15:15.262" v="4419" actId="478"/>
          <ac:spMkLst>
            <pc:docMk/>
            <pc:sldMk cId="2716384860" sldId="263"/>
            <ac:spMk id="20" creationId="{8E92D73F-20A1-451B-A440-61251294AA42}"/>
          </ac:spMkLst>
        </pc:spChg>
        <pc:spChg chg="mod">
          <ac:chgData name="José Antonio Ureta Santacreu" userId="e36999d1-2b92-424a-9e8c-5fde0c5fbdd2" providerId="ADAL" clId="{B441C459-42E0-4465-B296-199851FC6E31}" dt="2024-09-12T11:15:05.529" v="4417" actId="1037"/>
          <ac:spMkLst>
            <pc:docMk/>
            <pc:sldMk cId="2716384860" sldId="263"/>
            <ac:spMk id="21" creationId="{99F0C534-3F21-4A8D-BDD7-EC456CF92BE0}"/>
          </ac:spMkLst>
        </pc:spChg>
        <pc:spChg chg="del">
          <ac:chgData name="José Antonio Ureta Santacreu" userId="e36999d1-2b92-424a-9e8c-5fde0c5fbdd2" providerId="ADAL" clId="{B441C459-42E0-4465-B296-199851FC6E31}" dt="2024-09-12T11:14:07.607" v="4386" actId="478"/>
          <ac:spMkLst>
            <pc:docMk/>
            <pc:sldMk cId="2716384860" sldId="263"/>
            <ac:spMk id="24" creationId="{96757DD0-E29D-339D-0E1C-6B132D50BC92}"/>
          </ac:spMkLst>
        </pc:spChg>
        <pc:spChg chg="mod ord">
          <ac:chgData name="José Antonio Ureta Santacreu" userId="e36999d1-2b92-424a-9e8c-5fde0c5fbdd2" providerId="ADAL" clId="{B441C459-42E0-4465-B296-199851FC6E31}" dt="2024-09-12T11:14:26.395" v="4389" actId="700"/>
          <ac:spMkLst>
            <pc:docMk/>
            <pc:sldMk cId="2716384860" sldId="263"/>
            <ac:spMk id="25" creationId="{E2815178-0BD5-4C8D-92DB-742E56B566F3}"/>
          </ac:spMkLst>
        </pc:spChg>
        <pc:spChg chg="add del mod">
          <ac:chgData name="José Antonio Ureta Santacreu" userId="e36999d1-2b92-424a-9e8c-5fde0c5fbdd2" providerId="ADAL" clId="{B441C459-42E0-4465-B296-199851FC6E31}" dt="2024-09-11T11:12:14.001" v="3782" actId="6264"/>
          <ac:spMkLst>
            <pc:docMk/>
            <pc:sldMk cId="2716384860" sldId="263"/>
            <ac:spMk id="27" creationId="{05EE37A7-A374-2C61-D5A4-B7DFCABC90C0}"/>
          </ac:spMkLst>
        </pc:spChg>
        <pc:spChg chg="add del mod">
          <ac:chgData name="José Antonio Ureta Santacreu" userId="e36999d1-2b92-424a-9e8c-5fde0c5fbdd2" providerId="ADAL" clId="{B441C459-42E0-4465-B296-199851FC6E31}" dt="2024-09-12T11:14:03.850" v="4385" actId="6264"/>
          <ac:spMkLst>
            <pc:docMk/>
            <pc:sldMk cId="2716384860" sldId="263"/>
            <ac:spMk id="27" creationId="{C014CF37-494D-E561-6547-07F07F95A3EA}"/>
          </ac:spMkLst>
        </pc:spChg>
        <pc:spChg chg="add del mod">
          <ac:chgData name="José Antonio Ureta Santacreu" userId="e36999d1-2b92-424a-9e8c-5fde0c5fbdd2" providerId="ADAL" clId="{B441C459-42E0-4465-B296-199851FC6E31}" dt="2024-09-12T11:14:03.850" v="4385" actId="6264"/>
          <ac:spMkLst>
            <pc:docMk/>
            <pc:sldMk cId="2716384860" sldId="263"/>
            <ac:spMk id="28" creationId="{3FCBCD3B-56F7-B5F0-6CC3-527E01F86B87}"/>
          </ac:spMkLst>
        </pc:spChg>
        <pc:spChg chg="add del mod">
          <ac:chgData name="José Antonio Ureta Santacreu" userId="e36999d1-2b92-424a-9e8c-5fde0c5fbdd2" providerId="ADAL" clId="{B441C459-42E0-4465-B296-199851FC6E31}" dt="2024-09-11T11:12:14.001" v="3782" actId="6264"/>
          <ac:spMkLst>
            <pc:docMk/>
            <pc:sldMk cId="2716384860" sldId="263"/>
            <ac:spMk id="28" creationId="{CF266BC5-7BE6-E422-D6E7-81FD4C9F7FCE}"/>
          </ac:spMkLst>
        </pc:spChg>
        <pc:spChg chg="add del mod">
          <ac:chgData name="José Antonio Ureta Santacreu" userId="e36999d1-2b92-424a-9e8c-5fde0c5fbdd2" providerId="ADAL" clId="{B441C459-42E0-4465-B296-199851FC6E31}" dt="2024-09-11T11:12:14.001" v="3782" actId="6264"/>
          <ac:spMkLst>
            <pc:docMk/>
            <pc:sldMk cId="2716384860" sldId="263"/>
            <ac:spMk id="29" creationId="{065ACDF5-44AD-EE86-280C-0F877D2FB902}"/>
          </ac:spMkLst>
        </pc:spChg>
        <pc:spChg chg="add del mod">
          <ac:chgData name="José Antonio Ureta Santacreu" userId="e36999d1-2b92-424a-9e8c-5fde0c5fbdd2" providerId="ADAL" clId="{B441C459-42E0-4465-B296-199851FC6E31}" dt="2024-09-12T11:14:03.850" v="4385" actId="6264"/>
          <ac:spMkLst>
            <pc:docMk/>
            <pc:sldMk cId="2716384860" sldId="263"/>
            <ac:spMk id="29" creationId="{C2534A78-97BA-E6CA-AFC2-F9C3A04A27D8}"/>
          </ac:spMkLst>
        </pc:spChg>
        <pc:spChg chg="add del mod">
          <ac:chgData name="José Antonio Ureta Santacreu" userId="e36999d1-2b92-424a-9e8c-5fde0c5fbdd2" providerId="ADAL" clId="{B441C459-42E0-4465-B296-199851FC6E31}" dt="2024-09-12T11:14:03.850" v="4385" actId="6264"/>
          <ac:spMkLst>
            <pc:docMk/>
            <pc:sldMk cId="2716384860" sldId="263"/>
            <ac:spMk id="30" creationId="{B96D7602-50CC-31F9-D341-781645A07485}"/>
          </ac:spMkLst>
        </pc:spChg>
        <pc:spChg chg="add del mod">
          <ac:chgData name="José Antonio Ureta Santacreu" userId="e36999d1-2b92-424a-9e8c-5fde0c5fbdd2" providerId="ADAL" clId="{B441C459-42E0-4465-B296-199851FC6E31}" dt="2024-09-11T11:12:14.001" v="3782" actId="6264"/>
          <ac:spMkLst>
            <pc:docMk/>
            <pc:sldMk cId="2716384860" sldId="263"/>
            <ac:spMk id="30" creationId="{FB391E20-0A20-CD27-567D-B99C7E44F873}"/>
          </ac:spMkLst>
        </pc:spChg>
        <pc:spChg chg="add del mod">
          <ac:chgData name="José Antonio Ureta Santacreu" userId="e36999d1-2b92-424a-9e8c-5fde0c5fbdd2" providerId="ADAL" clId="{B441C459-42E0-4465-B296-199851FC6E31}" dt="2024-09-11T11:12:14.001" v="3782" actId="6264"/>
          <ac:spMkLst>
            <pc:docMk/>
            <pc:sldMk cId="2716384860" sldId="263"/>
            <ac:spMk id="31" creationId="{336FBE18-A164-F2AE-6E6D-4B55FB15D80D}"/>
          </ac:spMkLst>
        </pc:spChg>
        <pc:spChg chg="add del mod">
          <ac:chgData name="José Antonio Ureta Santacreu" userId="e36999d1-2b92-424a-9e8c-5fde0c5fbdd2" providerId="ADAL" clId="{B441C459-42E0-4465-B296-199851FC6E31}" dt="2024-09-12T11:14:03.850" v="4385" actId="6264"/>
          <ac:spMkLst>
            <pc:docMk/>
            <pc:sldMk cId="2716384860" sldId="263"/>
            <ac:spMk id="31" creationId="{5423D471-2907-A83D-2D49-8BF260B107B0}"/>
          </ac:spMkLst>
        </pc:spChg>
        <pc:spChg chg="add del mod ord">
          <ac:chgData name="José Antonio Ureta Santacreu" userId="e36999d1-2b92-424a-9e8c-5fde0c5fbdd2" providerId="ADAL" clId="{B441C459-42E0-4465-B296-199851FC6E31}" dt="2024-09-12T11:14:03.850" v="4385" actId="6264"/>
          <ac:spMkLst>
            <pc:docMk/>
            <pc:sldMk cId="2716384860" sldId="263"/>
            <ac:spMk id="32" creationId="{E8B54DE3-20E4-3529-5472-7B17EB51A6CA}"/>
          </ac:spMkLst>
        </pc:spChg>
        <pc:spChg chg="add del mod ord">
          <ac:chgData name="José Antonio Ureta Santacreu" userId="e36999d1-2b92-424a-9e8c-5fde0c5fbdd2" providerId="ADAL" clId="{B441C459-42E0-4465-B296-199851FC6E31}" dt="2024-09-12T11:14:16.713" v="4388"/>
          <ac:spMkLst>
            <pc:docMk/>
            <pc:sldMk cId="2716384860" sldId="263"/>
            <ac:spMk id="33" creationId="{7AEB99E5-1FE6-7B25-3656-6516C4505119}"/>
          </ac:spMkLst>
        </pc:spChg>
        <pc:spChg chg="add del mod ord">
          <ac:chgData name="José Antonio Ureta Santacreu" userId="e36999d1-2b92-424a-9e8c-5fde0c5fbdd2" providerId="ADAL" clId="{B441C459-42E0-4465-B296-199851FC6E31}" dt="2024-09-12T11:14:26.395" v="4389" actId="700"/>
          <ac:spMkLst>
            <pc:docMk/>
            <pc:sldMk cId="2716384860" sldId="263"/>
            <ac:spMk id="35" creationId="{BFC67A61-638C-BA73-E953-F2BD6DBB57B3}"/>
          </ac:spMkLst>
        </pc:spChg>
        <pc:spChg chg="add del mod ord">
          <ac:chgData name="José Antonio Ureta Santacreu" userId="e36999d1-2b92-424a-9e8c-5fde0c5fbdd2" providerId="ADAL" clId="{B441C459-42E0-4465-B296-199851FC6E31}" dt="2024-09-12T11:14:33.179" v="4391"/>
          <ac:spMkLst>
            <pc:docMk/>
            <pc:sldMk cId="2716384860" sldId="263"/>
            <ac:spMk id="37" creationId="{FC4B17EE-C0A4-0CA1-CF81-CDB91794CDF2}"/>
          </ac:spMkLst>
        </pc:spChg>
        <pc:spChg chg="add del mod">
          <ac:chgData name="José Antonio Ureta Santacreu" userId="e36999d1-2b92-424a-9e8c-5fde0c5fbdd2" providerId="ADAL" clId="{B441C459-42E0-4465-B296-199851FC6E31}" dt="2024-09-12T11:14:57.041" v="4393" actId="478"/>
          <ac:spMkLst>
            <pc:docMk/>
            <pc:sldMk cId="2716384860" sldId="263"/>
            <ac:spMk id="39" creationId="{08FD5210-F819-F69B-B435-1C8522ACE2FE}"/>
          </ac:spMkLst>
        </pc:spChg>
        <pc:grpChg chg="del">
          <ac:chgData name="José Antonio Ureta Santacreu" userId="e36999d1-2b92-424a-9e8c-5fde0c5fbdd2" providerId="ADAL" clId="{B441C459-42E0-4465-B296-199851FC6E31}" dt="2024-09-12T11:15:13.060" v="4418" actId="478"/>
          <ac:grpSpMkLst>
            <pc:docMk/>
            <pc:sldMk cId="2716384860" sldId="263"/>
            <ac:grpSpMk id="5" creationId="{164B337C-7BBE-412E-AD3F-B148CC078F99}"/>
          </ac:grpSpMkLst>
        </pc:grpChg>
        <pc:graphicFrameChg chg="del mod ord">
          <ac:chgData name="José Antonio Ureta Santacreu" userId="e36999d1-2b92-424a-9e8c-5fde0c5fbdd2" providerId="ADAL" clId="{B441C459-42E0-4465-B296-199851FC6E31}" dt="2024-09-12T11:14:13.568" v="4387" actId="21"/>
          <ac:graphicFrameMkLst>
            <pc:docMk/>
            <pc:sldMk cId="2716384860" sldId="263"/>
            <ac:graphicFrameMk id="26" creationId="{ABB7EEAA-E5FE-4C99-AB26-75E37A9F7F7B}"/>
          </ac:graphicFrameMkLst>
        </pc:graphicFrameChg>
        <pc:graphicFrameChg chg="add del mod ord">
          <ac:chgData name="José Antonio Ureta Santacreu" userId="e36999d1-2b92-424a-9e8c-5fde0c5fbdd2" providerId="ADAL" clId="{B441C459-42E0-4465-B296-199851FC6E31}" dt="2024-09-12T11:14:30.995" v="4390" actId="21"/>
          <ac:graphicFrameMkLst>
            <pc:docMk/>
            <pc:sldMk cId="2716384860" sldId="263"/>
            <ac:graphicFrameMk id="36" creationId="{ABB7EEAA-E5FE-4C99-AB26-75E37A9F7F7B}"/>
          </ac:graphicFrameMkLst>
        </pc:graphicFrameChg>
        <pc:graphicFrameChg chg="add mod">
          <ac:chgData name="José Antonio Ureta Santacreu" userId="e36999d1-2b92-424a-9e8c-5fde0c5fbdd2" providerId="ADAL" clId="{B441C459-42E0-4465-B296-199851FC6E31}" dt="2024-09-12T11:14:33.179" v="4391"/>
          <ac:graphicFrameMkLst>
            <pc:docMk/>
            <pc:sldMk cId="2716384860" sldId="263"/>
            <ac:graphicFrameMk id="40" creationId="{ABB7EEAA-E5FE-4C99-AB26-75E37A9F7F7B}"/>
          </ac:graphicFrameMkLst>
        </pc:graphicFrameChg>
        <pc:picChg chg="mod">
          <ac:chgData name="José Antonio Ureta Santacreu" userId="e36999d1-2b92-424a-9e8c-5fde0c5fbdd2" providerId="ADAL" clId="{B441C459-42E0-4465-B296-199851FC6E31}" dt="2024-09-12T11:15:05.529" v="4417" actId="1037"/>
          <ac:picMkLst>
            <pc:docMk/>
            <pc:sldMk cId="2716384860" sldId="263"/>
            <ac:picMk id="22" creationId="{1C3C8E6B-B07F-4534-97EF-3373C8F2C398}"/>
          </ac:picMkLst>
        </pc:picChg>
        <pc:cxnChg chg="mod">
          <ac:chgData name="José Antonio Ureta Santacreu" userId="e36999d1-2b92-424a-9e8c-5fde0c5fbdd2" providerId="ADAL" clId="{B441C459-42E0-4465-B296-199851FC6E31}" dt="2024-09-12T11:15:05.529" v="4417" actId="1037"/>
          <ac:cxnSpMkLst>
            <pc:docMk/>
            <pc:sldMk cId="2716384860" sldId="263"/>
            <ac:cxnSpMk id="23" creationId="{9E7E0CB4-1FD5-466C-92CB-7E886F7BF1ED}"/>
          </ac:cxnSpMkLst>
        </pc:cxnChg>
      </pc:sldChg>
      <pc:sldChg chg="add">
        <pc:chgData name="José Antonio Ureta Santacreu" userId="e36999d1-2b92-424a-9e8c-5fde0c5fbdd2" providerId="ADAL" clId="{B441C459-42E0-4465-B296-199851FC6E31}" dt="2024-07-23T10:42:07.386" v="272"/>
        <pc:sldMkLst>
          <pc:docMk/>
          <pc:sldMk cId="343904988" sldId="264"/>
        </pc:sldMkLst>
      </pc:sldChg>
      <pc:sldChg chg="modSp">
        <pc:chgData name="José Antonio Ureta Santacreu" userId="e36999d1-2b92-424a-9e8c-5fde0c5fbdd2" providerId="ADAL" clId="{B441C459-42E0-4465-B296-199851FC6E31}" dt="2024-07-31T09:39:39.860" v="313" actId="12100"/>
        <pc:sldMkLst>
          <pc:docMk/>
          <pc:sldMk cId="2103338479" sldId="264"/>
        </pc:sldMkLst>
        <pc:graphicFrameChg chg="mod">
          <ac:chgData name="José Antonio Ureta Santacreu" userId="e36999d1-2b92-424a-9e8c-5fde0c5fbdd2" providerId="ADAL" clId="{B441C459-42E0-4465-B296-199851FC6E31}" dt="2024-07-31T09:39:39.860" v="313" actId="12100"/>
          <ac:graphicFrameMkLst>
            <pc:docMk/>
            <pc:sldMk cId="2103338479" sldId="264"/>
            <ac:graphicFrameMk id="4" creationId="{EFF7561F-3523-426E-AC30-D6629F0D8230}"/>
          </ac:graphicFrameMkLst>
        </pc:graphicFrameChg>
      </pc:sldChg>
      <pc:sldChg chg="del">
        <pc:chgData name="José Antonio Ureta Santacreu" userId="e36999d1-2b92-424a-9e8c-5fde0c5fbdd2" providerId="ADAL" clId="{B441C459-42E0-4465-B296-199851FC6E31}" dt="2024-07-23T10:41:54.955" v="271" actId="2696"/>
        <pc:sldMkLst>
          <pc:docMk/>
          <pc:sldMk cId="2110605924" sldId="264"/>
        </pc:sldMkLst>
      </pc:sldChg>
      <pc:sldChg chg="addSp delSp modSp mod chgLayout">
        <pc:chgData name="José Antonio Ureta Santacreu" userId="e36999d1-2b92-424a-9e8c-5fde0c5fbdd2" providerId="ADAL" clId="{B441C459-42E0-4465-B296-199851FC6E31}" dt="2024-09-11T11:12:14.001" v="3782" actId="6264"/>
        <pc:sldMkLst>
          <pc:docMk/>
          <pc:sldMk cId="2176933797" sldId="268"/>
        </pc:sldMkLst>
        <pc:spChg chg="mod ord">
          <ac:chgData name="José Antonio Ureta Santacreu" userId="e36999d1-2b92-424a-9e8c-5fde0c5fbdd2" providerId="ADAL" clId="{B441C459-42E0-4465-B296-199851FC6E31}" dt="2024-09-11T11:12:14.001" v="3782" actId="6264"/>
          <ac:spMkLst>
            <pc:docMk/>
            <pc:sldMk cId="2176933797" sldId="268"/>
            <ac:spMk id="2"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2176933797" sldId="268"/>
            <ac:spMk id="3" creationId="{C2124930-A3B7-4116-B69D-145B68054EB3}"/>
          </ac:spMkLst>
        </pc:spChg>
        <pc:spChg chg="mod ord">
          <ac:chgData name="José Antonio Ureta Santacreu" userId="e36999d1-2b92-424a-9e8c-5fde0c5fbdd2" providerId="ADAL" clId="{B441C459-42E0-4465-B296-199851FC6E31}" dt="2024-09-11T11:12:14.001" v="3782" actId="6264"/>
          <ac:spMkLst>
            <pc:docMk/>
            <pc:sldMk cId="2176933797" sldId="268"/>
            <ac:spMk id="4" creationId="{59F51152-346F-432D-A566-BABA883C1A95}"/>
          </ac:spMkLst>
        </pc:spChg>
        <pc:spChg chg="mod ord">
          <ac:chgData name="José Antonio Ureta Santacreu" userId="e36999d1-2b92-424a-9e8c-5fde0c5fbdd2" providerId="ADAL" clId="{B441C459-42E0-4465-B296-199851FC6E31}" dt="2024-09-11T11:12:14.001" v="3782" actId="6264"/>
          <ac:spMkLst>
            <pc:docMk/>
            <pc:sldMk cId="2176933797" sldId="268"/>
            <ac:spMk id="5" creationId="{B5E2924A-9D39-4FB1-9BFD-AE3D2E1B7D82}"/>
          </ac:spMkLst>
        </pc:spChg>
        <pc:spChg chg="add del mod">
          <ac:chgData name="José Antonio Ureta Santacreu" userId="e36999d1-2b92-424a-9e8c-5fde0c5fbdd2" providerId="ADAL" clId="{B441C459-42E0-4465-B296-199851FC6E31}" dt="2024-09-11T11:12:14.001" v="3782" actId="6264"/>
          <ac:spMkLst>
            <pc:docMk/>
            <pc:sldMk cId="2176933797" sldId="268"/>
            <ac:spMk id="7" creationId="{9D3A2321-2164-5D40-4816-1D850C9FD153}"/>
          </ac:spMkLst>
        </pc:spChg>
        <pc:spChg chg="add del mod">
          <ac:chgData name="José Antonio Ureta Santacreu" userId="e36999d1-2b92-424a-9e8c-5fde0c5fbdd2" providerId="ADAL" clId="{B441C459-42E0-4465-B296-199851FC6E31}" dt="2024-09-11T11:12:14.001" v="3782" actId="6264"/>
          <ac:spMkLst>
            <pc:docMk/>
            <pc:sldMk cId="2176933797" sldId="268"/>
            <ac:spMk id="9" creationId="{E3606118-3C64-E45C-489B-513E636EE134}"/>
          </ac:spMkLst>
        </pc:spChg>
        <pc:spChg chg="add del mod">
          <ac:chgData name="José Antonio Ureta Santacreu" userId="e36999d1-2b92-424a-9e8c-5fde0c5fbdd2" providerId="ADAL" clId="{B441C459-42E0-4465-B296-199851FC6E31}" dt="2024-09-11T11:12:14.001" v="3782" actId="6264"/>
          <ac:spMkLst>
            <pc:docMk/>
            <pc:sldMk cId="2176933797" sldId="268"/>
            <ac:spMk id="10" creationId="{7A268236-6AA8-5E05-471A-59EA76DCCDF3}"/>
          </ac:spMkLst>
        </pc:spChg>
        <pc:spChg chg="add del mod">
          <ac:chgData name="José Antonio Ureta Santacreu" userId="e36999d1-2b92-424a-9e8c-5fde0c5fbdd2" providerId="ADAL" clId="{B441C459-42E0-4465-B296-199851FC6E31}" dt="2024-09-11T11:12:14.001" v="3782" actId="6264"/>
          <ac:spMkLst>
            <pc:docMk/>
            <pc:sldMk cId="2176933797" sldId="268"/>
            <ac:spMk id="11" creationId="{6FDA6156-32EA-20B1-47C3-5FBACC5940C4}"/>
          </ac:spMkLst>
        </pc:spChg>
      </pc:sldChg>
      <pc:sldChg chg="addSp delSp modSp mod modShow chgLayout">
        <pc:chgData name="José Antonio Ureta Santacreu" userId="e36999d1-2b92-424a-9e8c-5fde0c5fbdd2" providerId="ADAL" clId="{B441C459-42E0-4465-B296-199851FC6E31}" dt="2024-09-11T11:12:14.001" v="3782" actId="6264"/>
        <pc:sldMkLst>
          <pc:docMk/>
          <pc:sldMk cId="1665479842" sldId="270"/>
        </pc:sldMkLst>
        <pc:spChg chg="mod ord">
          <ac:chgData name="José Antonio Ureta Santacreu" userId="e36999d1-2b92-424a-9e8c-5fde0c5fbdd2" providerId="ADAL" clId="{B441C459-42E0-4465-B296-199851FC6E31}" dt="2024-09-11T11:12:14.001" v="3782" actId="6264"/>
          <ac:spMkLst>
            <pc:docMk/>
            <pc:sldMk cId="1665479842" sldId="270"/>
            <ac:spMk id="2" creationId="{4B0B54D9-72C4-4CF2-CD0F-216BB5EC22CD}"/>
          </ac:spMkLst>
        </pc:spChg>
        <pc:spChg chg="add del mod">
          <ac:chgData name="José Antonio Ureta Santacreu" userId="e36999d1-2b92-424a-9e8c-5fde0c5fbdd2" providerId="ADAL" clId="{B441C459-42E0-4465-B296-199851FC6E31}" dt="2024-09-11T11:12:14.001" v="3782" actId="6264"/>
          <ac:spMkLst>
            <pc:docMk/>
            <pc:sldMk cId="1665479842" sldId="270"/>
            <ac:spMk id="3" creationId="{89E1BA25-8372-C99B-E256-DDA996E2D9D8}"/>
          </ac:spMkLst>
        </pc:spChg>
        <pc:spChg chg="add del mod">
          <ac:chgData name="José Antonio Ureta Santacreu" userId="e36999d1-2b92-424a-9e8c-5fde0c5fbdd2" providerId="ADAL" clId="{B441C459-42E0-4465-B296-199851FC6E31}" dt="2024-09-11T11:12:14.001" v="3782" actId="6264"/>
          <ac:spMkLst>
            <pc:docMk/>
            <pc:sldMk cId="1665479842" sldId="270"/>
            <ac:spMk id="4" creationId="{1B63DD0C-2F78-A9A7-96F6-BBE3DD238CAB}"/>
          </ac:spMkLst>
        </pc:spChg>
        <pc:spChg chg="mod ord">
          <ac:chgData name="José Antonio Ureta Santacreu" userId="e36999d1-2b92-424a-9e8c-5fde0c5fbdd2" providerId="ADAL" clId="{B441C459-42E0-4465-B296-199851FC6E31}" dt="2024-09-11T11:12:14.001" v="3782" actId="6264"/>
          <ac:spMkLst>
            <pc:docMk/>
            <pc:sldMk cId="1665479842" sldId="270"/>
            <ac:spMk id="5" creationId="{9205181F-5738-310B-FDE4-5B75FDBCA34A}"/>
          </ac:spMkLst>
        </pc:spChg>
        <pc:spChg chg="mod ord">
          <ac:chgData name="José Antonio Ureta Santacreu" userId="e36999d1-2b92-424a-9e8c-5fde0c5fbdd2" providerId="ADAL" clId="{B441C459-42E0-4465-B296-199851FC6E31}" dt="2024-09-11T11:12:14.001" v="3782" actId="6264"/>
          <ac:spMkLst>
            <pc:docMk/>
            <pc:sldMk cId="1665479842" sldId="270"/>
            <ac:spMk id="6" creationId="{16C2B4EB-8A4D-69BC-D3B5-A0160C4EEB0C}"/>
          </ac:spMkLst>
        </pc:spChg>
        <pc:spChg chg="mod ord">
          <ac:chgData name="José Antonio Ureta Santacreu" userId="e36999d1-2b92-424a-9e8c-5fde0c5fbdd2" providerId="ADAL" clId="{B441C459-42E0-4465-B296-199851FC6E31}" dt="2024-09-11T11:12:14.001" v="3782" actId="6264"/>
          <ac:spMkLst>
            <pc:docMk/>
            <pc:sldMk cId="1665479842" sldId="270"/>
            <ac:spMk id="7" creationId="{06E6CBF9-C108-542A-4F0E-03A39505ABDF}"/>
          </ac:spMkLst>
        </pc:spChg>
        <pc:spChg chg="add del mod">
          <ac:chgData name="José Antonio Ureta Santacreu" userId="e36999d1-2b92-424a-9e8c-5fde0c5fbdd2" providerId="ADAL" clId="{B441C459-42E0-4465-B296-199851FC6E31}" dt="2024-09-11T11:12:14.001" v="3782" actId="6264"/>
          <ac:spMkLst>
            <pc:docMk/>
            <pc:sldMk cId="1665479842" sldId="270"/>
            <ac:spMk id="10" creationId="{B81E8B4C-F0B9-A057-EF34-B068B0595767}"/>
          </ac:spMkLst>
        </pc:spChg>
        <pc:spChg chg="add del mod">
          <ac:chgData name="José Antonio Ureta Santacreu" userId="e36999d1-2b92-424a-9e8c-5fde0c5fbdd2" providerId="ADAL" clId="{B441C459-42E0-4465-B296-199851FC6E31}" dt="2024-09-11T11:12:14.001" v="3782" actId="6264"/>
          <ac:spMkLst>
            <pc:docMk/>
            <pc:sldMk cId="1665479842" sldId="270"/>
            <ac:spMk id="11" creationId="{B5CF6749-6AA0-2DD9-707B-3C80A727F9A9}"/>
          </ac:spMkLst>
        </pc:spChg>
        <pc:spChg chg="add del mod">
          <ac:chgData name="José Antonio Ureta Santacreu" userId="e36999d1-2b92-424a-9e8c-5fde0c5fbdd2" providerId="ADAL" clId="{B441C459-42E0-4465-B296-199851FC6E31}" dt="2024-09-11T11:12:14.001" v="3782" actId="6264"/>
          <ac:spMkLst>
            <pc:docMk/>
            <pc:sldMk cId="1665479842" sldId="270"/>
            <ac:spMk id="12" creationId="{88C4E7ED-FBD8-2B5B-6098-5365B60A614A}"/>
          </ac:spMkLst>
        </pc:spChg>
        <pc:spChg chg="add del mod">
          <ac:chgData name="José Antonio Ureta Santacreu" userId="e36999d1-2b92-424a-9e8c-5fde0c5fbdd2" providerId="ADAL" clId="{B441C459-42E0-4465-B296-199851FC6E31}" dt="2024-09-11T11:12:14.001" v="3782" actId="6264"/>
          <ac:spMkLst>
            <pc:docMk/>
            <pc:sldMk cId="1665479842" sldId="270"/>
            <ac:spMk id="13" creationId="{6C65B76D-3DAD-EF61-59B9-5334B00DD885}"/>
          </ac:spMkLst>
        </pc:spChg>
        <pc:graphicFrameChg chg="mod ord">
          <ac:chgData name="José Antonio Ureta Santacreu" userId="e36999d1-2b92-424a-9e8c-5fde0c5fbdd2" providerId="ADAL" clId="{B441C459-42E0-4465-B296-199851FC6E31}" dt="2024-09-11T11:12:14.001" v="3782" actId="6264"/>
          <ac:graphicFrameMkLst>
            <pc:docMk/>
            <pc:sldMk cId="1665479842" sldId="270"/>
            <ac:graphicFrameMk id="8" creationId="{1D3DEBA6-B0D1-A2FC-FB12-F7FAB089137F}"/>
          </ac:graphicFrameMkLst>
        </pc:graphicFrameChg>
        <pc:picChg chg="mod ord">
          <ac:chgData name="José Antonio Ureta Santacreu" userId="e36999d1-2b92-424a-9e8c-5fde0c5fbdd2" providerId="ADAL" clId="{B441C459-42E0-4465-B296-199851FC6E31}" dt="2024-09-11T11:12:14.001" v="3782" actId="6264"/>
          <ac:picMkLst>
            <pc:docMk/>
            <pc:sldMk cId="1665479842" sldId="270"/>
            <ac:picMk id="9" creationId="{4A9F21E4-9FE7-645C-8FA4-0F37E54B1687}"/>
          </ac:picMkLst>
        </pc:picChg>
      </pc:sldChg>
      <pc:sldChg chg="addSp delSp modSp mod chgLayout">
        <pc:chgData name="José Antonio Ureta Santacreu" userId="e36999d1-2b92-424a-9e8c-5fde0c5fbdd2" providerId="ADAL" clId="{B441C459-42E0-4465-B296-199851FC6E31}" dt="2024-09-11T11:12:14.001" v="3782" actId="6264"/>
        <pc:sldMkLst>
          <pc:docMk/>
          <pc:sldMk cId="4095110368" sldId="275"/>
        </pc:sldMkLst>
        <pc:spChg chg="mod ord">
          <ac:chgData name="José Antonio Ureta Santacreu" userId="e36999d1-2b92-424a-9e8c-5fde0c5fbdd2" providerId="ADAL" clId="{B441C459-42E0-4465-B296-199851FC6E31}" dt="2024-09-11T11:12:14.001" v="3782" actId="6264"/>
          <ac:spMkLst>
            <pc:docMk/>
            <pc:sldMk cId="4095110368" sldId="275"/>
            <ac:spMk id="2" creationId="{A93047C2-3783-90A0-06F5-7970CE2C8582}"/>
          </ac:spMkLst>
        </pc:spChg>
        <pc:spChg chg="mod ord">
          <ac:chgData name="José Antonio Ureta Santacreu" userId="e36999d1-2b92-424a-9e8c-5fde0c5fbdd2" providerId="ADAL" clId="{B441C459-42E0-4465-B296-199851FC6E31}" dt="2024-09-11T11:12:14.001" v="3782" actId="6264"/>
          <ac:spMkLst>
            <pc:docMk/>
            <pc:sldMk cId="4095110368" sldId="275"/>
            <ac:spMk id="3" creationId="{92EACA18-2890-D212-BA20-C706A949C481}"/>
          </ac:spMkLst>
        </pc:spChg>
        <pc:spChg chg="mod ord">
          <ac:chgData name="José Antonio Ureta Santacreu" userId="e36999d1-2b92-424a-9e8c-5fde0c5fbdd2" providerId="ADAL" clId="{B441C459-42E0-4465-B296-199851FC6E31}" dt="2024-09-11T11:12:14.001" v="3782" actId="6264"/>
          <ac:spMkLst>
            <pc:docMk/>
            <pc:sldMk cId="4095110368" sldId="275"/>
            <ac:spMk id="4" creationId="{35539163-4E1D-41DA-E499-814352CFDE4C}"/>
          </ac:spMkLst>
        </pc:spChg>
        <pc:spChg chg="mod ord">
          <ac:chgData name="José Antonio Ureta Santacreu" userId="e36999d1-2b92-424a-9e8c-5fde0c5fbdd2" providerId="ADAL" clId="{B441C459-42E0-4465-B296-199851FC6E31}" dt="2024-09-11T11:12:14.001" v="3782" actId="6264"/>
          <ac:spMkLst>
            <pc:docMk/>
            <pc:sldMk cId="4095110368" sldId="275"/>
            <ac:spMk id="5" creationId="{CF127979-A7BB-7B26-538E-4DD1217620D8}"/>
          </ac:spMkLst>
        </pc:spChg>
        <pc:spChg chg="add del mod">
          <ac:chgData name="José Antonio Ureta Santacreu" userId="e36999d1-2b92-424a-9e8c-5fde0c5fbdd2" providerId="ADAL" clId="{B441C459-42E0-4465-B296-199851FC6E31}" dt="2024-09-11T11:12:14.001" v="3782" actId="6264"/>
          <ac:spMkLst>
            <pc:docMk/>
            <pc:sldMk cId="4095110368" sldId="275"/>
            <ac:spMk id="7" creationId="{584908FC-4E21-ED31-C97C-6326A0949947}"/>
          </ac:spMkLst>
        </pc:spChg>
        <pc:spChg chg="add del mod">
          <ac:chgData name="José Antonio Ureta Santacreu" userId="e36999d1-2b92-424a-9e8c-5fde0c5fbdd2" providerId="ADAL" clId="{B441C459-42E0-4465-B296-199851FC6E31}" dt="2024-09-11T11:12:14.001" v="3782" actId="6264"/>
          <ac:spMkLst>
            <pc:docMk/>
            <pc:sldMk cId="4095110368" sldId="275"/>
            <ac:spMk id="8" creationId="{658E8157-FB31-BC45-759E-FB5EEB123311}"/>
          </ac:spMkLst>
        </pc:spChg>
        <pc:spChg chg="add del mod">
          <ac:chgData name="José Antonio Ureta Santacreu" userId="e36999d1-2b92-424a-9e8c-5fde0c5fbdd2" providerId="ADAL" clId="{B441C459-42E0-4465-B296-199851FC6E31}" dt="2024-09-11T11:12:14.001" v="3782" actId="6264"/>
          <ac:spMkLst>
            <pc:docMk/>
            <pc:sldMk cId="4095110368" sldId="275"/>
            <ac:spMk id="9" creationId="{C68AFADB-1CEB-C2A3-60FF-9184F100BCCB}"/>
          </ac:spMkLst>
        </pc:spChg>
        <pc:spChg chg="add del mod">
          <ac:chgData name="José Antonio Ureta Santacreu" userId="e36999d1-2b92-424a-9e8c-5fde0c5fbdd2" providerId="ADAL" clId="{B441C459-42E0-4465-B296-199851FC6E31}" dt="2024-09-11T11:12:14.001" v="3782" actId="6264"/>
          <ac:spMkLst>
            <pc:docMk/>
            <pc:sldMk cId="4095110368" sldId="275"/>
            <ac:spMk id="10" creationId="{532A2E52-5DE9-A1BD-6DD9-1270C94FBDF1}"/>
          </ac:spMkLst>
        </pc:spChg>
        <pc:spChg chg="add del mod">
          <ac:chgData name="José Antonio Ureta Santacreu" userId="e36999d1-2b92-424a-9e8c-5fde0c5fbdd2" providerId="ADAL" clId="{B441C459-42E0-4465-B296-199851FC6E31}" dt="2024-09-11T11:12:14.001" v="3782" actId="6264"/>
          <ac:spMkLst>
            <pc:docMk/>
            <pc:sldMk cId="4095110368" sldId="275"/>
            <ac:spMk id="13" creationId="{E9FFB018-94EE-9441-C9DE-16F8CD5E9FF8}"/>
          </ac:spMkLst>
        </pc:spChg>
        <pc:spChg chg="add del mod">
          <ac:chgData name="José Antonio Ureta Santacreu" userId="e36999d1-2b92-424a-9e8c-5fde0c5fbdd2" providerId="ADAL" clId="{B441C459-42E0-4465-B296-199851FC6E31}" dt="2024-09-11T11:12:14.001" v="3782" actId="6264"/>
          <ac:spMkLst>
            <pc:docMk/>
            <pc:sldMk cId="4095110368" sldId="275"/>
            <ac:spMk id="14" creationId="{8361B0F9-B25A-AE8C-9050-98922420625F}"/>
          </ac:spMkLst>
        </pc:spChg>
        <pc:picChg chg="mod ord">
          <ac:chgData name="José Antonio Ureta Santacreu" userId="e36999d1-2b92-424a-9e8c-5fde0c5fbdd2" providerId="ADAL" clId="{B441C459-42E0-4465-B296-199851FC6E31}" dt="2024-09-11T11:12:14.001" v="3782" actId="6264"/>
          <ac:picMkLst>
            <pc:docMk/>
            <pc:sldMk cId="4095110368" sldId="275"/>
            <ac:picMk id="11" creationId="{D863C518-6EF2-5F9C-4BD1-CCCA421E0BE4}"/>
          </ac:picMkLst>
        </pc:picChg>
        <pc:picChg chg="mod ord">
          <ac:chgData name="José Antonio Ureta Santacreu" userId="e36999d1-2b92-424a-9e8c-5fde0c5fbdd2" providerId="ADAL" clId="{B441C459-42E0-4465-B296-199851FC6E31}" dt="2024-09-11T11:12:14.001" v="3782" actId="6264"/>
          <ac:picMkLst>
            <pc:docMk/>
            <pc:sldMk cId="4095110368" sldId="275"/>
            <ac:picMk id="12" creationId="{C8C31849-1862-13F8-E332-B2A3D009BD0B}"/>
          </ac:picMkLst>
        </pc:picChg>
      </pc:sldChg>
      <pc:sldChg chg="del">
        <pc:chgData name="José Antonio Ureta Santacreu" userId="e36999d1-2b92-424a-9e8c-5fde0c5fbdd2" providerId="ADAL" clId="{B441C459-42E0-4465-B296-199851FC6E31}" dt="2024-07-31T10:09:23.692" v="542" actId="47"/>
        <pc:sldMkLst>
          <pc:docMk/>
          <pc:sldMk cId="1016302306" sldId="280"/>
        </pc:sldMkLst>
      </pc:sldChg>
      <pc:sldChg chg="del">
        <pc:chgData name="José Antonio Ureta Santacreu" userId="e36999d1-2b92-424a-9e8c-5fde0c5fbdd2" providerId="ADAL" clId="{B441C459-42E0-4465-B296-199851FC6E31}" dt="2024-07-31T10:09:23.692" v="542" actId="47"/>
        <pc:sldMkLst>
          <pc:docMk/>
          <pc:sldMk cId="651998063" sldId="282"/>
        </pc:sldMkLst>
      </pc:sldChg>
      <pc:sldChg chg="addSp delSp modSp mod chgLayout">
        <pc:chgData name="José Antonio Ureta Santacreu" userId="e36999d1-2b92-424a-9e8c-5fde0c5fbdd2" providerId="ADAL" clId="{B441C459-42E0-4465-B296-199851FC6E31}" dt="2024-09-11T11:12:14.001" v="3782" actId="6264"/>
        <pc:sldMkLst>
          <pc:docMk/>
          <pc:sldMk cId="2356018035" sldId="288"/>
        </pc:sldMkLst>
        <pc:spChg chg="mod ord">
          <ac:chgData name="José Antonio Ureta Santacreu" userId="e36999d1-2b92-424a-9e8c-5fde0c5fbdd2" providerId="ADAL" clId="{B441C459-42E0-4465-B296-199851FC6E31}" dt="2024-09-11T11:12:14.001" v="3782" actId="6264"/>
          <ac:spMkLst>
            <pc:docMk/>
            <pc:sldMk cId="2356018035" sldId="288"/>
            <ac:spMk id="2" creationId="{BE1A22BA-E5C4-4D3A-976B-6294A148AA45}"/>
          </ac:spMkLst>
        </pc:spChg>
        <pc:spChg chg="mod ord">
          <ac:chgData name="José Antonio Ureta Santacreu" userId="e36999d1-2b92-424a-9e8c-5fde0c5fbdd2" providerId="ADAL" clId="{B441C459-42E0-4465-B296-199851FC6E31}" dt="2024-09-11T11:12:14.001" v="3782" actId="6264"/>
          <ac:spMkLst>
            <pc:docMk/>
            <pc:sldMk cId="2356018035" sldId="288"/>
            <ac:spMk id="3" creationId="{D6CF879E-2F80-45D9-8749-8BDA6EB71470}"/>
          </ac:spMkLst>
        </pc:spChg>
        <pc:spChg chg="mod ord">
          <ac:chgData name="José Antonio Ureta Santacreu" userId="e36999d1-2b92-424a-9e8c-5fde0c5fbdd2" providerId="ADAL" clId="{B441C459-42E0-4465-B296-199851FC6E31}" dt="2024-09-11T11:12:14.001" v="3782" actId="6264"/>
          <ac:spMkLst>
            <pc:docMk/>
            <pc:sldMk cId="2356018035" sldId="288"/>
            <ac:spMk id="4" creationId="{36F0FA73-F62B-4DEC-84EA-29735DF6AEC1}"/>
          </ac:spMkLst>
        </pc:spChg>
        <pc:spChg chg="mod ord">
          <ac:chgData name="José Antonio Ureta Santacreu" userId="e36999d1-2b92-424a-9e8c-5fde0c5fbdd2" providerId="ADAL" clId="{B441C459-42E0-4465-B296-199851FC6E31}" dt="2024-09-11T11:12:14.001" v="3782" actId="6264"/>
          <ac:spMkLst>
            <pc:docMk/>
            <pc:sldMk cId="2356018035" sldId="288"/>
            <ac:spMk id="5" creationId="{6295E80C-7554-4499-9D34-2C34AAD6673A}"/>
          </ac:spMkLst>
        </pc:spChg>
        <pc:spChg chg="add del mod">
          <ac:chgData name="José Antonio Ureta Santacreu" userId="e36999d1-2b92-424a-9e8c-5fde0c5fbdd2" providerId="ADAL" clId="{B441C459-42E0-4465-B296-199851FC6E31}" dt="2024-09-11T11:12:14.001" v="3782" actId="6264"/>
          <ac:spMkLst>
            <pc:docMk/>
            <pc:sldMk cId="2356018035" sldId="288"/>
            <ac:spMk id="6" creationId="{78727381-ECAA-C86D-8E88-5956DA9A376C}"/>
          </ac:spMkLst>
        </pc:spChg>
        <pc:spChg chg="add del mod">
          <ac:chgData name="José Antonio Ureta Santacreu" userId="e36999d1-2b92-424a-9e8c-5fde0c5fbdd2" providerId="ADAL" clId="{B441C459-42E0-4465-B296-199851FC6E31}" dt="2024-09-11T11:12:14.001" v="3782" actId="6264"/>
          <ac:spMkLst>
            <pc:docMk/>
            <pc:sldMk cId="2356018035" sldId="288"/>
            <ac:spMk id="7" creationId="{CC1CDBCF-AEF6-C458-B430-364334C548BB}"/>
          </ac:spMkLst>
        </pc:spChg>
        <pc:spChg chg="add del mod">
          <ac:chgData name="José Antonio Ureta Santacreu" userId="e36999d1-2b92-424a-9e8c-5fde0c5fbdd2" providerId="ADAL" clId="{B441C459-42E0-4465-B296-199851FC6E31}" dt="2024-09-11T11:12:14.001" v="3782" actId="6264"/>
          <ac:spMkLst>
            <pc:docMk/>
            <pc:sldMk cId="2356018035" sldId="288"/>
            <ac:spMk id="8" creationId="{2FEF5A19-76E9-2A54-894A-1143DA539187}"/>
          </ac:spMkLst>
        </pc:spChg>
        <pc:spChg chg="add del mod">
          <ac:chgData name="José Antonio Ureta Santacreu" userId="e36999d1-2b92-424a-9e8c-5fde0c5fbdd2" providerId="ADAL" clId="{B441C459-42E0-4465-B296-199851FC6E31}" dt="2024-09-11T11:12:14.001" v="3782" actId="6264"/>
          <ac:spMkLst>
            <pc:docMk/>
            <pc:sldMk cId="2356018035" sldId="288"/>
            <ac:spMk id="9" creationId="{D41D0553-2C37-A3C5-2335-22AA84160042}"/>
          </ac:spMkLst>
        </pc:spChg>
        <pc:spChg chg="add del mod">
          <ac:chgData name="José Antonio Ureta Santacreu" userId="e36999d1-2b92-424a-9e8c-5fde0c5fbdd2" providerId="ADAL" clId="{B441C459-42E0-4465-B296-199851FC6E31}" dt="2024-09-11T11:12:14.001" v="3782" actId="6264"/>
          <ac:spMkLst>
            <pc:docMk/>
            <pc:sldMk cId="2356018035" sldId="288"/>
            <ac:spMk id="10" creationId="{511987EC-C049-471A-470E-7D4659B2FAC2}"/>
          </ac:spMkLst>
        </pc:spChg>
        <pc:picChg chg="mod ord">
          <ac:chgData name="José Antonio Ureta Santacreu" userId="e36999d1-2b92-424a-9e8c-5fde0c5fbdd2" providerId="ADAL" clId="{B441C459-42E0-4465-B296-199851FC6E31}" dt="2024-09-11T11:12:14.001" v="3782" actId="6264"/>
          <ac:picMkLst>
            <pc:docMk/>
            <pc:sldMk cId="2356018035" sldId="288"/>
            <ac:picMk id="3074" creationId="{79A55891-9C5C-4840-B9F5-B363FB49E99F}"/>
          </ac:picMkLst>
        </pc:picChg>
      </pc:sldChg>
      <pc:sldChg chg="addSp delSp modSp mod chgLayout">
        <pc:chgData name="José Antonio Ureta Santacreu" userId="e36999d1-2b92-424a-9e8c-5fde0c5fbdd2" providerId="ADAL" clId="{B441C459-42E0-4465-B296-199851FC6E31}" dt="2024-09-11T11:12:14.001" v="3782" actId="6264"/>
        <pc:sldMkLst>
          <pc:docMk/>
          <pc:sldMk cId="63167712" sldId="294"/>
        </pc:sldMkLst>
        <pc:spChg chg="mod ord">
          <ac:chgData name="José Antonio Ureta Santacreu" userId="e36999d1-2b92-424a-9e8c-5fde0c5fbdd2" providerId="ADAL" clId="{B441C459-42E0-4465-B296-199851FC6E31}" dt="2024-09-11T11:12:14.001" v="3782" actId="6264"/>
          <ac:spMkLst>
            <pc:docMk/>
            <pc:sldMk cId="63167712" sldId="294"/>
            <ac:spMk id="2" creationId="{AAD90BF2-9DC7-438C-9D9B-51CA27C88A92}"/>
          </ac:spMkLst>
        </pc:spChg>
        <pc:spChg chg="mod ord">
          <ac:chgData name="José Antonio Ureta Santacreu" userId="e36999d1-2b92-424a-9e8c-5fde0c5fbdd2" providerId="ADAL" clId="{B441C459-42E0-4465-B296-199851FC6E31}" dt="2024-09-11T11:12:14.001" v="3782" actId="6264"/>
          <ac:spMkLst>
            <pc:docMk/>
            <pc:sldMk cId="63167712" sldId="294"/>
            <ac:spMk id="3" creationId="{596F7626-AD45-48A0-BDEA-42CC455D16DD}"/>
          </ac:spMkLst>
        </pc:spChg>
        <pc:spChg chg="add del mod">
          <ac:chgData name="José Antonio Ureta Santacreu" userId="e36999d1-2b92-424a-9e8c-5fde0c5fbdd2" providerId="ADAL" clId="{B441C459-42E0-4465-B296-199851FC6E31}" dt="2024-09-11T11:12:14.001" v="3782" actId="6264"/>
          <ac:spMkLst>
            <pc:docMk/>
            <pc:sldMk cId="63167712" sldId="294"/>
            <ac:spMk id="5" creationId="{0CA1C0DD-E5A2-11EE-AA43-B9A8D3D18260}"/>
          </ac:spMkLst>
        </pc:spChg>
        <pc:spChg chg="add del mod">
          <ac:chgData name="José Antonio Ureta Santacreu" userId="e36999d1-2b92-424a-9e8c-5fde0c5fbdd2" providerId="ADAL" clId="{B441C459-42E0-4465-B296-199851FC6E31}" dt="2024-09-11T11:12:14.001" v="3782" actId="6264"/>
          <ac:spMkLst>
            <pc:docMk/>
            <pc:sldMk cId="63167712" sldId="294"/>
            <ac:spMk id="6" creationId="{AF882DCA-8DB0-79FD-1144-DA82F392E5DC}"/>
          </ac:spMkLst>
        </pc:spChg>
        <pc:spChg chg="add del mod">
          <ac:chgData name="José Antonio Ureta Santacreu" userId="e36999d1-2b92-424a-9e8c-5fde0c5fbdd2" providerId="ADAL" clId="{B441C459-42E0-4465-B296-199851FC6E31}" dt="2024-09-11T11:12:14.001" v="3782" actId="6264"/>
          <ac:spMkLst>
            <pc:docMk/>
            <pc:sldMk cId="63167712" sldId="294"/>
            <ac:spMk id="7" creationId="{90EF3C40-498C-3BE6-610A-E239C9B86505}"/>
          </ac:spMkLst>
        </pc:spChg>
        <pc:spChg chg="add del mod">
          <ac:chgData name="José Antonio Ureta Santacreu" userId="e36999d1-2b92-424a-9e8c-5fde0c5fbdd2" providerId="ADAL" clId="{B441C459-42E0-4465-B296-199851FC6E31}" dt="2024-09-11T11:12:14.001" v="3782" actId="6264"/>
          <ac:spMkLst>
            <pc:docMk/>
            <pc:sldMk cId="63167712" sldId="294"/>
            <ac:spMk id="8" creationId="{E7B46F60-B40A-1618-945F-EFE4F460309A}"/>
          </ac:spMkLst>
        </pc:spChg>
        <pc:spChg chg="mod ord">
          <ac:chgData name="José Antonio Ureta Santacreu" userId="e36999d1-2b92-424a-9e8c-5fde0c5fbdd2" providerId="ADAL" clId="{B441C459-42E0-4465-B296-199851FC6E31}" dt="2024-09-11T11:12:14.001" v="3782" actId="6264"/>
          <ac:spMkLst>
            <pc:docMk/>
            <pc:sldMk cId="63167712" sldId="294"/>
            <ac:spMk id="9" creationId="{8BD8C4D0-A605-4C54-8622-DC9998FBE7EE}"/>
          </ac:spMkLst>
        </pc:spChg>
        <pc:spChg chg="mod ord">
          <ac:chgData name="José Antonio Ureta Santacreu" userId="e36999d1-2b92-424a-9e8c-5fde0c5fbdd2" providerId="ADAL" clId="{B441C459-42E0-4465-B296-199851FC6E31}" dt="2024-09-11T11:12:14.001" v="3782" actId="6264"/>
          <ac:spMkLst>
            <pc:docMk/>
            <pc:sldMk cId="63167712" sldId="294"/>
            <ac:spMk id="10" creationId="{4FC4A8D1-0A0B-4C53-B115-EBA713390828}"/>
          </ac:spMkLst>
        </pc:spChg>
        <pc:spChg chg="add del mod">
          <ac:chgData name="José Antonio Ureta Santacreu" userId="e36999d1-2b92-424a-9e8c-5fde0c5fbdd2" providerId="ADAL" clId="{B441C459-42E0-4465-B296-199851FC6E31}" dt="2024-09-11T11:12:14.001" v="3782" actId="6264"/>
          <ac:spMkLst>
            <pc:docMk/>
            <pc:sldMk cId="63167712" sldId="294"/>
            <ac:spMk id="12" creationId="{43EA339A-ECC5-AF97-FE3E-24BA106776D6}"/>
          </ac:spMkLst>
        </pc:spChg>
        <pc:spChg chg="add del mod">
          <ac:chgData name="José Antonio Ureta Santacreu" userId="e36999d1-2b92-424a-9e8c-5fde0c5fbdd2" providerId="ADAL" clId="{B441C459-42E0-4465-B296-199851FC6E31}" dt="2024-09-11T11:12:14.001" v="3782" actId="6264"/>
          <ac:spMkLst>
            <pc:docMk/>
            <pc:sldMk cId="63167712" sldId="294"/>
            <ac:spMk id="13" creationId="{9B380B0E-4723-C120-4AC7-802A737471F9}"/>
          </ac:spMkLst>
        </pc:spChg>
        <pc:graphicFrameChg chg="mod ord">
          <ac:chgData name="José Antonio Ureta Santacreu" userId="e36999d1-2b92-424a-9e8c-5fde0c5fbdd2" providerId="ADAL" clId="{B441C459-42E0-4465-B296-199851FC6E31}" dt="2024-09-11T11:12:14.001" v="3782" actId="6264"/>
          <ac:graphicFrameMkLst>
            <pc:docMk/>
            <pc:sldMk cId="63167712" sldId="294"/>
            <ac:graphicFrameMk id="4" creationId="{CC64D626-0B01-4C99-A198-82E82F3E5CEE}"/>
          </ac:graphicFrameMkLst>
        </pc:graphicFrameChg>
        <pc:picChg chg="mod ord">
          <ac:chgData name="José Antonio Ureta Santacreu" userId="e36999d1-2b92-424a-9e8c-5fde0c5fbdd2" providerId="ADAL" clId="{B441C459-42E0-4465-B296-199851FC6E31}" dt="2024-09-11T11:12:14.001" v="3782" actId="6264"/>
          <ac:picMkLst>
            <pc:docMk/>
            <pc:sldMk cId="63167712" sldId="294"/>
            <ac:picMk id="11" creationId="{C826B42A-48ED-B805-BF59-9B2B4F5EBDC8}"/>
          </ac:picMkLst>
        </pc:picChg>
      </pc:sldChg>
      <pc:sldChg chg="addSp delSp modSp mod chgLayout">
        <pc:chgData name="José Antonio Ureta Santacreu" userId="e36999d1-2b92-424a-9e8c-5fde0c5fbdd2" providerId="ADAL" clId="{B441C459-42E0-4465-B296-199851FC6E31}" dt="2024-09-11T11:12:14.001" v="3782" actId="6264"/>
        <pc:sldMkLst>
          <pc:docMk/>
          <pc:sldMk cId="4159931023" sldId="300"/>
        </pc:sldMkLst>
        <pc:spChg chg="mod ord">
          <ac:chgData name="José Antonio Ureta Santacreu" userId="e36999d1-2b92-424a-9e8c-5fde0c5fbdd2" providerId="ADAL" clId="{B441C459-42E0-4465-B296-199851FC6E31}" dt="2024-09-11T11:12:14.001" v="3782" actId="6264"/>
          <ac:spMkLst>
            <pc:docMk/>
            <pc:sldMk cId="4159931023" sldId="300"/>
            <ac:spMk id="2" creationId="{7C47D1CA-A956-A700-6854-396F04AC90A4}"/>
          </ac:spMkLst>
        </pc:spChg>
        <pc:spChg chg="mod ord">
          <ac:chgData name="José Antonio Ureta Santacreu" userId="e36999d1-2b92-424a-9e8c-5fde0c5fbdd2" providerId="ADAL" clId="{B441C459-42E0-4465-B296-199851FC6E31}" dt="2024-09-11T11:12:14.001" v="3782" actId="6264"/>
          <ac:spMkLst>
            <pc:docMk/>
            <pc:sldMk cId="4159931023" sldId="300"/>
            <ac:spMk id="3" creationId="{C5D9D9A8-6F81-4C96-22B7-03FD02610C8B}"/>
          </ac:spMkLst>
        </pc:spChg>
        <pc:spChg chg="mod ord">
          <ac:chgData name="José Antonio Ureta Santacreu" userId="e36999d1-2b92-424a-9e8c-5fde0c5fbdd2" providerId="ADAL" clId="{B441C459-42E0-4465-B296-199851FC6E31}" dt="2024-09-11T11:12:14.001" v="3782" actId="6264"/>
          <ac:spMkLst>
            <pc:docMk/>
            <pc:sldMk cId="4159931023" sldId="300"/>
            <ac:spMk id="4" creationId="{26FBC0F1-1118-85FF-736E-56730FB8597B}"/>
          </ac:spMkLst>
        </pc:spChg>
        <pc:spChg chg="mod ord">
          <ac:chgData name="José Antonio Ureta Santacreu" userId="e36999d1-2b92-424a-9e8c-5fde0c5fbdd2" providerId="ADAL" clId="{B441C459-42E0-4465-B296-199851FC6E31}" dt="2024-09-11T11:12:14.001" v="3782" actId="6264"/>
          <ac:spMkLst>
            <pc:docMk/>
            <pc:sldMk cId="4159931023" sldId="300"/>
            <ac:spMk id="5" creationId="{62562C0C-B4C9-AFA8-7403-C29153A6C948}"/>
          </ac:spMkLst>
        </pc:spChg>
        <pc:spChg chg="add del mod">
          <ac:chgData name="José Antonio Ureta Santacreu" userId="e36999d1-2b92-424a-9e8c-5fde0c5fbdd2" providerId="ADAL" clId="{B441C459-42E0-4465-B296-199851FC6E31}" dt="2024-09-11T11:12:14.001" v="3782" actId="6264"/>
          <ac:spMkLst>
            <pc:docMk/>
            <pc:sldMk cId="4159931023" sldId="300"/>
            <ac:spMk id="8" creationId="{14785BDC-92AE-A2F5-2097-08BF2865E383}"/>
          </ac:spMkLst>
        </pc:spChg>
        <pc:spChg chg="add del mod">
          <ac:chgData name="José Antonio Ureta Santacreu" userId="e36999d1-2b92-424a-9e8c-5fde0c5fbdd2" providerId="ADAL" clId="{B441C459-42E0-4465-B296-199851FC6E31}" dt="2024-09-11T11:12:14.001" v="3782" actId="6264"/>
          <ac:spMkLst>
            <pc:docMk/>
            <pc:sldMk cId="4159931023" sldId="300"/>
            <ac:spMk id="9" creationId="{4F33F092-5465-77F4-7610-88DA201FE226}"/>
          </ac:spMkLst>
        </pc:spChg>
        <pc:spChg chg="add del mod">
          <ac:chgData name="José Antonio Ureta Santacreu" userId="e36999d1-2b92-424a-9e8c-5fde0c5fbdd2" providerId="ADAL" clId="{B441C459-42E0-4465-B296-199851FC6E31}" dt="2024-09-11T11:12:14.001" v="3782" actId="6264"/>
          <ac:spMkLst>
            <pc:docMk/>
            <pc:sldMk cId="4159931023" sldId="300"/>
            <ac:spMk id="10" creationId="{7E932150-C177-6DB8-72EC-C519F9F86FAB}"/>
          </ac:spMkLst>
        </pc:spChg>
        <pc:spChg chg="add del mod">
          <ac:chgData name="José Antonio Ureta Santacreu" userId="e36999d1-2b92-424a-9e8c-5fde0c5fbdd2" providerId="ADAL" clId="{B441C459-42E0-4465-B296-199851FC6E31}" dt="2024-09-11T11:12:14.001" v="3782" actId="6264"/>
          <ac:spMkLst>
            <pc:docMk/>
            <pc:sldMk cId="4159931023" sldId="300"/>
            <ac:spMk id="11" creationId="{DA2B36B3-A200-3DE3-C38B-85413C56391B}"/>
          </ac:spMkLst>
        </pc:spChg>
        <pc:spChg chg="add del mod">
          <ac:chgData name="José Antonio Ureta Santacreu" userId="e36999d1-2b92-424a-9e8c-5fde0c5fbdd2" providerId="ADAL" clId="{B441C459-42E0-4465-B296-199851FC6E31}" dt="2024-09-11T11:12:14.001" v="3782" actId="6264"/>
          <ac:spMkLst>
            <pc:docMk/>
            <pc:sldMk cId="4159931023" sldId="300"/>
            <ac:spMk id="12" creationId="{2AA1A3B3-6235-42DB-2F2B-F21B2A016667}"/>
          </ac:spMkLst>
        </pc:spChg>
        <pc:picChg chg="mod ord">
          <ac:chgData name="José Antonio Ureta Santacreu" userId="e36999d1-2b92-424a-9e8c-5fde0c5fbdd2" providerId="ADAL" clId="{B441C459-42E0-4465-B296-199851FC6E31}" dt="2024-09-11T11:12:14.001" v="3782" actId="6264"/>
          <ac:picMkLst>
            <pc:docMk/>
            <pc:sldMk cId="4159931023" sldId="300"/>
            <ac:picMk id="3074" creationId="{6FE26870-E5E6-6C6C-56E0-BA8C60DE49BB}"/>
          </ac:picMkLst>
        </pc:picChg>
      </pc:sldChg>
      <pc:sldChg chg="addSp delSp modSp mod modClrScheme chgLayout">
        <pc:chgData name="José Antonio Ureta Santacreu" userId="e36999d1-2b92-424a-9e8c-5fde0c5fbdd2" providerId="ADAL" clId="{B441C459-42E0-4465-B296-199851FC6E31}" dt="2024-09-12T15:44:58.333" v="5153" actId="313"/>
        <pc:sldMkLst>
          <pc:docMk/>
          <pc:sldMk cId="0" sldId="301"/>
        </pc:sldMkLst>
        <pc:spChg chg="add del mod">
          <ac:chgData name="José Antonio Ureta Santacreu" userId="e36999d1-2b92-424a-9e8c-5fde0c5fbdd2" providerId="ADAL" clId="{B441C459-42E0-4465-B296-199851FC6E31}" dt="2024-09-11T11:12:14.001" v="3782" actId="6264"/>
          <ac:spMkLst>
            <pc:docMk/>
            <pc:sldMk cId="0" sldId="301"/>
            <ac:spMk id="4" creationId="{2D6872F9-E69F-E236-CBD3-C135DBD7B807}"/>
          </ac:spMkLst>
        </pc:spChg>
        <pc:spChg chg="add del mod ord">
          <ac:chgData name="José Antonio Ureta Santacreu" userId="e36999d1-2b92-424a-9e8c-5fde0c5fbdd2" providerId="ADAL" clId="{B441C459-42E0-4465-B296-199851FC6E31}" dt="2024-09-12T15:44:40.960" v="5150" actId="478"/>
          <ac:spMkLst>
            <pc:docMk/>
            <pc:sldMk cId="0" sldId="301"/>
            <ac:spMk id="5" creationId="{E2A3C557-BF91-A85F-9EFC-275787C86102}"/>
          </ac:spMkLst>
        </pc:spChg>
        <pc:spChg chg="mod ord">
          <ac:chgData name="José Antonio Ureta Santacreu" userId="e36999d1-2b92-424a-9e8c-5fde0c5fbdd2" providerId="ADAL" clId="{B441C459-42E0-4465-B296-199851FC6E31}" dt="2024-09-12T15:44:45.579" v="5151" actId="700"/>
          <ac:spMkLst>
            <pc:docMk/>
            <pc:sldMk cId="0" sldId="301"/>
            <ac:spMk id="12" creationId="{00000000-0000-0000-0000-000000000000}"/>
          </ac:spMkLst>
        </pc:spChg>
        <pc:spChg chg="mod">
          <ac:chgData name="José Antonio Ureta Santacreu" userId="e36999d1-2b92-424a-9e8c-5fde0c5fbdd2" providerId="ADAL" clId="{B441C459-42E0-4465-B296-199851FC6E31}" dt="2024-09-12T15:44:54.955" v="5152" actId="313"/>
          <ac:spMkLst>
            <pc:docMk/>
            <pc:sldMk cId="0" sldId="301"/>
            <ac:spMk id="86" creationId="{00000000-0000-0000-0000-000000000000}"/>
          </ac:spMkLst>
        </pc:spChg>
        <pc:spChg chg="mod">
          <ac:chgData name="José Antonio Ureta Santacreu" userId="e36999d1-2b92-424a-9e8c-5fde0c5fbdd2" providerId="ADAL" clId="{B441C459-42E0-4465-B296-199851FC6E31}" dt="2024-09-12T15:44:58.333" v="5153" actId="313"/>
          <ac:spMkLst>
            <pc:docMk/>
            <pc:sldMk cId="0" sldId="301"/>
            <ac:spMk id="87" creationId="{00000000-0000-0000-0000-000000000000}"/>
          </ac:spMkLst>
        </pc:spChg>
      </pc:sldChg>
      <pc:sldChg chg="addSp delSp modSp mod chgLayout">
        <pc:chgData name="José Antonio Ureta Santacreu" userId="e36999d1-2b92-424a-9e8c-5fde0c5fbdd2" providerId="ADAL" clId="{B441C459-42E0-4465-B296-199851FC6E31}" dt="2024-09-11T11:12:14.001" v="3782" actId="6264"/>
        <pc:sldMkLst>
          <pc:docMk/>
          <pc:sldMk cId="2604318060" sldId="306"/>
        </pc:sldMkLst>
        <pc:spChg chg="mod ord">
          <ac:chgData name="José Antonio Ureta Santacreu" userId="e36999d1-2b92-424a-9e8c-5fde0c5fbdd2" providerId="ADAL" clId="{B441C459-42E0-4465-B296-199851FC6E31}" dt="2024-09-11T11:12:14.001" v="3782" actId="6264"/>
          <ac:spMkLst>
            <pc:docMk/>
            <pc:sldMk cId="2604318060" sldId="306"/>
            <ac:spMk id="2" creationId="{199E65DE-902C-B91B-47C9-E8D23E8E8F98}"/>
          </ac:spMkLst>
        </pc:spChg>
        <pc:spChg chg="mod ord">
          <ac:chgData name="José Antonio Ureta Santacreu" userId="e36999d1-2b92-424a-9e8c-5fde0c5fbdd2" providerId="ADAL" clId="{B441C459-42E0-4465-B296-199851FC6E31}" dt="2024-09-11T11:12:14.001" v="3782" actId="6264"/>
          <ac:spMkLst>
            <pc:docMk/>
            <pc:sldMk cId="2604318060" sldId="306"/>
            <ac:spMk id="4" creationId="{4A5353B5-DA90-A740-EFCD-95ABAEEF025C}"/>
          </ac:spMkLst>
        </pc:spChg>
        <pc:spChg chg="mod ord">
          <ac:chgData name="José Antonio Ureta Santacreu" userId="e36999d1-2b92-424a-9e8c-5fde0c5fbdd2" providerId="ADAL" clId="{B441C459-42E0-4465-B296-199851FC6E31}" dt="2024-09-11T11:12:14.001" v="3782" actId="6264"/>
          <ac:spMkLst>
            <pc:docMk/>
            <pc:sldMk cId="2604318060" sldId="306"/>
            <ac:spMk id="6" creationId="{2BEAA1E8-D961-230C-5BD6-D9B84E70A4EA}"/>
          </ac:spMkLst>
        </pc:spChg>
        <pc:spChg chg="add del mod">
          <ac:chgData name="José Antonio Ureta Santacreu" userId="e36999d1-2b92-424a-9e8c-5fde0c5fbdd2" providerId="ADAL" clId="{B441C459-42E0-4465-B296-199851FC6E31}" dt="2024-09-11T11:12:14.001" v="3782" actId="6264"/>
          <ac:spMkLst>
            <pc:docMk/>
            <pc:sldMk cId="2604318060" sldId="306"/>
            <ac:spMk id="7" creationId="{B5C82CFD-40E5-956E-A6FE-56B5D39A5A20}"/>
          </ac:spMkLst>
        </pc:spChg>
        <pc:spChg chg="add del mod">
          <ac:chgData name="José Antonio Ureta Santacreu" userId="e36999d1-2b92-424a-9e8c-5fde0c5fbdd2" providerId="ADAL" clId="{B441C459-42E0-4465-B296-199851FC6E31}" dt="2024-09-11T11:12:14.001" v="3782" actId="6264"/>
          <ac:spMkLst>
            <pc:docMk/>
            <pc:sldMk cId="2604318060" sldId="306"/>
            <ac:spMk id="8" creationId="{80753BB4-D347-97DB-E60E-6B66F11A91DD}"/>
          </ac:spMkLst>
        </pc:spChg>
        <pc:spChg chg="add del mod">
          <ac:chgData name="José Antonio Ureta Santacreu" userId="e36999d1-2b92-424a-9e8c-5fde0c5fbdd2" providerId="ADAL" clId="{B441C459-42E0-4465-B296-199851FC6E31}" dt="2024-09-11T11:12:14.001" v="3782" actId="6264"/>
          <ac:spMkLst>
            <pc:docMk/>
            <pc:sldMk cId="2604318060" sldId="306"/>
            <ac:spMk id="9" creationId="{025E7BC4-B21B-1308-FB0A-3D4E48EA5542}"/>
          </ac:spMkLst>
        </pc:spChg>
        <pc:spChg chg="add del mod">
          <ac:chgData name="José Antonio Ureta Santacreu" userId="e36999d1-2b92-424a-9e8c-5fde0c5fbdd2" providerId="ADAL" clId="{B441C459-42E0-4465-B296-199851FC6E31}" dt="2024-09-11T11:12:14.001" v="3782" actId="6264"/>
          <ac:spMkLst>
            <pc:docMk/>
            <pc:sldMk cId="2604318060" sldId="306"/>
            <ac:spMk id="10" creationId="{412473A1-D088-CC91-CDD9-268CE9707561}"/>
          </ac:spMkLst>
        </pc:spChg>
        <pc:spChg chg="mod ord">
          <ac:chgData name="José Antonio Ureta Santacreu" userId="e36999d1-2b92-424a-9e8c-5fde0c5fbdd2" providerId="ADAL" clId="{B441C459-42E0-4465-B296-199851FC6E31}" dt="2024-09-11T11:12:14.001" v="3782" actId="6264"/>
          <ac:spMkLst>
            <pc:docMk/>
            <pc:sldMk cId="2604318060" sldId="306"/>
            <ac:spMk id="24" creationId="{08352A53-3C77-F557-9392-2A98D1A15913}"/>
          </ac:spMkLst>
        </pc:spChg>
      </pc:sldChg>
      <pc:sldChg chg="addSp delSp modSp mod chgLayout">
        <pc:chgData name="José Antonio Ureta Santacreu" userId="e36999d1-2b92-424a-9e8c-5fde0c5fbdd2" providerId="ADAL" clId="{B441C459-42E0-4465-B296-199851FC6E31}" dt="2024-09-12T10:37:26.887" v="3927" actId="27636"/>
        <pc:sldMkLst>
          <pc:docMk/>
          <pc:sldMk cId="4292730035" sldId="308"/>
        </pc:sldMkLst>
        <pc:spChg chg="mod ord">
          <ac:chgData name="José Antonio Ureta Santacreu" userId="e36999d1-2b92-424a-9e8c-5fde0c5fbdd2" providerId="ADAL" clId="{B441C459-42E0-4465-B296-199851FC6E31}" dt="2024-09-11T11:12:14.001" v="3782" actId="6264"/>
          <ac:spMkLst>
            <pc:docMk/>
            <pc:sldMk cId="4292730035" sldId="308"/>
            <ac:spMk id="2" creationId="{33CD5C6B-2E3D-1D35-2B49-D4FA7E430DB9}"/>
          </ac:spMkLst>
        </pc:spChg>
        <pc:spChg chg="mod ord">
          <ac:chgData name="José Antonio Ureta Santacreu" userId="e36999d1-2b92-424a-9e8c-5fde0c5fbdd2" providerId="ADAL" clId="{B441C459-42E0-4465-B296-199851FC6E31}" dt="2024-09-11T11:12:14.001" v="3782" actId="6264"/>
          <ac:spMkLst>
            <pc:docMk/>
            <pc:sldMk cId="4292730035" sldId="308"/>
            <ac:spMk id="3" creationId="{AF6F2395-D8D8-680B-1413-8148EC834C71}"/>
          </ac:spMkLst>
        </pc:spChg>
        <pc:spChg chg="mod ord">
          <ac:chgData name="José Antonio Ureta Santacreu" userId="e36999d1-2b92-424a-9e8c-5fde0c5fbdd2" providerId="ADAL" clId="{B441C459-42E0-4465-B296-199851FC6E31}" dt="2024-09-11T11:12:14.001" v="3782" actId="6264"/>
          <ac:spMkLst>
            <pc:docMk/>
            <pc:sldMk cId="4292730035" sldId="308"/>
            <ac:spMk id="4" creationId="{A616C1F2-4886-52B4-FADE-386EE8DB1FD7}"/>
          </ac:spMkLst>
        </pc:spChg>
        <pc:spChg chg="add del mod">
          <ac:chgData name="José Antonio Ureta Santacreu" userId="e36999d1-2b92-424a-9e8c-5fde0c5fbdd2" providerId="ADAL" clId="{B441C459-42E0-4465-B296-199851FC6E31}" dt="2024-09-11T11:12:14.001" v="3782" actId="6264"/>
          <ac:spMkLst>
            <pc:docMk/>
            <pc:sldMk cId="4292730035" sldId="308"/>
            <ac:spMk id="5" creationId="{60455AF3-64F5-055A-9FB9-4D5917149F25}"/>
          </ac:spMkLst>
        </pc:spChg>
        <pc:spChg chg="add del mod">
          <ac:chgData name="José Antonio Ureta Santacreu" userId="e36999d1-2b92-424a-9e8c-5fde0c5fbdd2" providerId="ADAL" clId="{B441C459-42E0-4465-B296-199851FC6E31}" dt="2024-09-11T11:12:14.001" v="3782" actId="6264"/>
          <ac:spMkLst>
            <pc:docMk/>
            <pc:sldMk cId="4292730035" sldId="308"/>
            <ac:spMk id="6" creationId="{A08A0D11-95A0-6694-7BDC-0A2A6BC1129C}"/>
          </ac:spMkLst>
        </pc:spChg>
        <pc:spChg chg="mod ord">
          <ac:chgData name="José Antonio Ureta Santacreu" userId="e36999d1-2b92-424a-9e8c-5fde0c5fbdd2" providerId="ADAL" clId="{B441C459-42E0-4465-B296-199851FC6E31}" dt="2024-09-12T10:37:26.887" v="3927" actId="27636"/>
          <ac:spMkLst>
            <pc:docMk/>
            <pc:sldMk cId="4292730035" sldId="308"/>
            <ac:spMk id="7" creationId="{3518F39D-D090-638F-B929-F3A41F1B7650}"/>
          </ac:spMkLst>
        </pc:spChg>
        <pc:spChg chg="add del mod">
          <ac:chgData name="José Antonio Ureta Santacreu" userId="e36999d1-2b92-424a-9e8c-5fde0c5fbdd2" providerId="ADAL" clId="{B441C459-42E0-4465-B296-199851FC6E31}" dt="2024-09-11T11:12:14.001" v="3782" actId="6264"/>
          <ac:spMkLst>
            <pc:docMk/>
            <pc:sldMk cId="4292730035" sldId="308"/>
            <ac:spMk id="8" creationId="{F04FA3E2-723E-BD81-B49D-C8535476F2B0}"/>
          </ac:spMkLst>
        </pc:spChg>
        <pc:spChg chg="add del mod">
          <ac:chgData name="José Antonio Ureta Santacreu" userId="e36999d1-2b92-424a-9e8c-5fde0c5fbdd2" providerId="ADAL" clId="{B441C459-42E0-4465-B296-199851FC6E31}" dt="2024-09-11T11:12:14.001" v="3782" actId="6264"/>
          <ac:spMkLst>
            <pc:docMk/>
            <pc:sldMk cId="4292730035" sldId="308"/>
            <ac:spMk id="10" creationId="{EFB470A0-2740-02C8-64B4-985CEC84F2AF}"/>
          </ac:spMkLst>
        </pc:spChg>
        <pc:spChg chg="add del mod">
          <ac:chgData name="José Antonio Ureta Santacreu" userId="e36999d1-2b92-424a-9e8c-5fde0c5fbdd2" providerId="ADAL" clId="{B441C459-42E0-4465-B296-199851FC6E31}" dt="2024-09-11T11:12:14.001" v="3782" actId="6264"/>
          <ac:spMkLst>
            <pc:docMk/>
            <pc:sldMk cId="4292730035" sldId="308"/>
            <ac:spMk id="11" creationId="{C7130014-6ECD-CE20-9F4A-D552C34852AD}"/>
          </ac:spMkLst>
        </pc:spChg>
        <pc:graphicFrameChg chg="mod ord">
          <ac:chgData name="José Antonio Ureta Santacreu" userId="e36999d1-2b92-424a-9e8c-5fde0c5fbdd2" providerId="ADAL" clId="{B441C459-42E0-4465-B296-199851FC6E31}" dt="2024-09-11T11:12:14.001" v="3782" actId="6264"/>
          <ac:graphicFrameMkLst>
            <pc:docMk/>
            <pc:sldMk cId="4292730035" sldId="308"/>
            <ac:graphicFrameMk id="9" creationId="{1F4F68EB-89E0-5960-4F6D-E929F5E36895}"/>
          </ac:graphicFrameMkLst>
        </pc:graphicFrameChg>
      </pc:sldChg>
      <pc:sldChg chg="addSp delSp modSp mod chgLayout">
        <pc:chgData name="José Antonio Ureta Santacreu" userId="e36999d1-2b92-424a-9e8c-5fde0c5fbdd2" providerId="ADAL" clId="{B441C459-42E0-4465-B296-199851FC6E31}" dt="2024-09-12T15:51:36.459" v="5203" actId="1076"/>
        <pc:sldMkLst>
          <pc:docMk/>
          <pc:sldMk cId="1565667465" sldId="309"/>
        </pc:sldMkLst>
        <pc:spChg chg="mod ord">
          <ac:chgData name="José Antonio Ureta Santacreu" userId="e36999d1-2b92-424a-9e8c-5fde0c5fbdd2" providerId="ADAL" clId="{B441C459-42E0-4465-B296-199851FC6E31}" dt="2024-09-11T11:12:14.001" v="3782" actId="6264"/>
          <ac:spMkLst>
            <pc:docMk/>
            <pc:sldMk cId="1565667465" sldId="309"/>
            <ac:spMk id="2" creationId="{B3AF0EE4-E769-5EFC-A195-C67E3AB8E248}"/>
          </ac:spMkLst>
        </pc:spChg>
        <pc:spChg chg="mod ord">
          <ac:chgData name="José Antonio Ureta Santacreu" userId="e36999d1-2b92-424a-9e8c-5fde0c5fbdd2" providerId="ADAL" clId="{B441C459-42E0-4465-B296-199851FC6E31}" dt="2024-09-11T11:12:14.001" v="3782" actId="6264"/>
          <ac:spMkLst>
            <pc:docMk/>
            <pc:sldMk cId="1565667465" sldId="309"/>
            <ac:spMk id="3" creationId="{E70C4B06-7EBB-6430-75A5-D2D93EB4E3CA}"/>
          </ac:spMkLst>
        </pc:spChg>
        <pc:spChg chg="mod ord">
          <ac:chgData name="José Antonio Ureta Santacreu" userId="e36999d1-2b92-424a-9e8c-5fde0c5fbdd2" providerId="ADAL" clId="{B441C459-42E0-4465-B296-199851FC6E31}" dt="2024-09-11T11:12:14.001" v="3782" actId="6264"/>
          <ac:spMkLst>
            <pc:docMk/>
            <pc:sldMk cId="1565667465" sldId="309"/>
            <ac:spMk id="5" creationId="{B3C0EA4C-9003-988A-F226-695524DA4ABB}"/>
          </ac:spMkLst>
        </pc:spChg>
        <pc:spChg chg="mod ord">
          <ac:chgData name="José Antonio Ureta Santacreu" userId="e36999d1-2b92-424a-9e8c-5fde0c5fbdd2" providerId="ADAL" clId="{B441C459-42E0-4465-B296-199851FC6E31}" dt="2024-09-11T11:12:14.001" v="3782" actId="6264"/>
          <ac:spMkLst>
            <pc:docMk/>
            <pc:sldMk cId="1565667465" sldId="309"/>
            <ac:spMk id="6" creationId="{ED78D5CB-869D-1F98-90EA-D73DBA4B0746}"/>
          </ac:spMkLst>
        </pc:spChg>
        <pc:spChg chg="add del mod">
          <ac:chgData name="José Antonio Ureta Santacreu" userId="e36999d1-2b92-424a-9e8c-5fde0c5fbdd2" providerId="ADAL" clId="{B441C459-42E0-4465-B296-199851FC6E31}" dt="2024-09-11T11:12:14.001" v="3782" actId="6264"/>
          <ac:spMkLst>
            <pc:docMk/>
            <pc:sldMk cId="1565667465" sldId="309"/>
            <ac:spMk id="7" creationId="{4273117F-D59C-7771-05EB-36C04A0751FF}"/>
          </ac:spMkLst>
        </pc:spChg>
        <pc:spChg chg="add del mod">
          <ac:chgData name="José Antonio Ureta Santacreu" userId="e36999d1-2b92-424a-9e8c-5fde0c5fbdd2" providerId="ADAL" clId="{B441C459-42E0-4465-B296-199851FC6E31}" dt="2024-09-11T11:12:14.001" v="3782" actId="6264"/>
          <ac:spMkLst>
            <pc:docMk/>
            <pc:sldMk cId="1565667465" sldId="309"/>
            <ac:spMk id="9" creationId="{D8A818AA-1F7D-6B6E-9919-073DC01E00C0}"/>
          </ac:spMkLst>
        </pc:spChg>
        <pc:spChg chg="add del mod">
          <ac:chgData name="José Antonio Ureta Santacreu" userId="e36999d1-2b92-424a-9e8c-5fde0c5fbdd2" providerId="ADAL" clId="{B441C459-42E0-4465-B296-199851FC6E31}" dt="2024-09-11T11:12:14.001" v="3782" actId="6264"/>
          <ac:spMkLst>
            <pc:docMk/>
            <pc:sldMk cId="1565667465" sldId="309"/>
            <ac:spMk id="10" creationId="{88224EF3-B627-26DE-7191-21EF476D19D8}"/>
          </ac:spMkLst>
        </pc:spChg>
        <pc:spChg chg="add del mod">
          <ac:chgData name="José Antonio Ureta Santacreu" userId="e36999d1-2b92-424a-9e8c-5fde0c5fbdd2" providerId="ADAL" clId="{B441C459-42E0-4465-B296-199851FC6E31}" dt="2024-09-11T11:12:14.001" v="3782" actId="6264"/>
          <ac:spMkLst>
            <pc:docMk/>
            <pc:sldMk cId="1565667465" sldId="309"/>
            <ac:spMk id="11" creationId="{5F929F7A-480C-797A-E0E1-8FE6C33AAF68}"/>
          </ac:spMkLst>
        </pc:spChg>
        <pc:spChg chg="add del mod">
          <ac:chgData name="José Antonio Ureta Santacreu" userId="e36999d1-2b92-424a-9e8c-5fde0c5fbdd2" providerId="ADAL" clId="{B441C459-42E0-4465-B296-199851FC6E31}" dt="2024-09-11T11:12:14.001" v="3782" actId="6264"/>
          <ac:spMkLst>
            <pc:docMk/>
            <pc:sldMk cId="1565667465" sldId="309"/>
            <ac:spMk id="12" creationId="{F77DD5AB-F38D-BAE1-0358-2E9C06384436}"/>
          </ac:spMkLst>
        </pc:spChg>
        <pc:graphicFrameChg chg="mod ord">
          <ac:chgData name="José Antonio Ureta Santacreu" userId="e36999d1-2b92-424a-9e8c-5fde0c5fbdd2" providerId="ADAL" clId="{B441C459-42E0-4465-B296-199851FC6E31}" dt="2024-09-11T11:12:14.001" v="3782" actId="6264"/>
          <ac:graphicFrameMkLst>
            <pc:docMk/>
            <pc:sldMk cId="1565667465" sldId="309"/>
            <ac:graphicFrameMk id="4" creationId="{158B46C3-977D-E791-74ED-2480EC8A7200}"/>
          </ac:graphicFrameMkLst>
        </pc:graphicFrameChg>
        <pc:picChg chg="mod">
          <ac:chgData name="José Antonio Ureta Santacreu" userId="e36999d1-2b92-424a-9e8c-5fde0c5fbdd2" providerId="ADAL" clId="{B441C459-42E0-4465-B296-199851FC6E31}" dt="2024-09-12T15:51:36.459" v="5203" actId="1076"/>
          <ac:picMkLst>
            <pc:docMk/>
            <pc:sldMk cId="1565667465" sldId="309"/>
            <ac:picMk id="8" creationId="{E91DFE48-EB75-9CAE-9089-E354733BB122}"/>
          </ac:picMkLst>
        </pc:picChg>
        <pc:picChg chg="mod">
          <ac:chgData name="José Antonio Ureta Santacreu" userId="e36999d1-2b92-424a-9e8c-5fde0c5fbdd2" providerId="ADAL" clId="{B441C459-42E0-4465-B296-199851FC6E31}" dt="2024-09-12T15:51:17.005" v="5201" actId="1076"/>
          <ac:picMkLst>
            <pc:docMk/>
            <pc:sldMk cId="1565667465" sldId="309"/>
            <ac:picMk id="3076" creationId="{2FA08FF4-C820-EF0D-0C94-ADA73A72426B}"/>
          </ac:picMkLst>
        </pc:picChg>
        <pc:picChg chg="mod">
          <ac:chgData name="José Antonio Ureta Santacreu" userId="e36999d1-2b92-424a-9e8c-5fde0c5fbdd2" providerId="ADAL" clId="{B441C459-42E0-4465-B296-199851FC6E31}" dt="2024-09-12T15:51:13.640" v="5200" actId="1076"/>
          <ac:picMkLst>
            <pc:docMk/>
            <pc:sldMk cId="1565667465" sldId="309"/>
            <ac:picMk id="3078" creationId="{E643659B-8F1A-A588-7EE4-511E35E21E44}"/>
          </ac:picMkLst>
        </pc:picChg>
        <pc:picChg chg="mod">
          <ac:chgData name="José Antonio Ureta Santacreu" userId="e36999d1-2b92-424a-9e8c-5fde0c5fbdd2" providerId="ADAL" clId="{B441C459-42E0-4465-B296-199851FC6E31}" dt="2024-09-12T15:51:23.201" v="5202" actId="1076"/>
          <ac:picMkLst>
            <pc:docMk/>
            <pc:sldMk cId="1565667465" sldId="309"/>
            <ac:picMk id="3080" creationId="{E082037C-5397-590C-33B5-DD1138BE063A}"/>
          </ac:picMkLst>
        </pc:picChg>
      </pc:sldChg>
      <pc:sldChg chg="addSp delSp modSp mod chgLayout">
        <pc:chgData name="José Antonio Ureta Santacreu" userId="e36999d1-2b92-424a-9e8c-5fde0c5fbdd2" providerId="ADAL" clId="{B441C459-42E0-4465-B296-199851FC6E31}" dt="2024-09-12T15:51:48.764" v="5212" actId="2"/>
        <pc:sldMkLst>
          <pc:docMk/>
          <pc:sldMk cId="2132635803" sldId="313"/>
        </pc:sldMkLst>
        <pc:spChg chg="mod ord">
          <ac:chgData name="José Antonio Ureta Santacreu" userId="e36999d1-2b92-424a-9e8c-5fde0c5fbdd2" providerId="ADAL" clId="{B441C459-42E0-4465-B296-199851FC6E31}" dt="2024-09-11T11:12:14.001" v="3782" actId="6264"/>
          <ac:spMkLst>
            <pc:docMk/>
            <pc:sldMk cId="2132635803" sldId="313"/>
            <ac:spMk id="2" creationId="{EFF119FA-0417-336E-3C2C-C4F338D92464}"/>
          </ac:spMkLst>
        </pc:spChg>
        <pc:spChg chg="mod ord">
          <ac:chgData name="José Antonio Ureta Santacreu" userId="e36999d1-2b92-424a-9e8c-5fde0c5fbdd2" providerId="ADAL" clId="{B441C459-42E0-4465-B296-199851FC6E31}" dt="2024-09-11T11:12:14.001" v="3782" actId="6264"/>
          <ac:spMkLst>
            <pc:docMk/>
            <pc:sldMk cId="2132635803" sldId="313"/>
            <ac:spMk id="3" creationId="{AA75FBA9-CB2D-25F4-E011-B874EEB57E92}"/>
          </ac:spMkLst>
        </pc:spChg>
        <pc:spChg chg="mod ord">
          <ac:chgData name="José Antonio Ureta Santacreu" userId="e36999d1-2b92-424a-9e8c-5fde0c5fbdd2" providerId="ADAL" clId="{B441C459-42E0-4465-B296-199851FC6E31}" dt="2024-09-11T11:12:14.001" v="3782" actId="6264"/>
          <ac:spMkLst>
            <pc:docMk/>
            <pc:sldMk cId="2132635803" sldId="313"/>
            <ac:spMk id="4" creationId="{0DDD8B56-001A-C37B-2467-001FB2B542CC}"/>
          </ac:spMkLst>
        </pc:spChg>
        <pc:spChg chg="mod ord">
          <ac:chgData name="José Antonio Ureta Santacreu" userId="e36999d1-2b92-424a-9e8c-5fde0c5fbdd2" providerId="ADAL" clId="{B441C459-42E0-4465-B296-199851FC6E31}" dt="2024-09-11T11:12:14.001" v="3782" actId="6264"/>
          <ac:spMkLst>
            <pc:docMk/>
            <pc:sldMk cId="2132635803" sldId="313"/>
            <ac:spMk id="5" creationId="{A6E6C191-2A11-061B-0AD7-2EE8F410B30B}"/>
          </ac:spMkLst>
        </pc:spChg>
        <pc:spChg chg="add del mod">
          <ac:chgData name="José Antonio Ureta Santacreu" userId="e36999d1-2b92-424a-9e8c-5fde0c5fbdd2" providerId="ADAL" clId="{B441C459-42E0-4465-B296-199851FC6E31}" dt="2024-09-11T11:12:14.001" v="3782" actId="6264"/>
          <ac:spMkLst>
            <pc:docMk/>
            <pc:sldMk cId="2132635803" sldId="313"/>
            <ac:spMk id="6" creationId="{773A48D0-06E6-6EAE-7FEA-B70A11EE9484}"/>
          </ac:spMkLst>
        </pc:spChg>
        <pc:spChg chg="add del mod">
          <ac:chgData name="José Antonio Ureta Santacreu" userId="e36999d1-2b92-424a-9e8c-5fde0c5fbdd2" providerId="ADAL" clId="{B441C459-42E0-4465-B296-199851FC6E31}" dt="2024-09-11T11:12:14.001" v="3782" actId="6264"/>
          <ac:spMkLst>
            <pc:docMk/>
            <pc:sldMk cId="2132635803" sldId="313"/>
            <ac:spMk id="7" creationId="{6244CA90-9B43-CCF5-E1D2-5020523594A4}"/>
          </ac:spMkLst>
        </pc:spChg>
        <pc:spChg chg="add del mod">
          <ac:chgData name="José Antonio Ureta Santacreu" userId="e36999d1-2b92-424a-9e8c-5fde0c5fbdd2" providerId="ADAL" clId="{B441C459-42E0-4465-B296-199851FC6E31}" dt="2024-09-11T11:12:14.001" v="3782" actId="6264"/>
          <ac:spMkLst>
            <pc:docMk/>
            <pc:sldMk cId="2132635803" sldId="313"/>
            <ac:spMk id="9" creationId="{B61C9630-2425-7E2F-4C6F-40000D1E3EF6}"/>
          </ac:spMkLst>
        </pc:spChg>
        <pc:spChg chg="add del mod">
          <ac:chgData name="José Antonio Ureta Santacreu" userId="e36999d1-2b92-424a-9e8c-5fde0c5fbdd2" providerId="ADAL" clId="{B441C459-42E0-4465-B296-199851FC6E31}" dt="2024-09-11T11:12:14.001" v="3782" actId="6264"/>
          <ac:spMkLst>
            <pc:docMk/>
            <pc:sldMk cId="2132635803" sldId="313"/>
            <ac:spMk id="10" creationId="{5E670B18-26BE-5FE6-CD3D-7ADEB9542162}"/>
          </ac:spMkLst>
        </pc:spChg>
        <pc:spChg chg="add del mod">
          <ac:chgData name="José Antonio Ureta Santacreu" userId="e36999d1-2b92-424a-9e8c-5fde0c5fbdd2" providerId="ADAL" clId="{B441C459-42E0-4465-B296-199851FC6E31}" dt="2024-09-11T11:12:14.001" v="3782" actId="6264"/>
          <ac:spMkLst>
            <pc:docMk/>
            <pc:sldMk cId="2132635803" sldId="313"/>
            <ac:spMk id="11" creationId="{8A1CCB91-B637-F48B-41E1-367A946281A4}"/>
          </ac:spMkLst>
        </pc:spChg>
        <pc:graphicFrameChg chg="mod ord">
          <ac:chgData name="José Antonio Ureta Santacreu" userId="e36999d1-2b92-424a-9e8c-5fde0c5fbdd2" providerId="ADAL" clId="{B441C459-42E0-4465-B296-199851FC6E31}" dt="2024-09-12T15:51:48.764" v="5212" actId="2"/>
          <ac:graphicFrameMkLst>
            <pc:docMk/>
            <pc:sldMk cId="2132635803" sldId="313"/>
            <ac:graphicFrameMk id="8" creationId="{1534E7A7-32CD-621F-5BCA-71AC42F3A665}"/>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3560941779" sldId="314"/>
        </pc:sldMkLst>
        <pc:spChg chg="mod ord">
          <ac:chgData name="José Antonio Ureta Santacreu" userId="e36999d1-2b92-424a-9e8c-5fde0c5fbdd2" providerId="ADAL" clId="{B441C459-42E0-4465-B296-199851FC6E31}" dt="2024-09-11T11:12:14.001" v="3782" actId="6264"/>
          <ac:spMkLst>
            <pc:docMk/>
            <pc:sldMk cId="3560941779" sldId="314"/>
            <ac:spMk id="2" creationId="{59981A69-9C9D-D0F3-E9BC-95FB4BB91E64}"/>
          </ac:spMkLst>
        </pc:spChg>
        <pc:spChg chg="mod ord">
          <ac:chgData name="José Antonio Ureta Santacreu" userId="e36999d1-2b92-424a-9e8c-5fde0c5fbdd2" providerId="ADAL" clId="{B441C459-42E0-4465-B296-199851FC6E31}" dt="2024-09-11T11:12:14.001" v="3782" actId="6264"/>
          <ac:spMkLst>
            <pc:docMk/>
            <pc:sldMk cId="3560941779" sldId="314"/>
            <ac:spMk id="3" creationId="{CF1CDBD7-598D-E71C-1029-66CDF3B5F78B}"/>
          </ac:spMkLst>
        </pc:spChg>
        <pc:spChg chg="mod ord">
          <ac:chgData name="José Antonio Ureta Santacreu" userId="e36999d1-2b92-424a-9e8c-5fde0c5fbdd2" providerId="ADAL" clId="{B441C459-42E0-4465-B296-199851FC6E31}" dt="2024-09-11T11:12:14.001" v="3782" actId="6264"/>
          <ac:spMkLst>
            <pc:docMk/>
            <pc:sldMk cId="3560941779" sldId="314"/>
            <ac:spMk id="4" creationId="{F3EA98ED-51D3-5C21-6840-459AA7262318}"/>
          </ac:spMkLst>
        </pc:spChg>
        <pc:spChg chg="mod ord">
          <ac:chgData name="José Antonio Ureta Santacreu" userId="e36999d1-2b92-424a-9e8c-5fde0c5fbdd2" providerId="ADAL" clId="{B441C459-42E0-4465-B296-199851FC6E31}" dt="2024-09-11T11:12:14.001" v="3782" actId="6264"/>
          <ac:spMkLst>
            <pc:docMk/>
            <pc:sldMk cId="3560941779" sldId="314"/>
            <ac:spMk id="5" creationId="{D3E22E23-A547-6450-4F4A-D27656991983}"/>
          </ac:spMkLst>
        </pc:spChg>
        <pc:spChg chg="add del mod">
          <ac:chgData name="José Antonio Ureta Santacreu" userId="e36999d1-2b92-424a-9e8c-5fde0c5fbdd2" providerId="ADAL" clId="{B441C459-42E0-4465-B296-199851FC6E31}" dt="2024-09-11T11:12:14.001" v="3782" actId="6264"/>
          <ac:spMkLst>
            <pc:docMk/>
            <pc:sldMk cId="3560941779" sldId="314"/>
            <ac:spMk id="6" creationId="{3A4189A2-28E1-B876-BF1F-20548227D984}"/>
          </ac:spMkLst>
        </pc:spChg>
        <pc:spChg chg="add del mod">
          <ac:chgData name="José Antonio Ureta Santacreu" userId="e36999d1-2b92-424a-9e8c-5fde0c5fbdd2" providerId="ADAL" clId="{B441C459-42E0-4465-B296-199851FC6E31}" dt="2024-09-11T11:12:14.001" v="3782" actId="6264"/>
          <ac:spMkLst>
            <pc:docMk/>
            <pc:sldMk cId="3560941779" sldId="314"/>
            <ac:spMk id="7" creationId="{44141D34-C5F6-B441-AA31-28AC04BFA3CB}"/>
          </ac:spMkLst>
        </pc:spChg>
        <pc:spChg chg="add del mod">
          <ac:chgData name="José Antonio Ureta Santacreu" userId="e36999d1-2b92-424a-9e8c-5fde0c5fbdd2" providerId="ADAL" clId="{B441C459-42E0-4465-B296-199851FC6E31}" dt="2024-09-11T11:12:14.001" v="3782" actId="6264"/>
          <ac:spMkLst>
            <pc:docMk/>
            <pc:sldMk cId="3560941779" sldId="314"/>
            <ac:spMk id="8" creationId="{C3A829F8-9813-72D7-CADF-2BA8E03E160E}"/>
          </ac:spMkLst>
        </pc:spChg>
        <pc:spChg chg="add del mod">
          <ac:chgData name="José Antonio Ureta Santacreu" userId="e36999d1-2b92-424a-9e8c-5fde0c5fbdd2" providerId="ADAL" clId="{B441C459-42E0-4465-B296-199851FC6E31}" dt="2024-09-11T11:12:14.001" v="3782" actId="6264"/>
          <ac:spMkLst>
            <pc:docMk/>
            <pc:sldMk cId="3560941779" sldId="314"/>
            <ac:spMk id="9" creationId="{224787E1-F501-2350-7910-B2614639A312}"/>
          </ac:spMkLst>
        </pc:spChg>
        <pc:spChg chg="add del mod">
          <ac:chgData name="José Antonio Ureta Santacreu" userId="e36999d1-2b92-424a-9e8c-5fde0c5fbdd2" providerId="ADAL" clId="{B441C459-42E0-4465-B296-199851FC6E31}" dt="2024-09-11T11:12:14.001" v="3782" actId="6264"/>
          <ac:spMkLst>
            <pc:docMk/>
            <pc:sldMk cId="3560941779" sldId="314"/>
            <ac:spMk id="10" creationId="{C9DD77FC-03CA-6FA5-8587-884F500D11BA}"/>
          </ac:spMkLst>
        </pc:spChg>
        <pc:spChg chg="add del mod">
          <ac:chgData name="José Antonio Ureta Santacreu" userId="e36999d1-2b92-424a-9e8c-5fde0c5fbdd2" providerId="ADAL" clId="{B441C459-42E0-4465-B296-199851FC6E31}" dt="2024-09-11T11:12:14.001" v="3782" actId="6264"/>
          <ac:spMkLst>
            <pc:docMk/>
            <pc:sldMk cId="3560941779" sldId="314"/>
            <ac:spMk id="11" creationId="{BACED42B-EA2A-4287-1641-51D1DC72EF49}"/>
          </ac:spMkLst>
        </pc:spChg>
        <pc:graphicFrameChg chg="mod ord">
          <ac:chgData name="José Antonio Ureta Santacreu" userId="e36999d1-2b92-424a-9e8c-5fde0c5fbdd2" providerId="ADAL" clId="{B441C459-42E0-4465-B296-199851FC6E31}" dt="2024-09-11T11:12:14.001" v="3782" actId="6264"/>
          <ac:graphicFrameMkLst>
            <pc:docMk/>
            <pc:sldMk cId="3560941779" sldId="314"/>
            <ac:graphicFrameMk id="17" creationId="{1623549F-920E-BD5F-071B-00841022DE3E}"/>
          </ac:graphicFrameMkLst>
        </pc:graphicFrameChg>
        <pc:picChg chg="mod ord">
          <ac:chgData name="José Antonio Ureta Santacreu" userId="e36999d1-2b92-424a-9e8c-5fde0c5fbdd2" providerId="ADAL" clId="{B441C459-42E0-4465-B296-199851FC6E31}" dt="2024-09-11T11:12:14.001" v="3782" actId="6264"/>
          <ac:picMkLst>
            <pc:docMk/>
            <pc:sldMk cId="3560941779" sldId="314"/>
            <ac:picMk id="2050" creationId="{A26860DA-B265-C99E-8C7D-8875E229D1A9}"/>
          </ac:picMkLst>
        </pc:picChg>
      </pc:sldChg>
      <pc:sldChg chg="addSp delSp modSp mod chgLayout">
        <pc:chgData name="José Antonio Ureta Santacreu" userId="e36999d1-2b92-424a-9e8c-5fde0c5fbdd2" providerId="ADAL" clId="{B441C459-42E0-4465-B296-199851FC6E31}" dt="2024-09-12T15:51:53.074" v="5214" actId="2"/>
        <pc:sldMkLst>
          <pc:docMk/>
          <pc:sldMk cId="3710413059" sldId="318"/>
        </pc:sldMkLst>
        <pc:spChg chg="mod ord">
          <ac:chgData name="José Antonio Ureta Santacreu" userId="e36999d1-2b92-424a-9e8c-5fde0c5fbdd2" providerId="ADAL" clId="{B441C459-42E0-4465-B296-199851FC6E31}" dt="2024-09-11T11:12:14.001" v="3782" actId="6264"/>
          <ac:spMkLst>
            <pc:docMk/>
            <pc:sldMk cId="3710413059" sldId="318"/>
            <ac:spMk id="2" creationId="{FBB83775-0B57-AD6B-7B1C-9E8CB8B28D61}"/>
          </ac:spMkLst>
        </pc:spChg>
        <pc:spChg chg="add del mod">
          <ac:chgData name="José Antonio Ureta Santacreu" userId="e36999d1-2b92-424a-9e8c-5fde0c5fbdd2" providerId="ADAL" clId="{B441C459-42E0-4465-B296-199851FC6E31}" dt="2024-09-11T11:12:14.001" v="3782" actId="6264"/>
          <ac:spMkLst>
            <pc:docMk/>
            <pc:sldMk cId="3710413059" sldId="318"/>
            <ac:spMk id="3" creationId="{39BD7221-D844-707B-075B-29DE56668F98}"/>
          </ac:spMkLst>
        </pc:spChg>
        <pc:spChg chg="mod ord">
          <ac:chgData name="José Antonio Ureta Santacreu" userId="e36999d1-2b92-424a-9e8c-5fde0c5fbdd2" providerId="ADAL" clId="{B441C459-42E0-4465-B296-199851FC6E31}" dt="2024-09-11T11:12:14.001" v="3782" actId="6264"/>
          <ac:spMkLst>
            <pc:docMk/>
            <pc:sldMk cId="3710413059" sldId="318"/>
            <ac:spMk id="4" creationId="{972B85D5-9188-C650-8E01-A0F950DB0B1B}"/>
          </ac:spMkLst>
        </pc:spChg>
        <pc:spChg chg="mod ord">
          <ac:chgData name="José Antonio Ureta Santacreu" userId="e36999d1-2b92-424a-9e8c-5fde0c5fbdd2" providerId="ADAL" clId="{B441C459-42E0-4465-B296-199851FC6E31}" dt="2024-09-11T11:12:14.001" v="3782" actId="6264"/>
          <ac:spMkLst>
            <pc:docMk/>
            <pc:sldMk cId="3710413059" sldId="318"/>
            <ac:spMk id="5" creationId="{77CFDA77-4349-06B9-30F5-2A93B089E09B}"/>
          </ac:spMkLst>
        </pc:spChg>
        <pc:spChg chg="mod ord">
          <ac:chgData name="José Antonio Ureta Santacreu" userId="e36999d1-2b92-424a-9e8c-5fde0c5fbdd2" providerId="ADAL" clId="{B441C459-42E0-4465-B296-199851FC6E31}" dt="2024-09-11T11:12:14.001" v="3782" actId="6264"/>
          <ac:spMkLst>
            <pc:docMk/>
            <pc:sldMk cId="3710413059" sldId="318"/>
            <ac:spMk id="6" creationId="{E89DDBA1-E07E-854B-B282-BC47BE88695D}"/>
          </ac:spMkLst>
        </pc:spChg>
        <pc:spChg chg="add del mod">
          <ac:chgData name="José Antonio Ureta Santacreu" userId="e36999d1-2b92-424a-9e8c-5fde0c5fbdd2" providerId="ADAL" clId="{B441C459-42E0-4465-B296-199851FC6E31}" dt="2024-09-11T11:12:14.001" v="3782" actId="6264"/>
          <ac:spMkLst>
            <pc:docMk/>
            <pc:sldMk cId="3710413059" sldId="318"/>
            <ac:spMk id="9" creationId="{7BCFE1EE-5859-28D5-E63D-90E5D481BBD0}"/>
          </ac:spMkLst>
        </pc:spChg>
        <pc:spChg chg="add del mod">
          <ac:chgData name="José Antonio Ureta Santacreu" userId="e36999d1-2b92-424a-9e8c-5fde0c5fbdd2" providerId="ADAL" clId="{B441C459-42E0-4465-B296-199851FC6E31}" dt="2024-09-11T11:12:14.001" v="3782" actId="6264"/>
          <ac:spMkLst>
            <pc:docMk/>
            <pc:sldMk cId="3710413059" sldId="318"/>
            <ac:spMk id="10" creationId="{3EB0DEA0-A6A4-6F0C-7657-E13E659132E2}"/>
          </ac:spMkLst>
        </pc:spChg>
        <pc:spChg chg="add del mod">
          <ac:chgData name="José Antonio Ureta Santacreu" userId="e36999d1-2b92-424a-9e8c-5fde0c5fbdd2" providerId="ADAL" clId="{B441C459-42E0-4465-B296-199851FC6E31}" dt="2024-09-11T11:12:14.001" v="3782" actId="6264"/>
          <ac:spMkLst>
            <pc:docMk/>
            <pc:sldMk cId="3710413059" sldId="318"/>
            <ac:spMk id="11" creationId="{73E120B9-39B8-8AEE-2343-97AA69AB06EC}"/>
          </ac:spMkLst>
        </pc:spChg>
        <pc:spChg chg="add del mod">
          <ac:chgData name="José Antonio Ureta Santacreu" userId="e36999d1-2b92-424a-9e8c-5fde0c5fbdd2" providerId="ADAL" clId="{B441C459-42E0-4465-B296-199851FC6E31}" dt="2024-09-11T11:12:14.001" v="3782" actId="6264"/>
          <ac:spMkLst>
            <pc:docMk/>
            <pc:sldMk cId="3710413059" sldId="318"/>
            <ac:spMk id="12" creationId="{0551CA84-982F-E816-00CC-285BE254EC15}"/>
          </ac:spMkLst>
        </pc:spChg>
        <pc:spChg chg="add del mod">
          <ac:chgData name="José Antonio Ureta Santacreu" userId="e36999d1-2b92-424a-9e8c-5fde0c5fbdd2" providerId="ADAL" clId="{B441C459-42E0-4465-B296-199851FC6E31}" dt="2024-09-11T11:12:14.001" v="3782" actId="6264"/>
          <ac:spMkLst>
            <pc:docMk/>
            <pc:sldMk cId="3710413059" sldId="318"/>
            <ac:spMk id="13" creationId="{F821C80A-A7B5-8D65-5EDD-BEACF3DD9DBC}"/>
          </ac:spMkLst>
        </pc:spChg>
        <pc:graphicFrameChg chg="mod ord">
          <ac:chgData name="José Antonio Ureta Santacreu" userId="e36999d1-2b92-424a-9e8c-5fde0c5fbdd2" providerId="ADAL" clId="{B441C459-42E0-4465-B296-199851FC6E31}" dt="2024-09-12T15:51:53.074" v="5214" actId="2"/>
          <ac:graphicFrameMkLst>
            <pc:docMk/>
            <pc:sldMk cId="3710413059" sldId="318"/>
            <ac:graphicFrameMk id="7" creationId="{3235D71D-3A98-29FC-EACB-6605772A975F}"/>
          </ac:graphicFrameMkLst>
        </pc:graphicFrameChg>
        <pc:picChg chg="mod ord">
          <ac:chgData name="José Antonio Ureta Santacreu" userId="e36999d1-2b92-424a-9e8c-5fde0c5fbdd2" providerId="ADAL" clId="{B441C459-42E0-4465-B296-199851FC6E31}" dt="2024-09-11T11:12:14.001" v="3782" actId="6264"/>
          <ac:picMkLst>
            <pc:docMk/>
            <pc:sldMk cId="3710413059" sldId="318"/>
            <ac:picMk id="8" creationId="{5D50018C-A5F5-D720-CD87-35FCC46456A8}"/>
          </ac:picMkLst>
        </pc:picChg>
      </pc:sldChg>
      <pc:sldChg chg="addSp delSp modSp mod chgLayout">
        <pc:chgData name="José Antonio Ureta Santacreu" userId="e36999d1-2b92-424a-9e8c-5fde0c5fbdd2" providerId="ADAL" clId="{B441C459-42E0-4465-B296-199851FC6E31}" dt="2024-09-12T15:52:06.335" v="5231" actId="2"/>
        <pc:sldMkLst>
          <pc:docMk/>
          <pc:sldMk cId="1147980676" sldId="321"/>
        </pc:sldMkLst>
        <pc:spChg chg="mod ord">
          <ac:chgData name="José Antonio Ureta Santacreu" userId="e36999d1-2b92-424a-9e8c-5fde0c5fbdd2" providerId="ADAL" clId="{B441C459-42E0-4465-B296-199851FC6E31}" dt="2024-09-11T11:12:14.001" v="3782" actId="6264"/>
          <ac:spMkLst>
            <pc:docMk/>
            <pc:sldMk cId="1147980676" sldId="321"/>
            <ac:spMk id="2" creationId="{D3DC13FB-5723-DEB6-A56E-D149B876128D}"/>
          </ac:spMkLst>
        </pc:spChg>
        <pc:spChg chg="mod ord">
          <ac:chgData name="José Antonio Ureta Santacreu" userId="e36999d1-2b92-424a-9e8c-5fde0c5fbdd2" providerId="ADAL" clId="{B441C459-42E0-4465-B296-199851FC6E31}" dt="2024-09-11T11:12:14.001" v="3782" actId="6264"/>
          <ac:spMkLst>
            <pc:docMk/>
            <pc:sldMk cId="1147980676" sldId="321"/>
            <ac:spMk id="3" creationId="{1AC34247-4067-E04E-2A79-966CA45B15E7}"/>
          </ac:spMkLst>
        </pc:spChg>
        <pc:spChg chg="mod ord">
          <ac:chgData name="José Antonio Ureta Santacreu" userId="e36999d1-2b92-424a-9e8c-5fde0c5fbdd2" providerId="ADAL" clId="{B441C459-42E0-4465-B296-199851FC6E31}" dt="2024-09-11T11:12:14.001" v="3782" actId="6264"/>
          <ac:spMkLst>
            <pc:docMk/>
            <pc:sldMk cId="1147980676" sldId="321"/>
            <ac:spMk id="4" creationId="{5618C719-0E22-8C4F-9FA2-F03D96F89121}"/>
          </ac:spMkLst>
        </pc:spChg>
        <pc:spChg chg="mod ord">
          <ac:chgData name="José Antonio Ureta Santacreu" userId="e36999d1-2b92-424a-9e8c-5fde0c5fbdd2" providerId="ADAL" clId="{B441C459-42E0-4465-B296-199851FC6E31}" dt="2024-09-11T11:12:14.001" v="3782" actId="6264"/>
          <ac:spMkLst>
            <pc:docMk/>
            <pc:sldMk cId="1147980676" sldId="321"/>
            <ac:spMk id="5" creationId="{F6B61F87-2F14-E2D5-8C0E-2BD2D5FB0E79}"/>
          </ac:spMkLst>
        </pc:spChg>
        <pc:spChg chg="add del mod">
          <ac:chgData name="José Antonio Ureta Santacreu" userId="e36999d1-2b92-424a-9e8c-5fde0c5fbdd2" providerId="ADAL" clId="{B441C459-42E0-4465-B296-199851FC6E31}" dt="2024-09-11T11:12:14.001" v="3782" actId="6264"/>
          <ac:spMkLst>
            <pc:docMk/>
            <pc:sldMk cId="1147980676" sldId="321"/>
            <ac:spMk id="6" creationId="{0C8E7E60-8F1D-3584-96BC-AD9162C17EB8}"/>
          </ac:spMkLst>
        </pc:spChg>
        <pc:spChg chg="add del mod">
          <ac:chgData name="José Antonio Ureta Santacreu" userId="e36999d1-2b92-424a-9e8c-5fde0c5fbdd2" providerId="ADAL" clId="{B441C459-42E0-4465-B296-199851FC6E31}" dt="2024-09-11T11:12:14.001" v="3782" actId="6264"/>
          <ac:spMkLst>
            <pc:docMk/>
            <pc:sldMk cId="1147980676" sldId="321"/>
            <ac:spMk id="7" creationId="{DA38A431-3E40-1F48-E629-5D2823966AE4}"/>
          </ac:spMkLst>
        </pc:spChg>
        <pc:spChg chg="add del mod">
          <ac:chgData name="José Antonio Ureta Santacreu" userId="e36999d1-2b92-424a-9e8c-5fde0c5fbdd2" providerId="ADAL" clId="{B441C459-42E0-4465-B296-199851FC6E31}" dt="2024-09-11T11:12:14.001" v="3782" actId="6264"/>
          <ac:spMkLst>
            <pc:docMk/>
            <pc:sldMk cId="1147980676" sldId="321"/>
            <ac:spMk id="9" creationId="{AD9E3A90-5149-FC97-D71E-DBE3CB28F040}"/>
          </ac:spMkLst>
        </pc:spChg>
        <pc:spChg chg="add del mod">
          <ac:chgData name="José Antonio Ureta Santacreu" userId="e36999d1-2b92-424a-9e8c-5fde0c5fbdd2" providerId="ADAL" clId="{B441C459-42E0-4465-B296-199851FC6E31}" dt="2024-09-11T11:12:14.001" v="3782" actId="6264"/>
          <ac:spMkLst>
            <pc:docMk/>
            <pc:sldMk cId="1147980676" sldId="321"/>
            <ac:spMk id="10" creationId="{5B9C281C-B40F-C146-7755-7EAA8D4B3911}"/>
          </ac:spMkLst>
        </pc:spChg>
        <pc:spChg chg="add del mod">
          <ac:chgData name="José Antonio Ureta Santacreu" userId="e36999d1-2b92-424a-9e8c-5fde0c5fbdd2" providerId="ADAL" clId="{B441C459-42E0-4465-B296-199851FC6E31}" dt="2024-09-11T11:12:14.001" v="3782" actId="6264"/>
          <ac:spMkLst>
            <pc:docMk/>
            <pc:sldMk cId="1147980676" sldId="321"/>
            <ac:spMk id="11" creationId="{AAD505B3-B07A-5D9F-C4BC-F96382657F87}"/>
          </ac:spMkLst>
        </pc:spChg>
        <pc:spChg chg="add del mod">
          <ac:chgData name="José Antonio Ureta Santacreu" userId="e36999d1-2b92-424a-9e8c-5fde0c5fbdd2" providerId="ADAL" clId="{B441C459-42E0-4465-B296-199851FC6E31}" dt="2024-09-11T11:12:14.001" v="3782" actId="6264"/>
          <ac:spMkLst>
            <pc:docMk/>
            <pc:sldMk cId="1147980676" sldId="321"/>
            <ac:spMk id="12" creationId="{77307123-50CD-D97A-8628-86C6045AE68D}"/>
          </ac:spMkLst>
        </pc:spChg>
        <pc:graphicFrameChg chg="mod ord">
          <ac:chgData name="José Antonio Ureta Santacreu" userId="e36999d1-2b92-424a-9e8c-5fde0c5fbdd2" providerId="ADAL" clId="{B441C459-42E0-4465-B296-199851FC6E31}" dt="2024-09-12T15:52:06.335" v="5231" actId="2"/>
          <ac:graphicFrameMkLst>
            <pc:docMk/>
            <pc:sldMk cId="1147980676" sldId="321"/>
            <ac:graphicFrameMk id="8" creationId="{C89C612F-7FE2-97B7-1EF7-9C8974780620}"/>
          </ac:graphicFrameMkLst>
        </pc:graphicFrameChg>
        <pc:picChg chg="mod ord">
          <ac:chgData name="José Antonio Ureta Santacreu" userId="e36999d1-2b92-424a-9e8c-5fde0c5fbdd2" providerId="ADAL" clId="{B441C459-42E0-4465-B296-199851FC6E31}" dt="2024-09-11T11:12:14.001" v="3782" actId="6264"/>
          <ac:picMkLst>
            <pc:docMk/>
            <pc:sldMk cId="1147980676" sldId="321"/>
            <ac:picMk id="4098" creationId="{89D87DAC-D0BE-7AE6-3C58-01A1FBD8ED44}"/>
          </ac:picMkLst>
        </pc:picChg>
      </pc:sldChg>
      <pc:sldChg chg="addSp delSp modSp mod chgLayout">
        <pc:chgData name="José Antonio Ureta Santacreu" userId="e36999d1-2b92-424a-9e8c-5fde0c5fbdd2" providerId="ADAL" clId="{B441C459-42E0-4465-B296-199851FC6E31}" dt="2024-09-12T15:51:48.057" v="5211" actId="2"/>
        <pc:sldMkLst>
          <pc:docMk/>
          <pc:sldMk cId="2906390905" sldId="322"/>
        </pc:sldMkLst>
        <pc:spChg chg="mod ord">
          <ac:chgData name="José Antonio Ureta Santacreu" userId="e36999d1-2b92-424a-9e8c-5fde0c5fbdd2" providerId="ADAL" clId="{B441C459-42E0-4465-B296-199851FC6E31}" dt="2024-09-11T11:12:14.001" v="3782" actId="6264"/>
          <ac:spMkLst>
            <pc:docMk/>
            <pc:sldMk cId="2906390905" sldId="322"/>
            <ac:spMk id="2" creationId="{9B8419DC-8036-4401-03D2-EBBF429366C2}"/>
          </ac:spMkLst>
        </pc:spChg>
        <pc:spChg chg="add del mod">
          <ac:chgData name="José Antonio Ureta Santacreu" userId="e36999d1-2b92-424a-9e8c-5fde0c5fbdd2" providerId="ADAL" clId="{B441C459-42E0-4465-B296-199851FC6E31}" dt="2024-09-11T11:12:14.001" v="3782" actId="6264"/>
          <ac:spMkLst>
            <pc:docMk/>
            <pc:sldMk cId="2906390905" sldId="322"/>
            <ac:spMk id="3" creationId="{2E77123B-922F-E3B2-D77B-631AD07DCBD6}"/>
          </ac:spMkLst>
        </pc:spChg>
        <pc:spChg chg="mod ord">
          <ac:chgData name="José Antonio Ureta Santacreu" userId="e36999d1-2b92-424a-9e8c-5fde0c5fbdd2" providerId="ADAL" clId="{B441C459-42E0-4465-B296-199851FC6E31}" dt="2024-09-11T11:12:14.001" v="3782" actId="6264"/>
          <ac:spMkLst>
            <pc:docMk/>
            <pc:sldMk cId="2906390905" sldId="322"/>
            <ac:spMk id="4" creationId="{B69CAF81-5F3F-152C-A3BA-1C14AB46E4A5}"/>
          </ac:spMkLst>
        </pc:spChg>
        <pc:spChg chg="mod ord">
          <ac:chgData name="José Antonio Ureta Santacreu" userId="e36999d1-2b92-424a-9e8c-5fde0c5fbdd2" providerId="ADAL" clId="{B441C459-42E0-4465-B296-199851FC6E31}" dt="2024-09-11T11:12:14.001" v="3782" actId="6264"/>
          <ac:spMkLst>
            <pc:docMk/>
            <pc:sldMk cId="2906390905" sldId="322"/>
            <ac:spMk id="5" creationId="{451D4C0E-56D3-A164-44E1-F82CB51E5EE1}"/>
          </ac:spMkLst>
        </pc:spChg>
        <pc:spChg chg="mod ord">
          <ac:chgData name="José Antonio Ureta Santacreu" userId="e36999d1-2b92-424a-9e8c-5fde0c5fbdd2" providerId="ADAL" clId="{B441C459-42E0-4465-B296-199851FC6E31}" dt="2024-09-11T11:12:14.001" v="3782" actId="6264"/>
          <ac:spMkLst>
            <pc:docMk/>
            <pc:sldMk cId="2906390905" sldId="322"/>
            <ac:spMk id="6" creationId="{5395EC2B-711C-C642-36B0-487BD9B8674D}"/>
          </ac:spMkLst>
        </pc:spChg>
        <pc:spChg chg="add del mod">
          <ac:chgData name="José Antonio Ureta Santacreu" userId="e36999d1-2b92-424a-9e8c-5fde0c5fbdd2" providerId="ADAL" clId="{B441C459-42E0-4465-B296-199851FC6E31}" dt="2024-09-11T11:12:14.001" v="3782" actId="6264"/>
          <ac:spMkLst>
            <pc:docMk/>
            <pc:sldMk cId="2906390905" sldId="322"/>
            <ac:spMk id="8" creationId="{76E31FAC-024F-01A4-041E-1E8CE6492A07}"/>
          </ac:spMkLst>
        </pc:spChg>
        <pc:spChg chg="add del mod">
          <ac:chgData name="José Antonio Ureta Santacreu" userId="e36999d1-2b92-424a-9e8c-5fde0c5fbdd2" providerId="ADAL" clId="{B441C459-42E0-4465-B296-199851FC6E31}" dt="2024-09-11T11:12:14.001" v="3782" actId="6264"/>
          <ac:spMkLst>
            <pc:docMk/>
            <pc:sldMk cId="2906390905" sldId="322"/>
            <ac:spMk id="10" creationId="{F0B4C26C-EF78-742E-A5C0-8CA123403AF9}"/>
          </ac:spMkLst>
        </pc:spChg>
        <pc:spChg chg="add del mod">
          <ac:chgData name="José Antonio Ureta Santacreu" userId="e36999d1-2b92-424a-9e8c-5fde0c5fbdd2" providerId="ADAL" clId="{B441C459-42E0-4465-B296-199851FC6E31}" dt="2024-09-11T11:12:14.001" v="3782" actId="6264"/>
          <ac:spMkLst>
            <pc:docMk/>
            <pc:sldMk cId="2906390905" sldId="322"/>
            <ac:spMk id="11" creationId="{12ACA3B5-F093-4F9B-5DB0-B1523D634FDA}"/>
          </ac:spMkLst>
        </pc:spChg>
        <pc:spChg chg="add del mod">
          <ac:chgData name="José Antonio Ureta Santacreu" userId="e36999d1-2b92-424a-9e8c-5fde0c5fbdd2" providerId="ADAL" clId="{B441C459-42E0-4465-B296-199851FC6E31}" dt="2024-09-11T11:12:14.001" v="3782" actId="6264"/>
          <ac:spMkLst>
            <pc:docMk/>
            <pc:sldMk cId="2906390905" sldId="322"/>
            <ac:spMk id="12" creationId="{4D857173-0B40-FE78-BDEA-E9FC371E965B}"/>
          </ac:spMkLst>
        </pc:spChg>
        <pc:spChg chg="add del mod">
          <ac:chgData name="José Antonio Ureta Santacreu" userId="e36999d1-2b92-424a-9e8c-5fde0c5fbdd2" providerId="ADAL" clId="{B441C459-42E0-4465-B296-199851FC6E31}" dt="2024-09-11T11:12:14.001" v="3782" actId="6264"/>
          <ac:spMkLst>
            <pc:docMk/>
            <pc:sldMk cId="2906390905" sldId="322"/>
            <ac:spMk id="13" creationId="{7E669371-2447-AAA0-7E5B-423D474723EB}"/>
          </ac:spMkLst>
        </pc:spChg>
        <pc:graphicFrameChg chg="mod ord">
          <ac:chgData name="José Antonio Ureta Santacreu" userId="e36999d1-2b92-424a-9e8c-5fde0c5fbdd2" providerId="ADAL" clId="{B441C459-42E0-4465-B296-199851FC6E31}" dt="2024-09-12T15:51:48.057" v="5211" actId="2"/>
          <ac:graphicFrameMkLst>
            <pc:docMk/>
            <pc:sldMk cId="2906390905" sldId="322"/>
            <ac:graphicFrameMk id="7" creationId="{697ABEAC-0446-E4EA-FBAE-03E6EEB0914F}"/>
          </ac:graphicFrameMkLst>
        </pc:graphicFrameChg>
        <pc:picChg chg="mod ord">
          <ac:chgData name="José Antonio Ureta Santacreu" userId="e36999d1-2b92-424a-9e8c-5fde0c5fbdd2" providerId="ADAL" clId="{B441C459-42E0-4465-B296-199851FC6E31}" dt="2024-09-11T11:12:14.001" v="3782" actId="6264"/>
          <ac:picMkLst>
            <pc:docMk/>
            <pc:sldMk cId="2906390905" sldId="322"/>
            <ac:picMk id="9" creationId="{6E4303BC-90AC-5B5D-0BE7-69CC690A897F}"/>
          </ac:picMkLst>
        </pc:picChg>
      </pc:sldChg>
      <pc:sldChg chg="addSp delSp modSp mod ord modShow chgLayout">
        <pc:chgData name="José Antonio Ureta Santacreu" userId="e36999d1-2b92-424a-9e8c-5fde0c5fbdd2" providerId="ADAL" clId="{B441C459-42E0-4465-B296-199851FC6E31}" dt="2024-09-11T11:12:14.001" v="3782" actId="6264"/>
        <pc:sldMkLst>
          <pc:docMk/>
          <pc:sldMk cId="295480662" sldId="323"/>
        </pc:sldMkLst>
        <pc:spChg chg="mod ord">
          <ac:chgData name="José Antonio Ureta Santacreu" userId="e36999d1-2b92-424a-9e8c-5fde0c5fbdd2" providerId="ADAL" clId="{B441C459-42E0-4465-B296-199851FC6E31}" dt="2024-09-11T11:12:14.001" v="3782" actId="6264"/>
          <ac:spMkLst>
            <pc:docMk/>
            <pc:sldMk cId="295480662" sldId="323"/>
            <ac:spMk id="2" creationId="{0733F0F3-540B-43A7-910D-ADB8DC300EB3}"/>
          </ac:spMkLst>
        </pc:spChg>
        <pc:spChg chg="mod ord">
          <ac:chgData name="José Antonio Ureta Santacreu" userId="e36999d1-2b92-424a-9e8c-5fde0c5fbdd2" providerId="ADAL" clId="{B441C459-42E0-4465-B296-199851FC6E31}" dt="2024-09-11T11:12:14.001" v="3782" actId="6264"/>
          <ac:spMkLst>
            <pc:docMk/>
            <pc:sldMk cId="295480662" sldId="323"/>
            <ac:spMk id="3" creationId="{19808B11-5337-4F6F-9071-6A8F96B7DCAE}"/>
          </ac:spMkLst>
        </pc:spChg>
        <pc:spChg chg="mod ord">
          <ac:chgData name="José Antonio Ureta Santacreu" userId="e36999d1-2b92-424a-9e8c-5fde0c5fbdd2" providerId="ADAL" clId="{B441C459-42E0-4465-B296-199851FC6E31}" dt="2024-09-11T11:12:14.001" v="3782" actId="6264"/>
          <ac:spMkLst>
            <pc:docMk/>
            <pc:sldMk cId="295480662" sldId="323"/>
            <ac:spMk id="4" creationId="{3858CD8B-E29A-4237-AD9F-F027AD6C079C}"/>
          </ac:spMkLst>
        </pc:spChg>
        <pc:spChg chg="mod ord">
          <ac:chgData name="José Antonio Ureta Santacreu" userId="e36999d1-2b92-424a-9e8c-5fde0c5fbdd2" providerId="ADAL" clId="{B441C459-42E0-4465-B296-199851FC6E31}" dt="2024-09-11T11:12:14.001" v="3782" actId="6264"/>
          <ac:spMkLst>
            <pc:docMk/>
            <pc:sldMk cId="295480662" sldId="323"/>
            <ac:spMk id="6" creationId="{8565DEA1-C965-4FDD-A81E-70CAC772E56D}"/>
          </ac:spMkLst>
        </pc:spChg>
        <pc:spChg chg="mod ord">
          <ac:chgData name="José Antonio Ureta Santacreu" userId="e36999d1-2b92-424a-9e8c-5fde0c5fbdd2" providerId="ADAL" clId="{B441C459-42E0-4465-B296-199851FC6E31}" dt="2024-09-11T11:12:14.001" v="3782" actId="6264"/>
          <ac:spMkLst>
            <pc:docMk/>
            <pc:sldMk cId="295480662" sldId="323"/>
            <ac:spMk id="7" creationId="{01AD171B-C548-42EA-A112-D859C4CB0639}"/>
          </ac:spMkLst>
        </pc:spChg>
        <pc:spChg chg="add del mod">
          <ac:chgData name="José Antonio Ureta Santacreu" userId="e36999d1-2b92-424a-9e8c-5fde0c5fbdd2" providerId="ADAL" clId="{B441C459-42E0-4465-B296-199851FC6E31}" dt="2024-09-11T11:12:14.001" v="3782" actId="6264"/>
          <ac:spMkLst>
            <pc:docMk/>
            <pc:sldMk cId="295480662" sldId="323"/>
            <ac:spMk id="8" creationId="{C7CC6602-7056-9D4E-031C-D9858B27F305}"/>
          </ac:spMkLst>
        </pc:spChg>
        <pc:spChg chg="add del mod">
          <ac:chgData name="José Antonio Ureta Santacreu" userId="e36999d1-2b92-424a-9e8c-5fde0c5fbdd2" providerId="ADAL" clId="{B441C459-42E0-4465-B296-199851FC6E31}" dt="2024-09-11T11:12:14.001" v="3782" actId="6264"/>
          <ac:spMkLst>
            <pc:docMk/>
            <pc:sldMk cId="295480662" sldId="323"/>
            <ac:spMk id="9" creationId="{B43F6442-8AFD-0BA5-C587-D75E1B905424}"/>
          </ac:spMkLst>
        </pc:spChg>
        <pc:spChg chg="add del mod">
          <ac:chgData name="José Antonio Ureta Santacreu" userId="e36999d1-2b92-424a-9e8c-5fde0c5fbdd2" providerId="ADAL" clId="{B441C459-42E0-4465-B296-199851FC6E31}" dt="2024-09-11T11:12:14.001" v="3782" actId="6264"/>
          <ac:spMkLst>
            <pc:docMk/>
            <pc:sldMk cId="295480662" sldId="323"/>
            <ac:spMk id="10" creationId="{91C8FEF6-0DE3-F420-5408-5BE68E1E1041}"/>
          </ac:spMkLst>
        </pc:spChg>
        <pc:spChg chg="add del mod">
          <ac:chgData name="José Antonio Ureta Santacreu" userId="e36999d1-2b92-424a-9e8c-5fde0c5fbdd2" providerId="ADAL" clId="{B441C459-42E0-4465-B296-199851FC6E31}" dt="2024-09-11T11:12:14.001" v="3782" actId="6264"/>
          <ac:spMkLst>
            <pc:docMk/>
            <pc:sldMk cId="295480662" sldId="323"/>
            <ac:spMk id="11" creationId="{0FE31CAD-1CC6-BB5A-449F-CC3444589BCC}"/>
          </ac:spMkLst>
        </pc:spChg>
        <pc:spChg chg="add del mod">
          <ac:chgData name="José Antonio Ureta Santacreu" userId="e36999d1-2b92-424a-9e8c-5fde0c5fbdd2" providerId="ADAL" clId="{B441C459-42E0-4465-B296-199851FC6E31}" dt="2024-09-11T11:12:14.001" v="3782" actId="6264"/>
          <ac:spMkLst>
            <pc:docMk/>
            <pc:sldMk cId="295480662" sldId="323"/>
            <ac:spMk id="12" creationId="{461C9B47-3447-3C26-E246-BAD1F3B91EC3}"/>
          </ac:spMkLst>
        </pc:spChg>
        <pc:spChg chg="add del mod">
          <ac:chgData name="José Antonio Ureta Santacreu" userId="e36999d1-2b92-424a-9e8c-5fde0c5fbdd2" providerId="ADAL" clId="{B441C459-42E0-4465-B296-199851FC6E31}" dt="2024-09-11T11:12:14.001" v="3782" actId="6264"/>
          <ac:spMkLst>
            <pc:docMk/>
            <pc:sldMk cId="295480662" sldId="323"/>
            <ac:spMk id="13" creationId="{554EC801-63F3-CEF7-741F-98EAD846E407}"/>
          </ac:spMkLst>
        </pc:spChg>
        <pc:picChg chg="mod ord">
          <ac:chgData name="José Antonio Ureta Santacreu" userId="e36999d1-2b92-424a-9e8c-5fde0c5fbdd2" providerId="ADAL" clId="{B441C459-42E0-4465-B296-199851FC6E31}" dt="2024-09-11T11:12:14.001" v="3782" actId="6264"/>
          <ac:picMkLst>
            <pc:docMk/>
            <pc:sldMk cId="295480662" sldId="323"/>
            <ac:picMk id="5" creationId="{D93E3862-AD7D-4817-BEA2-71A188526659}"/>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0" sldId="359"/>
        </pc:sldMkLst>
        <pc:spChg chg="add mod ord">
          <ac:chgData name="José Antonio Ureta Santacreu" userId="e36999d1-2b92-424a-9e8c-5fde0c5fbdd2" providerId="ADAL" clId="{B441C459-42E0-4465-B296-199851FC6E31}" dt="2024-09-11T11:12:14.001" v="3782" actId="6264"/>
          <ac:spMkLst>
            <pc:docMk/>
            <pc:sldMk cId="0" sldId="359"/>
            <ac:spMk id="2" creationId="{4182365F-0FDC-B5E9-FDC7-E878963513F0}"/>
          </ac:spMkLst>
        </pc:spChg>
        <pc:spChg chg="add mod ord">
          <ac:chgData name="José Antonio Ureta Santacreu" userId="e36999d1-2b92-424a-9e8c-5fde0c5fbdd2" providerId="ADAL" clId="{B441C459-42E0-4465-B296-199851FC6E31}" dt="2024-09-11T11:12:14.001" v="3782" actId="6264"/>
          <ac:spMkLst>
            <pc:docMk/>
            <pc:sldMk cId="0" sldId="359"/>
            <ac:spMk id="3" creationId="{035A54D6-4D32-12C2-B22A-1C18A235554C}"/>
          </ac:spMkLst>
        </pc:spChg>
        <pc:spChg chg="add mod">
          <ac:chgData name="José Antonio Ureta Santacreu" userId="e36999d1-2b92-424a-9e8c-5fde0c5fbdd2" providerId="ADAL" clId="{B441C459-42E0-4465-B296-199851FC6E31}" dt="2024-09-10T14:17:31.064" v="3667" actId="1035"/>
          <ac:spMkLst>
            <pc:docMk/>
            <pc:sldMk cId="0" sldId="359"/>
            <ac:spMk id="4" creationId="{4D666222-9B4E-5BFC-B3D9-0914E1DE1518}"/>
          </ac:spMkLst>
        </pc:spChg>
        <pc:spChg chg="add del mod">
          <ac:chgData name="José Antonio Ureta Santacreu" userId="e36999d1-2b92-424a-9e8c-5fde0c5fbdd2" providerId="ADAL" clId="{B441C459-42E0-4465-B296-199851FC6E31}" dt="2024-09-11T11:12:14.001" v="3782" actId="6264"/>
          <ac:spMkLst>
            <pc:docMk/>
            <pc:sldMk cId="0" sldId="359"/>
            <ac:spMk id="5" creationId="{17303C7C-00D8-D9EF-5396-ED7D6BBF45A9}"/>
          </ac:spMkLst>
        </pc:spChg>
        <pc:spChg chg="add del mod">
          <ac:chgData name="José Antonio Ureta Santacreu" userId="e36999d1-2b92-424a-9e8c-5fde0c5fbdd2" providerId="ADAL" clId="{B441C459-42E0-4465-B296-199851FC6E31}" dt="2024-09-11T11:12:14.001" v="3782" actId="6264"/>
          <ac:spMkLst>
            <pc:docMk/>
            <pc:sldMk cId="0" sldId="359"/>
            <ac:spMk id="7" creationId="{54C5D975-CE21-4052-B372-460B2DD2C7FF}"/>
          </ac:spMkLst>
        </pc:spChg>
        <pc:spChg chg="add del mod">
          <ac:chgData name="José Antonio Ureta Santacreu" userId="e36999d1-2b92-424a-9e8c-5fde0c5fbdd2" providerId="ADAL" clId="{B441C459-42E0-4465-B296-199851FC6E31}" dt="2024-09-11T11:12:14.001" v="3782" actId="6264"/>
          <ac:spMkLst>
            <pc:docMk/>
            <pc:sldMk cId="0" sldId="359"/>
            <ac:spMk id="8" creationId="{FD2E6760-C7F0-FD3E-BB49-1D566BEBAD3E}"/>
          </ac:spMkLst>
        </pc:spChg>
        <pc:spChg chg="del mod ord">
          <ac:chgData name="José Antonio Ureta Santacreu" userId="e36999d1-2b92-424a-9e8c-5fde0c5fbdd2" providerId="ADAL" clId="{B441C459-42E0-4465-B296-199851FC6E31}" dt="2024-09-10T14:17:25.085" v="3654" actId="478"/>
          <ac:spMkLst>
            <pc:docMk/>
            <pc:sldMk cId="0" sldId="359"/>
            <ac:spMk id="43"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0" sldId="359"/>
            <ac:spMk id="48133" creationId="{00000000-0000-0000-0000-000000000000}"/>
          </ac:spMkLst>
        </pc:spChg>
        <pc:picChg chg="mod">
          <ac:chgData name="José Antonio Ureta Santacreu" userId="e36999d1-2b92-424a-9e8c-5fde0c5fbdd2" providerId="ADAL" clId="{B441C459-42E0-4465-B296-199851FC6E31}" dt="2024-09-10T14:16:05.707" v="3637" actId="14100"/>
          <ac:picMkLst>
            <pc:docMk/>
            <pc:sldMk cId="0" sldId="359"/>
            <ac:picMk id="6" creationId="{00000000-0000-0000-0000-000000000000}"/>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0" sldId="360"/>
        </pc:sldMkLst>
        <pc:spChg chg="add del mod">
          <ac:chgData name="José Antonio Ureta Santacreu" userId="e36999d1-2b92-424a-9e8c-5fde0c5fbdd2" providerId="ADAL" clId="{B441C459-42E0-4465-B296-199851FC6E31}" dt="2024-09-11T11:12:14.001" v="3782" actId="6264"/>
          <ac:spMkLst>
            <pc:docMk/>
            <pc:sldMk cId="0" sldId="360"/>
            <ac:spMk id="2" creationId="{9DE40AD7-B01E-D823-6B74-B583220ECD89}"/>
          </ac:spMkLst>
        </pc:spChg>
        <pc:spChg chg="add del mod">
          <ac:chgData name="José Antonio Ureta Santacreu" userId="e36999d1-2b92-424a-9e8c-5fde0c5fbdd2" providerId="ADAL" clId="{B441C459-42E0-4465-B296-199851FC6E31}" dt="2024-09-11T11:12:14.001" v="3782" actId="6264"/>
          <ac:spMkLst>
            <pc:docMk/>
            <pc:sldMk cId="0" sldId="360"/>
            <ac:spMk id="3" creationId="{19D9B168-EEDF-6046-EB2D-F7E7BFC1B5BE}"/>
          </ac:spMkLst>
        </pc:spChg>
        <pc:spChg chg="mod ord">
          <ac:chgData name="José Antonio Ureta Santacreu" userId="e36999d1-2b92-424a-9e8c-5fde0c5fbdd2" providerId="ADAL" clId="{B441C459-42E0-4465-B296-199851FC6E31}" dt="2024-09-11T11:12:14.001" v="3782" actId="6264"/>
          <ac:spMkLst>
            <pc:docMk/>
            <pc:sldMk cId="0" sldId="360"/>
            <ac:spMk id="43"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0" sldId="360"/>
            <ac:spMk id="48133" creationId="{00000000-0000-0000-0000-000000000000}"/>
          </ac:spMkLst>
        </pc:spChg>
      </pc:sldChg>
      <pc:sldChg chg="addSp delSp modSp add mod chgLayout">
        <pc:chgData name="José Antonio Ureta Santacreu" userId="e36999d1-2b92-424a-9e8c-5fde0c5fbdd2" providerId="ADAL" clId="{B441C459-42E0-4465-B296-199851FC6E31}" dt="2024-09-12T15:17:31.685" v="4744" actId="20577"/>
        <pc:sldMkLst>
          <pc:docMk/>
          <pc:sldMk cId="4134025413" sldId="361"/>
        </pc:sldMkLst>
        <pc:spChg chg="del mod ord">
          <ac:chgData name="José Antonio Ureta Santacreu" userId="e36999d1-2b92-424a-9e8c-5fde0c5fbdd2" providerId="ADAL" clId="{B441C459-42E0-4465-B296-199851FC6E31}" dt="2024-09-10T14:17:45.318" v="3670" actId="478"/>
          <ac:spMkLst>
            <pc:docMk/>
            <pc:sldMk cId="4134025413" sldId="361"/>
            <ac:spMk id="2" creationId="{00000000-0000-0000-0000-000000000000}"/>
          </ac:spMkLst>
        </pc:spChg>
        <pc:spChg chg="add del mod">
          <ac:chgData name="José Antonio Ureta Santacreu" userId="e36999d1-2b92-424a-9e8c-5fde0c5fbdd2" providerId="ADAL" clId="{B441C459-42E0-4465-B296-199851FC6E31}" dt="2024-09-12T11:38:29.310" v="4687" actId="6264"/>
          <ac:spMkLst>
            <pc:docMk/>
            <pc:sldMk cId="4134025413" sldId="361"/>
            <ac:spMk id="2" creationId="{46C7EB6D-4811-7A03-DCC3-7EE4A5F0F05D}"/>
          </ac:spMkLst>
        </pc:spChg>
        <pc:spChg chg="add del mod">
          <ac:chgData name="José Antonio Ureta Santacreu" userId="e36999d1-2b92-424a-9e8c-5fde0c5fbdd2" providerId="ADAL" clId="{B441C459-42E0-4465-B296-199851FC6E31}" dt="2024-09-11T11:12:14.001" v="3782" actId="6264"/>
          <ac:spMkLst>
            <pc:docMk/>
            <pc:sldMk cId="4134025413" sldId="361"/>
            <ac:spMk id="2" creationId="{D4FEA97A-EC58-CE04-9E2D-A93269E08DD6}"/>
          </ac:spMkLst>
        </pc:spChg>
        <pc:spChg chg="del mod ord">
          <ac:chgData name="José Antonio Ureta Santacreu" userId="e36999d1-2b92-424a-9e8c-5fde0c5fbdd2" providerId="ADAL" clId="{B441C459-42E0-4465-B296-199851FC6E31}" dt="2024-09-10T14:17:45.318" v="3670" actId="478"/>
          <ac:spMkLst>
            <pc:docMk/>
            <pc:sldMk cId="4134025413" sldId="361"/>
            <ac:spMk id="3" creationId="{00000000-0000-0000-0000-000000000000}"/>
          </ac:spMkLst>
        </pc:spChg>
        <pc:spChg chg="add del mod">
          <ac:chgData name="José Antonio Ureta Santacreu" userId="e36999d1-2b92-424a-9e8c-5fde0c5fbdd2" providerId="ADAL" clId="{B441C459-42E0-4465-B296-199851FC6E31}" dt="2024-09-12T11:38:29.310" v="4687" actId="6264"/>
          <ac:spMkLst>
            <pc:docMk/>
            <pc:sldMk cId="4134025413" sldId="361"/>
            <ac:spMk id="3" creationId="{2C6A69B8-6283-B907-5753-21A438106A6C}"/>
          </ac:spMkLst>
        </pc:spChg>
        <pc:spChg chg="add del mod">
          <ac:chgData name="José Antonio Ureta Santacreu" userId="e36999d1-2b92-424a-9e8c-5fde0c5fbdd2" providerId="ADAL" clId="{B441C459-42E0-4465-B296-199851FC6E31}" dt="2024-09-11T11:12:14.001" v="3782" actId="6264"/>
          <ac:spMkLst>
            <pc:docMk/>
            <pc:sldMk cId="4134025413" sldId="361"/>
            <ac:spMk id="3" creationId="{747272AE-561D-4D75-886C-84F4C0CDE1CF}"/>
          </ac:spMkLst>
        </pc:spChg>
        <pc:spChg chg="add mod ord">
          <ac:chgData name="José Antonio Ureta Santacreu" userId="e36999d1-2b92-424a-9e8c-5fde0c5fbdd2" providerId="ADAL" clId="{B441C459-42E0-4465-B296-199851FC6E31}" dt="2024-09-12T15:16:44.104" v="4736" actId="6264"/>
          <ac:spMkLst>
            <pc:docMk/>
            <pc:sldMk cId="4134025413" sldId="361"/>
            <ac:spMk id="4" creationId="{07558876-6DE9-016C-F3B2-DF94041A1E2C}"/>
          </ac:spMkLst>
        </pc:spChg>
        <pc:spChg chg="add del mod ord">
          <ac:chgData name="José Antonio Ureta Santacreu" userId="e36999d1-2b92-424a-9e8c-5fde0c5fbdd2" providerId="ADAL" clId="{B441C459-42E0-4465-B296-199851FC6E31}" dt="2024-09-10T14:16:34.554" v="3646"/>
          <ac:spMkLst>
            <pc:docMk/>
            <pc:sldMk cId="4134025413" sldId="361"/>
            <ac:spMk id="5" creationId="{221CF946-AF1A-EACF-C5BA-2C00D8E878F2}"/>
          </ac:spMkLst>
        </pc:spChg>
        <pc:spChg chg="add del mod">
          <ac:chgData name="José Antonio Ureta Santacreu" userId="e36999d1-2b92-424a-9e8c-5fde0c5fbdd2" providerId="ADAL" clId="{B441C459-42E0-4465-B296-199851FC6E31}" dt="2024-09-12T11:38:29.310" v="4687" actId="6264"/>
          <ac:spMkLst>
            <pc:docMk/>
            <pc:sldMk cId="4134025413" sldId="361"/>
            <ac:spMk id="5" creationId="{25894AC3-CC3A-ADEE-A600-114137DC4B0C}"/>
          </ac:spMkLst>
        </pc:spChg>
        <pc:spChg chg="add del mod">
          <ac:chgData name="José Antonio Ureta Santacreu" userId="e36999d1-2b92-424a-9e8c-5fde0c5fbdd2" providerId="ADAL" clId="{B441C459-42E0-4465-B296-199851FC6E31}" dt="2024-09-11T11:12:14.001" v="3782" actId="6264"/>
          <ac:spMkLst>
            <pc:docMk/>
            <pc:sldMk cId="4134025413" sldId="361"/>
            <ac:spMk id="5" creationId="{CF7E3AAF-0107-12C7-3A41-F1F3A5E28582}"/>
          </ac:spMkLst>
        </pc:spChg>
        <pc:spChg chg="add del mod">
          <ac:chgData name="José Antonio Ureta Santacreu" userId="e36999d1-2b92-424a-9e8c-5fde0c5fbdd2" providerId="ADAL" clId="{B441C459-42E0-4465-B296-199851FC6E31}" dt="2024-09-10T14:16:39.283" v="3647" actId="6264"/>
          <ac:spMkLst>
            <pc:docMk/>
            <pc:sldMk cId="4134025413" sldId="361"/>
            <ac:spMk id="7" creationId="{5B6924E8-F579-74FA-86BE-C681B47F0E38}"/>
          </ac:spMkLst>
        </pc:spChg>
        <pc:spChg chg="add del mod">
          <ac:chgData name="José Antonio Ureta Santacreu" userId="e36999d1-2b92-424a-9e8c-5fde0c5fbdd2" providerId="ADAL" clId="{B441C459-42E0-4465-B296-199851FC6E31}" dt="2024-09-12T11:38:29.310" v="4687" actId="6264"/>
          <ac:spMkLst>
            <pc:docMk/>
            <pc:sldMk cId="4134025413" sldId="361"/>
            <ac:spMk id="7" creationId="{A7D2620E-0212-DE43-63B2-626B4D3DE370}"/>
          </ac:spMkLst>
        </pc:spChg>
        <pc:spChg chg="add del mod">
          <ac:chgData name="José Antonio Ureta Santacreu" userId="e36999d1-2b92-424a-9e8c-5fde0c5fbdd2" providerId="ADAL" clId="{B441C459-42E0-4465-B296-199851FC6E31}" dt="2024-09-11T11:12:14.001" v="3782" actId="6264"/>
          <ac:spMkLst>
            <pc:docMk/>
            <pc:sldMk cId="4134025413" sldId="361"/>
            <ac:spMk id="7" creationId="{DC9602FF-94AE-8C0D-0F87-C807EC2EBBF1}"/>
          </ac:spMkLst>
        </pc:spChg>
        <pc:spChg chg="del">
          <ac:chgData name="José Antonio Ureta Santacreu" userId="e36999d1-2b92-424a-9e8c-5fde0c5fbdd2" providerId="ADAL" clId="{B441C459-42E0-4465-B296-199851FC6E31}" dt="2024-09-10T14:16:56.861" v="3651" actId="478"/>
          <ac:spMkLst>
            <pc:docMk/>
            <pc:sldMk cId="4134025413" sldId="361"/>
            <ac:spMk id="8" creationId="{00000000-0000-0000-0000-000000000000}"/>
          </ac:spMkLst>
        </pc:spChg>
        <pc:spChg chg="add del mod">
          <ac:chgData name="José Antonio Ureta Santacreu" userId="e36999d1-2b92-424a-9e8c-5fde0c5fbdd2" providerId="ADAL" clId="{B441C459-42E0-4465-B296-199851FC6E31}" dt="2024-09-12T15:16:27.274" v="4734"/>
          <ac:spMkLst>
            <pc:docMk/>
            <pc:sldMk cId="4134025413" sldId="361"/>
            <ac:spMk id="9" creationId="{D723C75F-BB7B-4B2A-5EBA-DBA5C19A9BD6}"/>
          </ac:spMkLst>
        </pc:spChg>
        <pc:spChg chg="add del mod">
          <ac:chgData name="José Antonio Ureta Santacreu" userId="e36999d1-2b92-424a-9e8c-5fde0c5fbdd2" providerId="ADAL" clId="{B441C459-42E0-4465-B296-199851FC6E31}" dt="2024-09-10T14:16:39.283" v="3647" actId="6264"/>
          <ac:spMkLst>
            <pc:docMk/>
            <pc:sldMk cId="4134025413" sldId="361"/>
            <ac:spMk id="10" creationId="{B0A772A7-BEE5-B784-1EB4-B6D770409E9B}"/>
          </ac:spMkLst>
        </pc:spChg>
        <pc:spChg chg="del">
          <ac:chgData name="José Antonio Ureta Santacreu" userId="e36999d1-2b92-424a-9e8c-5fde0c5fbdd2" providerId="ADAL" clId="{B441C459-42E0-4465-B296-199851FC6E31}" dt="2024-09-10T14:16:21.186" v="3639" actId="478"/>
          <ac:spMkLst>
            <pc:docMk/>
            <pc:sldMk cId="4134025413" sldId="361"/>
            <ac:spMk id="11" creationId="{00000000-0000-0000-0000-000000000000}"/>
          </ac:spMkLst>
        </pc:spChg>
        <pc:spChg chg="add del mod">
          <ac:chgData name="José Antonio Ureta Santacreu" userId="e36999d1-2b92-424a-9e8c-5fde0c5fbdd2" providerId="ADAL" clId="{B441C459-42E0-4465-B296-199851FC6E31}" dt="2024-09-12T15:16:44.104" v="4736" actId="6264"/>
          <ac:spMkLst>
            <pc:docMk/>
            <pc:sldMk cId="4134025413" sldId="361"/>
            <ac:spMk id="11" creationId="{25A1CA77-9715-4699-E413-AA65DD05979B}"/>
          </ac:spMkLst>
        </pc:spChg>
        <pc:spChg chg="del mod">
          <ac:chgData name="José Antonio Ureta Santacreu" userId="e36999d1-2b92-424a-9e8c-5fde0c5fbdd2" providerId="ADAL" clId="{B441C459-42E0-4465-B296-199851FC6E31}" dt="2024-09-10T14:16:21.186" v="3641"/>
          <ac:spMkLst>
            <pc:docMk/>
            <pc:sldMk cId="4134025413" sldId="361"/>
            <ac:spMk id="12" creationId="{00000000-0000-0000-0000-000000000000}"/>
          </ac:spMkLst>
        </pc:spChg>
        <pc:spChg chg="add del mod">
          <ac:chgData name="José Antonio Ureta Santacreu" userId="e36999d1-2b92-424a-9e8c-5fde0c5fbdd2" providerId="ADAL" clId="{B441C459-42E0-4465-B296-199851FC6E31}" dt="2024-09-12T15:16:44.104" v="4736" actId="6264"/>
          <ac:spMkLst>
            <pc:docMk/>
            <pc:sldMk cId="4134025413" sldId="361"/>
            <ac:spMk id="12" creationId="{580A9A0A-E25C-22E2-CE84-43101641AF40}"/>
          </ac:spMkLst>
        </pc:spChg>
        <pc:spChg chg="add del mod">
          <ac:chgData name="José Antonio Ureta Santacreu" userId="e36999d1-2b92-424a-9e8c-5fde0c5fbdd2" providerId="ADAL" clId="{B441C459-42E0-4465-B296-199851FC6E31}" dt="2024-09-12T15:16:44.104" v="4736" actId="6264"/>
          <ac:spMkLst>
            <pc:docMk/>
            <pc:sldMk cId="4134025413" sldId="361"/>
            <ac:spMk id="13" creationId="{7734665B-3C70-5093-18B3-7E8C8A0607C1}"/>
          </ac:spMkLst>
        </pc:spChg>
        <pc:spChg chg="add del mod">
          <ac:chgData name="José Antonio Ureta Santacreu" userId="e36999d1-2b92-424a-9e8c-5fde0c5fbdd2" providerId="ADAL" clId="{B441C459-42E0-4465-B296-199851FC6E31}" dt="2024-09-10T14:16:39.283" v="3647" actId="6264"/>
          <ac:spMkLst>
            <pc:docMk/>
            <pc:sldMk cId="4134025413" sldId="361"/>
            <ac:spMk id="13" creationId="{C7E2F44E-EAA2-D0F6-2B98-55D84D8E1B2B}"/>
          </ac:spMkLst>
        </pc:spChg>
        <pc:spChg chg="add del mod">
          <ac:chgData name="José Antonio Ureta Santacreu" userId="e36999d1-2b92-424a-9e8c-5fde0c5fbdd2" providerId="ADAL" clId="{B441C459-42E0-4465-B296-199851FC6E31}" dt="2024-09-12T15:16:44.104" v="4736" actId="6264"/>
          <ac:spMkLst>
            <pc:docMk/>
            <pc:sldMk cId="4134025413" sldId="361"/>
            <ac:spMk id="14" creationId="{5DE2C5EC-35C7-3DD7-A119-9C8E78F200B4}"/>
          </ac:spMkLst>
        </pc:spChg>
        <pc:spChg chg="add del mod">
          <ac:chgData name="José Antonio Ureta Santacreu" userId="e36999d1-2b92-424a-9e8c-5fde0c5fbdd2" providerId="ADAL" clId="{B441C459-42E0-4465-B296-199851FC6E31}" dt="2024-09-10T14:16:39.283" v="3647" actId="6264"/>
          <ac:spMkLst>
            <pc:docMk/>
            <pc:sldMk cId="4134025413" sldId="361"/>
            <ac:spMk id="14" creationId="{B1A3E748-29E8-0900-D086-E3E16D9D61A9}"/>
          </ac:spMkLst>
        </pc:spChg>
        <pc:spChg chg="add mod ord">
          <ac:chgData name="José Antonio Ureta Santacreu" userId="e36999d1-2b92-424a-9e8c-5fde0c5fbdd2" providerId="ADAL" clId="{B441C459-42E0-4465-B296-199851FC6E31}" dt="2024-09-12T15:16:44.104" v="4736" actId="6264"/>
          <ac:spMkLst>
            <pc:docMk/>
            <pc:sldMk cId="4134025413" sldId="361"/>
            <ac:spMk id="15" creationId="{4217F0B5-81CD-7CFE-B63B-D3F6C4DAF613}"/>
          </ac:spMkLst>
        </pc:spChg>
        <pc:spChg chg="add mod ord">
          <ac:chgData name="José Antonio Ureta Santacreu" userId="e36999d1-2b92-424a-9e8c-5fde0c5fbdd2" providerId="ADAL" clId="{B441C459-42E0-4465-B296-199851FC6E31}" dt="2024-09-12T15:16:44.104" v="4736" actId="6264"/>
          <ac:spMkLst>
            <pc:docMk/>
            <pc:sldMk cId="4134025413" sldId="361"/>
            <ac:spMk id="16" creationId="{CE3BE68E-8442-CF97-8667-8CB18AA7CF6E}"/>
          </ac:spMkLst>
        </pc:spChg>
        <pc:spChg chg="add mod">
          <ac:chgData name="José Antonio Ureta Santacreu" userId="e36999d1-2b92-424a-9e8c-5fde0c5fbdd2" providerId="ADAL" clId="{B441C459-42E0-4465-B296-199851FC6E31}" dt="2024-09-10T14:17:46.094" v="3671"/>
          <ac:spMkLst>
            <pc:docMk/>
            <pc:sldMk cId="4134025413" sldId="361"/>
            <ac:spMk id="17" creationId="{AFFD2DF1-01D9-A3A2-B52C-208B847B3F78}"/>
          </ac:spMkLst>
        </pc:spChg>
        <pc:graphicFrameChg chg="add del mod ord modGraphic">
          <ac:chgData name="José Antonio Ureta Santacreu" userId="e36999d1-2b92-424a-9e8c-5fde0c5fbdd2" providerId="ADAL" clId="{B441C459-42E0-4465-B296-199851FC6E31}" dt="2024-09-12T15:16:02.368" v="4726" actId="478"/>
          <ac:graphicFrameMkLst>
            <pc:docMk/>
            <pc:sldMk cId="4134025413" sldId="361"/>
            <ac:graphicFrameMk id="6" creationId="{00000000-0000-0000-0000-000000000000}"/>
          </ac:graphicFrameMkLst>
        </pc:graphicFrameChg>
        <pc:graphicFrameChg chg="add mod ord modGraphic">
          <ac:chgData name="José Antonio Ureta Santacreu" userId="e36999d1-2b92-424a-9e8c-5fde0c5fbdd2" providerId="ADAL" clId="{B441C459-42E0-4465-B296-199851FC6E31}" dt="2024-09-12T15:17:31.685" v="4744" actId="20577"/>
          <ac:graphicFrameMkLst>
            <pc:docMk/>
            <pc:sldMk cId="4134025413" sldId="361"/>
            <ac:graphicFrameMk id="10" creationId="{818457E7-EBB1-5F88-48DF-3A5F4E9F849C}"/>
          </ac:graphicFrameMkLst>
        </pc:graphicFrameChg>
        <pc:graphicFrameChg chg="del">
          <ac:chgData name="José Antonio Ureta Santacreu" userId="e36999d1-2b92-424a-9e8c-5fde0c5fbdd2" providerId="ADAL" clId="{B441C459-42E0-4465-B296-199851FC6E31}" dt="2024-09-10T14:16:32.804" v="3645" actId="21"/>
          <ac:graphicFrameMkLst>
            <pc:docMk/>
            <pc:sldMk cId="4134025413" sldId="361"/>
            <ac:graphicFrameMk id="423" creationId="{00000000-0000-0000-0000-000000000000}"/>
          </ac:graphicFrameMkLst>
        </pc:graphicFrameChg>
        <pc:picChg chg="del">
          <ac:chgData name="José Antonio Ureta Santacreu" userId="e36999d1-2b92-424a-9e8c-5fde0c5fbdd2" providerId="ADAL" clId="{B441C459-42E0-4465-B296-199851FC6E31}" dt="2024-09-10T14:17:00.674" v="3652" actId="478"/>
          <ac:picMkLst>
            <pc:docMk/>
            <pc:sldMk cId="4134025413" sldId="361"/>
            <ac:picMk id="9" creationId="{00000000-0000-0000-0000-000000000000}"/>
          </ac:picMkLst>
        </pc:picChg>
      </pc:sldChg>
      <pc:sldChg chg="addSp delSp modSp mod chgLayout">
        <pc:chgData name="José Antonio Ureta Santacreu" userId="e36999d1-2b92-424a-9e8c-5fde0c5fbdd2" providerId="ADAL" clId="{B441C459-42E0-4465-B296-199851FC6E31}" dt="2024-09-11T11:12:14.001" v="3782" actId="6264"/>
        <pc:sldMkLst>
          <pc:docMk/>
          <pc:sldMk cId="887891242" sldId="381"/>
        </pc:sldMkLst>
        <pc:spChg chg="add del mod">
          <ac:chgData name="José Antonio Ureta Santacreu" userId="e36999d1-2b92-424a-9e8c-5fde0c5fbdd2" providerId="ADAL" clId="{B441C459-42E0-4465-B296-199851FC6E31}" dt="2024-09-11T11:12:14.001" v="3782" actId="6264"/>
          <ac:spMkLst>
            <pc:docMk/>
            <pc:sldMk cId="887891242" sldId="381"/>
            <ac:spMk id="4" creationId="{F1A1FBA0-3495-C471-32F5-16FF1A19919B}"/>
          </ac:spMkLst>
        </pc:spChg>
        <pc:spChg chg="mod ord">
          <ac:chgData name="José Antonio Ureta Santacreu" userId="e36999d1-2b92-424a-9e8c-5fde0c5fbdd2" providerId="ADAL" clId="{B441C459-42E0-4465-B296-199851FC6E31}" dt="2024-09-11T11:12:14.001" v="3782" actId="6264"/>
          <ac:spMkLst>
            <pc:docMk/>
            <pc:sldMk cId="887891242" sldId="381"/>
            <ac:spMk id="5" creationId="{65A34608-7AB5-49E1-AA41-5815EF811DA4}"/>
          </ac:spMkLst>
        </pc:spChg>
        <pc:spChg chg="mod ord">
          <ac:chgData name="José Antonio Ureta Santacreu" userId="e36999d1-2b92-424a-9e8c-5fde0c5fbdd2" providerId="ADAL" clId="{B441C459-42E0-4465-B296-199851FC6E31}" dt="2024-09-11T11:12:14.001" v="3782" actId="6264"/>
          <ac:spMkLst>
            <pc:docMk/>
            <pc:sldMk cId="887891242" sldId="381"/>
            <ac:spMk id="7" creationId="{1564EFFC-CD73-46D7-B8FF-916CC593FC5B}"/>
          </ac:spMkLst>
        </pc:spChg>
        <pc:spChg chg="mod ord">
          <ac:chgData name="José Antonio Ureta Santacreu" userId="e36999d1-2b92-424a-9e8c-5fde0c5fbdd2" providerId="ADAL" clId="{B441C459-42E0-4465-B296-199851FC6E31}" dt="2024-09-11T11:12:14.001" v="3782" actId="6264"/>
          <ac:spMkLst>
            <pc:docMk/>
            <pc:sldMk cId="887891242" sldId="381"/>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887891242" sldId="381"/>
            <ac:spMk id="9" creationId="{77354FFA-E0B9-41E9-8DC2-93AC8444F1D7}"/>
          </ac:spMkLst>
        </pc:spChg>
        <pc:spChg chg="add del mod">
          <ac:chgData name="José Antonio Ureta Santacreu" userId="e36999d1-2b92-424a-9e8c-5fde0c5fbdd2" providerId="ADAL" clId="{B441C459-42E0-4465-B296-199851FC6E31}" dt="2024-09-11T11:12:14.001" v="3782" actId="6264"/>
          <ac:spMkLst>
            <pc:docMk/>
            <pc:sldMk cId="887891242" sldId="381"/>
            <ac:spMk id="11" creationId="{4F62F016-CAEB-8B0C-34BA-A812D21CC812}"/>
          </ac:spMkLst>
        </pc:spChg>
        <pc:spChg chg="add del mod">
          <ac:chgData name="José Antonio Ureta Santacreu" userId="e36999d1-2b92-424a-9e8c-5fde0c5fbdd2" providerId="ADAL" clId="{B441C459-42E0-4465-B296-199851FC6E31}" dt="2024-09-11T11:12:14.001" v="3782" actId="6264"/>
          <ac:spMkLst>
            <pc:docMk/>
            <pc:sldMk cId="887891242" sldId="381"/>
            <ac:spMk id="12" creationId="{639AAB21-FA39-3594-25DD-A33EA8F7318D}"/>
          </ac:spMkLst>
        </pc:spChg>
        <pc:spChg chg="add del mod">
          <ac:chgData name="José Antonio Ureta Santacreu" userId="e36999d1-2b92-424a-9e8c-5fde0c5fbdd2" providerId="ADAL" clId="{B441C459-42E0-4465-B296-199851FC6E31}" dt="2024-09-11T11:12:14.001" v="3782" actId="6264"/>
          <ac:spMkLst>
            <pc:docMk/>
            <pc:sldMk cId="887891242" sldId="381"/>
            <ac:spMk id="13" creationId="{52D4D984-FD8A-5ED4-5FFF-53C95BAFF2F3}"/>
          </ac:spMkLst>
        </pc:spChg>
        <pc:spChg chg="add del mod">
          <ac:chgData name="José Antonio Ureta Santacreu" userId="e36999d1-2b92-424a-9e8c-5fde0c5fbdd2" providerId="ADAL" clId="{B441C459-42E0-4465-B296-199851FC6E31}" dt="2024-09-11T11:12:14.001" v="3782" actId="6264"/>
          <ac:spMkLst>
            <pc:docMk/>
            <pc:sldMk cId="887891242" sldId="381"/>
            <ac:spMk id="14" creationId="{5E3E6AC8-AFA0-2746-8122-347815C5E9F1}"/>
          </ac:spMkLst>
        </pc:spChg>
        <pc:spChg chg="add del mod">
          <ac:chgData name="José Antonio Ureta Santacreu" userId="e36999d1-2b92-424a-9e8c-5fde0c5fbdd2" providerId="ADAL" clId="{B441C459-42E0-4465-B296-199851FC6E31}" dt="2024-09-11T11:12:14.001" v="3782" actId="6264"/>
          <ac:spMkLst>
            <pc:docMk/>
            <pc:sldMk cId="887891242" sldId="381"/>
            <ac:spMk id="15" creationId="{8772D285-CDA4-BE72-066A-E8B5DA74E318}"/>
          </ac:spMkLst>
        </pc:spChg>
        <pc:graphicFrameChg chg="mod ord">
          <ac:chgData name="José Antonio Ureta Santacreu" userId="e36999d1-2b92-424a-9e8c-5fde0c5fbdd2" providerId="ADAL" clId="{B441C459-42E0-4465-B296-199851FC6E31}" dt="2024-09-11T11:12:14.001" v="3782" actId="6264"/>
          <ac:graphicFrameMkLst>
            <pc:docMk/>
            <pc:sldMk cId="887891242" sldId="381"/>
            <ac:graphicFrameMk id="2" creationId="{91C26151-954F-4B59-8CA9-596C402D54B4}"/>
          </ac:graphicFrameMkLst>
        </pc:graphicFrameChg>
        <pc:picChg chg="mod ord">
          <ac:chgData name="José Antonio Ureta Santacreu" userId="e36999d1-2b92-424a-9e8c-5fde0c5fbdd2" providerId="ADAL" clId="{B441C459-42E0-4465-B296-199851FC6E31}" dt="2024-09-11T11:12:14.001" v="3782" actId="6264"/>
          <ac:picMkLst>
            <pc:docMk/>
            <pc:sldMk cId="887891242" sldId="381"/>
            <ac:picMk id="10" creationId="{C016EF45-41CE-4F7B-91F6-41482005917C}"/>
          </ac:picMkLst>
        </pc:picChg>
      </pc:sldChg>
      <pc:sldChg chg="addSp delSp modSp mod chgLayout">
        <pc:chgData name="José Antonio Ureta Santacreu" userId="e36999d1-2b92-424a-9e8c-5fde0c5fbdd2" providerId="ADAL" clId="{B441C459-42E0-4465-B296-199851FC6E31}" dt="2024-09-11T11:12:14.001" v="3782" actId="6264"/>
        <pc:sldMkLst>
          <pc:docMk/>
          <pc:sldMk cId="3769790689" sldId="385"/>
        </pc:sldMkLst>
        <pc:spChg chg="add del mod">
          <ac:chgData name="José Antonio Ureta Santacreu" userId="e36999d1-2b92-424a-9e8c-5fde0c5fbdd2" providerId="ADAL" clId="{B441C459-42E0-4465-B296-199851FC6E31}" dt="2024-09-11T11:12:14.001" v="3782" actId="6264"/>
          <ac:spMkLst>
            <pc:docMk/>
            <pc:sldMk cId="3769790689" sldId="385"/>
            <ac:spMk id="3" creationId="{F144B3A6-10D6-9DE6-FB44-3AD87AD693C1}"/>
          </ac:spMkLst>
        </pc:spChg>
        <pc:spChg chg="mod ord">
          <ac:chgData name="José Antonio Ureta Santacreu" userId="e36999d1-2b92-424a-9e8c-5fde0c5fbdd2" providerId="ADAL" clId="{B441C459-42E0-4465-B296-199851FC6E31}" dt="2024-09-11T11:12:14.001" v="3782" actId="6264"/>
          <ac:spMkLst>
            <pc:docMk/>
            <pc:sldMk cId="3769790689" sldId="385"/>
            <ac:spMk id="5" creationId="{A6958322-02CE-4DEC-9687-2DC9249296A2}"/>
          </ac:spMkLst>
        </pc:spChg>
        <pc:spChg chg="mod ord">
          <ac:chgData name="José Antonio Ureta Santacreu" userId="e36999d1-2b92-424a-9e8c-5fde0c5fbdd2" providerId="ADAL" clId="{B441C459-42E0-4465-B296-199851FC6E31}" dt="2024-09-11T11:12:14.001" v="3782" actId="6264"/>
          <ac:spMkLst>
            <pc:docMk/>
            <pc:sldMk cId="3769790689" sldId="385"/>
            <ac:spMk id="7" creationId="{E51C7129-0375-44D8-8DD9-1F2D5FBE0A18}"/>
          </ac:spMkLst>
        </pc:spChg>
        <pc:spChg chg="mod ord">
          <ac:chgData name="José Antonio Ureta Santacreu" userId="e36999d1-2b92-424a-9e8c-5fde0c5fbdd2" providerId="ADAL" clId="{B441C459-42E0-4465-B296-199851FC6E31}" dt="2024-09-11T11:12:14.001" v="3782" actId="6264"/>
          <ac:spMkLst>
            <pc:docMk/>
            <pc:sldMk cId="3769790689" sldId="385"/>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3769790689" sldId="385"/>
            <ac:spMk id="9" creationId="{6C2D06DF-8D4F-4053-8519-4CA258D1DE7F}"/>
          </ac:spMkLst>
        </pc:spChg>
        <pc:spChg chg="add del mod">
          <ac:chgData name="José Antonio Ureta Santacreu" userId="e36999d1-2b92-424a-9e8c-5fde0c5fbdd2" providerId="ADAL" clId="{B441C459-42E0-4465-B296-199851FC6E31}" dt="2024-09-11T11:12:14.001" v="3782" actId="6264"/>
          <ac:spMkLst>
            <pc:docMk/>
            <pc:sldMk cId="3769790689" sldId="385"/>
            <ac:spMk id="10" creationId="{0152669A-DFB3-9A5D-FE81-75D03611F50C}"/>
          </ac:spMkLst>
        </pc:spChg>
        <pc:spChg chg="add del mod">
          <ac:chgData name="José Antonio Ureta Santacreu" userId="e36999d1-2b92-424a-9e8c-5fde0c5fbdd2" providerId="ADAL" clId="{B441C459-42E0-4465-B296-199851FC6E31}" dt="2024-09-11T11:12:14.001" v="3782" actId="6264"/>
          <ac:spMkLst>
            <pc:docMk/>
            <pc:sldMk cId="3769790689" sldId="385"/>
            <ac:spMk id="11" creationId="{CF732C17-5D60-A720-C225-5AEDE8AB4AA0}"/>
          </ac:spMkLst>
        </pc:spChg>
        <pc:spChg chg="add del mod">
          <ac:chgData name="José Antonio Ureta Santacreu" userId="e36999d1-2b92-424a-9e8c-5fde0c5fbdd2" providerId="ADAL" clId="{B441C459-42E0-4465-B296-199851FC6E31}" dt="2024-09-11T11:12:14.001" v="3782" actId="6264"/>
          <ac:spMkLst>
            <pc:docMk/>
            <pc:sldMk cId="3769790689" sldId="385"/>
            <ac:spMk id="12" creationId="{9545D0B0-CDD6-43F2-D6FC-02855C54C02E}"/>
          </ac:spMkLst>
        </pc:spChg>
      </pc:sldChg>
      <pc:sldChg chg="addSp delSp modSp mod modAnim chgLayout">
        <pc:chgData name="José Antonio Ureta Santacreu" userId="e36999d1-2b92-424a-9e8c-5fde0c5fbdd2" providerId="ADAL" clId="{B441C459-42E0-4465-B296-199851FC6E31}" dt="2024-09-12T11:06:02.672" v="4285"/>
        <pc:sldMkLst>
          <pc:docMk/>
          <pc:sldMk cId="3606209477" sldId="386"/>
        </pc:sldMkLst>
        <pc:spChg chg="mod topLvl">
          <ac:chgData name="José Antonio Ureta Santacreu" userId="e36999d1-2b92-424a-9e8c-5fde0c5fbdd2" providerId="ADAL" clId="{B441C459-42E0-4465-B296-199851FC6E31}" dt="2024-09-12T11:05:54.669" v="4284" actId="164"/>
          <ac:spMkLst>
            <pc:docMk/>
            <pc:sldMk cId="3606209477" sldId="386"/>
            <ac:spMk id="2" creationId="{00000000-0000-0000-0000-000000000000}"/>
          </ac:spMkLst>
        </pc:spChg>
        <pc:spChg chg="mod topLvl">
          <ac:chgData name="José Antonio Ureta Santacreu" userId="e36999d1-2b92-424a-9e8c-5fde0c5fbdd2" providerId="ADAL" clId="{B441C459-42E0-4465-B296-199851FC6E31}" dt="2024-09-12T11:05:54.669" v="4284" actId="164"/>
          <ac:spMkLst>
            <pc:docMk/>
            <pc:sldMk cId="3606209477" sldId="386"/>
            <ac:spMk id="3"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3606209477" sldId="386"/>
            <ac:spMk id="5" creationId="{33AE7BA6-1973-4AF4-83E3-70ADADDFDED9}"/>
          </ac:spMkLst>
        </pc:spChg>
        <pc:spChg chg="mod ord">
          <ac:chgData name="José Antonio Ureta Santacreu" userId="e36999d1-2b92-424a-9e8c-5fde0c5fbdd2" providerId="ADAL" clId="{B441C459-42E0-4465-B296-199851FC6E31}" dt="2024-09-11T11:12:14.001" v="3782" actId="6264"/>
          <ac:spMkLst>
            <pc:docMk/>
            <pc:sldMk cId="3606209477" sldId="386"/>
            <ac:spMk id="6" creationId="{138401C0-E6B5-4FF5-8DC3-23C85D6A70FD}"/>
          </ac:spMkLst>
        </pc:spChg>
        <pc:spChg chg="mod ord">
          <ac:chgData name="José Antonio Ureta Santacreu" userId="e36999d1-2b92-424a-9e8c-5fde0c5fbdd2" providerId="ADAL" clId="{B441C459-42E0-4465-B296-199851FC6E31}" dt="2024-09-12T10:37:26.713" v="3922" actId="27636"/>
          <ac:spMkLst>
            <pc:docMk/>
            <pc:sldMk cId="3606209477" sldId="386"/>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3606209477" sldId="386"/>
            <ac:spMk id="16" creationId="{B958C90D-D3DD-44FC-B23C-B5AF18C8A2CC}"/>
          </ac:spMkLst>
        </pc:spChg>
        <pc:spChg chg="add del mod">
          <ac:chgData name="José Antonio Ureta Santacreu" userId="e36999d1-2b92-424a-9e8c-5fde0c5fbdd2" providerId="ADAL" clId="{B441C459-42E0-4465-B296-199851FC6E31}" dt="2024-09-11T11:12:14.001" v="3782" actId="6264"/>
          <ac:spMkLst>
            <pc:docMk/>
            <pc:sldMk cId="3606209477" sldId="386"/>
            <ac:spMk id="18" creationId="{66B2D973-F8F0-7EC5-15B2-50544EA6FE8C}"/>
          </ac:spMkLst>
        </pc:spChg>
        <pc:spChg chg="add del mod">
          <ac:chgData name="José Antonio Ureta Santacreu" userId="e36999d1-2b92-424a-9e8c-5fde0c5fbdd2" providerId="ADAL" clId="{B441C459-42E0-4465-B296-199851FC6E31}" dt="2024-09-11T11:12:14.001" v="3782" actId="6264"/>
          <ac:spMkLst>
            <pc:docMk/>
            <pc:sldMk cId="3606209477" sldId="386"/>
            <ac:spMk id="19" creationId="{E6428731-BEF6-E08E-E419-0A223367BA9B}"/>
          </ac:spMkLst>
        </pc:spChg>
        <pc:spChg chg="add del mod">
          <ac:chgData name="José Antonio Ureta Santacreu" userId="e36999d1-2b92-424a-9e8c-5fde0c5fbdd2" providerId="ADAL" clId="{B441C459-42E0-4465-B296-199851FC6E31}" dt="2024-09-11T11:12:14.001" v="3782" actId="6264"/>
          <ac:spMkLst>
            <pc:docMk/>
            <pc:sldMk cId="3606209477" sldId="386"/>
            <ac:spMk id="20" creationId="{A9B0D5C4-D983-4E7F-562F-A6B066F1E521}"/>
          </ac:spMkLst>
        </pc:spChg>
        <pc:spChg chg="add del mod">
          <ac:chgData name="José Antonio Ureta Santacreu" userId="e36999d1-2b92-424a-9e8c-5fde0c5fbdd2" providerId="ADAL" clId="{B441C459-42E0-4465-B296-199851FC6E31}" dt="2024-09-11T11:12:14.001" v="3782" actId="6264"/>
          <ac:spMkLst>
            <pc:docMk/>
            <pc:sldMk cId="3606209477" sldId="386"/>
            <ac:spMk id="21" creationId="{346BD2A6-7742-64FF-01E2-A9480426CCE2}"/>
          </ac:spMkLst>
        </pc:spChg>
        <pc:grpChg chg="del">
          <ac:chgData name="José Antonio Ureta Santacreu" userId="e36999d1-2b92-424a-9e8c-5fde0c5fbdd2" providerId="ADAL" clId="{B441C459-42E0-4465-B296-199851FC6E31}" dt="2024-09-12T11:05:23.802" v="4282" actId="165"/>
          <ac:grpSpMkLst>
            <pc:docMk/>
            <pc:sldMk cId="3606209477" sldId="386"/>
            <ac:grpSpMk id="4" creationId="{00000000-0000-0000-0000-000000000000}"/>
          </ac:grpSpMkLst>
        </pc:grpChg>
        <pc:grpChg chg="add mod">
          <ac:chgData name="José Antonio Ureta Santacreu" userId="e36999d1-2b92-424a-9e8c-5fde0c5fbdd2" providerId="ADAL" clId="{B441C459-42E0-4465-B296-199851FC6E31}" dt="2024-09-12T11:05:54.669" v="4284" actId="164"/>
          <ac:grpSpMkLst>
            <pc:docMk/>
            <pc:sldMk cId="3606209477" sldId="386"/>
            <ac:grpSpMk id="18" creationId="{2F0B8418-1C82-B5BB-A1DD-8F760A8957B4}"/>
          </ac:grpSpMkLst>
        </pc:grpChg>
      </pc:sldChg>
      <pc:sldChg chg="addSp delSp modSp mod chgLayout">
        <pc:chgData name="José Antonio Ureta Santacreu" userId="e36999d1-2b92-424a-9e8c-5fde0c5fbdd2" providerId="ADAL" clId="{B441C459-42E0-4465-B296-199851FC6E31}" dt="2024-09-12T10:37:26.996" v="3932" actId="27636"/>
        <pc:sldMkLst>
          <pc:docMk/>
          <pc:sldMk cId="243380701" sldId="388"/>
        </pc:sldMkLst>
        <pc:spChg chg="mod ord">
          <ac:chgData name="José Antonio Ureta Santacreu" userId="e36999d1-2b92-424a-9e8c-5fde0c5fbdd2" providerId="ADAL" clId="{B441C459-42E0-4465-B296-199851FC6E31}" dt="2024-09-11T11:12:14.001" v="3782" actId="6264"/>
          <ac:spMkLst>
            <pc:docMk/>
            <pc:sldMk cId="243380701" sldId="388"/>
            <ac:spMk id="2" creationId="{35102012-1844-434B-9083-772D2F007A2F}"/>
          </ac:spMkLst>
        </pc:spChg>
        <pc:spChg chg="mod ord">
          <ac:chgData name="José Antonio Ureta Santacreu" userId="e36999d1-2b92-424a-9e8c-5fde0c5fbdd2" providerId="ADAL" clId="{B441C459-42E0-4465-B296-199851FC6E31}" dt="2024-09-11T11:12:14.001" v="3782" actId="6264"/>
          <ac:spMkLst>
            <pc:docMk/>
            <pc:sldMk cId="243380701" sldId="388"/>
            <ac:spMk id="3" creationId="{973B5B1D-9158-411D-9025-1933C3D29EAA}"/>
          </ac:spMkLst>
        </pc:spChg>
        <pc:spChg chg="mod ord">
          <ac:chgData name="José Antonio Ureta Santacreu" userId="e36999d1-2b92-424a-9e8c-5fde0c5fbdd2" providerId="ADAL" clId="{B441C459-42E0-4465-B296-199851FC6E31}" dt="2024-09-11T11:12:14.001" v="3782" actId="6264"/>
          <ac:spMkLst>
            <pc:docMk/>
            <pc:sldMk cId="243380701" sldId="388"/>
            <ac:spMk id="4" creationId="{B5DDF7F7-3935-4512-8A1B-56DD7E8CC94B}"/>
          </ac:spMkLst>
        </pc:spChg>
        <pc:spChg chg="add del mod">
          <ac:chgData name="José Antonio Ureta Santacreu" userId="e36999d1-2b92-424a-9e8c-5fde0c5fbdd2" providerId="ADAL" clId="{B441C459-42E0-4465-B296-199851FC6E31}" dt="2024-09-11T11:12:14.001" v="3782" actId="6264"/>
          <ac:spMkLst>
            <pc:docMk/>
            <pc:sldMk cId="243380701" sldId="388"/>
            <ac:spMk id="5" creationId="{732D9AF6-52BA-BFCE-8A6C-24F85AEDF214}"/>
          </ac:spMkLst>
        </pc:spChg>
        <pc:spChg chg="add del mod">
          <ac:chgData name="José Antonio Ureta Santacreu" userId="e36999d1-2b92-424a-9e8c-5fde0c5fbdd2" providerId="ADAL" clId="{B441C459-42E0-4465-B296-199851FC6E31}" dt="2024-09-11T11:12:14.001" v="3782" actId="6264"/>
          <ac:spMkLst>
            <pc:docMk/>
            <pc:sldMk cId="243380701" sldId="388"/>
            <ac:spMk id="6" creationId="{F6B465D1-0C7C-FFED-02F7-BC96BC51180A}"/>
          </ac:spMkLst>
        </pc:spChg>
        <pc:spChg chg="add del mod">
          <ac:chgData name="José Antonio Ureta Santacreu" userId="e36999d1-2b92-424a-9e8c-5fde0c5fbdd2" providerId="ADAL" clId="{B441C459-42E0-4465-B296-199851FC6E31}" dt="2024-09-11T11:12:14.001" v="3782" actId="6264"/>
          <ac:spMkLst>
            <pc:docMk/>
            <pc:sldMk cId="243380701" sldId="388"/>
            <ac:spMk id="7" creationId="{082595EA-9157-1390-E1CE-5070C6BF3FF0}"/>
          </ac:spMkLst>
        </pc:spChg>
        <pc:spChg chg="mod ord">
          <ac:chgData name="José Antonio Ureta Santacreu" userId="e36999d1-2b92-424a-9e8c-5fde0c5fbdd2" providerId="ADAL" clId="{B441C459-42E0-4465-B296-199851FC6E31}" dt="2024-09-12T10:37:26.996" v="3932" actId="27636"/>
          <ac:spMkLst>
            <pc:docMk/>
            <pc:sldMk cId="243380701" sldId="388"/>
            <ac:spMk id="8"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243380701" sldId="388"/>
            <ac:spMk id="9" creationId="{93C3D265-1CDA-EFC7-6806-55BCB1F4DE99}"/>
          </ac:spMkLst>
        </pc:spChg>
      </pc:sldChg>
      <pc:sldChg chg="addSp delSp modSp mod chgLayout">
        <pc:chgData name="José Antonio Ureta Santacreu" userId="e36999d1-2b92-424a-9e8c-5fde0c5fbdd2" providerId="ADAL" clId="{B441C459-42E0-4465-B296-199851FC6E31}" dt="2024-09-11T11:12:14.001" v="3782" actId="6264"/>
        <pc:sldMkLst>
          <pc:docMk/>
          <pc:sldMk cId="201637022" sldId="390"/>
        </pc:sldMkLst>
        <pc:spChg chg="add del mod">
          <ac:chgData name="José Antonio Ureta Santacreu" userId="e36999d1-2b92-424a-9e8c-5fde0c5fbdd2" providerId="ADAL" clId="{B441C459-42E0-4465-B296-199851FC6E31}" dt="2024-09-11T11:12:14.001" v="3782" actId="6264"/>
          <ac:spMkLst>
            <pc:docMk/>
            <pc:sldMk cId="201637022" sldId="390"/>
            <ac:spMk id="2" creationId="{F6AFA5E0-1887-750B-B4F0-9D376A0B9FB5}"/>
          </ac:spMkLst>
        </pc:spChg>
        <pc:spChg chg="mod ord">
          <ac:chgData name="José Antonio Ureta Santacreu" userId="e36999d1-2b92-424a-9e8c-5fde0c5fbdd2" providerId="ADAL" clId="{B441C459-42E0-4465-B296-199851FC6E31}" dt="2024-09-11T11:12:14.001" v="3782" actId="6264"/>
          <ac:spMkLst>
            <pc:docMk/>
            <pc:sldMk cId="201637022" sldId="390"/>
            <ac:spMk id="3" creationId="{4483E4EC-4CAB-F98B-7D92-5A6534B1E102}"/>
          </ac:spMkLst>
        </pc:spChg>
        <pc:spChg chg="add del mod">
          <ac:chgData name="José Antonio Ureta Santacreu" userId="e36999d1-2b92-424a-9e8c-5fde0c5fbdd2" providerId="ADAL" clId="{B441C459-42E0-4465-B296-199851FC6E31}" dt="2024-09-11T11:12:14.001" v="3782" actId="6264"/>
          <ac:spMkLst>
            <pc:docMk/>
            <pc:sldMk cId="201637022" sldId="390"/>
            <ac:spMk id="4" creationId="{BEA06906-FDC1-3391-56BA-E94E26F745AC}"/>
          </ac:spMkLst>
        </pc:spChg>
        <pc:spChg chg="add del mod">
          <ac:chgData name="José Antonio Ureta Santacreu" userId="e36999d1-2b92-424a-9e8c-5fde0c5fbdd2" providerId="ADAL" clId="{B441C459-42E0-4465-B296-199851FC6E31}" dt="2024-09-11T11:12:14.001" v="3782" actId="6264"/>
          <ac:spMkLst>
            <pc:docMk/>
            <pc:sldMk cId="201637022" sldId="390"/>
            <ac:spMk id="5" creationId="{645D8C87-B3F3-D422-BFE2-7E95408D58D8}"/>
          </ac:spMkLst>
        </pc:spChg>
        <pc:spChg chg="add del mod">
          <ac:chgData name="José Antonio Ureta Santacreu" userId="e36999d1-2b92-424a-9e8c-5fde0c5fbdd2" providerId="ADAL" clId="{B441C459-42E0-4465-B296-199851FC6E31}" dt="2024-09-11T11:12:14.001" v="3782" actId="6264"/>
          <ac:spMkLst>
            <pc:docMk/>
            <pc:sldMk cId="201637022" sldId="390"/>
            <ac:spMk id="6" creationId="{713743CC-AB94-8698-EDEB-869BDC81F0BC}"/>
          </ac:spMkLst>
        </pc:spChg>
        <pc:spChg chg="add del mod">
          <ac:chgData name="José Antonio Ureta Santacreu" userId="e36999d1-2b92-424a-9e8c-5fde0c5fbdd2" providerId="ADAL" clId="{B441C459-42E0-4465-B296-199851FC6E31}" dt="2024-09-11T11:12:14.001" v="3782" actId="6264"/>
          <ac:spMkLst>
            <pc:docMk/>
            <pc:sldMk cId="201637022" sldId="390"/>
            <ac:spMk id="7" creationId="{1BE30DE7-7B32-02A2-5F02-699BC8B91AB8}"/>
          </ac:spMkLst>
        </pc:spChg>
        <pc:spChg chg="mod ord">
          <ac:chgData name="José Antonio Ureta Santacreu" userId="e36999d1-2b92-424a-9e8c-5fde0c5fbdd2" providerId="ADAL" clId="{B441C459-42E0-4465-B296-199851FC6E31}" dt="2024-09-11T11:12:14.001" v="3782" actId="6264"/>
          <ac:spMkLst>
            <pc:docMk/>
            <pc:sldMk cId="201637022" sldId="390"/>
            <ac:spMk id="8" creationId="{DE928035-5417-9755-B4B1-E5CFC79874C5}"/>
          </ac:spMkLst>
        </pc:spChg>
        <pc:spChg chg="add del mod">
          <ac:chgData name="José Antonio Ureta Santacreu" userId="e36999d1-2b92-424a-9e8c-5fde0c5fbdd2" providerId="ADAL" clId="{B441C459-42E0-4465-B296-199851FC6E31}" dt="2024-09-11T11:12:14.001" v="3782" actId="6264"/>
          <ac:spMkLst>
            <pc:docMk/>
            <pc:sldMk cId="201637022" sldId="390"/>
            <ac:spMk id="9" creationId="{C0666947-7224-D1C4-01BE-DB51D1BF21B9}"/>
          </ac:spMkLst>
        </pc:spChg>
        <pc:spChg chg="mod ord">
          <ac:chgData name="José Antonio Ureta Santacreu" userId="e36999d1-2b92-424a-9e8c-5fde0c5fbdd2" providerId="ADAL" clId="{B441C459-42E0-4465-B296-199851FC6E31}" dt="2024-09-11T11:12:14.001" v="3782" actId="6264"/>
          <ac:spMkLst>
            <pc:docMk/>
            <pc:sldMk cId="201637022" sldId="390"/>
            <ac:spMk id="19" creationId="{E65210CF-C18C-8DA4-702B-27E6FFD4A7F3}"/>
          </ac:spMkLst>
        </pc:spChg>
        <pc:spChg chg="mod ord">
          <ac:chgData name="José Antonio Ureta Santacreu" userId="e36999d1-2b92-424a-9e8c-5fde0c5fbdd2" providerId="ADAL" clId="{B441C459-42E0-4465-B296-199851FC6E31}" dt="2024-09-11T11:12:14.001" v="3782" actId="6264"/>
          <ac:spMkLst>
            <pc:docMk/>
            <pc:sldMk cId="201637022" sldId="390"/>
            <ac:spMk id="21" creationId="{FBE9A9F0-5D82-5971-8FD2-1FCA27402730}"/>
          </ac:spMkLst>
        </pc:spChg>
        <pc:spChg chg="mod ord">
          <ac:chgData name="José Antonio Ureta Santacreu" userId="e36999d1-2b92-424a-9e8c-5fde0c5fbdd2" providerId="ADAL" clId="{B441C459-42E0-4465-B296-199851FC6E31}" dt="2024-09-11T11:12:14.001" v="3782" actId="6264"/>
          <ac:spMkLst>
            <pc:docMk/>
            <pc:sldMk cId="201637022" sldId="390"/>
            <ac:spMk id="23" creationId="{9962FCB5-3DAB-3C93-623D-390F5A1EE1B5}"/>
          </ac:spMkLst>
        </pc:spChg>
        <pc:picChg chg="mod ord">
          <ac:chgData name="José Antonio Ureta Santacreu" userId="e36999d1-2b92-424a-9e8c-5fde0c5fbdd2" providerId="ADAL" clId="{B441C459-42E0-4465-B296-199851FC6E31}" dt="2024-09-11T11:12:14.001" v="3782" actId="6264"/>
          <ac:picMkLst>
            <pc:docMk/>
            <pc:sldMk cId="201637022" sldId="390"/>
            <ac:picMk id="3074" creationId="{693D5965-A850-CAEB-93D0-CD4495A255B4}"/>
          </ac:picMkLst>
        </pc:picChg>
      </pc:sldChg>
      <pc:sldChg chg="addSp delSp modSp mod chgLayout">
        <pc:chgData name="José Antonio Ureta Santacreu" userId="e36999d1-2b92-424a-9e8c-5fde0c5fbdd2" providerId="ADAL" clId="{B441C459-42E0-4465-B296-199851FC6E31}" dt="2024-09-12T15:43:46.045" v="5148" actId="313"/>
        <pc:sldMkLst>
          <pc:docMk/>
          <pc:sldMk cId="639239425" sldId="391"/>
        </pc:sldMkLst>
        <pc:spChg chg="mod ord">
          <ac:chgData name="José Antonio Ureta Santacreu" userId="e36999d1-2b92-424a-9e8c-5fde0c5fbdd2" providerId="ADAL" clId="{B441C459-42E0-4465-B296-199851FC6E31}" dt="2024-09-11T11:12:14.001" v="3782" actId="6264"/>
          <ac:spMkLst>
            <pc:docMk/>
            <pc:sldMk cId="639239425" sldId="391"/>
            <ac:spMk id="2" creationId="{0EA2A7CF-3B5F-4773-892C-0D05B86DFAD7}"/>
          </ac:spMkLst>
        </pc:spChg>
        <pc:spChg chg="mod ord">
          <ac:chgData name="José Antonio Ureta Santacreu" userId="e36999d1-2b92-424a-9e8c-5fde0c5fbdd2" providerId="ADAL" clId="{B441C459-42E0-4465-B296-199851FC6E31}" dt="2024-09-11T11:12:14.001" v="3782" actId="6264"/>
          <ac:spMkLst>
            <pc:docMk/>
            <pc:sldMk cId="639239425" sldId="391"/>
            <ac:spMk id="3" creationId="{4ACFD77F-3031-4A39-A417-EB8235DAF52A}"/>
          </ac:spMkLst>
        </pc:spChg>
        <pc:spChg chg="mod ord">
          <ac:chgData name="José Antonio Ureta Santacreu" userId="e36999d1-2b92-424a-9e8c-5fde0c5fbdd2" providerId="ADAL" clId="{B441C459-42E0-4465-B296-199851FC6E31}" dt="2024-09-11T11:12:14.001" v="3782" actId="6264"/>
          <ac:spMkLst>
            <pc:docMk/>
            <pc:sldMk cId="639239425" sldId="391"/>
            <ac:spMk id="4" creationId="{B77D172B-D116-431D-99B8-7875015763AB}"/>
          </ac:spMkLst>
        </pc:spChg>
        <pc:spChg chg="add del mod">
          <ac:chgData name="José Antonio Ureta Santacreu" userId="e36999d1-2b92-424a-9e8c-5fde0c5fbdd2" providerId="ADAL" clId="{B441C459-42E0-4465-B296-199851FC6E31}" dt="2024-09-11T11:12:14.001" v="3782" actId="6264"/>
          <ac:spMkLst>
            <pc:docMk/>
            <pc:sldMk cId="639239425" sldId="391"/>
            <ac:spMk id="6" creationId="{4C1CC4BA-6658-4B38-8B32-BBC6AFF7622C}"/>
          </ac:spMkLst>
        </pc:spChg>
        <pc:spChg chg="mod ord">
          <ac:chgData name="José Antonio Ureta Santacreu" userId="e36999d1-2b92-424a-9e8c-5fde0c5fbdd2" providerId="ADAL" clId="{B441C459-42E0-4465-B296-199851FC6E31}" dt="2024-09-12T10:37:26.996" v="3931" actId="27636"/>
          <ac:spMkLst>
            <pc:docMk/>
            <pc:sldMk cId="639239425" sldId="391"/>
            <ac:spMk id="8" creationId="{00000000-0000-0000-0000-000000000000}"/>
          </ac:spMkLst>
        </pc:spChg>
        <pc:spChg chg="mod">
          <ac:chgData name="José Antonio Ureta Santacreu" userId="e36999d1-2b92-424a-9e8c-5fde0c5fbdd2" providerId="ADAL" clId="{B441C459-42E0-4465-B296-199851FC6E31}" dt="2024-09-12T15:43:46.045" v="5148" actId="313"/>
          <ac:spMkLst>
            <pc:docMk/>
            <pc:sldMk cId="639239425" sldId="391"/>
            <ac:spMk id="9" creationId="{8969605C-35B7-4856-903E-849909CE8743}"/>
          </ac:spMkLst>
        </pc:spChg>
        <pc:spChg chg="add del mod">
          <ac:chgData name="José Antonio Ureta Santacreu" userId="e36999d1-2b92-424a-9e8c-5fde0c5fbdd2" providerId="ADAL" clId="{B441C459-42E0-4465-B296-199851FC6E31}" dt="2024-09-11T11:12:14.001" v="3782" actId="6264"/>
          <ac:spMkLst>
            <pc:docMk/>
            <pc:sldMk cId="639239425" sldId="391"/>
            <ac:spMk id="11" creationId="{44F64507-FBC1-6F3C-8073-A1E0A46EBD08}"/>
          </ac:spMkLst>
        </pc:spChg>
        <pc:spChg chg="add del mod">
          <ac:chgData name="José Antonio Ureta Santacreu" userId="e36999d1-2b92-424a-9e8c-5fde0c5fbdd2" providerId="ADAL" clId="{B441C459-42E0-4465-B296-199851FC6E31}" dt="2024-09-11T11:12:14.001" v="3782" actId="6264"/>
          <ac:spMkLst>
            <pc:docMk/>
            <pc:sldMk cId="639239425" sldId="391"/>
            <ac:spMk id="12" creationId="{D4C5355B-AD7D-BEE5-9390-61C2BD71BABE}"/>
          </ac:spMkLst>
        </pc:spChg>
        <pc:spChg chg="mod">
          <ac:chgData name="José Antonio Ureta Santacreu" userId="e36999d1-2b92-424a-9e8c-5fde0c5fbdd2" providerId="ADAL" clId="{B441C459-42E0-4465-B296-199851FC6E31}" dt="2024-07-31T11:32:19.638" v="1473" actId="14100"/>
          <ac:spMkLst>
            <pc:docMk/>
            <pc:sldMk cId="639239425" sldId="391"/>
            <ac:spMk id="13" creationId="{65DBA956-6057-44CD-B2F3-208DEDF70C85}"/>
          </ac:spMkLst>
        </pc:spChg>
        <pc:spChg chg="add del mod">
          <ac:chgData name="José Antonio Ureta Santacreu" userId="e36999d1-2b92-424a-9e8c-5fde0c5fbdd2" providerId="ADAL" clId="{B441C459-42E0-4465-B296-199851FC6E31}" dt="2024-09-11T11:12:14.001" v="3782" actId="6264"/>
          <ac:spMkLst>
            <pc:docMk/>
            <pc:sldMk cId="639239425" sldId="391"/>
            <ac:spMk id="14" creationId="{63A9996E-C285-8490-D47C-C03C9ACC1303}"/>
          </ac:spMkLst>
        </pc:spChg>
        <pc:graphicFrameChg chg="mod">
          <ac:chgData name="José Antonio Ureta Santacreu" userId="e36999d1-2b92-424a-9e8c-5fde0c5fbdd2" providerId="ADAL" clId="{B441C459-42E0-4465-B296-199851FC6E31}" dt="2024-07-31T11:31:40.620" v="1455" actId="12269"/>
          <ac:graphicFrameMkLst>
            <pc:docMk/>
            <pc:sldMk cId="639239425" sldId="391"/>
            <ac:graphicFrameMk id="10" creationId="{3F1991C8-816E-4505-B773-AC2F1C8E6E01}"/>
          </ac:graphicFrameMkLst>
        </pc:graphicFrameChg>
        <pc:picChg chg="add del mod">
          <ac:chgData name="José Antonio Ureta Santacreu" userId="e36999d1-2b92-424a-9e8c-5fde0c5fbdd2" providerId="ADAL" clId="{B441C459-42E0-4465-B296-199851FC6E31}" dt="2024-09-12T15:28:48.798" v="4751" actId="478"/>
          <ac:picMkLst>
            <pc:docMk/>
            <pc:sldMk cId="639239425" sldId="391"/>
            <ac:picMk id="5" creationId="{6A674FCC-74AD-3546-957C-F7D69C441F35}"/>
          </ac:picMkLst>
        </pc:picChg>
        <pc:picChg chg="del">
          <ac:chgData name="José Antonio Ureta Santacreu" userId="e36999d1-2b92-424a-9e8c-5fde0c5fbdd2" providerId="ADAL" clId="{B441C459-42E0-4465-B296-199851FC6E31}" dt="2024-07-31T11:31:43.267" v="1456" actId="478"/>
          <ac:picMkLst>
            <pc:docMk/>
            <pc:sldMk cId="639239425" sldId="391"/>
            <ac:picMk id="12" creationId="{00000000-0000-0000-0000-000000000000}"/>
          </ac:picMkLst>
        </pc:picChg>
        <pc:picChg chg="add mod">
          <ac:chgData name="José Antonio Ureta Santacreu" userId="e36999d1-2b92-424a-9e8c-5fde0c5fbdd2" providerId="ADAL" clId="{B441C459-42E0-4465-B296-199851FC6E31}" dt="2024-09-12T15:29:15.552" v="4785" actId="1035"/>
          <ac:picMkLst>
            <pc:docMk/>
            <pc:sldMk cId="639239425" sldId="391"/>
            <ac:picMk id="3074" creationId="{33720FF4-FBCB-8BA5-DEE7-16156F3EE3BC}"/>
          </ac:picMkLst>
        </pc:picChg>
      </pc:sldChg>
      <pc:sldChg chg="addSp delSp modSp mod chgLayout">
        <pc:chgData name="José Antonio Ureta Santacreu" userId="e36999d1-2b92-424a-9e8c-5fde0c5fbdd2" providerId="ADAL" clId="{B441C459-42E0-4465-B296-199851FC6E31}" dt="2024-09-12T11:07:49.420" v="4327" actId="404"/>
        <pc:sldMkLst>
          <pc:docMk/>
          <pc:sldMk cId="1667298887" sldId="409"/>
        </pc:sldMkLst>
        <pc:spChg chg="mod ord">
          <ac:chgData name="José Antonio Ureta Santacreu" userId="e36999d1-2b92-424a-9e8c-5fde0c5fbdd2" providerId="ADAL" clId="{B441C459-42E0-4465-B296-199851FC6E31}" dt="2024-09-11T11:12:14.001" v="3782" actId="6264"/>
          <ac:spMkLst>
            <pc:docMk/>
            <pc:sldMk cId="1667298887" sldId="409"/>
            <ac:spMk id="3" creationId="{B7F08D84-FE24-4211-9DD9-853F6B8ED047}"/>
          </ac:spMkLst>
        </pc:spChg>
        <pc:spChg chg="mod">
          <ac:chgData name="José Antonio Ureta Santacreu" userId="e36999d1-2b92-424a-9e8c-5fde0c5fbdd2" providerId="ADAL" clId="{B441C459-42E0-4465-B296-199851FC6E31}" dt="2024-09-12T11:07:49.420" v="4327" actId="404"/>
          <ac:spMkLst>
            <pc:docMk/>
            <pc:sldMk cId="1667298887" sldId="409"/>
            <ac:spMk id="4" creationId="{675AF30E-028A-B838-E38F-FDA3DE16CD6F}"/>
          </ac:spMkLst>
        </pc:spChg>
        <pc:spChg chg="add del mod">
          <ac:chgData name="José Antonio Ureta Santacreu" userId="e36999d1-2b92-424a-9e8c-5fde0c5fbdd2" providerId="ADAL" clId="{B441C459-42E0-4465-B296-199851FC6E31}" dt="2024-09-11T11:12:14.001" v="3782" actId="6264"/>
          <ac:spMkLst>
            <pc:docMk/>
            <pc:sldMk cId="1667298887" sldId="409"/>
            <ac:spMk id="6" creationId="{B20E0715-7A6E-7CA2-9BE7-1F13901E9566}"/>
          </ac:spMkLst>
        </pc:spChg>
        <pc:spChg chg="mod ord">
          <ac:chgData name="José Antonio Ureta Santacreu" userId="e36999d1-2b92-424a-9e8c-5fde0c5fbdd2" providerId="ADAL" clId="{B441C459-42E0-4465-B296-199851FC6E31}" dt="2024-09-11T11:12:14.001" v="3782" actId="6264"/>
          <ac:spMkLst>
            <pc:docMk/>
            <pc:sldMk cId="1667298887" sldId="409"/>
            <ac:spMk id="7" creationId="{DF28F63D-860C-62F0-308E-E188657B1D46}"/>
          </ac:spMkLst>
        </pc:spChg>
        <pc:spChg chg="mod ord">
          <ac:chgData name="José Antonio Ureta Santacreu" userId="e36999d1-2b92-424a-9e8c-5fde0c5fbdd2" providerId="ADAL" clId="{B441C459-42E0-4465-B296-199851FC6E31}" dt="2024-09-11T11:12:14.001" v="3782" actId="6264"/>
          <ac:spMkLst>
            <pc:docMk/>
            <pc:sldMk cId="1667298887" sldId="409"/>
            <ac:spMk id="8" creationId="{9410A014-9FB7-7F4A-F933-337A113BC40C}"/>
          </ac:spMkLst>
        </pc:spChg>
        <pc:spChg chg="mod ord">
          <ac:chgData name="José Antonio Ureta Santacreu" userId="e36999d1-2b92-424a-9e8c-5fde0c5fbdd2" providerId="ADAL" clId="{B441C459-42E0-4465-B296-199851FC6E31}" dt="2024-09-11T11:12:14.001" v="3782" actId="6264"/>
          <ac:spMkLst>
            <pc:docMk/>
            <pc:sldMk cId="1667298887" sldId="409"/>
            <ac:spMk id="9" creationId="{FCA6E5B9-3407-E360-2E53-508701377863}"/>
          </ac:spMkLst>
        </pc:spChg>
        <pc:spChg chg="add del mod">
          <ac:chgData name="José Antonio Ureta Santacreu" userId="e36999d1-2b92-424a-9e8c-5fde0c5fbdd2" providerId="ADAL" clId="{B441C459-42E0-4465-B296-199851FC6E31}" dt="2024-09-11T11:12:14.001" v="3782" actId="6264"/>
          <ac:spMkLst>
            <pc:docMk/>
            <pc:sldMk cId="1667298887" sldId="409"/>
            <ac:spMk id="11" creationId="{91C01B67-F3AF-73E2-8D6A-8F5823E7588E}"/>
          </ac:spMkLst>
        </pc:spChg>
        <pc:spChg chg="add mod">
          <ac:chgData name="José Antonio Ureta Santacreu" userId="e36999d1-2b92-424a-9e8c-5fde0c5fbdd2" providerId="ADAL" clId="{B441C459-42E0-4465-B296-199851FC6E31}" dt="2024-09-12T11:07:29.923" v="4325" actId="113"/>
          <ac:spMkLst>
            <pc:docMk/>
            <pc:sldMk cId="1667298887" sldId="409"/>
            <ac:spMk id="11" creationId="{FA18EA4D-6C51-3D2D-04CD-28D6F4509CBA}"/>
          </ac:spMkLst>
        </pc:spChg>
        <pc:spChg chg="add del mod">
          <ac:chgData name="José Antonio Ureta Santacreu" userId="e36999d1-2b92-424a-9e8c-5fde0c5fbdd2" providerId="ADAL" clId="{B441C459-42E0-4465-B296-199851FC6E31}" dt="2024-09-11T11:12:14.001" v="3782" actId="6264"/>
          <ac:spMkLst>
            <pc:docMk/>
            <pc:sldMk cId="1667298887" sldId="409"/>
            <ac:spMk id="12" creationId="{70C17876-B07E-1C83-D482-05FEC1369EAB}"/>
          </ac:spMkLst>
        </pc:spChg>
        <pc:spChg chg="add del mod">
          <ac:chgData name="José Antonio Ureta Santacreu" userId="e36999d1-2b92-424a-9e8c-5fde0c5fbdd2" providerId="ADAL" clId="{B441C459-42E0-4465-B296-199851FC6E31}" dt="2024-09-11T11:12:14.001" v="3782" actId="6264"/>
          <ac:spMkLst>
            <pc:docMk/>
            <pc:sldMk cId="1667298887" sldId="409"/>
            <ac:spMk id="13" creationId="{607860AB-A504-CD05-DC35-9D6A0F0F5289}"/>
          </ac:spMkLst>
        </pc:spChg>
        <pc:graphicFrameChg chg="del mod">
          <ac:chgData name="José Antonio Ureta Santacreu" userId="e36999d1-2b92-424a-9e8c-5fde0c5fbdd2" providerId="ADAL" clId="{B441C459-42E0-4465-B296-199851FC6E31}" dt="2024-09-12T11:06:52.361" v="4290" actId="478"/>
          <ac:graphicFrameMkLst>
            <pc:docMk/>
            <pc:sldMk cId="1667298887" sldId="409"/>
            <ac:graphicFrameMk id="2" creationId="{FE446EA0-A81F-8014-7183-48771EC7E6EB}"/>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2896514759" sldId="410"/>
        </pc:sldMkLst>
        <pc:spChg chg="mod ord">
          <ac:chgData name="José Antonio Ureta Santacreu" userId="e36999d1-2b92-424a-9e8c-5fde0c5fbdd2" providerId="ADAL" clId="{B441C459-42E0-4465-B296-199851FC6E31}" dt="2024-09-11T11:12:14.001" v="3782" actId="6264"/>
          <ac:spMkLst>
            <pc:docMk/>
            <pc:sldMk cId="2896514759" sldId="410"/>
            <ac:spMk id="2" creationId="{8B9181B5-CA2E-2A59-6EC3-31666F1C157F}"/>
          </ac:spMkLst>
        </pc:spChg>
        <pc:spChg chg="mod ord">
          <ac:chgData name="José Antonio Ureta Santacreu" userId="e36999d1-2b92-424a-9e8c-5fde0c5fbdd2" providerId="ADAL" clId="{B441C459-42E0-4465-B296-199851FC6E31}" dt="2024-09-11T11:12:14.001" v="3782" actId="6264"/>
          <ac:spMkLst>
            <pc:docMk/>
            <pc:sldMk cId="2896514759" sldId="410"/>
            <ac:spMk id="3" creationId="{0BE69EE0-655F-9192-172A-3A46B5343F34}"/>
          </ac:spMkLst>
        </pc:spChg>
        <pc:spChg chg="mod ord">
          <ac:chgData name="José Antonio Ureta Santacreu" userId="e36999d1-2b92-424a-9e8c-5fde0c5fbdd2" providerId="ADAL" clId="{B441C459-42E0-4465-B296-199851FC6E31}" dt="2024-09-11T11:12:14.001" v="3782" actId="6264"/>
          <ac:spMkLst>
            <pc:docMk/>
            <pc:sldMk cId="2896514759" sldId="410"/>
            <ac:spMk id="4" creationId="{9046E9B3-AD1A-1267-F3B2-66D7712A45B8}"/>
          </ac:spMkLst>
        </pc:spChg>
        <pc:spChg chg="add del mod">
          <ac:chgData name="José Antonio Ureta Santacreu" userId="e36999d1-2b92-424a-9e8c-5fde0c5fbdd2" providerId="ADAL" clId="{B441C459-42E0-4465-B296-199851FC6E31}" dt="2024-09-11T11:12:14.001" v="3782" actId="6264"/>
          <ac:spMkLst>
            <pc:docMk/>
            <pc:sldMk cId="2896514759" sldId="410"/>
            <ac:spMk id="7" creationId="{062711BB-75D4-6BC0-B9E6-727047C0893F}"/>
          </ac:spMkLst>
        </pc:spChg>
        <pc:spChg chg="mod ord">
          <ac:chgData name="José Antonio Ureta Santacreu" userId="e36999d1-2b92-424a-9e8c-5fde0c5fbdd2" providerId="ADAL" clId="{B441C459-42E0-4465-B296-199851FC6E31}" dt="2024-09-11T11:12:14.001" v="3782" actId="6264"/>
          <ac:spMkLst>
            <pc:docMk/>
            <pc:sldMk cId="2896514759" sldId="410"/>
            <ac:spMk id="8" creationId="{74DF3388-29AC-9CC3-21BB-156702E85D0A}"/>
          </ac:spMkLst>
        </pc:spChg>
        <pc:spChg chg="add del mod">
          <ac:chgData name="José Antonio Ureta Santacreu" userId="e36999d1-2b92-424a-9e8c-5fde0c5fbdd2" providerId="ADAL" clId="{B441C459-42E0-4465-B296-199851FC6E31}" dt="2024-09-11T11:12:14.001" v="3782" actId="6264"/>
          <ac:spMkLst>
            <pc:docMk/>
            <pc:sldMk cId="2896514759" sldId="410"/>
            <ac:spMk id="9" creationId="{963ED14D-23EF-9002-0AFE-538DCB31CFF9}"/>
          </ac:spMkLst>
        </pc:spChg>
        <pc:spChg chg="add del mod">
          <ac:chgData name="José Antonio Ureta Santacreu" userId="e36999d1-2b92-424a-9e8c-5fde0c5fbdd2" providerId="ADAL" clId="{B441C459-42E0-4465-B296-199851FC6E31}" dt="2024-09-11T11:12:14.001" v="3782" actId="6264"/>
          <ac:spMkLst>
            <pc:docMk/>
            <pc:sldMk cId="2896514759" sldId="410"/>
            <ac:spMk id="15" creationId="{58BB6393-1DFB-685A-9A70-5DD7CF94EB29}"/>
          </ac:spMkLst>
        </pc:spChg>
        <pc:spChg chg="add del mod">
          <ac:chgData name="José Antonio Ureta Santacreu" userId="e36999d1-2b92-424a-9e8c-5fde0c5fbdd2" providerId="ADAL" clId="{B441C459-42E0-4465-B296-199851FC6E31}" dt="2024-09-11T11:12:14.001" v="3782" actId="6264"/>
          <ac:spMkLst>
            <pc:docMk/>
            <pc:sldMk cId="2896514759" sldId="410"/>
            <ac:spMk id="16" creationId="{6F1B49DC-6FDB-CD46-E608-FED1E7B85360}"/>
          </ac:spMkLst>
        </pc:spChg>
      </pc:sldChg>
      <pc:sldChg chg="addSp delSp modSp mod chgLayout">
        <pc:chgData name="José Antonio Ureta Santacreu" userId="e36999d1-2b92-424a-9e8c-5fde0c5fbdd2" providerId="ADAL" clId="{B441C459-42E0-4465-B296-199851FC6E31}" dt="2024-09-11T11:12:14.001" v="3782" actId="6264"/>
        <pc:sldMkLst>
          <pc:docMk/>
          <pc:sldMk cId="2191854077" sldId="416"/>
        </pc:sldMkLst>
        <pc:spChg chg="add del mod">
          <ac:chgData name="José Antonio Ureta Santacreu" userId="e36999d1-2b92-424a-9e8c-5fde0c5fbdd2" providerId="ADAL" clId="{B441C459-42E0-4465-B296-199851FC6E31}" dt="2024-09-11T11:12:14.001" v="3782" actId="6264"/>
          <ac:spMkLst>
            <pc:docMk/>
            <pc:sldMk cId="2191854077" sldId="416"/>
            <ac:spMk id="3" creationId="{7D28B3B8-31FE-7600-E512-0577E7F54543}"/>
          </ac:spMkLst>
        </pc:spChg>
        <pc:spChg chg="add del mod">
          <ac:chgData name="José Antonio Ureta Santacreu" userId="e36999d1-2b92-424a-9e8c-5fde0c5fbdd2" providerId="ADAL" clId="{B441C459-42E0-4465-B296-199851FC6E31}" dt="2024-09-11T11:12:14.001" v="3782" actId="6264"/>
          <ac:spMkLst>
            <pc:docMk/>
            <pc:sldMk cId="2191854077" sldId="416"/>
            <ac:spMk id="4" creationId="{ED51BECD-22F6-08A2-0FD0-A22C3DEDBA50}"/>
          </ac:spMkLst>
        </pc:spChg>
        <pc:spChg chg="add del mod">
          <ac:chgData name="José Antonio Ureta Santacreu" userId="e36999d1-2b92-424a-9e8c-5fde0c5fbdd2" providerId="ADAL" clId="{B441C459-42E0-4465-B296-199851FC6E31}" dt="2024-09-11T11:12:14.001" v="3782" actId="6264"/>
          <ac:spMkLst>
            <pc:docMk/>
            <pc:sldMk cId="2191854077" sldId="416"/>
            <ac:spMk id="5" creationId="{57E3E103-0CBC-6137-257F-866C32D872F1}"/>
          </ac:spMkLst>
        </pc:spChg>
        <pc:spChg chg="mod ord">
          <ac:chgData name="José Antonio Ureta Santacreu" userId="e36999d1-2b92-424a-9e8c-5fde0c5fbdd2" providerId="ADAL" clId="{B441C459-42E0-4465-B296-199851FC6E31}" dt="2024-09-11T11:12:14.001" v="3782" actId="6264"/>
          <ac:spMkLst>
            <pc:docMk/>
            <pc:sldMk cId="2191854077" sldId="416"/>
            <ac:spMk id="6" creationId="{963E0D11-E02D-441F-8C70-16B38EBDA67C}"/>
          </ac:spMkLst>
        </pc:spChg>
        <pc:spChg chg="mod ord">
          <ac:chgData name="José Antonio Ureta Santacreu" userId="e36999d1-2b92-424a-9e8c-5fde0c5fbdd2" providerId="ADAL" clId="{B441C459-42E0-4465-B296-199851FC6E31}" dt="2024-09-11T11:12:14.001" v="3782" actId="6264"/>
          <ac:spMkLst>
            <pc:docMk/>
            <pc:sldMk cId="2191854077" sldId="416"/>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2191854077" sldId="416"/>
            <ac:spMk id="9" creationId="{1BFFF039-4DDB-4D2F-9E80-F03A156014BC}"/>
          </ac:spMkLst>
        </pc:spChg>
        <pc:spChg chg="add del mod">
          <ac:chgData name="José Antonio Ureta Santacreu" userId="e36999d1-2b92-424a-9e8c-5fde0c5fbdd2" providerId="ADAL" clId="{B441C459-42E0-4465-B296-199851FC6E31}" dt="2024-09-11T11:12:14.001" v="3782" actId="6264"/>
          <ac:spMkLst>
            <pc:docMk/>
            <pc:sldMk cId="2191854077" sldId="416"/>
            <ac:spMk id="10" creationId="{16DFB7CF-37A1-E057-05C7-9618F2B3CAEB}"/>
          </ac:spMkLst>
        </pc:spChg>
        <pc:spChg chg="mod ord">
          <ac:chgData name="José Antonio Ureta Santacreu" userId="e36999d1-2b92-424a-9e8c-5fde0c5fbdd2" providerId="ADAL" clId="{B441C459-42E0-4465-B296-199851FC6E31}" dt="2024-09-11T11:12:14.001" v="3782" actId="6264"/>
          <ac:spMkLst>
            <pc:docMk/>
            <pc:sldMk cId="2191854077" sldId="416"/>
            <ac:spMk id="11" creationId="{E4B0B908-52CB-4A6D-ADCD-A8A07E5B288C}"/>
          </ac:spMkLst>
        </pc:spChg>
      </pc:sldChg>
      <pc:sldChg chg="addSp delSp modSp mod chgLayout">
        <pc:chgData name="José Antonio Ureta Santacreu" userId="e36999d1-2b92-424a-9e8c-5fde0c5fbdd2" providerId="ADAL" clId="{B441C459-42E0-4465-B296-199851FC6E31}" dt="2024-09-11T11:12:14.001" v="3782" actId="6264"/>
        <pc:sldMkLst>
          <pc:docMk/>
          <pc:sldMk cId="1894293921" sldId="417"/>
        </pc:sldMkLst>
        <pc:spChg chg="add del mod">
          <ac:chgData name="José Antonio Ureta Santacreu" userId="e36999d1-2b92-424a-9e8c-5fde0c5fbdd2" providerId="ADAL" clId="{B441C459-42E0-4465-B296-199851FC6E31}" dt="2024-09-11T11:12:14.001" v="3782" actId="6264"/>
          <ac:spMkLst>
            <pc:docMk/>
            <pc:sldMk cId="1894293921" sldId="417"/>
            <ac:spMk id="3" creationId="{76E06731-1DEA-AB65-5830-9C87B3AB0B84}"/>
          </ac:spMkLst>
        </pc:spChg>
        <pc:spChg chg="add del mod">
          <ac:chgData name="José Antonio Ureta Santacreu" userId="e36999d1-2b92-424a-9e8c-5fde0c5fbdd2" providerId="ADAL" clId="{B441C459-42E0-4465-B296-199851FC6E31}" dt="2024-09-11T11:12:14.001" v="3782" actId="6264"/>
          <ac:spMkLst>
            <pc:docMk/>
            <pc:sldMk cId="1894293921" sldId="417"/>
            <ac:spMk id="4" creationId="{41ABA5CA-C252-A123-A161-04866B024BE0}"/>
          </ac:spMkLst>
        </pc:spChg>
        <pc:spChg chg="add del mod">
          <ac:chgData name="José Antonio Ureta Santacreu" userId="e36999d1-2b92-424a-9e8c-5fde0c5fbdd2" providerId="ADAL" clId="{B441C459-42E0-4465-B296-199851FC6E31}" dt="2024-09-11T11:12:14.001" v="3782" actId="6264"/>
          <ac:spMkLst>
            <pc:docMk/>
            <pc:sldMk cId="1894293921" sldId="417"/>
            <ac:spMk id="6" creationId="{92CE9850-9E4A-E377-8DE3-70472EA245DD}"/>
          </ac:spMkLst>
        </pc:spChg>
        <pc:spChg chg="mod ord">
          <ac:chgData name="José Antonio Ureta Santacreu" userId="e36999d1-2b92-424a-9e8c-5fde0c5fbdd2" providerId="ADAL" clId="{B441C459-42E0-4465-B296-199851FC6E31}" dt="2024-09-11T11:12:14.001" v="3782" actId="6264"/>
          <ac:spMkLst>
            <pc:docMk/>
            <pc:sldMk cId="1894293921" sldId="417"/>
            <ac:spMk id="7" creationId="{4394B435-2442-4167-8323-6C194CC4A4D2}"/>
          </ac:spMkLst>
        </pc:spChg>
        <pc:spChg chg="mod ord">
          <ac:chgData name="José Antonio Ureta Santacreu" userId="e36999d1-2b92-424a-9e8c-5fde0c5fbdd2" providerId="ADAL" clId="{B441C459-42E0-4465-B296-199851FC6E31}" dt="2024-09-11T11:12:14.001" v="3782" actId="6264"/>
          <ac:spMkLst>
            <pc:docMk/>
            <pc:sldMk cId="1894293921" sldId="417"/>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1894293921" sldId="417"/>
            <ac:spMk id="9" creationId="{A77E2EC9-2FDC-4A3C-90ED-7892604B5227}"/>
          </ac:spMkLst>
        </pc:spChg>
        <pc:spChg chg="add del mod">
          <ac:chgData name="José Antonio Ureta Santacreu" userId="e36999d1-2b92-424a-9e8c-5fde0c5fbdd2" providerId="ADAL" clId="{B441C459-42E0-4465-B296-199851FC6E31}" dt="2024-09-11T11:12:14.001" v="3782" actId="6264"/>
          <ac:spMkLst>
            <pc:docMk/>
            <pc:sldMk cId="1894293921" sldId="417"/>
            <ac:spMk id="10" creationId="{350629A2-1949-3C9A-41CC-5C7E00DEAE8E}"/>
          </ac:spMkLst>
        </pc:spChg>
        <pc:spChg chg="mod ord">
          <ac:chgData name="José Antonio Ureta Santacreu" userId="e36999d1-2b92-424a-9e8c-5fde0c5fbdd2" providerId="ADAL" clId="{B441C459-42E0-4465-B296-199851FC6E31}" dt="2024-09-11T11:12:14.001" v="3782" actId="6264"/>
          <ac:spMkLst>
            <pc:docMk/>
            <pc:sldMk cId="1894293921" sldId="417"/>
            <ac:spMk id="11" creationId="{4D957D38-965C-4D80-9CBE-CE6615147C8E}"/>
          </ac:spMkLst>
        </pc:spChg>
      </pc:sldChg>
      <pc:sldChg chg="addSp delSp modSp mod chgLayout">
        <pc:chgData name="José Antonio Ureta Santacreu" userId="e36999d1-2b92-424a-9e8c-5fde0c5fbdd2" providerId="ADAL" clId="{B441C459-42E0-4465-B296-199851FC6E31}" dt="2024-09-11T11:12:14.001" v="3782" actId="6264"/>
        <pc:sldMkLst>
          <pc:docMk/>
          <pc:sldMk cId="2809468302" sldId="418"/>
        </pc:sldMkLst>
        <pc:spChg chg="add del mod">
          <ac:chgData name="José Antonio Ureta Santacreu" userId="e36999d1-2b92-424a-9e8c-5fde0c5fbdd2" providerId="ADAL" clId="{B441C459-42E0-4465-B296-199851FC6E31}" dt="2024-09-11T11:12:14.001" v="3782" actId="6264"/>
          <ac:spMkLst>
            <pc:docMk/>
            <pc:sldMk cId="2809468302" sldId="418"/>
            <ac:spMk id="3" creationId="{60B193FE-2A1B-C43D-F716-D0DDA4CEE749}"/>
          </ac:spMkLst>
        </pc:spChg>
        <pc:spChg chg="add del mod">
          <ac:chgData name="José Antonio Ureta Santacreu" userId="e36999d1-2b92-424a-9e8c-5fde0c5fbdd2" providerId="ADAL" clId="{B441C459-42E0-4465-B296-199851FC6E31}" dt="2024-09-11T11:12:14.001" v="3782" actId="6264"/>
          <ac:spMkLst>
            <pc:docMk/>
            <pc:sldMk cId="2809468302" sldId="418"/>
            <ac:spMk id="4" creationId="{34CC8842-C3D1-319E-5EF7-ED07084DE613}"/>
          </ac:spMkLst>
        </pc:spChg>
        <pc:spChg chg="add del mod">
          <ac:chgData name="José Antonio Ureta Santacreu" userId="e36999d1-2b92-424a-9e8c-5fde0c5fbdd2" providerId="ADAL" clId="{B441C459-42E0-4465-B296-199851FC6E31}" dt="2024-09-11T11:12:14.001" v="3782" actId="6264"/>
          <ac:spMkLst>
            <pc:docMk/>
            <pc:sldMk cId="2809468302" sldId="418"/>
            <ac:spMk id="5" creationId="{2A2B0F12-B9D0-2A52-DF33-7A1F151959B5}"/>
          </ac:spMkLst>
        </pc:spChg>
        <pc:spChg chg="mod ord">
          <ac:chgData name="José Antonio Ureta Santacreu" userId="e36999d1-2b92-424a-9e8c-5fde0c5fbdd2" providerId="ADAL" clId="{B441C459-42E0-4465-B296-199851FC6E31}" dt="2024-09-11T11:12:14.001" v="3782" actId="6264"/>
          <ac:spMkLst>
            <pc:docMk/>
            <pc:sldMk cId="2809468302" sldId="418"/>
            <ac:spMk id="7" creationId="{A9B8C704-C4BD-4476-8871-FF3A2425134C}"/>
          </ac:spMkLst>
        </pc:spChg>
        <pc:spChg chg="mod ord">
          <ac:chgData name="José Antonio Ureta Santacreu" userId="e36999d1-2b92-424a-9e8c-5fde0c5fbdd2" providerId="ADAL" clId="{B441C459-42E0-4465-B296-199851FC6E31}" dt="2024-09-11T11:12:14.001" v="3782" actId="6264"/>
          <ac:spMkLst>
            <pc:docMk/>
            <pc:sldMk cId="2809468302" sldId="418"/>
            <ac:spMk id="8" creationId="{00000000-0000-0000-0000-000000000000}"/>
          </ac:spMkLst>
        </pc:spChg>
        <pc:spChg chg="mod ord">
          <ac:chgData name="José Antonio Ureta Santacreu" userId="e36999d1-2b92-424a-9e8c-5fde0c5fbdd2" providerId="ADAL" clId="{B441C459-42E0-4465-B296-199851FC6E31}" dt="2024-09-11T11:12:14.001" v="3782" actId="6264"/>
          <ac:spMkLst>
            <pc:docMk/>
            <pc:sldMk cId="2809468302" sldId="418"/>
            <ac:spMk id="9" creationId="{0E439F19-5EC8-44FC-835E-0F2A127E279E}"/>
          </ac:spMkLst>
        </pc:spChg>
        <pc:spChg chg="mod ord">
          <ac:chgData name="José Antonio Ureta Santacreu" userId="e36999d1-2b92-424a-9e8c-5fde0c5fbdd2" providerId="ADAL" clId="{B441C459-42E0-4465-B296-199851FC6E31}" dt="2024-09-11T11:12:14.001" v="3782" actId="6264"/>
          <ac:spMkLst>
            <pc:docMk/>
            <pc:sldMk cId="2809468302" sldId="418"/>
            <ac:spMk id="10" creationId="{0CB92465-E8D6-4BAD-8766-467BDCF974B5}"/>
          </ac:spMkLst>
        </pc:spChg>
        <pc:spChg chg="add del mod">
          <ac:chgData name="José Antonio Ureta Santacreu" userId="e36999d1-2b92-424a-9e8c-5fde0c5fbdd2" providerId="ADAL" clId="{B441C459-42E0-4465-B296-199851FC6E31}" dt="2024-09-11T11:12:14.001" v="3782" actId="6264"/>
          <ac:spMkLst>
            <pc:docMk/>
            <pc:sldMk cId="2809468302" sldId="418"/>
            <ac:spMk id="11" creationId="{0552B71F-ADBD-6A44-62C2-2CB51B7C5D07}"/>
          </ac:spMkLst>
        </pc:spChg>
      </pc:sldChg>
      <pc:sldChg chg="addSp delSp modSp mod chgLayout">
        <pc:chgData name="José Antonio Ureta Santacreu" userId="e36999d1-2b92-424a-9e8c-5fde0c5fbdd2" providerId="ADAL" clId="{B441C459-42E0-4465-B296-199851FC6E31}" dt="2024-09-11T11:12:14.001" v="3782" actId="6264"/>
        <pc:sldMkLst>
          <pc:docMk/>
          <pc:sldMk cId="1740233982" sldId="661"/>
        </pc:sldMkLst>
        <pc:spChg chg="mod ord">
          <ac:chgData name="José Antonio Ureta Santacreu" userId="e36999d1-2b92-424a-9e8c-5fde0c5fbdd2" providerId="ADAL" clId="{B441C459-42E0-4465-B296-199851FC6E31}" dt="2024-09-11T11:12:14.001" v="3782" actId="6264"/>
          <ac:spMkLst>
            <pc:docMk/>
            <pc:sldMk cId="1740233982" sldId="661"/>
            <ac:spMk id="2" creationId="{1FE60CD7-04F5-4DC2-BA5A-08F80A034F6E}"/>
          </ac:spMkLst>
        </pc:spChg>
        <pc:spChg chg="mod ord">
          <ac:chgData name="José Antonio Ureta Santacreu" userId="e36999d1-2b92-424a-9e8c-5fde0c5fbdd2" providerId="ADAL" clId="{B441C459-42E0-4465-B296-199851FC6E31}" dt="2024-09-11T11:12:14.001" v="3782" actId="6264"/>
          <ac:spMkLst>
            <pc:docMk/>
            <pc:sldMk cId="1740233982" sldId="661"/>
            <ac:spMk id="3" creationId="{1D89C0E1-B45F-4B50-A5BC-B66F730E6BE4}"/>
          </ac:spMkLst>
        </pc:spChg>
        <pc:spChg chg="add del mod">
          <ac:chgData name="José Antonio Ureta Santacreu" userId="e36999d1-2b92-424a-9e8c-5fde0c5fbdd2" providerId="ADAL" clId="{B441C459-42E0-4465-B296-199851FC6E31}" dt="2024-09-11T11:12:14.001" v="3782" actId="6264"/>
          <ac:spMkLst>
            <pc:docMk/>
            <pc:sldMk cId="1740233982" sldId="661"/>
            <ac:spMk id="4" creationId="{0A1D5CF4-81AA-0CDD-1A6D-C4C5C9B217DC}"/>
          </ac:spMkLst>
        </pc:spChg>
        <pc:spChg chg="mod ord">
          <ac:chgData name="José Antonio Ureta Santacreu" userId="e36999d1-2b92-424a-9e8c-5fde0c5fbdd2" providerId="ADAL" clId="{B441C459-42E0-4465-B296-199851FC6E31}" dt="2024-09-11T11:12:14.001" v="3782" actId="6264"/>
          <ac:spMkLst>
            <pc:docMk/>
            <pc:sldMk cId="1740233982" sldId="661"/>
            <ac:spMk id="5" creationId="{DFF33A2C-6AF2-4018-A922-D37603292B06}"/>
          </ac:spMkLst>
        </pc:spChg>
        <pc:spChg chg="mod ord">
          <ac:chgData name="José Antonio Ureta Santacreu" userId="e36999d1-2b92-424a-9e8c-5fde0c5fbdd2" providerId="ADAL" clId="{B441C459-42E0-4465-B296-199851FC6E31}" dt="2024-09-11T11:12:14.001" v="3782" actId="6264"/>
          <ac:spMkLst>
            <pc:docMk/>
            <pc:sldMk cId="1740233982" sldId="661"/>
            <ac:spMk id="7"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1740233982" sldId="661"/>
            <ac:spMk id="8" creationId="{576710C6-E6FD-52E7-34BF-53FC92A79519}"/>
          </ac:spMkLst>
        </pc:spChg>
        <pc:spChg chg="add del mod">
          <ac:chgData name="José Antonio Ureta Santacreu" userId="e36999d1-2b92-424a-9e8c-5fde0c5fbdd2" providerId="ADAL" clId="{B441C459-42E0-4465-B296-199851FC6E31}" dt="2024-09-11T11:12:14.001" v="3782" actId="6264"/>
          <ac:spMkLst>
            <pc:docMk/>
            <pc:sldMk cId="1740233982" sldId="661"/>
            <ac:spMk id="9" creationId="{D079B915-E432-E8E0-CCBD-C87EB9D50C84}"/>
          </ac:spMkLst>
        </pc:spChg>
        <pc:spChg chg="add del mod">
          <ac:chgData name="José Antonio Ureta Santacreu" userId="e36999d1-2b92-424a-9e8c-5fde0c5fbdd2" providerId="ADAL" clId="{B441C459-42E0-4465-B296-199851FC6E31}" dt="2024-09-11T11:12:14.001" v="3782" actId="6264"/>
          <ac:spMkLst>
            <pc:docMk/>
            <pc:sldMk cId="1740233982" sldId="661"/>
            <ac:spMk id="10" creationId="{0154D383-D486-5DBF-052C-557B89CB2A08}"/>
          </ac:spMkLst>
        </pc:spChg>
      </pc:sldChg>
      <pc:sldChg chg="addSp delSp modSp mod chgLayout">
        <pc:chgData name="José Antonio Ureta Santacreu" userId="e36999d1-2b92-424a-9e8c-5fde0c5fbdd2" providerId="ADAL" clId="{B441C459-42E0-4465-B296-199851FC6E31}" dt="2024-09-11T11:12:14.001" v="3782" actId="6264"/>
        <pc:sldMkLst>
          <pc:docMk/>
          <pc:sldMk cId="28519167" sldId="676"/>
        </pc:sldMkLst>
        <pc:spChg chg="mod ord">
          <ac:chgData name="José Antonio Ureta Santacreu" userId="e36999d1-2b92-424a-9e8c-5fde0c5fbdd2" providerId="ADAL" clId="{B441C459-42E0-4465-B296-199851FC6E31}" dt="2024-09-11T11:12:14.001" v="3782" actId="6264"/>
          <ac:spMkLst>
            <pc:docMk/>
            <pc:sldMk cId="28519167" sldId="676"/>
            <ac:spMk id="2"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28519167" sldId="676"/>
            <ac:spMk id="4" creationId="{8D78B9A0-F752-3352-0929-4D4BC4950450}"/>
          </ac:spMkLst>
        </pc:spChg>
        <pc:spChg chg="add del mod">
          <ac:chgData name="José Antonio Ureta Santacreu" userId="e36999d1-2b92-424a-9e8c-5fde0c5fbdd2" providerId="ADAL" clId="{B441C459-42E0-4465-B296-199851FC6E31}" dt="2024-09-11T11:12:14.001" v="3782" actId="6264"/>
          <ac:spMkLst>
            <pc:docMk/>
            <pc:sldMk cId="28519167" sldId="676"/>
            <ac:spMk id="5" creationId="{BBBAB024-937D-ED1D-C521-10EEE75DF7DA}"/>
          </ac:spMkLst>
        </pc:spChg>
        <pc:spChg chg="add del mod">
          <ac:chgData name="José Antonio Ureta Santacreu" userId="e36999d1-2b92-424a-9e8c-5fde0c5fbdd2" providerId="ADAL" clId="{B441C459-42E0-4465-B296-199851FC6E31}" dt="2024-09-11T11:12:14.001" v="3782" actId="6264"/>
          <ac:spMkLst>
            <pc:docMk/>
            <pc:sldMk cId="28519167" sldId="676"/>
            <ac:spMk id="6" creationId="{D1D94F67-43A0-916C-FA4D-66690E0027ED}"/>
          </ac:spMkLst>
        </pc:spChg>
        <pc:spChg chg="add del mod">
          <ac:chgData name="José Antonio Ureta Santacreu" userId="e36999d1-2b92-424a-9e8c-5fde0c5fbdd2" providerId="ADAL" clId="{B441C459-42E0-4465-B296-199851FC6E31}" dt="2024-09-11T11:12:14.001" v="3782" actId="6264"/>
          <ac:spMkLst>
            <pc:docMk/>
            <pc:sldMk cId="28519167" sldId="676"/>
            <ac:spMk id="7" creationId="{7131F630-1B01-4558-CE13-9EBC28AEC293}"/>
          </ac:spMkLst>
        </pc:spChg>
        <pc:spChg chg="mod ord">
          <ac:chgData name="José Antonio Ureta Santacreu" userId="e36999d1-2b92-424a-9e8c-5fde0c5fbdd2" providerId="ADAL" clId="{B441C459-42E0-4465-B296-199851FC6E31}" dt="2024-09-11T11:12:14.001" v="3782" actId="6264"/>
          <ac:spMkLst>
            <pc:docMk/>
            <pc:sldMk cId="28519167" sldId="676"/>
            <ac:spMk id="10" creationId="{FF49AD06-5A97-4FC9-94A0-35DB939D9501}"/>
          </ac:spMkLst>
        </pc:spChg>
        <pc:spChg chg="mod ord">
          <ac:chgData name="José Antonio Ureta Santacreu" userId="e36999d1-2b92-424a-9e8c-5fde0c5fbdd2" providerId="ADAL" clId="{B441C459-42E0-4465-B296-199851FC6E31}" dt="2024-09-11T11:12:14.001" v="3782" actId="6264"/>
          <ac:spMkLst>
            <pc:docMk/>
            <pc:sldMk cId="28519167" sldId="676"/>
            <ac:spMk id="12" creationId="{79438565-69E1-4077-8F1B-FED3D6DC0D92}"/>
          </ac:spMkLst>
        </pc:spChg>
        <pc:spChg chg="mod ord">
          <ac:chgData name="José Antonio Ureta Santacreu" userId="e36999d1-2b92-424a-9e8c-5fde0c5fbdd2" providerId="ADAL" clId="{B441C459-42E0-4465-B296-199851FC6E31}" dt="2024-09-11T11:12:14.001" v="3782" actId="6264"/>
          <ac:spMkLst>
            <pc:docMk/>
            <pc:sldMk cId="28519167" sldId="676"/>
            <ac:spMk id="14" creationId="{5121F1A0-1725-4212-9BBB-4A6F3790CE64}"/>
          </ac:spMkLst>
        </pc:spChg>
      </pc:sldChg>
      <pc:sldChg chg="modSp">
        <pc:chgData name="José Antonio Ureta Santacreu" userId="e36999d1-2b92-424a-9e8c-5fde0c5fbdd2" providerId="ADAL" clId="{B441C459-42E0-4465-B296-199851FC6E31}" dt="2024-07-31T09:40:14.429" v="316" actId="113"/>
        <pc:sldMkLst>
          <pc:docMk/>
          <pc:sldMk cId="94141248" sldId="676"/>
        </pc:sldMkLst>
        <pc:graphicFrameChg chg="mod">
          <ac:chgData name="José Antonio Ureta Santacreu" userId="e36999d1-2b92-424a-9e8c-5fde0c5fbdd2" providerId="ADAL" clId="{B441C459-42E0-4465-B296-199851FC6E31}" dt="2024-07-31T09:40:14.429" v="316" actId="113"/>
          <ac:graphicFrameMkLst>
            <pc:docMk/>
            <pc:sldMk cId="94141248" sldId="676"/>
            <ac:graphicFrameMk id="3" creationId="{B961A8F4-5E87-4402-A860-F73B3634455A}"/>
          </ac:graphicFrameMkLst>
        </pc:graphicFrameChg>
      </pc:sldChg>
      <pc:sldChg chg="del">
        <pc:chgData name="José Antonio Ureta Santacreu" userId="e36999d1-2b92-424a-9e8c-5fde0c5fbdd2" providerId="ADAL" clId="{B441C459-42E0-4465-B296-199851FC6E31}" dt="2024-07-23T10:41:54.955" v="271" actId="2696"/>
        <pc:sldMkLst>
          <pc:docMk/>
          <pc:sldMk cId="392069016" sldId="676"/>
        </pc:sldMkLst>
      </pc:sldChg>
      <pc:sldChg chg="add">
        <pc:chgData name="José Antonio Ureta Santacreu" userId="e36999d1-2b92-424a-9e8c-5fde0c5fbdd2" providerId="ADAL" clId="{B441C459-42E0-4465-B296-199851FC6E31}" dt="2024-07-23T10:42:07.386" v="272"/>
        <pc:sldMkLst>
          <pc:docMk/>
          <pc:sldMk cId="1799475109" sldId="676"/>
        </pc:sldMkLst>
      </pc:sldChg>
      <pc:sldChg chg="addSp delSp modSp mod chgLayout">
        <pc:chgData name="José Antonio Ureta Santacreu" userId="e36999d1-2b92-424a-9e8c-5fde0c5fbdd2" providerId="ADAL" clId="{B441C459-42E0-4465-B296-199851FC6E31}" dt="2024-09-11T11:12:14.001" v="3782" actId="6264"/>
        <pc:sldMkLst>
          <pc:docMk/>
          <pc:sldMk cId="1998128338" sldId="677"/>
        </pc:sldMkLst>
        <pc:spChg chg="mod ord">
          <ac:chgData name="José Antonio Ureta Santacreu" userId="e36999d1-2b92-424a-9e8c-5fde0c5fbdd2" providerId="ADAL" clId="{B441C459-42E0-4465-B296-199851FC6E31}" dt="2024-09-11T11:12:14.001" v="3782" actId="6264"/>
          <ac:spMkLst>
            <pc:docMk/>
            <pc:sldMk cId="1998128338" sldId="677"/>
            <ac:spMk id="2" creationId="{0632C22F-4179-946F-D179-3FB66A15101A}"/>
          </ac:spMkLst>
        </pc:spChg>
        <pc:spChg chg="add del mod">
          <ac:chgData name="José Antonio Ureta Santacreu" userId="e36999d1-2b92-424a-9e8c-5fde0c5fbdd2" providerId="ADAL" clId="{B441C459-42E0-4465-B296-199851FC6E31}" dt="2024-09-11T11:12:14.001" v="3782" actId="6264"/>
          <ac:spMkLst>
            <pc:docMk/>
            <pc:sldMk cId="1998128338" sldId="677"/>
            <ac:spMk id="3" creationId="{65D61A2A-12C9-550F-4538-D1B806D3A8D0}"/>
          </ac:spMkLst>
        </pc:spChg>
        <pc:spChg chg="add del mod">
          <ac:chgData name="José Antonio Ureta Santacreu" userId="e36999d1-2b92-424a-9e8c-5fde0c5fbdd2" providerId="ADAL" clId="{B441C459-42E0-4465-B296-199851FC6E31}" dt="2024-09-11T11:12:14.001" v="3782" actId="6264"/>
          <ac:spMkLst>
            <pc:docMk/>
            <pc:sldMk cId="1998128338" sldId="677"/>
            <ac:spMk id="4" creationId="{6B10353C-6F78-A4B9-58E7-88DB4A2599BB}"/>
          </ac:spMkLst>
        </pc:spChg>
        <pc:spChg chg="add del mod">
          <ac:chgData name="José Antonio Ureta Santacreu" userId="e36999d1-2b92-424a-9e8c-5fde0c5fbdd2" providerId="ADAL" clId="{B441C459-42E0-4465-B296-199851FC6E31}" dt="2024-09-11T11:12:14.001" v="3782" actId="6264"/>
          <ac:spMkLst>
            <pc:docMk/>
            <pc:sldMk cId="1998128338" sldId="677"/>
            <ac:spMk id="5" creationId="{98D4B430-8B53-67FC-D08C-4CDFE422C965}"/>
          </ac:spMkLst>
        </pc:spChg>
        <pc:spChg chg="add del mod">
          <ac:chgData name="José Antonio Ureta Santacreu" userId="e36999d1-2b92-424a-9e8c-5fde0c5fbdd2" providerId="ADAL" clId="{B441C459-42E0-4465-B296-199851FC6E31}" dt="2024-09-11T11:12:14.001" v="3782" actId="6264"/>
          <ac:spMkLst>
            <pc:docMk/>
            <pc:sldMk cId="1998128338" sldId="677"/>
            <ac:spMk id="7" creationId="{FF5E6AA4-E158-11CA-E1D8-A6C1DFCE9905}"/>
          </ac:spMkLst>
        </pc:spChg>
        <pc:spChg chg="mod ord">
          <ac:chgData name="José Antonio Ureta Santacreu" userId="e36999d1-2b92-424a-9e8c-5fde0c5fbdd2" providerId="ADAL" clId="{B441C459-42E0-4465-B296-199851FC6E31}" dt="2024-09-11T11:12:14.001" v="3782" actId="6264"/>
          <ac:spMkLst>
            <pc:docMk/>
            <pc:sldMk cId="1998128338" sldId="677"/>
            <ac:spMk id="14" creationId="{7149A942-6E83-C2E9-D3AE-B1D20C9E8E9D}"/>
          </ac:spMkLst>
        </pc:spChg>
        <pc:spChg chg="mod ord">
          <ac:chgData name="José Antonio Ureta Santacreu" userId="e36999d1-2b92-424a-9e8c-5fde0c5fbdd2" providerId="ADAL" clId="{B441C459-42E0-4465-B296-199851FC6E31}" dt="2024-09-11T11:12:14.001" v="3782" actId="6264"/>
          <ac:spMkLst>
            <pc:docMk/>
            <pc:sldMk cId="1998128338" sldId="677"/>
            <ac:spMk id="15" creationId="{8082E34E-94A8-6C13-FB6C-099AC8FA0043}"/>
          </ac:spMkLst>
        </pc:spChg>
        <pc:spChg chg="mod ord">
          <ac:chgData name="José Antonio Ureta Santacreu" userId="e36999d1-2b92-424a-9e8c-5fde0c5fbdd2" providerId="ADAL" clId="{B441C459-42E0-4465-B296-199851FC6E31}" dt="2024-09-11T11:12:14.001" v="3782" actId="6264"/>
          <ac:spMkLst>
            <pc:docMk/>
            <pc:sldMk cId="1998128338" sldId="677"/>
            <ac:spMk id="16" creationId="{23DFB474-FDF7-F237-6F7A-11EAECE0FF1E}"/>
          </ac:spMkLst>
        </pc:spChg>
      </pc:sldChg>
      <pc:sldChg chg="addSp delSp modSp mod chgLayout">
        <pc:chgData name="José Antonio Ureta Santacreu" userId="e36999d1-2b92-424a-9e8c-5fde0c5fbdd2" providerId="ADAL" clId="{B441C459-42E0-4465-B296-199851FC6E31}" dt="2024-09-12T10:37:29.359" v="3934" actId="6549"/>
        <pc:sldMkLst>
          <pc:docMk/>
          <pc:sldMk cId="1772428257" sldId="678"/>
        </pc:sldMkLst>
        <pc:spChg chg="mod ord">
          <ac:chgData name="José Antonio Ureta Santacreu" userId="e36999d1-2b92-424a-9e8c-5fde0c5fbdd2" providerId="ADAL" clId="{B441C459-42E0-4465-B296-199851FC6E31}" dt="2024-09-12T10:37:11.870" v="3888" actId="14100"/>
          <ac:spMkLst>
            <pc:docMk/>
            <pc:sldMk cId="1772428257" sldId="678"/>
            <ac:spMk id="2" creationId="{44686A96-D441-46FD-FAA7-99ECA8E97D0B}"/>
          </ac:spMkLst>
        </pc:spChg>
        <pc:spChg chg="mod">
          <ac:chgData name="José Antonio Ureta Santacreu" userId="e36999d1-2b92-424a-9e8c-5fde0c5fbdd2" providerId="ADAL" clId="{B441C459-42E0-4465-B296-199851FC6E31}" dt="2024-09-12T10:37:29.359" v="3934" actId="6549"/>
          <ac:spMkLst>
            <pc:docMk/>
            <pc:sldMk cId="1772428257" sldId="678"/>
            <ac:spMk id="3" creationId="{8DB13E41-E569-7820-B474-1F37E060EE83}"/>
          </ac:spMkLst>
        </pc:spChg>
        <pc:spChg chg="add del mod">
          <ac:chgData name="José Antonio Ureta Santacreu" userId="e36999d1-2b92-424a-9e8c-5fde0c5fbdd2" providerId="ADAL" clId="{B441C459-42E0-4465-B296-199851FC6E31}" dt="2024-09-11T11:12:14.001" v="3782" actId="6264"/>
          <ac:spMkLst>
            <pc:docMk/>
            <pc:sldMk cId="1772428257" sldId="678"/>
            <ac:spMk id="4" creationId="{7C5C4569-0DCD-7E8B-A5D4-3D3A46967552}"/>
          </ac:spMkLst>
        </pc:spChg>
        <pc:spChg chg="add del mod">
          <ac:chgData name="José Antonio Ureta Santacreu" userId="e36999d1-2b92-424a-9e8c-5fde0c5fbdd2" providerId="ADAL" clId="{B441C459-42E0-4465-B296-199851FC6E31}" dt="2024-09-11T11:12:14.001" v="3782" actId="6264"/>
          <ac:spMkLst>
            <pc:docMk/>
            <pc:sldMk cId="1772428257" sldId="678"/>
            <ac:spMk id="5" creationId="{F9CA9B36-4F44-79F0-CB38-4AEDEF8FDA48}"/>
          </ac:spMkLst>
        </pc:spChg>
        <pc:spChg chg="add del mod">
          <ac:chgData name="José Antonio Ureta Santacreu" userId="e36999d1-2b92-424a-9e8c-5fde0c5fbdd2" providerId="ADAL" clId="{B441C459-42E0-4465-B296-199851FC6E31}" dt="2024-09-11T11:12:14.001" v="3782" actId="6264"/>
          <ac:spMkLst>
            <pc:docMk/>
            <pc:sldMk cId="1772428257" sldId="678"/>
            <ac:spMk id="6" creationId="{3539BB57-9BAC-4A27-E4A5-0756026B482A}"/>
          </ac:spMkLst>
        </pc:spChg>
        <pc:spChg chg="add del mod">
          <ac:chgData name="José Antonio Ureta Santacreu" userId="e36999d1-2b92-424a-9e8c-5fde0c5fbdd2" providerId="ADAL" clId="{B441C459-42E0-4465-B296-199851FC6E31}" dt="2024-09-11T11:12:14.001" v="3782" actId="6264"/>
          <ac:spMkLst>
            <pc:docMk/>
            <pc:sldMk cId="1772428257" sldId="678"/>
            <ac:spMk id="7" creationId="{DAC3B230-1907-27F4-782C-504855F6B984}"/>
          </ac:spMkLst>
        </pc:spChg>
        <pc:spChg chg="mod ord">
          <ac:chgData name="José Antonio Ureta Santacreu" userId="e36999d1-2b92-424a-9e8c-5fde0c5fbdd2" providerId="ADAL" clId="{B441C459-42E0-4465-B296-199851FC6E31}" dt="2024-09-11T11:12:14.001" v="3782" actId="6264"/>
          <ac:spMkLst>
            <pc:docMk/>
            <pc:sldMk cId="1772428257" sldId="678"/>
            <ac:spMk id="9" creationId="{7EA8EBE5-2178-F21D-657A-E36295BE3ABB}"/>
          </ac:spMkLst>
        </pc:spChg>
        <pc:spChg chg="mod ord">
          <ac:chgData name="José Antonio Ureta Santacreu" userId="e36999d1-2b92-424a-9e8c-5fde0c5fbdd2" providerId="ADAL" clId="{B441C459-42E0-4465-B296-199851FC6E31}" dt="2024-09-11T11:12:14.001" v="3782" actId="6264"/>
          <ac:spMkLst>
            <pc:docMk/>
            <pc:sldMk cId="1772428257" sldId="678"/>
            <ac:spMk id="13" creationId="{5F4E4763-22C4-BEF2-5FC3-273B62203F98}"/>
          </ac:spMkLst>
        </pc:spChg>
        <pc:spChg chg="mod ord">
          <ac:chgData name="José Antonio Ureta Santacreu" userId="e36999d1-2b92-424a-9e8c-5fde0c5fbdd2" providerId="ADAL" clId="{B441C459-42E0-4465-B296-199851FC6E31}" dt="2024-09-11T11:12:14.001" v="3782" actId="6264"/>
          <ac:spMkLst>
            <pc:docMk/>
            <pc:sldMk cId="1772428257" sldId="678"/>
            <ac:spMk id="14" creationId="{C7CD157B-2771-EB78-4050-7C697811E0C0}"/>
          </ac:spMkLst>
        </pc:spChg>
      </pc:sldChg>
      <pc:sldChg chg="addSp delSp modSp mod chgLayout">
        <pc:chgData name="José Antonio Ureta Santacreu" userId="e36999d1-2b92-424a-9e8c-5fde0c5fbdd2" providerId="ADAL" clId="{B441C459-42E0-4465-B296-199851FC6E31}" dt="2024-09-12T10:39:46.473" v="4101" actId="27636"/>
        <pc:sldMkLst>
          <pc:docMk/>
          <pc:sldMk cId="1745182156" sldId="690"/>
        </pc:sldMkLst>
        <pc:spChg chg="mod ord">
          <ac:chgData name="José Antonio Ureta Santacreu" userId="e36999d1-2b92-424a-9e8c-5fde0c5fbdd2" providerId="ADAL" clId="{B441C459-42E0-4465-B296-199851FC6E31}" dt="2024-09-11T11:12:14.001" v="3782" actId="6264"/>
          <ac:spMkLst>
            <pc:docMk/>
            <pc:sldMk cId="1745182156" sldId="690"/>
            <ac:spMk id="2" creationId="{48C7D2B3-7455-991E-2322-CF7670499EC2}"/>
          </ac:spMkLst>
        </pc:spChg>
        <pc:spChg chg="mod ord">
          <ac:chgData name="José Antonio Ureta Santacreu" userId="e36999d1-2b92-424a-9e8c-5fde0c5fbdd2" providerId="ADAL" clId="{B441C459-42E0-4465-B296-199851FC6E31}" dt="2024-09-11T11:12:14.001" v="3782" actId="6264"/>
          <ac:spMkLst>
            <pc:docMk/>
            <pc:sldMk cId="1745182156" sldId="690"/>
            <ac:spMk id="3" creationId="{3F454FFF-C41A-A225-02BE-656FA39D1485}"/>
          </ac:spMkLst>
        </pc:spChg>
        <pc:spChg chg="add del mod">
          <ac:chgData name="José Antonio Ureta Santacreu" userId="e36999d1-2b92-424a-9e8c-5fde0c5fbdd2" providerId="ADAL" clId="{B441C459-42E0-4465-B296-199851FC6E31}" dt="2024-09-11T11:12:14.001" v="3782" actId="6264"/>
          <ac:spMkLst>
            <pc:docMk/>
            <pc:sldMk cId="1745182156" sldId="690"/>
            <ac:spMk id="4" creationId="{042992D9-13B2-D6F8-B16A-C9AED2EB9FB2}"/>
          </ac:spMkLst>
        </pc:spChg>
        <pc:spChg chg="mod ord">
          <ac:chgData name="José Antonio Ureta Santacreu" userId="e36999d1-2b92-424a-9e8c-5fde0c5fbdd2" providerId="ADAL" clId="{B441C459-42E0-4465-B296-199851FC6E31}" dt="2024-09-12T10:39:46.473" v="4101" actId="27636"/>
          <ac:spMkLst>
            <pc:docMk/>
            <pc:sldMk cId="1745182156" sldId="690"/>
            <ac:spMk id="5" creationId="{8DFF026E-BBE2-7161-CAEB-306305B7227D}"/>
          </ac:spMkLst>
        </pc:spChg>
        <pc:spChg chg="add del mod">
          <ac:chgData name="José Antonio Ureta Santacreu" userId="e36999d1-2b92-424a-9e8c-5fde0c5fbdd2" providerId="ADAL" clId="{B441C459-42E0-4465-B296-199851FC6E31}" dt="2024-09-11T11:12:14.001" v="3782" actId="6264"/>
          <ac:spMkLst>
            <pc:docMk/>
            <pc:sldMk cId="1745182156" sldId="690"/>
            <ac:spMk id="6" creationId="{8D9BC58C-4B74-9EF8-B93F-7BC62D000B73}"/>
          </ac:spMkLst>
        </pc:spChg>
        <pc:spChg chg="mod ord">
          <ac:chgData name="José Antonio Ureta Santacreu" userId="e36999d1-2b92-424a-9e8c-5fde0c5fbdd2" providerId="ADAL" clId="{B441C459-42E0-4465-B296-199851FC6E31}" dt="2024-09-11T11:12:14.001" v="3782" actId="6264"/>
          <ac:spMkLst>
            <pc:docMk/>
            <pc:sldMk cId="1745182156" sldId="690"/>
            <ac:spMk id="7" creationId="{A65D5DE5-0B49-7B6B-76ED-47F1B51D47A6}"/>
          </ac:spMkLst>
        </pc:spChg>
        <pc:spChg chg="mod ord">
          <ac:chgData name="José Antonio Ureta Santacreu" userId="e36999d1-2b92-424a-9e8c-5fde0c5fbdd2" providerId="ADAL" clId="{B441C459-42E0-4465-B296-199851FC6E31}" dt="2024-09-11T11:12:14.001" v="3782" actId="6264"/>
          <ac:spMkLst>
            <pc:docMk/>
            <pc:sldMk cId="1745182156" sldId="690"/>
            <ac:spMk id="8" creationId="{85997A1F-5623-CBAA-C69E-0F72C1991048}"/>
          </ac:spMkLst>
        </pc:spChg>
        <pc:spChg chg="add del mod">
          <ac:chgData name="José Antonio Ureta Santacreu" userId="e36999d1-2b92-424a-9e8c-5fde0c5fbdd2" providerId="ADAL" clId="{B441C459-42E0-4465-B296-199851FC6E31}" dt="2024-09-11T11:12:14.001" v="3782" actId="6264"/>
          <ac:spMkLst>
            <pc:docMk/>
            <pc:sldMk cId="1745182156" sldId="690"/>
            <ac:spMk id="9" creationId="{749C89D8-D01F-846D-FA9F-D4DEBADA4091}"/>
          </ac:spMkLst>
        </pc:spChg>
        <pc:spChg chg="add del mod">
          <ac:chgData name="José Antonio Ureta Santacreu" userId="e36999d1-2b92-424a-9e8c-5fde0c5fbdd2" providerId="ADAL" clId="{B441C459-42E0-4465-B296-199851FC6E31}" dt="2024-09-11T11:12:14.001" v="3782" actId="6264"/>
          <ac:spMkLst>
            <pc:docMk/>
            <pc:sldMk cId="1745182156" sldId="690"/>
            <ac:spMk id="10" creationId="{F5E7703A-809F-DC6E-2091-CFD613AA244B}"/>
          </ac:spMkLst>
        </pc:spChg>
        <pc:spChg chg="add del mod">
          <ac:chgData name="José Antonio Ureta Santacreu" userId="e36999d1-2b92-424a-9e8c-5fde0c5fbdd2" providerId="ADAL" clId="{B441C459-42E0-4465-B296-199851FC6E31}" dt="2024-09-11T11:12:14.001" v="3782" actId="6264"/>
          <ac:spMkLst>
            <pc:docMk/>
            <pc:sldMk cId="1745182156" sldId="690"/>
            <ac:spMk id="11" creationId="{B60B9496-BF09-9C1D-F073-F05650D562F1}"/>
          </ac:spMkLst>
        </pc:spChg>
        <pc:spChg chg="add del mod">
          <ac:chgData name="José Antonio Ureta Santacreu" userId="e36999d1-2b92-424a-9e8c-5fde0c5fbdd2" providerId="ADAL" clId="{B441C459-42E0-4465-B296-199851FC6E31}" dt="2024-09-11T11:12:14.001" v="3782" actId="6264"/>
          <ac:spMkLst>
            <pc:docMk/>
            <pc:sldMk cId="1745182156" sldId="690"/>
            <ac:spMk id="12" creationId="{1F3B80B2-28F7-8CC9-09D2-B1611D7260FC}"/>
          </ac:spMkLst>
        </pc:spChg>
        <pc:spChg chg="add del mod">
          <ac:chgData name="José Antonio Ureta Santacreu" userId="e36999d1-2b92-424a-9e8c-5fde0c5fbdd2" providerId="ADAL" clId="{B441C459-42E0-4465-B296-199851FC6E31}" dt="2024-09-11T11:12:14.001" v="3782" actId="6264"/>
          <ac:spMkLst>
            <pc:docMk/>
            <pc:sldMk cId="1745182156" sldId="690"/>
            <ac:spMk id="13" creationId="{D19D8B9A-6CE8-6324-DAB0-31FBF8E5A058}"/>
          </ac:spMkLst>
        </pc:spChg>
        <pc:spChg chg="mod ord">
          <ac:chgData name="José Antonio Ureta Santacreu" userId="e36999d1-2b92-424a-9e8c-5fde0c5fbdd2" providerId="ADAL" clId="{B441C459-42E0-4465-B296-199851FC6E31}" dt="2024-09-11T11:12:14.001" v="3782" actId="6264"/>
          <ac:spMkLst>
            <pc:docMk/>
            <pc:sldMk cId="1745182156" sldId="690"/>
            <ac:spMk id="16" creationId="{60C9B8A9-0FD7-6A58-F14C-C55B95894FB8}"/>
          </ac:spMkLst>
        </pc:spChg>
        <pc:picChg chg="mod ord">
          <ac:chgData name="José Antonio Ureta Santacreu" userId="e36999d1-2b92-424a-9e8c-5fde0c5fbdd2" providerId="ADAL" clId="{B441C459-42E0-4465-B296-199851FC6E31}" dt="2024-09-11T11:12:14.001" v="3782" actId="6264"/>
          <ac:picMkLst>
            <pc:docMk/>
            <pc:sldMk cId="1745182156" sldId="690"/>
            <ac:picMk id="17" creationId="{77E12FA3-D69F-16AB-4485-0F3BB320EB8D}"/>
          </ac:picMkLst>
        </pc:picChg>
      </pc:sldChg>
      <pc:sldChg chg="del">
        <pc:chgData name="José Antonio Ureta Santacreu" userId="e36999d1-2b92-424a-9e8c-5fde0c5fbdd2" providerId="ADAL" clId="{B441C459-42E0-4465-B296-199851FC6E31}" dt="2024-07-23T10:41:54.955" v="271" actId="2696"/>
        <pc:sldMkLst>
          <pc:docMk/>
          <pc:sldMk cId="762651195" sldId="717"/>
        </pc:sldMkLst>
      </pc:sldChg>
      <pc:sldChg chg="modSp">
        <pc:chgData name="José Antonio Ureta Santacreu" userId="e36999d1-2b92-424a-9e8c-5fde0c5fbdd2" providerId="ADAL" clId="{B441C459-42E0-4465-B296-199851FC6E31}" dt="2024-07-31T09:40:53.979" v="319" actId="12100"/>
        <pc:sldMkLst>
          <pc:docMk/>
          <pc:sldMk cId="1850779092" sldId="717"/>
        </pc:sldMkLst>
        <pc:graphicFrameChg chg="mod">
          <ac:chgData name="José Antonio Ureta Santacreu" userId="e36999d1-2b92-424a-9e8c-5fde0c5fbdd2" providerId="ADAL" clId="{B441C459-42E0-4465-B296-199851FC6E31}" dt="2024-07-31T09:40:53.979" v="319" actId="12100"/>
          <ac:graphicFrameMkLst>
            <pc:docMk/>
            <pc:sldMk cId="1850779092" sldId="717"/>
            <ac:graphicFrameMk id="5" creationId="{0B973D88-D560-AA7A-7585-51E867B73671}"/>
          </ac:graphicFrameMkLst>
        </pc:graphicFrameChg>
      </pc:sldChg>
      <pc:sldChg chg="add">
        <pc:chgData name="José Antonio Ureta Santacreu" userId="e36999d1-2b92-424a-9e8c-5fde0c5fbdd2" providerId="ADAL" clId="{B441C459-42E0-4465-B296-199851FC6E31}" dt="2024-07-23T10:42:07.386" v="272"/>
        <pc:sldMkLst>
          <pc:docMk/>
          <pc:sldMk cId="2316903230" sldId="717"/>
        </pc:sldMkLst>
      </pc:sldChg>
      <pc:sldChg chg="addSp delSp modSp add mod chgLayout">
        <pc:chgData name="José Antonio Ureta Santacreu" userId="e36999d1-2b92-424a-9e8c-5fde0c5fbdd2" providerId="ADAL" clId="{B441C459-42E0-4465-B296-199851FC6E31}" dt="2024-09-12T11:17:40.200" v="4436" actId="207"/>
        <pc:sldMkLst>
          <pc:docMk/>
          <pc:sldMk cId="1635718964" sldId="725"/>
        </pc:sldMkLst>
        <pc:spChg chg="mod ord">
          <ac:chgData name="José Antonio Ureta Santacreu" userId="e36999d1-2b92-424a-9e8c-5fde0c5fbdd2" providerId="ADAL" clId="{B441C459-42E0-4465-B296-199851FC6E31}" dt="2024-09-11T11:12:14.001" v="3782" actId="6264"/>
          <ac:spMkLst>
            <pc:docMk/>
            <pc:sldMk cId="1635718964" sldId="725"/>
            <ac:spMk id="2" creationId="{1613BCA9-BC2D-FF0F-76BF-5F19E4670909}"/>
          </ac:spMkLst>
        </pc:spChg>
        <pc:spChg chg="add del mod">
          <ac:chgData name="José Antonio Ureta Santacreu" userId="e36999d1-2b92-424a-9e8c-5fde0c5fbdd2" providerId="ADAL" clId="{B441C459-42E0-4465-B296-199851FC6E31}" dt="2024-09-11T11:12:14.001" v="3782" actId="6264"/>
          <ac:spMkLst>
            <pc:docMk/>
            <pc:sldMk cId="1635718964" sldId="725"/>
            <ac:spMk id="3" creationId="{AC777EC5-4409-8CCF-564D-77CA0CA1CFA1}"/>
          </ac:spMkLst>
        </pc:spChg>
        <pc:spChg chg="mod ord">
          <ac:chgData name="José Antonio Ureta Santacreu" userId="e36999d1-2b92-424a-9e8c-5fde0c5fbdd2" providerId="ADAL" clId="{B441C459-42E0-4465-B296-199851FC6E31}" dt="2024-09-11T11:12:14.001" v="3782" actId="6264"/>
          <ac:spMkLst>
            <pc:docMk/>
            <pc:sldMk cId="1635718964" sldId="725"/>
            <ac:spMk id="5" creationId="{BDD96D99-1E69-435F-831F-A3FA7AA54349}"/>
          </ac:spMkLst>
        </pc:spChg>
        <pc:spChg chg="mod ord">
          <ac:chgData name="José Antonio Ureta Santacreu" userId="e36999d1-2b92-424a-9e8c-5fde0c5fbdd2" providerId="ADAL" clId="{B441C459-42E0-4465-B296-199851FC6E31}" dt="2024-09-11T11:12:14.001" v="3782" actId="6264"/>
          <ac:spMkLst>
            <pc:docMk/>
            <pc:sldMk cId="1635718964" sldId="725"/>
            <ac:spMk id="6" creationId="{17D1EE0B-83B2-8BED-0BC0-3859190B8D33}"/>
          </ac:spMkLst>
        </pc:spChg>
        <pc:spChg chg="mod ord">
          <ac:chgData name="José Antonio Ureta Santacreu" userId="e36999d1-2b92-424a-9e8c-5fde0c5fbdd2" providerId="ADAL" clId="{B441C459-42E0-4465-B296-199851FC6E31}" dt="2024-09-11T11:12:14.001" v="3782" actId="6264"/>
          <ac:spMkLst>
            <pc:docMk/>
            <pc:sldMk cId="1635718964" sldId="725"/>
            <ac:spMk id="7" creationId="{64FAB62B-085E-F2BA-34CD-63EE3969FDA1}"/>
          </ac:spMkLst>
        </pc:spChg>
        <pc:spChg chg="add del mod">
          <ac:chgData name="José Antonio Ureta Santacreu" userId="e36999d1-2b92-424a-9e8c-5fde0c5fbdd2" providerId="ADAL" clId="{B441C459-42E0-4465-B296-199851FC6E31}" dt="2024-09-11T11:12:14.001" v="3782" actId="6264"/>
          <ac:spMkLst>
            <pc:docMk/>
            <pc:sldMk cId="1635718964" sldId="725"/>
            <ac:spMk id="8" creationId="{0A33BC23-2F70-789E-5A12-402901D882CB}"/>
          </ac:spMkLst>
        </pc:spChg>
        <pc:spChg chg="add del mod">
          <ac:chgData name="José Antonio Ureta Santacreu" userId="e36999d1-2b92-424a-9e8c-5fde0c5fbdd2" providerId="ADAL" clId="{B441C459-42E0-4465-B296-199851FC6E31}" dt="2024-09-11T11:12:14.001" v="3782" actId="6264"/>
          <ac:spMkLst>
            <pc:docMk/>
            <pc:sldMk cId="1635718964" sldId="725"/>
            <ac:spMk id="9" creationId="{4AA6032B-7851-4FE4-E420-D9074C531A6B}"/>
          </ac:spMkLst>
        </pc:spChg>
        <pc:spChg chg="add del mod">
          <ac:chgData name="José Antonio Ureta Santacreu" userId="e36999d1-2b92-424a-9e8c-5fde0c5fbdd2" providerId="ADAL" clId="{B441C459-42E0-4465-B296-199851FC6E31}" dt="2024-09-11T11:12:14.001" v="3782" actId="6264"/>
          <ac:spMkLst>
            <pc:docMk/>
            <pc:sldMk cId="1635718964" sldId="725"/>
            <ac:spMk id="10" creationId="{764A101E-0F96-F90D-3ECD-A1EBD239F18E}"/>
          </ac:spMkLst>
        </pc:spChg>
        <pc:spChg chg="add del mod">
          <ac:chgData name="José Antonio Ureta Santacreu" userId="e36999d1-2b92-424a-9e8c-5fde0c5fbdd2" providerId="ADAL" clId="{B441C459-42E0-4465-B296-199851FC6E31}" dt="2024-09-11T11:12:14.001" v="3782" actId="6264"/>
          <ac:spMkLst>
            <pc:docMk/>
            <pc:sldMk cId="1635718964" sldId="725"/>
            <ac:spMk id="11" creationId="{013E28BE-6235-6E8A-33F8-D74CD2CBC723}"/>
          </ac:spMkLst>
        </pc:spChg>
        <pc:graphicFrameChg chg="mod ord">
          <ac:chgData name="José Antonio Ureta Santacreu" userId="e36999d1-2b92-424a-9e8c-5fde0c5fbdd2" providerId="ADAL" clId="{B441C459-42E0-4465-B296-199851FC6E31}" dt="2024-09-12T11:17:40.200" v="4436" actId="207"/>
          <ac:graphicFrameMkLst>
            <pc:docMk/>
            <pc:sldMk cId="1635718964" sldId="725"/>
            <ac:graphicFrameMk id="4" creationId="{28622E48-EE8F-B995-6CA5-728703A082DA}"/>
          </ac:graphicFrameMkLst>
        </pc:graphicFrameChg>
      </pc:sldChg>
      <pc:sldChg chg="del">
        <pc:chgData name="José Antonio Ureta Santacreu" userId="e36999d1-2b92-424a-9e8c-5fde0c5fbdd2" providerId="ADAL" clId="{B441C459-42E0-4465-B296-199851FC6E31}" dt="2024-07-23T10:41:54.955" v="271" actId="2696"/>
        <pc:sldMkLst>
          <pc:docMk/>
          <pc:sldMk cId="3402981763" sldId="725"/>
        </pc:sldMkLst>
      </pc:sldChg>
      <pc:sldChg chg="addSp delSp modSp add mod chgLayout">
        <pc:chgData name="José Antonio Ureta Santacreu" userId="e36999d1-2b92-424a-9e8c-5fde0c5fbdd2" providerId="ADAL" clId="{B441C459-42E0-4465-B296-199851FC6E31}" dt="2024-09-11T11:12:14.001" v="3782" actId="6264"/>
        <pc:sldMkLst>
          <pc:docMk/>
          <pc:sldMk cId="2812849270" sldId="733"/>
        </pc:sldMkLst>
        <pc:spChg chg="mod ord">
          <ac:chgData name="José Antonio Ureta Santacreu" userId="e36999d1-2b92-424a-9e8c-5fde0c5fbdd2" providerId="ADAL" clId="{B441C459-42E0-4465-B296-199851FC6E31}" dt="2024-09-11T11:12:14.001" v="3782" actId="6264"/>
          <ac:spMkLst>
            <pc:docMk/>
            <pc:sldMk cId="2812849270" sldId="733"/>
            <ac:spMk id="2" creationId="{14821783-DAC9-AA6A-B399-EE346F068A4E}"/>
          </ac:spMkLst>
        </pc:spChg>
        <pc:spChg chg="mod ord">
          <ac:chgData name="José Antonio Ureta Santacreu" userId="e36999d1-2b92-424a-9e8c-5fde0c5fbdd2" providerId="ADAL" clId="{B441C459-42E0-4465-B296-199851FC6E31}" dt="2024-09-11T11:12:14.001" v="3782" actId="6264"/>
          <ac:spMkLst>
            <pc:docMk/>
            <pc:sldMk cId="2812849270" sldId="733"/>
            <ac:spMk id="3" creationId="{DBE2C884-0009-3533-9791-0CC5C80BD735}"/>
          </ac:spMkLst>
        </pc:spChg>
        <pc:spChg chg="mod ord">
          <ac:chgData name="José Antonio Ureta Santacreu" userId="e36999d1-2b92-424a-9e8c-5fde0c5fbdd2" providerId="ADAL" clId="{B441C459-42E0-4465-B296-199851FC6E31}" dt="2024-09-11T11:12:14.001" v="3782" actId="6264"/>
          <ac:spMkLst>
            <pc:docMk/>
            <pc:sldMk cId="2812849270" sldId="733"/>
            <ac:spMk id="4" creationId="{F223BC60-759C-EB60-4B8C-16F516E2622F}"/>
          </ac:spMkLst>
        </pc:spChg>
        <pc:spChg chg="mod ord">
          <ac:chgData name="José Antonio Ureta Santacreu" userId="e36999d1-2b92-424a-9e8c-5fde0c5fbdd2" providerId="ADAL" clId="{B441C459-42E0-4465-B296-199851FC6E31}" dt="2024-09-11T11:12:14.001" v="3782" actId="6264"/>
          <ac:spMkLst>
            <pc:docMk/>
            <pc:sldMk cId="2812849270" sldId="733"/>
            <ac:spMk id="5" creationId="{D1E6C8BB-FBCE-8E50-EECA-7B0BC392A91B}"/>
          </ac:spMkLst>
        </pc:spChg>
        <pc:spChg chg="add del mod">
          <ac:chgData name="José Antonio Ureta Santacreu" userId="e36999d1-2b92-424a-9e8c-5fde0c5fbdd2" providerId="ADAL" clId="{B441C459-42E0-4465-B296-199851FC6E31}" dt="2024-09-11T11:12:14.001" v="3782" actId="6264"/>
          <ac:spMkLst>
            <pc:docMk/>
            <pc:sldMk cId="2812849270" sldId="733"/>
            <ac:spMk id="6" creationId="{7A40FCDB-063F-C39C-EA18-2B425DCF24EF}"/>
          </ac:spMkLst>
        </pc:spChg>
        <pc:spChg chg="add del mod">
          <ac:chgData name="José Antonio Ureta Santacreu" userId="e36999d1-2b92-424a-9e8c-5fde0c5fbdd2" providerId="ADAL" clId="{B441C459-42E0-4465-B296-199851FC6E31}" dt="2024-09-11T11:12:14.001" v="3782" actId="6264"/>
          <ac:spMkLst>
            <pc:docMk/>
            <pc:sldMk cId="2812849270" sldId="733"/>
            <ac:spMk id="8" creationId="{CE5089D0-5570-C0AA-05E0-2ADF85F77316}"/>
          </ac:spMkLst>
        </pc:spChg>
        <pc:spChg chg="add del mod">
          <ac:chgData name="José Antonio Ureta Santacreu" userId="e36999d1-2b92-424a-9e8c-5fde0c5fbdd2" providerId="ADAL" clId="{B441C459-42E0-4465-B296-199851FC6E31}" dt="2024-09-11T11:12:14.001" v="3782" actId="6264"/>
          <ac:spMkLst>
            <pc:docMk/>
            <pc:sldMk cId="2812849270" sldId="733"/>
            <ac:spMk id="9" creationId="{F0AEA09A-5D91-1761-57BF-FE9D244DB94D}"/>
          </ac:spMkLst>
        </pc:spChg>
        <pc:spChg chg="add del mod">
          <ac:chgData name="José Antonio Ureta Santacreu" userId="e36999d1-2b92-424a-9e8c-5fde0c5fbdd2" providerId="ADAL" clId="{B441C459-42E0-4465-B296-199851FC6E31}" dt="2024-09-11T11:12:14.001" v="3782" actId="6264"/>
          <ac:spMkLst>
            <pc:docMk/>
            <pc:sldMk cId="2812849270" sldId="733"/>
            <ac:spMk id="10" creationId="{E4C6C2D9-2F59-362E-1A4F-0595ED679805}"/>
          </ac:spMkLst>
        </pc:spChg>
      </pc:sldChg>
      <pc:sldChg chg="del">
        <pc:chgData name="José Antonio Ureta Santacreu" userId="e36999d1-2b92-424a-9e8c-5fde0c5fbdd2" providerId="ADAL" clId="{B441C459-42E0-4465-B296-199851FC6E31}" dt="2024-07-23T10:41:54.955" v="271" actId="2696"/>
        <pc:sldMkLst>
          <pc:docMk/>
          <pc:sldMk cId="3503527207" sldId="733"/>
        </pc:sldMkLst>
      </pc:sldChg>
      <pc:sldChg chg="del">
        <pc:chgData name="José Antonio Ureta Santacreu" userId="e36999d1-2b92-424a-9e8c-5fde0c5fbdd2" providerId="ADAL" clId="{B441C459-42E0-4465-B296-199851FC6E31}" dt="2024-07-23T10:41:54.955" v="271" actId="2696"/>
        <pc:sldMkLst>
          <pc:docMk/>
          <pc:sldMk cId="849378129" sldId="737"/>
        </pc:sldMkLst>
      </pc:sldChg>
      <pc:sldChg chg="addSp delSp modSp add mod chgLayout">
        <pc:chgData name="José Antonio Ureta Santacreu" userId="e36999d1-2b92-424a-9e8c-5fde0c5fbdd2" providerId="ADAL" clId="{B441C459-42E0-4465-B296-199851FC6E31}" dt="2024-09-11T11:12:14.001" v="3782" actId="6264"/>
        <pc:sldMkLst>
          <pc:docMk/>
          <pc:sldMk cId="2878506573" sldId="737"/>
        </pc:sldMkLst>
        <pc:spChg chg="mod ord">
          <ac:chgData name="José Antonio Ureta Santacreu" userId="e36999d1-2b92-424a-9e8c-5fde0c5fbdd2" providerId="ADAL" clId="{B441C459-42E0-4465-B296-199851FC6E31}" dt="2024-09-11T11:12:14.001" v="3782" actId="6264"/>
          <ac:spMkLst>
            <pc:docMk/>
            <pc:sldMk cId="2878506573" sldId="737"/>
            <ac:spMk id="2" creationId="{D391E574-536E-13E4-1C7F-33CF8AEBB02E}"/>
          </ac:spMkLst>
        </pc:spChg>
        <pc:spChg chg="mod ord">
          <ac:chgData name="José Antonio Ureta Santacreu" userId="e36999d1-2b92-424a-9e8c-5fde0c5fbdd2" providerId="ADAL" clId="{B441C459-42E0-4465-B296-199851FC6E31}" dt="2024-09-11T11:12:14.001" v="3782" actId="6264"/>
          <ac:spMkLst>
            <pc:docMk/>
            <pc:sldMk cId="2878506573" sldId="737"/>
            <ac:spMk id="5" creationId="{8BE8090F-DE59-CA76-DF2A-D539E947AA9E}"/>
          </ac:spMkLst>
        </pc:spChg>
        <pc:spChg chg="mod ord">
          <ac:chgData name="José Antonio Ureta Santacreu" userId="e36999d1-2b92-424a-9e8c-5fde0c5fbdd2" providerId="ADAL" clId="{B441C459-42E0-4465-B296-199851FC6E31}" dt="2024-09-11T11:12:14.001" v="3782" actId="6264"/>
          <ac:spMkLst>
            <pc:docMk/>
            <pc:sldMk cId="2878506573" sldId="737"/>
            <ac:spMk id="6" creationId="{0373733A-231E-537F-5F84-C40D81384385}"/>
          </ac:spMkLst>
        </pc:spChg>
        <pc:spChg chg="mod ord">
          <ac:chgData name="José Antonio Ureta Santacreu" userId="e36999d1-2b92-424a-9e8c-5fde0c5fbdd2" providerId="ADAL" clId="{B441C459-42E0-4465-B296-199851FC6E31}" dt="2024-09-11T11:12:14.001" v="3782" actId="6264"/>
          <ac:spMkLst>
            <pc:docMk/>
            <pc:sldMk cId="2878506573" sldId="737"/>
            <ac:spMk id="7" creationId="{D7235C15-A2AC-F9F5-E21A-CD247946C38F}"/>
          </ac:spMkLst>
        </pc:spChg>
        <pc:spChg chg="add del mod">
          <ac:chgData name="José Antonio Ureta Santacreu" userId="e36999d1-2b92-424a-9e8c-5fde0c5fbdd2" providerId="ADAL" clId="{B441C459-42E0-4465-B296-199851FC6E31}" dt="2024-09-11T11:12:14.001" v="3782" actId="6264"/>
          <ac:spMkLst>
            <pc:docMk/>
            <pc:sldMk cId="2878506573" sldId="737"/>
            <ac:spMk id="8" creationId="{B93A1662-3024-E665-5BC3-7146FF96C1A4}"/>
          </ac:spMkLst>
        </pc:spChg>
        <pc:spChg chg="add del mod">
          <ac:chgData name="José Antonio Ureta Santacreu" userId="e36999d1-2b92-424a-9e8c-5fde0c5fbdd2" providerId="ADAL" clId="{B441C459-42E0-4465-B296-199851FC6E31}" dt="2024-09-11T11:12:14.001" v="3782" actId="6264"/>
          <ac:spMkLst>
            <pc:docMk/>
            <pc:sldMk cId="2878506573" sldId="737"/>
            <ac:spMk id="9" creationId="{A2A39180-DB4F-C7C0-1F6C-E9DCD94B239A}"/>
          </ac:spMkLst>
        </pc:spChg>
        <pc:spChg chg="add del mod">
          <ac:chgData name="José Antonio Ureta Santacreu" userId="e36999d1-2b92-424a-9e8c-5fde0c5fbdd2" providerId="ADAL" clId="{B441C459-42E0-4465-B296-199851FC6E31}" dt="2024-09-11T11:12:14.001" v="3782" actId="6264"/>
          <ac:spMkLst>
            <pc:docMk/>
            <pc:sldMk cId="2878506573" sldId="737"/>
            <ac:spMk id="10" creationId="{293707C6-187C-2877-41F1-9FDB35F3FB20}"/>
          </ac:spMkLst>
        </pc:spChg>
        <pc:spChg chg="add del mod">
          <ac:chgData name="José Antonio Ureta Santacreu" userId="e36999d1-2b92-424a-9e8c-5fde0c5fbdd2" providerId="ADAL" clId="{B441C459-42E0-4465-B296-199851FC6E31}" dt="2024-09-11T11:12:14.001" v="3782" actId="6264"/>
          <ac:spMkLst>
            <pc:docMk/>
            <pc:sldMk cId="2878506573" sldId="737"/>
            <ac:spMk id="11" creationId="{46D2C90A-1BA2-5617-3E97-80E137A21E28}"/>
          </ac:spMkLst>
        </pc:spChg>
      </pc:sldChg>
      <pc:sldChg chg="del">
        <pc:chgData name="José Antonio Ureta Santacreu" userId="e36999d1-2b92-424a-9e8c-5fde0c5fbdd2" providerId="ADAL" clId="{B441C459-42E0-4465-B296-199851FC6E31}" dt="2024-07-23T10:41:54.955" v="271" actId="2696"/>
        <pc:sldMkLst>
          <pc:docMk/>
          <pc:sldMk cId="1831238358" sldId="741"/>
        </pc:sldMkLst>
      </pc:sldChg>
      <pc:sldChg chg="addSp delSp modSp add mod chgLayout">
        <pc:chgData name="José Antonio Ureta Santacreu" userId="e36999d1-2b92-424a-9e8c-5fde0c5fbdd2" providerId="ADAL" clId="{B441C459-42E0-4465-B296-199851FC6E31}" dt="2024-09-11T11:12:14.001" v="3782" actId="6264"/>
        <pc:sldMkLst>
          <pc:docMk/>
          <pc:sldMk cId="2597676834" sldId="741"/>
        </pc:sldMkLst>
        <pc:spChg chg="mod ord">
          <ac:chgData name="José Antonio Ureta Santacreu" userId="e36999d1-2b92-424a-9e8c-5fde0c5fbdd2" providerId="ADAL" clId="{B441C459-42E0-4465-B296-199851FC6E31}" dt="2024-09-11T11:12:14.001" v="3782" actId="6264"/>
          <ac:spMkLst>
            <pc:docMk/>
            <pc:sldMk cId="2597676834" sldId="741"/>
            <ac:spMk id="2" creationId="{BB7BAF4E-7939-6697-4B74-44E52C36B8E7}"/>
          </ac:spMkLst>
        </pc:spChg>
        <pc:spChg chg="mod ord">
          <ac:chgData name="José Antonio Ureta Santacreu" userId="e36999d1-2b92-424a-9e8c-5fde0c5fbdd2" providerId="ADAL" clId="{B441C459-42E0-4465-B296-199851FC6E31}" dt="2024-09-11T11:12:14.001" v="3782" actId="6264"/>
          <ac:spMkLst>
            <pc:docMk/>
            <pc:sldMk cId="2597676834" sldId="741"/>
            <ac:spMk id="4" creationId="{FD29C529-4AA5-6123-7E2B-8A4017F6FC15}"/>
          </ac:spMkLst>
        </pc:spChg>
        <pc:spChg chg="mod ord">
          <ac:chgData name="José Antonio Ureta Santacreu" userId="e36999d1-2b92-424a-9e8c-5fde0c5fbdd2" providerId="ADAL" clId="{B441C459-42E0-4465-B296-199851FC6E31}" dt="2024-09-11T11:12:14.001" v="3782" actId="6264"/>
          <ac:spMkLst>
            <pc:docMk/>
            <pc:sldMk cId="2597676834" sldId="741"/>
            <ac:spMk id="9" creationId="{42C1D181-4B76-4429-F999-88F710C787F9}"/>
          </ac:spMkLst>
        </pc:spChg>
        <pc:spChg chg="mod ord">
          <ac:chgData name="José Antonio Ureta Santacreu" userId="e36999d1-2b92-424a-9e8c-5fde0c5fbdd2" providerId="ADAL" clId="{B441C459-42E0-4465-B296-199851FC6E31}" dt="2024-09-11T11:12:14.001" v="3782" actId="6264"/>
          <ac:spMkLst>
            <pc:docMk/>
            <pc:sldMk cId="2597676834" sldId="741"/>
            <ac:spMk id="10" creationId="{236CC488-4093-B07E-1135-AD9AB350F95A}"/>
          </ac:spMkLst>
        </pc:spChg>
        <pc:spChg chg="add del mod">
          <ac:chgData name="José Antonio Ureta Santacreu" userId="e36999d1-2b92-424a-9e8c-5fde0c5fbdd2" providerId="ADAL" clId="{B441C459-42E0-4465-B296-199851FC6E31}" dt="2024-09-11T11:12:14.001" v="3782" actId="6264"/>
          <ac:spMkLst>
            <pc:docMk/>
            <pc:sldMk cId="2597676834" sldId="741"/>
            <ac:spMk id="11" creationId="{84554915-2C51-CD8B-53F4-8DFDCCAA13EB}"/>
          </ac:spMkLst>
        </pc:spChg>
        <pc:spChg chg="add del mod">
          <ac:chgData name="José Antonio Ureta Santacreu" userId="e36999d1-2b92-424a-9e8c-5fde0c5fbdd2" providerId="ADAL" clId="{B441C459-42E0-4465-B296-199851FC6E31}" dt="2024-09-11T11:12:14.001" v="3782" actId="6264"/>
          <ac:spMkLst>
            <pc:docMk/>
            <pc:sldMk cId="2597676834" sldId="741"/>
            <ac:spMk id="12" creationId="{F9E6BB40-5CAB-CDDD-45E7-C4B70AE85D86}"/>
          </ac:spMkLst>
        </pc:spChg>
        <pc:spChg chg="add del mod">
          <ac:chgData name="José Antonio Ureta Santacreu" userId="e36999d1-2b92-424a-9e8c-5fde0c5fbdd2" providerId="ADAL" clId="{B441C459-42E0-4465-B296-199851FC6E31}" dt="2024-09-11T11:12:14.001" v="3782" actId="6264"/>
          <ac:spMkLst>
            <pc:docMk/>
            <pc:sldMk cId="2597676834" sldId="741"/>
            <ac:spMk id="13" creationId="{14866229-9027-AD82-5B2F-86AF08F2D6BF}"/>
          </ac:spMkLst>
        </pc:spChg>
        <pc:spChg chg="add del mod">
          <ac:chgData name="José Antonio Ureta Santacreu" userId="e36999d1-2b92-424a-9e8c-5fde0c5fbdd2" providerId="ADAL" clId="{B441C459-42E0-4465-B296-199851FC6E31}" dt="2024-09-11T11:12:14.001" v="3782" actId="6264"/>
          <ac:spMkLst>
            <pc:docMk/>
            <pc:sldMk cId="2597676834" sldId="741"/>
            <ac:spMk id="14" creationId="{F1527D7B-7821-14FA-6852-E6388123BDF5}"/>
          </ac:spMkLst>
        </pc:spChg>
      </pc:sldChg>
      <pc:sldChg chg="del">
        <pc:chgData name="José Antonio Ureta Santacreu" userId="e36999d1-2b92-424a-9e8c-5fde0c5fbdd2" providerId="ADAL" clId="{B441C459-42E0-4465-B296-199851FC6E31}" dt="2024-07-23T10:41:54.955" v="271" actId="2696"/>
        <pc:sldMkLst>
          <pc:docMk/>
          <pc:sldMk cId="1554916861" sldId="742"/>
        </pc:sldMkLst>
      </pc:sldChg>
      <pc:sldChg chg="addSp delSp modSp add mod chgLayout">
        <pc:chgData name="José Antonio Ureta Santacreu" userId="e36999d1-2b92-424a-9e8c-5fde0c5fbdd2" providerId="ADAL" clId="{B441C459-42E0-4465-B296-199851FC6E31}" dt="2024-09-11T11:12:14.001" v="3782" actId="6264"/>
        <pc:sldMkLst>
          <pc:docMk/>
          <pc:sldMk cId="3954050567" sldId="742"/>
        </pc:sldMkLst>
        <pc:spChg chg="mod ord">
          <ac:chgData name="José Antonio Ureta Santacreu" userId="e36999d1-2b92-424a-9e8c-5fde0c5fbdd2" providerId="ADAL" clId="{B441C459-42E0-4465-B296-199851FC6E31}" dt="2024-09-11T11:12:14.001" v="3782" actId="6264"/>
          <ac:spMkLst>
            <pc:docMk/>
            <pc:sldMk cId="3954050567" sldId="742"/>
            <ac:spMk id="2" creationId="{F521A5B7-6C16-4DA6-4AC4-AAFB4F6CF1AE}"/>
          </ac:spMkLst>
        </pc:spChg>
        <pc:spChg chg="mod ord">
          <ac:chgData name="José Antonio Ureta Santacreu" userId="e36999d1-2b92-424a-9e8c-5fde0c5fbdd2" providerId="ADAL" clId="{B441C459-42E0-4465-B296-199851FC6E31}" dt="2024-09-11T11:12:14.001" v="3782" actId="6264"/>
          <ac:spMkLst>
            <pc:docMk/>
            <pc:sldMk cId="3954050567" sldId="742"/>
            <ac:spMk id="3" creationId="{FD8CF1C1-F91B-B76E-2E57-8D860CBBCC95}"/>
          </ac:spMkLst>
        </pc:spChg>
        <pc:spChg chg="mod ord">
          <ac:chgData name="José Antonio Ureta Santacreu" userId="e36999d1-2b92-424a-9e8c-5fde0c5fbdd2" providerId="ADAL" clId="{B441C459-42E0-4465-B296-199851FC6E31}" dt="2024-09-11T11:12:14.001" v="3782" actId="6264"/>
          <ac:spMkLst>
            <pc:docMk/>
            <pc:sldMk cId="3954050567" sldId="742"/>
            <ac:spMk id="5" creationId="{E8782501-611B-4AFC-86ED-42F502CE1C27}"/>
          </ac:spMkLst>
        </pc:spChg>
        <pc:spChg chg="mod ord">
          <ac:chgData name="José Antonio Ureta Santacreu" userId="e36999d1-2b92-424a-9e8c-5fde0c5fbdd2" providerId="ADAL" clId="{B441C459-42E0-4465-B296-199851FC6E31}" dt="2024-09-11T11:12:14.001" v="3782" actId="6264"/>
          <ac:spMkLst>
            <pc:docMk/>
            <pc:sldMk cId="3954050567" sldId="742"/>
            <ac:spMk id="13" creationId="{5D583E83-7E6C-0D6D-AD5C-E11AC3E48148}"/>
          </ac:spMkLst>
        </pc:spChg>
        <pc:spChg chg="mod">
          <ac:chgData name="José Antonio Ureta Santacreu" userId="e36999d1-2b92-424a-9e8c-5fde0c5fbdd2" providerId="ADAL" clId="{B441C459-42E0-4465-B296-199851FC6E31}" dt="2024-09-11T10:59:56.342" v="3717" actId="27636"/>
          <ac:spMkLst>
            <pc:docMk/>
            <pc:sldMk cId="3954050567" sldId="742"/>
            <ac:spMk id="14" creationId="{18CBF352-2905-6D4C-C672-82020C40D4E0}"/>
          </ac:spMkLst>
        </pc:spChg>
        <pc:spChg chg="add del mod">
          <ac:chgData name="José Antonio Ureta Santacreu" userId="e36999d1-2b92-424a-9e8c-5fde0c5fbdd2" providerId="ADAL" clId="{B441C459-42E0-4465-B296-199851FC6E31}" dt="2024-09-11T11:12:14.001" v="3782" actId="6264"/>
          <ac:spMkLst>
            <pc:docMk/>
            <pc:sldMk cId="3954050567" sldId="742"/>
            <ac:spMk id="15" creationId="{61A62BEE-454B-612F-4F62-A772E92BE21C}"/>
          </ac:spMkLst>
        </pc:spChg>
        <pc:spChg chg="add del mod">
          <ac:chgData name="José Antonio Ureta Santacreu" userId="e36999d1-2b92-424a-9e8c-5fde0c5fbdd2" providerId="ADAL" clId="{B441C459-42E0-4465-B296-199851FC6E31}" dt="2024-09-11T11:12:14.001" v="3782" actId="6264"/>
          <ac:spMkLst>
            <pc:docMk/>
            <pc:sldMk cId="3954050567" sldId="742"/>
            <ac:spMk id="16" creationId="{4E371E33-8433-0CC2-1A98-A097EB4A0C28}"/>
          </ac:spMkLst>
        </pc:spChg>
        <pc:spChg chg="add del mod">
          <ac:chgData name="José Antonio Ureta Santacreu" userId="e36999d1-2b92-424a-9e8c-5fde0c5fbdd2" providerId="ADAL" clId="{B441C459-42E0-4465-B296-199851FC6E31}" dt="2024-09-11T11:12:14.001" v="3782" actId="6264"/>
          <ac:spMkLst>
            <pc:docMk/>
            <pc:sldMk cId="3954050567" sldId="742"/>
            <ac:spMk id="17" creationId="{92367DF4-8E6A-E414-CB78-CA087BB7D4EA}"/>
          </ac:spMkLst>
        </pc:spChg>
        <pc:spChg chg="add del mod">
          <ac:chgData name="José Antonio Ureta Santacreu" userId="e36999d1-2b92-424a-9e8c-5fde0c5fbdd2" providerId="ADAL" clId="{B441C459-42E0-4465-B296-199851FC6E31}" dt="2024-09-11T11:12:14.001" v="3782" actId="6264"/>
          <ac:spMkLst>
            <pc:docMk/>
            <pc:sldMk cId="3954050567" sldId="742"/>
            <ac:spMk id="18" creationId="{D529F66F-59D1-AB2B-57BA-0F1C9624CB6C}"/>
          </ac:spMkLst>
        </pc:spChg>
      </pc:sldChg>
      <pc:sldChg chg="addSp delSp modSp mod chgLayout">
        <pc:chgData name="José Antonio Ureta Santacreu" userId="e36999d1-2b92-424a-9e8c-5fde0c5fbdd2" providerId="ADAL" clId="{B441C459-42E0-4465-B296-199851FC6E31}" dt="2024-09-12T10:39:46.545" v="4109" actId="27636"/>
        <pc:sldMkLst>
          <pc:docMk/>
          <pc:sldMk cId="4137072091" sldId="743"/>
        </pc:sldMkLst>
        <pc:spChg chg="mod ord">
          <ac:chgData name="José Antonio Ureta Santacreu" userId="e36999d1-2b92-424a-9e8c-5fde0c5fbdd2" providerId="ADAL" clId="{B441C459-42E0-4465-B296-199851FC6E31}" dt="2024-09-11T11:12:14.001" v="3782" actId="6264"/>
          <ac:spMkLst>
            <pc:docMk/>
            <pc:sldMk cId="4137072091" sldId="743"/>
            <ac:spMk id="2" creationId="{73B5D36A-F127-5D47-AFD4-E4A6F655F1AD}"/>
          </ac:spMkLst>
        </pc:spChg>
        <pc:spChg chg="mod ord">
          <ac:chgData name="José Antonio Ureta Santacreu" userId="e36999d1-2b92-424a-9e8c-5fde0c5fbdd2" providerId="ADAL" clId="{B441C459-42E0-4465-B296-199851FC6E31}" dt="2024-09-12T10:39:46.545" v="4109" actId="27636"/>
          <ac:spMkLst>
            <pc:docMk/>
            <pc:sldMk cId="4137072091" sldId="743"/>
            <ac:spMk id="3" creationId="{EF4326CF-7CF0-3051-89D2-4CE5E09FA9D7}"/>
          </ac:spMkLst>
        </pc:spChg>
        <pc:spChg chg="mod ord">
          <ac:chgData name="José Antonio Ureta Santacreu" userId="e36999d1-2b92-424a-9e8c-5fde0c5fbdd2" providerId="ADAL" clId="{B441C459-42E0-4465-B296-199851FC6E31}" dt="2024-09-11T11:12:14.001" v="3782" actId="6264"/>
          <ac:spMkLst>
            <pc:docMk/>
            <pc:sldMk cId="4137072091" sldId="743"/>
            <ac:spMk id="4" creationId="{1611EABF-6ED3-4803-9AD3-6BE2D350DD74}"/>
          </ac:spMkLst>
        </pc:spChg>
        <pc:spChg chg="add del mod">
          <ac:chgData name="José Antonio Ureta Santacreu" userId="e36999d1-2b92-424a-9e8c-5fde0c5fbdd2" providerId="ADAL" clId="{B441C459-42E0-4465-B296-199851FC6E31}" dt="2024-09-11T11:12:14.001" v="3782" actId="6264"/>
          <ac:spMkLst>
            <pc:docMk/>
            <pc:sldMk cId="4137072091" sldId="743"/>
            <ac:spMk id="5" creationId="{E2E1B533-A231-B19C-C068-6ECCB3CCE0E0}"/>
          </ac:spMkLst>
        </pc:spChg>
        <pc:spChg chg="add del mod">
          <ac:chgData name="José Antonio Ureta Santacreu" userId="e36999d1-2b92-424a-9e8c-5fde0c5fbdd2" providerId="ADAL" clId="{B441C459-42E0-4465-B296-199851FC6E31}" dt="2024-09-11T11:12:14.001" v="3782" actId="6264"/>
          <ac:spMkLst>
            <pc:docMk/>
            <pc:sldMk cId="4137072091" sldId="743"/>
            <ac:spMk id="6" creationId="{0B703567-1616-544A-C70C-44A3787247CD}"/>
          </ac:spMkLst>
        </pc:spChg>
        <pc:spChg chg="add del mod">
          <ac:chgData name="José Antonio Ureta Santacreu" userId="e36999d1-2b92-424a-9e8c-5fde0c5fbdd2" providerId="ADAL" clId="{B441C459-42E0-4465-B296-199851FC6E31}" dt="2024-09-11T11:12:14.001" v="3782" actId="6264"/>
          <ac:spMkLst>
            <pc:docMk/>
            <pc:sldMk cId="4137072091" sldId="743"/>
            <ac:spMk id="7" creationId="{95EA8573-682C-0010-5C4D-72830468AF2A}"/>
          </ac:spMkLst>
        </pc:spChg>
        <pc:spChg chg="add del mod">
          <ac:chgData name="José Antonio Ureta Santacreu" userId="e36999d1-2b92-424a-9e8c-5fde0c5fbdd2" providerId="ADAL" clId="{B441C459-42E0-4465-B296-199851FC6E31}" dt="2024-09-11T11:12:14.001" v="3782" actId="6264"/>
          <ac:spMkLst>
            <pc:docMk/>
            <pc:sldMk cId="4137072091" sldId="743"/>
            <ac:spMk id="8" creationId="{20237FFF-7BFD-A5B1-C64D-37A4F910EB86}"/>
          </ac:spMkLst>
        </pc:spChg>
        <pc:spChg chg="add del mod">
          <ac:chgData name="José Antonio Ureta Santacreu" userId="e36999d1-2b92-424a-9e8c-5fde0c5fbdd2" providerId="ADAL" clId="{B441C459-42E0-4465-B296-199851FC6E31}" dt="2024-09-11T11:12:14.001" v="3782" actId="6264"/>
          <ac:spMkLst>
            <pc:docMk/>
            <pc:sldMk cId="4137072091" sldId="743"/>
            <ac:spMk id="9" creationId="{EF602D42-9714-B56F-50D1-A56132F0D2E5}"/>
          </ac:spMkLst>
        </pc:spChg>
        <pc:spChg chg="add del mod">
          <ac:chgData name="José Antonio Ureta Santacreu" userId="e36999d1-2b92-424a-9e8c-5fde0c5fbdd2" providerId="ADAL" clId="{B441C459-42E0-4465-B296-199851FC6E31}" dt="2024-09-11T11:12:14.001" v="3782" actId="6264"/>
          <ac:spMkLst>
            <pc:docMk/>
            <pc:sldMk cId="4137072091" sldId="743"/>
            <ac:spMk id="10" creationId="{22C5AE2A-B3DC-FC49-33C9-6F86A0459974}"/>
          </ac:spMkLst>
        </pc:spChg>
        <pc:spChg chg="add del mod">
          <ac:chgData name="José Antonio Ureta Santacreu" userId="e36999d1-2b92-424a-9e8c-5fde0c5fbdd2" providerId="ADAL" clId="{B441C459-42E0-4465-B296-199851FC6E31}" dt="2024-09-11T11:12:14.001" v="3782" actId="6264"/>
          <ac:spMkLst>
            <pc:docMk/>
            <pc:sldMk cId="4137072091" sldId="743"/>
            <ac:spMk id="11" creationId="{A267B354-076D-4663-3D16-F124EF4C2E3A}"/>
          </ac:spMkLst>
        </pc:spChg>
        <pc:spChg chg="mod ord">
          <ac:chgData name="José Antonio Ureta Santacreu" userId="e36999d1-2b92-424a-9e8c-5fde0c5fbdd2" providerId="ADAL" clId="{B441C459-42E0-4465-B296-199851FC6E31}" dt="2024-09-11T11:12:14.001" v="3782" actId="6264"/>
          <ac:spMkLst>
            <pc:docMk/>
            <pc:sldMk cId="4137072091" sldId="743"/>
            <ac:spMk id="13" creationId="{1022CA5E-BFA7-55C1-DFA3-D563893698EE}"/>
          </ac:spMkLst>
        </pc:spChg>
        <pc:spChg chg="mod ord">
          <ac:chgData name="José Antonio Ureta Santacreu" userId="e36999d1-2b92-424a-9e8c-5fde0c5fbdd2" providerId="ADAL" clId="{B441C459-42E0-4465-B296-199851FC6E31}" dt="2024-09-11T11:12:14.001" v="3782" actId="6264"/>
          <ac:spMkLst>
            <pc:docMk/>
            <pc:sldMk cId="4137072091" sldId="743"/>
            <ac:spMk id="14" creationId="{81D14849-E848-C4EC-9156-66C7BFF0538A}"/>
          </ac:spMkLst>
        </pc:spChg>
        <pc:spChg chg="mod ord">
          <ac:chgData name="José Antonio Ureta Santacreu" userId="e36999d1-2b92-424a-9e8c-5fde0c5fbdd2" providerId="ADAL" clId="{B441C459-42E0-4465-B296-199851FC6E31}" dt="2024-09-11T11:12:14.001" v="3782" actId="6264"/>
          <ac:spMkLst>
            <pc:docMk/>
            <pc:sldMk cId="4137072091" sldId="743"/>
            <ac:spMk id="16" creationId="{698A4E15-916F-0A68-6B54-7DE00B5F96C4}"/>
          </ac:spMkLst>
        </pc:spChg>
        <pc:picChg chg="mod ord">
          <ac:chgData name="José Antonio Ureta Santacreu" userId="e36999d1-2b92-424a-9e8c-5fde0c5fbdd2" providerId="ADAL" clId="{B441C459-42E0-4465-B296-199851FC6E31}" dt="2024-09-11T11:12:14.001" v="3782" actId="6264"/>
          <ac:picMkLst>
            <pc:docMk/>
            <pc:sldMk cId="4137072091" sldId="743"/>
            <ac:picMk id="12" creationId="{49D58BC3-BEA5-1261-3040-8D07E01CA84A}"/>
          </ac:picMkLst>
        </pc:picChg>
      </pc:sldChg>
      <pc:sldChg chg="addSp delSp modSp mod chgLayout">
        <pc:chgData name="José Antonio Ureta Santacreu" userId="e36999d1-2b92-424a-9e8c-5fde0c5fbdd2" providerId="ADAL" clId="{B441C459-42E0-4465-B296-199851FC6E31}" dt="2024-09-12T10:40:45.181" v="4133"/>
        <pc:sldMkLst>
          <pc:docMk/>
          <pc:sldMk cId="1430510902" sldId="745"/>
        </pc:sldMkLst>
        <pc:spChg chg="mod ord">
          <ac:chgData name="José Antonio Ureta Santacreu" userId="e36999d1-2b92-424a-9e8c-5fde0c5fbdd2" providerId="ADAL" clId="{B441C459-42E0-4465-B296-199851FC6E31}" dt="2024-09-12T10:38:19.467" v="3947" actId="6264"/>
          <ac:spMkLst>
            <pc:docMk/>
            <pc:sldMk cId="1430510902" sldId="745"/>
            <ac:spMk id="2" creationId="{B75688A7-A90D-2B0A-27C2-2AA085CBA19A}"/>
          </ac:spMkLst>
        </pc:spChg>
        <pc:spChg chg="mod ord">
          <ac:chgData name="José Antonio Ureta Santacreu" userId="e36999d1-2b92-424a-9e8c-5fde0c5fbdd2" providerId="ADAL" clId="{B441C459-42E0-4465-B296-199851FC6E31}" dt="2024-09-12T10:38:19.467" v="3947" actId="6264"/>
          <ac:spMkLst>
            <pc:docMk/>
            <pc:sldMk cId="1430510902" sldId="745"/>
            <ac:spMk id="3" creationId="{FC6F78FC-2056-AEBB-B6A7-E9EFAFBA5DD8}"/>
          </ac:spMkLst>
        </pc:spChg>
        <pc:spChg chg="add del mod">
          <ac:chgData name="José Antonio Ureta Santacreu" userId="e36999d1-2b92-424a-9e8c-5fde0c5fbdd2" providerId="ADAL" clId="{B441C459-42E0-4465-B296-199851FC6E31}" dt="2024-09-12T10:38:19.467" v="3947" actId="6264"/>
          <ac:spMkLst>
            <pc:docMk/>
            <pc:sldMk cId="1430510902" sldId="745"/>
            <ac:spMk id="4" creationId="{4FB93DD0-7130-8353-7002-EF87E0C3EDA0}"/>
          </ac:spMkLst>
        </pc:spChg>
        <pc:spChg chg="add del mod">
          <ac:chgData name="José Antonio Ureta Santacreu" userId="e36999d1-2b92-424a-9e8c-5fde0c5fbdd2" providerId="ADAL" clId="{B441C459-42E0-4465-B296-199851FC6E31}" dt="2024-09-11T11:12:14.001" v="3782" actId="6264"/>
          <ac:spMkLst>
            <pc:docMk/>
            <pc:sldMk cId="1430510902" sldId="745"/>
            <ac:spMk id="4" creationId="{721897F5-41EF-3D73-B81F-83ADF05D0FE1}"/>
          </ac:spMkLst>
        </pc:spChg>
        <pc:spChg chg="mod ord">
          <ac:chgData name="José Antonio Ureta Santacreu" userId="e36999d1-2b92-424a-9e8c-5fde0c5fbdd2" providerId="ADAL" clId="{B441C459-42E0-4465-B296-199851FC6E31}" dt="2024-09-12T10:39:46.456" v="4099" actId="27636"/>
          <ac:spMkLst>
            <pc:docMk/>
            <pc:sldMk cId="1430510902" sldId="745"/>
            <ac:spMk id="5" creationId="{4347F63F-C5FB-67C0-F4CF-E10779682225}"/>
          </ac:spMkLst>
        </pc:spChg>
        <pc:spChg chg="mod ord">
          <ac:chgData name="José Antonio Ureta Santacreu" userId="e36999d1-2b92-424a-9e8c-5fde0c5fbdd2" providerId="ADAL" clId="{B441C459-42E0-4465-B296-199851FC6E31}" dt="2024-09-12T10:38:19.467" v="3947" actId="6264"/>
          <ac:spMkLst>
            <pc:docMk/>
            <pc:sldMk cId="1430510902" sldId="745"/>
            <ac:spMk id="6" creationId="{7EBE8820-E050-4DF8-EAC9-F8074816D4BE}"/>
          </ac:spMkLst>
        </pc:spChg>
        <pc:spChg chg="mod ord">
          <ac:chgData name="José Antonio Ureta Santacreu" userId="e36999d1-2b92-424a-9e8c-5fde0c5fbdd2" providerId="ADAL" clId="{B441C459-42E0-4465-B296-199851FC6E31}" dt="2024-09-12T10:38:19.467" v="3947" actId="6264"/>
          <ac:spMkLst>
            <pc:docMk/>
            <pc:sldMk cId="1430510902" sldId="745"/>
            <ac:spMk id="7" creationId="{73C825B2-DFE1-9F03-C3BA-3A9E2CC87C19}"/>
          </ac:spMkLst>
        </pc:spChg>
        <pc:spChg chg="add del mod">
          <ac:chgData name="José Antonio Ureta Santacreu" userId="e36999d1-2b92-424a-9e8c-5fde0c5fbdd2" providerId="ADAL" clId="{B441C459-42E0-4465-B296-199851FC6E31}" dt="2024-09-11T11:12:14.001" v="3782" actId="6264"/>
          <ac:spMkLst>
            <pc:docMk/>
            <pc:sldMk cId="1430510902" sldId="745"/>
            <ac:spMk id="8" creationId="{801EBF32-6836-1F1C-5888-2FAAF4ABED4F}"/>
          </ac:spMkLst>
        </pc:spChg>
        <pc:spChg chg="add del mod">
          <ac:chgData name="José Antonio Ureta Santacreu" userId="e36999d1-2b92-424a-9e8c-5fde0c5fbdd2" providerId="ADAL" clId="{B441C459-42E0-4465-B296-199851FC6E31}" dt="2024-09-12T10:38:19.467" v="3947" actId="6264"/>
          <ac:spMkLst>
            <pc:docMk/>
            <pc:sldMk cId="1430510902" sldId="745"/>
            <ac:spMk id="8" creationId="{C0780164-0970-877B-27FD-C96621F1C8F7}"/>
          </ac:spMkLst>
        </pc:spChg>
        <pc:spChg chg="add del mod">
          <ac:chgData name="José Antonio Ureta Santacreu" userId="e36999d1-2b92-424a-9e8c-5fde0c5fbdd2" providerId="ADAL" clId="{B441C459-42E0-4465-B296-199851FC6E31}" dt="2024-09-11T11:12:14.001" v="3782" actId="6264"/>
          <ac:spMkLst>
            <pc:docMk/>
            <pc:sldMk cId="1430510902" sldId="745"/>
            <ac:spMk id="9" creationId="{8A9C22CE-9B75-410F-4196-EA201275985D}"/>
          </ac:spMkLst>
        </pc:spChg>
        <pc:spChg chg="add del mod">
          <ac:chgData name="José Antonio Ureta Santacreu" userId="e36999d1-2b92-424a-9e8c-5fde0c5fbdd2" providerId="ADAL" clId="{B441C459-42E0-4465-B296-199851FC6E31}" dt="2024-09-12T10:38:19.467" v="3947" actId="6264"/>
          <ac:spMkLst>
            <pc:docMk/>
            <pc:sldMk cId="1430510902" sldId="745"/>
            <ac:spMk id="9" creationId="{EA63AC4D-0B2C-B48F-BAA5-A52BC0CEB11D}"/>
          </ac:spMkLst>
        </pc:spChg>
        <pc:spChg chg="add del mod">
          <ac:chgData name="José Antonio Ureta Santacreu" userId="e36999d1-2b92-424a-9e8c-5fde0c5fbdd2" providerId="ADAL" clId="{B441C459-42E0-4465-B296-199851FC6E31}" dt="2024-09-11T11:12:14.001" v="3782" actId="6264"/>
          <ac:spMkLst>
            <pc:docMk/>
            <pc:sldMk cId="1430510902" sldId="745"/>
            <ac:spMk id="10" creationId="{84C7AA04-2000-0993-9FAA-E9D113440ADC}"/>
          </ac:spMkLst>
        </pc:spChg>
        <pc:spChg chg="add del mod">
          <ac:chgData name="José Antonio Ureta Santacreu" userId="e36999d1-2b92-424a-9e8c-5fde0c5fbdd2" providerId="ADAL" clId="{B441C459-42E0-4465-B296-199851FC6E31}" dt="2024-09-12T10:38:19.467" v="3947" actId="6264"/>
          <ac:spMkLst>
            <pc:docMk/>
            <pc:sldMk cId="1430510902" sldId="745"/>
            <ac:spMk id="10" creationId="{BE5C4147-0EE0-469C-EC98-E5DC43892BC0}"/>
          </ac:spMkLst>
        </pc:spChg>
        <pc:spChg chg="add del mod">
          <ac:chgData name="José Antonio Ureta Santacreu" userId="e36999d1-2b92-424a-9e8c-5fde0c5fbdd2" providerId="ADAL" clId="{B441C459-42E0-4465-B296-199851FC6E31}" dt="2024-09-12T10:38:19.467" v="3947" actId="6264"/>
          <ac:spMkLst>
            <pc:docMk/>
            <pc:sldMk cId="1430510902" sldId="745"/>
            <ac:spMk id="11" creationId="{B15BA33A-F308-7F90-1B9C-CB9B7C46392E}"/>
          </ac:spMkLst>
        </pc:spChg>
        <pc:spChg chg="add del mod">
          <ac:chgData name="José Antonio Ureta Santacreu" userId="e36999d1-2b92-424a-9e8c-5fde0c5fbdd2" providerId="ADAL" clId="{B441C459-42E0-4465-B296-199851FC6E31}" dt="2024-09-11T11:12:14.001" v="3782" actId="6264"/>
          <ac:spMkLst>
            <pc:docMk/>
            <pc:sldMk cId="1430510902" sldId="745"/>
            <ac:spMk id="11" creationId="{B4DE8592-902E-8DA9-9B1E-BBF5EE62F945}"/>
          </ac:spMkLst>
        </pc:spChg>
        <pc:spChg chg="mod ord">
          <ac:chgData name="José Antonio Ureta Santacreu" userId="e36999d1-2b92-424a-9e8c-5fde0c5fbdd2" providerId="ADAL" clId="{B441C459-42E0-4465-B296-199851FC6E31}" dt="2024-09-12T10:38:19.467" v="3947" actId="6264"/>
          <ac:spMkLst>
            <pc:docMk/>
            <pc:sldMk cId="1430510902" sldId="745"/>
            <ac:spMk id="12" creationId="{FF6983F0-FD2B-DA91-CC61-2FB78535C321}"/>
          </ac:spMkLst>
        </pc:spChg>
        <pc:spChg chg="add del mod">
          <ac:chgData name="José Antonio Ureta Santacreu" userId="e36999d1-2b92-424a-9e8c-5fde0c5fbdd2" providerId="ADAL" clId="{B441C459-42E0-4465-B296-199851FC6E31}" dt="2024-09-11T11:12:14.001" v="3782" actId="6264"/>
          <ac:spMkLst>
            <pc:docMk/>
            <pc:sldMk cId="1430510902" sldId="745"/>
            <ac:spMk id="14" creationId="{3CEECC89-19A6-1D07-8F3B-BFD7EF5A3AE0}"/>
          </ac:spMkLst>
        </pc:spChg>
        <pc:spChg chg="add del mod">
          <ac:chgData name="José Antonio Ureta Santacreu" userId="e36999d1-2b92-424a-9e8c-5fde0c5fbdd2" providerId="ADAL" clId="{B441C459-42E0-4465-B296-199851FC6E31}" dt="2024-09-12T10:38:19.467" v="3947" actId="6264"/>
          <ac:spMkLst>
            <pc:docMk/>
            <pc:sldMk cId="1430510902" sldId="745"/>
            <ac:spMk id="14" creationId="{92C9B1DF-FDD0-5BE9-7770-6B1AD980394B}"/>
          </ac:spMkLst>
        </pc:spChg>
        <pc:spChg chg="add del mod">
          <ac:chgData name="José Antonio Ureta Santacreu" userId="e36999d1-2b92-424a-9e8c-5fde0c5fbdd2" providerId="ADAL" clId="{B441C459-42E0-4465-B296-199851FC6E31}" dt="2024-09-11T11:12:14.001" v="3782" actId="6264"/>
          <ac:spMkLst>
            <pc:docMk/>
            <pc:sldMk cId="1430510902" sldId="745"/>
            <ac:spMk id="15" creationId="{BDF7CC55-143F-1359-8C3C-66F0C1F781DF}"/>
          </ac:spMkLst>
        </pc:spChg>
        <pc:spChg chg="add del mod">
          <ac:chgData name="José Antonio Ureta Santacreu" userId="e36999d1-2b92-424a-9e8c-5fde0c5fbdd2" providerId="ADAL" clId="{B441C459-42E0-4465-B296-199851FC6E31}" dt="2024-09-12T10:38:19.467" v="3947" actId="6264"/>
          <ac:spMkLst>
            <pc:docMk/>
            <pc:sldMk cId="1430510902" sldId="745"/>
            <ac:spMk id="15" creationId="{BF3EC0CD-4928-4E43-0FE1-599A48B7D888}"/>
          </ac:spMkLst>
        </pc:spChg>
        <pc:spChg chg="add del mod">
          <ac:chgData name="José Antonio Ureta Santacreu" userId="e36999d1-2b92-424a-9e8c-5fde0c5fbdd2" providerId="ADAL" clId="{B441C459-42E0-4465-B296-199851FC6E31}" dt="2024-09-12T10:40:45.181" v="4133"/>
          <ac:spMkLst>
            <pc:docMk/>
            <pc:sldMk cId="1430510902" sldId="745"/>
            <ac:spMk id="31" creationId="{B33B11B3-3D26-0E0F-A030-65D84C225DFF}"/>
          </ac:spMkLst>
        </pc:spChg>
        <pc:picChg chg="del mod ord">
          <ac:chgData name="José Antonio Ureta Santacreu" userId="e36999d1-2b92-424a-9e8c-5fde0c5fbdd2" providerId="ADAL" clId="{B441C459-42E0-4465-B296-199851FC6E31}" dt="2024-09-12T10:40:42.364" v="4132" actId="21"/>
          <ac:picMkLst>
            <pc:docMk/>
            <pc:sldMk cId="1430510902" sldId="745"/>
            <ac:picMk id="13" creationId="{2F57A187-341D-6846-1452-3274F95BBE23}"/>
          </ac:picMkLst>
        </pc:picChg>
        <pc:picChg chg="add mod">
          <ac:chgData name="José Antonio Ureta Santacreu" userId="e36999d1-2b92-424a-9e8c-5fde0c5fbdd2" providerId="ADAL" clId="{B441C459-42E0-4465-B296-199851FC6E31}" dt="2024-09-12T10:40:45.181" v="4133"/>
          <ac:picMkLst>
            <pc:docMk/>
            <pc:sldMk cId="1430510902" sldId="745"/>
            <ac:picMk id="32" creationId="{2F57A187-341D-6846-1452-3274F95BBE23}"/>
          </ac:picMkLst>
        </pc:picChg>
      </pc:sldChg>
      <pc:sldChg chg="addSp delSp modSp mod chgLayout">
        <pc:chgData name="José Antonio Ureta Santacreu" userId="e36999d1-2b92-424a-9e8c-5fde0c5fbdd2" providerId="ADAL" clId="{B441C459-42E0-4465-B296-199851FC6E31}" dt="2024-09-12T15:47:03.332" v="5178" actId="2"/>
        <pc:sldMkLst>
          <pc:docMk/>
          <pc:sldMk cId="2286303145" sldId="750"/>
        </pc:sldMkLst>
        <pc:spChg chg="mod ord">
          <ac:chgData name="José Antonio Ureta Santacreu" userId="e36999d1-2b92-424a-9e8c-5fde0c5fbdd2" providerId="ADAL" clId="{B441C459-42E0-4465-B296-199851FC6E31}" dt="2024-09-11T11:12:14.001" v="3782" actId="6264"/>
          <ac:spMkLst>
            <pc:docMk/>
            <pc:sldMk cId="2286303145" sldId="750"/>
            <ac:spMk id="2" creationId="{A16DB73B-3371-F5C0-CF10-940AEF2C6325}"/>
          </ac:spMkLst>
        </pc:spChg>
        <pc:spChg chg="mod ord">
          <ac:chgData name="José Antonio Ureta Santacreu" userId="e36999d1-2b92-424a-9e8c-5fde0c5fbdd2" providerId="ADAL" clId="{B441C459-42E0-4465-B296-199851FC6E31}" dt="2024-09-11T11:12:14.001" v="3782" actId="6264"/>
          <ac:spMkLst>
            <pc:docMk/>
            <pc:sldMk cId="2286303145" sldId="750"/>
            <ac:spMk id="3" creationId="{C042A72F-90E8-57CE-E22B-1746F4FAC082}"/>
          </ac:spMkLst>
        </pc:spChg>
        <pc:spChg chg="mod ord">
          <ac:chgData name="José Antonio Ureta Santacreu" userId="e36999d1-2b92-424a-9e8c-5fde0c5fbdd2" providerId="ADAL" clId="{B441C459-42E0-4465-B296-199851FC6E31}" dt="2024-09-11T11:12:14.001" v="3782" actId="6264"/>
          <ac:spMkLst>
            <pc:docMk/>
            <pc:sldMk cId="2286303145" sldId="750"/>
            <ac:spMk id="4" creationId="{685068EF-9B61-1A6A-9517-971E713FB241}"/>
          </ac:spMkLst>
        </pc:spChg>
        <pc:spChg chg="mod ord">
          <ac:chgData name="José Antonio Ureta Santacreu" userId="e36999d1-2b92-424a-9e8c-5fde0c5fbdd2" providerId="ADAL" clId="{B441C459-42E0-4465-B296-199851FC6E31}" dt="2024-09-11T11:12:14.001" v="3782" actId="6264"/>
          <ac:spMkLst>
            <pc:docMk/>
            <pc:sldMk cId="2286303145" sldId="750"/>
            <ac:spMk id="5" creationId="{ADB58516-C38B-CD62-AF6D-221F01044A48}"/>
          </ac:spMkLst>
        </pc:spChg>
        <pc:spChg chg="add del mod">
          <ac:chgData name="José Antonio Ureta Santacreu" userId="e36999d1-2b92-424a-9e8c-5fde0c5fbdd2" providerId="ADAL" clId="{B441C459-42E0-4465-B296-199851FC6E31}" dt="2024-09-11T11:12:14.001" v="3782" actId="6264"/>
          <ac:spMkLst>
            <pc:docMk/>
            <pc:sldMk cId="2286303145" sldId="750"/>
            <ac:spMk id="7" creationId="{FE9BD378-D9C9-E789-4433-966FD2D899B5}"/>
          </ac:spMkLst>
        </pc:spChg>
        <pc:spChg chg="add del mod">
          <ac:chgData name="José Antonio Ureta Santacreu" userId="e36999d1-2b92-424a-9e8c-5fde0c5fbdd2" providerId="ADAL" clId="{B441C459-42E0-4465-B296-199851FC6E31}" dt="2024-09-11T11:12:14.001" v="3782" actId="6264"/>
          <ac:spMkLst>
            <pc:docMk/>
            <pc:sldMk cId="2286303145" sldId="750"/>
            <ac:spMk id="8" creationId="{618DE28B-6342-8943-0913-811CF337095C}"/>
          </ac:spMkLst>
        </pc:spChg>
        <pc:spChg chg="add del mod">
          <ac:chgData name="José Antonio Ureta Santacreu" userId="e36999d1-2b92-424a-9e8c-5fde0c5fbdd2" providerId="ADAL" clId="{B441C459-42E0-4465-B296-199851FC6E31}" dt="2024-09-11T11:12:14.001" v="3782" actId="6264"/>
          <ac:spMkLst>
            <pc:docMk/>
            <pc:sldMk cId="2286303145" sldId="750"/>
            <ac:spMk id="10" creationId="{A2FB6557-1215-5772-6751-A49D2D3A0F3A}"/>
          </ac:spMkLst>
        </pc:spChg>
        <pc:spChg chg="add del mod">
          <ac:chgData name="José Antonio Ureta Santacreu" userId="e36999d1-2b92-424a-9e8c-5fde0c5fbdd2" providerId="ADAL" clId="{B441C459-42E0-4465-B296-199851FC6E31}" dt="2024-09-11T11:12:14.001" v="3782" actId="6264"/>
          <ac:spMkLst>
            <pc:docMk/>
            <pc:sldMk cId="2286303145" sldId="750"/>
            <ac:spMk id="11" creationId="{6484513B-9B3D-5E82-245F-C9064A951152}"/>
          </ac:spMkLst>
        </pc:spChg>
        <pc:spChg chg="mod">
          <ac:chgData name="José Antonio Ureta Santacreu" userId="e36999d1-2b92-424a-9e8c-5fde0c5fbdd2" providerId="ADAL" clId="{B441C459-42E0-4465-B296-199851FC6E31}" dt="2024-09-12T15:47:01.557" v="5176" actId="2"/>
          <ac:spMkLst>
            <pc:docMk/>
            <pc:sldMk cId="2286303145" sldId="750"/>
            <ac:spMk id="25" creationId="{BD887F1D-186D-5BC2-C6E5-299E8C1C3D0C}"/>
          </ac:spMkLst>
        </pc:spChg>
        <pc:spChg chg="mod">
          <ac:chgData name="José Antonio Ureta Santacreu" userId="e36999d1-2b92-424a-9e8c-5fde0c5fbdd2" providerId="ADAL" clId="{B441C459-42E0-4465-B296-199851FC6E31}" dt="2024-09-12T15:47:03.332" v="5178" actId="2"/>
          <ac:spMkLst>
            <pc:docMk/>
            <pc:sldMk cId="2286303145" sldId="750"/>
            <ac:spMk id="29" creationId="{8B4D1268-E1D2-C3E6-054C-A0D32BA64525}"/>
          </ac:spMkLst>
        </pc:spChg>
      </pc:sldChg>
      <pc:sldChg chg="addSp delSp modSp mod chgLayout">
        <pc:chgData name="José Antonio Ureta Santacreu" userId="e36999d1-2b92-424a-9e8c-5fde0c5fbdd2" providerId="ADAL" clId="{B441C459-42E0-4465-B296-199851FC6E31}" dt="2024-09-11T11:12:14.001" v="3782" actId="6264"/>
        <pc:sldMkLst>
          <pc:docMk/>
          <pc:sldMk cId="2790198620" sldId="760"/>
        </pc:sldMkLst>
        <pc:spChg chg="mod ord">
          <ac:chgData name="José Antonio Ureta Santacreu" userId="e36999d1-2b92-424a-9e8c-5fde0c5fbdd2" providerId="ADAL" clId="{B441C459-42E0-4465-B296-199851FC6E31}" dt="2024-09-11T11:12:14.001" v="3782" actId="6264"/>
          <ac:spMkLst>
            <pc:docMk/>
            <pc:sldMk cId="2790198620" sldId="760"/>
            <ac:spMk id="2" creationId="{D601A298-46A1-46CB-8640-1F3F59AE9DAD}"/>
          </ac:spMkLst>
        </pc:spChg>
        <pc:spChg chg="add del mod">
          <ac:chgData name="José Antonio Ureta Santacreu" userId="e36999d1-2b92-424a-9e8c-5fde0c5fbdd2" providerId="ADAL" clId="{B441C459-42E0-4465-B296-199851FC6E31}" dt="2024-09-11T11:12:14.001" v="3782" actId="6264"/>
          <ac:spMkLst>
            <pc:docMk/>
            <pc:sldMk cId="2790198620" sldId="760"/>
            <ac:spMk id="3" creationId="{055222D6-BE85-C4F2-72D6-EE11F728069E}"/>
          </ac:spMkLst>
        </pc:spChg>
        <pc:spChg chg="add del mod">
          <ac:chgData name="José Antonio Ureta Santacreu" userId="e36999d1-2b92-424a-9e8c-5fde0c5fbdd2" providerId="ADAL" clId="{B441C459-42E0-4465-B296-199851FC6E31}" dt="2024-09-11T11:12:14.001" v="3782" actId="6264"/>
          <ac:spMkLst>
            <pc:docMk/>
            <pc:sldMk cId="2790198620" sldId="760"/>
            <ac:spMk id="4" creationId="{E91698ED-C18B-2F7A-3A23-FD7DF5CB30DB}"/>
          </ac:spMkLst>
        </pc:spChg>
        <pc:spChg chg="add del mod">
          <ac:chgData name="José Antonio Ureta Santacreu" userId="e36999d1-2b92-424a-9e8c-5fde0c5fbdd2" providerId="ADAL" clId="{B441C459-42E0-4465-B296-199851FC6E31}" dt="2024-09-11T11:12:14.001" v="3782" actId="6264"/>
          <ac:spMkLst>
            <pc:docMk/>
            <pc:sldMk cId="2790198620" sldId="760"/>
            <ac:spMk id="5" creationId="{30B49065-309D-2AC4-CB0A-9ACC94BBA2CA}"/>
          </ac:spMkLst>
        </pc:spChg>
        <pc:spChg chg="mod ord">
          <ac:chgData name="José Antonio Ureta Santacreu" userId="e36999d1-2b92-424a-9e8c-5fde0c5fbdd2" providerId="ADAL" clId="{B441C459-42E0-4465-B296-199851FC6E31}" dt="2024-09-11T11:12:14.001" v="3782" actId="6264"/>
          <ac:spMkLst>
            <pc:docMk/>
            <pc:sldMk cId="2790198620" sldId="760"/>
            <ac:spMk id="6" creationId="{62EAE47E-6B2C-4464-B6B7-7D56B3FE7062}"/>
          </ac:spMkLst>
        </pc:spChg>
        <pc:spChg chg="add del mod">
          <ac:chgData name="José Antonio Ureta Santacreu" userId="e36999d1-2b92-424a-9e8c-5fde0c5fbdd2" providerId="ADAL" clId="{B441C459-42E0-4465-B296-199851FC6E31}" dt="2024-09-11T11:12:14.001" v="3782" actId="6264"/>
          <ac:spMkLst>
            <pc:docMk/>
            <pc:sldMk cId="2790198620" sldId="760"/>
            <ac:spMk id="7" creationId="{38A55CDA-A3B2-562E-48ED-30815D9A6121}"/>
          </ac:spMkLst>
        </pc:spChg>
        <pc:spChg chg="mod ord">
          <ac:chgData name="José Antonio Ureta Santacreu" userId="e36999d1-2b92-424a-9e8c-5fde0c5fbdd2" providerId="ADAL" clId="{B441C459-42E0-4465-B296-199851FC6E31}" dt="2024-09-11T11:12:14.001" v="3782" actId="6264"/>
          <ac:spMkLst>
            <pc:docMk/>
            <pc:sldMk cId="2790198620" sldId="760"/>
            <ac:spMk id="9" creationId="{2CE86970-D988-4C8A-B130-DFAC2BCE55C0}"/>
          </ac:spMkLst>
        </pc:spChg>
        <pc:spChg chg="add del mod">
          <ac:chgData name="José Antonio Ureta Santacreu" userId="e36999d1-2b92-424a-9e8c-5fde0c5fbdd2" providerId="ADAL" clId="{B441C459-42E0-4465-B296-199851FC6E31}" dt="2024-09-11T11:12:14.001" v="3782" actId="6264"/>
          <ac:spMkLst>
            <pc:docMk/>
            <pc:sldMk cId="2790198620" sldId="760"/>
            <ac:spMk id="10" creationId="{AAB06CC8-12F7-E79C-0BBC-1310D9432A57}"/>
          </ac:spMkLst>
        </pc:spChg>
        <pc:spChg chg="add del mod">
          <ac:chgData name="José Antonio Ureta Santacreu" userId="e36999d1-2b92-424a-9e8c-5fde0c5fbdd2" providerId="ADAL" clId="{B441C459-42E0-4465-B296-199851FC6E31}" dt="2024-09-11T11:12:14.001" v="3782" actId="6264"/>
          <ac:spMkLst>
            <pc:docMk/>
            <pc:sldMk cId="2790198620" sldId="760"/>
            <ac:spMk id="11" creationId="{2570AD6E-C4AE-44A4-ACBE-6345D9FE4FD4}"/>
          </ac:spMkLst>
        </pc:spChg>
        <pc:spChg chg="add del mod">
          <ac:chgData name="José Antonio Ureta Santacreu" userId="e36999d1-2b92-424a-9e8c-5fde0c5fbdd2" providerId="ADAL" clId="{B441C459-42E0-4465-B296-199851FC6E31}" dt="2024-09-11T11:12:14.001" v="3782" actId="6264"/>
          <ac:spMkLst>
            <pc:docMk/>
            <pc:sldMk cId="2790198620" sldId="760"/>
            <ac:spMk id="12" creationId="{1A124EC6-7A73-B2A4-FC22-6AC5E3C7150F}"/>
          </ac:spMkLst>
        </pc:spChg>
        <pc:spChg chg="add del mod">
          <ac:chgData name="José Antonio Ureta Santacreu" userId="e36999d1-2b92-424a-9e8c-5fde0c5fbdd2" providerId="ADAL" clId="{B441C459-42E0-4465-B296-199851FC6E31}" dt="2024-09-11T11:12:14.001" v="3782" actId="6264"/>
          <ac:spMkLst>
            <pc:docMk/>
            <pc:sldMk cId="2790198620" sldId="760"/>
            <ac:spMk id="13" creationId="{0BEDECCF-0494-F4B0-F92D-579520055162}"/>
          </ac:spMkLst>
        </pc:spChg>
        <pc:spChg chg="mod ord">
          <ac:chgData name="José Antonio Ureta Santacreu" userId="e36999d1-2b92-424a-9e8c-5fde0c5fbdd2" providerId="ADAL" clId="{B441C459-42E0-4465-B296-199851FC6E31}" dt="2024-09-11T11:12:14.001" v="3782" actId="6264"/>
          <ac:spMkLst>
            <pc:docMk/>
            <pc:sldMk cId="2790198620" sldId="760"/>
            <ac:spMk id="21" creationId="{7F076342-D29E-421E-905F-E76B9AA08B95}"/>
          </ac:spMkLst>
        </pc:spChg>
        <pc:spChg chg="mod ord">
          <ac:chgData name="José Antonio Ureta Santacreu" userId="e36999d1-2b92-424a-9e8c-5fde0c5fbdd2" providerId="ADAL" clId="{B441C459-42E0-4465-B296-199851FC6E31}" dt="2024-09-11T11:12:14.001" v="3782" actId="6264"/>
          <ac:spMkLst>
            <pc:docMk/>
            <pc:sldMk cId="2790198620" sldId="760"/>
            <ac:spMk id="22" creationId="{93386B9B-4B4A-46C3-B4C9-DA6093431A6E}"/>
          </ac:spMkLst>
        </pc:spChg>
        <pc:spChg chg="mod ord">
          <ac:chgData name="José Antonio Ureta Santacreu" userId="e36999d1-2b92-424a-9e8c-5fde0c5fbdd2" providerId="ADAL" clId="{B441C459-42E0-4465-B296-199851FC6E31}" dt="2024-09-11T11:12:14.001" v="3782" actId="6264"/>
          <ac:spMkLst>
            <pc:docMk/>
            <pc:sldMk cId="2790198620" sldId="760"/>
            <ac:spMk id="23" creationId="{6CFA8483-F961-4CE2-93E1-272B751F8EA0}"/>
          </ac:spMkLst>
        </pc:spChg>
        <pc:picChg chg="mod ord">
          <ac:chgData name="José Antonio Ureta Santacreu" userId="e36999d1-2b92-424a-9e8c-5fde0c5fbdd2" providerId="ADAL" clId="{B441C459-42E0-4465-B296-199851FC6E31}" dt="2024-09-11T11:12:14.001" v="3782" actId="6264"/>
          <ac:picMkLst>
            <pc:docMk/>
            <pc:sldMk cId="2790198620" sldId="760"/>
            <ac:picMk id="1026" creationId="{00000000-0000-0000-0000-000000000000}"/>
          </ac:picMkLst>
        </pc:picChg>
        <pc:picChg chg="mod ord">
          <ac:chgData name="José Antonio Ureta Santacreu" userId="e36999d1-2b92-424a-9e8c-5fde0c5fbdd2" providerId="ADAL" clId="{B441C459-42E0-4465-B296-199851FC6E31}" dt="2024-09-11T11:12:14.001" v="3782" actId="6264"/>
          <ac:picMkLst>
            <pc:docMk/>
            <pc:sldMk cId="2790198620" sldId="760"/>
            <ac:picMk id="1028" creationId="{00000000-0000-0000-0000-000000000000}"/>
          </ac:picMkLst>
        </pc:picChg>
      </pc:sldChg>
      <pc:sldChg chg="addSp delSp modSp mod chgLayout">
        <pc:chgData name="José Antonio Ureta Santacreu" userId="e36999d1-2b92-424a-9e8c-5fde0c5fbdd2" providerId="ADAL" clId="{B441C459-42E0-4465-B296-199851FC6E31}" dt="2024-09-12T10:39:46.456" v="4100" actId="27636"/>
        <pc:sldMkLst>
          <pc:docMk/>
          <pc:sldMk cId="1268529493" sldId="761"/>
        </pc:sldMkLst>
        <pc:spChg chg="mod ord">
          <ac:chgData name="José Antonio Ureta Santacreu" userId="e36999d1-2b92-424a-9e8c-5fde0c5fbdd2" providerId="ADAL" clId="{B441C459-42E0-4465-B296-199851FC6E31}" dt="2024-09-11T11:12:14.001" v="3782" actId="6264"/>
          <ac:spMkLst>
            <pc:docMk/>
            <pc:sldMk cId="1268529493" sldId="761"/>
            <ac:spMk id="2" creationId="{7C1CE78C-9BEA-6214-211F-54CEBC93EB69}"/>
          </ac:spMkLst>
        </pc:spChg>
        <pc:spChg chg="mod ord">
          <ac:chgData name="José Antonio Ureta Santacreu" userId="e36999d1-2b92-424a-9e8c-5fde0c5fbdd2" providerId="ADAL" clId="{B441C459-42E0-4465-B296-199851FC6E31}" dt="2024-09-11T11:12:14.001" v="3782" actId="6264"/>
          <ac:spMkLst>
            <pc:docMk/>
            <pc:sldMk cId="1268529493" sldId="761"/>
            <ac:spMk id="3" creationId="{A70DC7F6-2661-4048-9690-DDFEB34F2B4E}"/>
          </ac:spMkLst>
        </pc:spChg>
        <pc:spChg chg="add del mod">
          <ac:chgData name="José Antonio Ureta Santacreu" userId="e36999d1-2b92-424a-9e8c-5fde0c5fbdd2" providerId="ADAL" clId="{B441C459-42E0-4465-B296-199851FC6E31}" dt="2024-09-11T11:12:14.001" v="3782" actId="6264"/>
          <ac:spMkLst>
            <pc:docMk/>
            <pc:sldMk cId="1268529493" sldId="761"/>
            <ac:spMk id="4" creationId="{28C246DD-0EEE-DD33-27E7-F57ED61513B7}"/>
          </ac:spMkLst>
        </pc:spChg>
        <pc:spChg chg="mod ord">
          <ac:chgData name="José Antonio Ureta Santacreu" userId="e36999d1-2b92-424a-9e8c-5fde0c5fbdd2" providerId="ADAL" clId="{B441C459-42E0-4465-B296-199851FC6E31}" dt="2024-09-12T10:39:46.456" v="4100" actId="27636"/>
          <ac:spMkLst>
            <pc:docMk/>
            <pc:sldMk cId="1268529493" sldId="761"/>
            <ac:spMk id="5" creationId="{98699CCE-A51B-9CDC-0AF0-A046F78AC702}"/>
          </ac:spMkLst>
        </pc:spChg>
        <pc:spChg chg="mod ord">
          <ac:chgData name="José Antonio Ureta Santacreu" userId="e36999d1-2b92-424a-9e8c-5fde0c5fbdd2" providerId="ADAL" clId="{B441C459-42E0-4465-B296-199851FC6E31}" dt="2024-09-11T11:12:14.001" v="3782" actId="6264"/>
          <ac:spMkLst>
            <pc:docMk/>
            <pc:sldMk cId="1268529493" sldId="761"/>
            <ac:spMk id="6" creationId="{3956A073-41FA-6E43-6664-387CDAA2FC4D}"/>
          </ac:spMkLst>
        </pc:spChg>
        <pc:spChg chg="mod ord">
          <ac:chgData name="José Antonio Ureta Santacreu" userId="e36999d1-2b92-424a-9e8c-5fde0c5fbdd2" providerId="ADAL" clId="{B441C459-42E0-4465-B296-199851FC6E31}" dt="2024-09-11T11:12:14.001" v="3782" actId="6264"/>
          <ac:spMkLst>
            <pc:docMk/>
            <pc:sldMk cId="1268529493" sldId="761"/>
            <ac:spMk id="7" creationId="{F581116B-DF54-EADE-8ACE-04DD213E9C4C}"/>
          </ac:spMkLst>
        </pc:spChg>
        <pc:spChg chg="add del mod">
          <ac:chgData name="José Antonio Ureta Santacreu" userId="e36999d1-2b92-424a-9e8c-5fde0c5fbdd2" providerId="ADAL" clId="{B441C459-42E0-4465-B296-199851FC6E31}" dt="2024-09-11T11:12:14.001" v="3782" actId="6264"/>
          <ac:spMkLst>
            <pc:docMk/>
            <pc:sldMk cId="1268529493" sldId="761"/>
            <ac:spMk id="8" creationId="{3BD33D59-0325-CF38-DF1B-D9D67DA07CE3}"/>
          </ac:spMkLst>
        </pc:spChg>
        <pc:spChg chg="add del mod">
          <ac:chgData name="José Antonio Ureta Santacreu" userId="e36999d1-2b92-424a-9e8c-5fde0c5fbdd2" providerId="ADAL" clId="{B441C459-42E0-4465-B296-199851FC6E31}" dt="2024-09-11T11:12:14.001" v="3782" actId="6264"/>
          <ac:spMkLst>
            <pc:docMk/>
            <pc:sldMk cId="1268529493" sldId="761"/>
            <ac:spMk id="9" creationId="{E10A7B6C-A3D4-9344-7B6C-77124AAAD152}"/>
          </ac:spMkLst>
        </pc:spChg>
        <pc:spChg chg="add del mod">
          <ac:chgData name="José Antonio Ureta Santacreu" userId="e36999d1-2b92-424a-9e8c-5fde0c5fbdd2" providerId="ADAL" clId="{B441C459-42E0-4465-B296-199851FC6E31}" dt="2024-09-11T11:12:14.001" v="3782" actId="6264"/>
          <ac:spMkLst>
            <pc:docMk/>
            <pc:sldMk cId="1268529493" sldId="761"/>
            <ac:spMk id="10" creationId="{61D208A3-82F4-3A11-F822-B6284FF45675}"/>
          </ac:spMkLst>
        </pc:spChg>
        <pc:spChg chg="mod ord">
          <ac:chgData name="José Antonio Ureta Santacreu" userId="e36999d1-2b92-424a-9e8c-5fde0c5fbdd2" providerId="ADAL" clId="{B441C459-42E0-4465-B296-199851FC6E31}" dt="2024-09-11T11:12:14.001" v="3782" actId="6264"/>
          <ac:spMkLst>
            <pc:docMk/>
            <pc:sldMk cId="1268529493" sldId="761"/>
            <ac:spMk id="11" creationId="{7AD5D9DB-ED76-05ED-ACE0-DB57D120747B}"/>
          </ac:spMkLst>
        </pc:spChg>
        <pc:spChg chg="add del mod">
          <ac:chgData name="José Antonio Ureta Santacreu" userId="e36999d1-2b92-424a-9e8c-5fde0c5fbdd2" providerId="ADAL" clId="{B441C459-42E0-4465-B296-199851FC6E31}" dt="2024-09-11T11:12:14.001" v="3782" actId="6264"/>
          <ac:spMkLst>
            <pc:docMk/>
            <pc:sldMk cId="1268529493" sldId="761"/>
            <ac:spMk id="13" creationId="{4C45194B-99BA-913F-E53F-8D7C3EAB231A}"/>
          </ac:spMkLst>
        </pc:spChg>
        <pc:spChg chg="add del mod">
          <ac:chgData name="José Antonio Ureta Santacreu" userId="e36999d1-2b92-424a-9e8c-5fde0c5fbdd2" providerId="ADAL" clId="{B441C459-42E0-4465-B296-199851FC6E31}" dt="2024-09-11T11:12:14.001" v="3782" actId="6264"/>
          <ac:spMkLst>
            <pc:docMk/>
            <pc:sldMk cId="1268529493" sldId="761"/>
            <ac:spMk id="14" creationId="{5553A3DB-EA21-C92F-85EB-4E57C7CE0DB1}"/>
          </ac:spMkLst>
        </pc:spChg>
        <pc:spChg chg="add del mod">
          <ac:chgData name="José Antonio Ureta Santacreu" userId="e36999d1-2b92-424a-9e8c-5fde0c5fbdd2" providerId="ADAL" clId="{B441C459-42E0-4465-B296-199851FC6E31}" dt="2024-09-11T11:12:14.001" v="3782" actId="6264"/>
          <ac:spMkLst>
            <pc:docMk/>
            <pc:sldMk cId="1268529493" sldId="761"/>
            <ac:spMk id="15" creationId="{B85DC51A-4A51-CC51-4A78-28ECEF47E864}"/>
          </ac:spMkLst>
        </pc:spChg>
        <pc:picChg chg="mod ord">
          <ac:chgData name="José Antonio Ureta Santacreu" userId="e36999d1-2b92-424a-9e8c-5fde0c5fbdd2" providerId="ADAL" clId="{B441C459-42E0-4465-B296-199851FC6E31}" dt="2024-09-11T11:12:14.001" v="3782" actId="6264"/>
          <ac:picMkLst>
            <pc:docMk/>
            <pc:sldMk cId="1268529493" sldId="761"/>
            <ac:picMk id="12" creationId="{C8840150-3A39-8427-70A5-5B915F1C7F4E}"/>
          </ac:picMkLst>
        </pc:picChg>
      </pc:sldChg>
      <pc:sldChg chg="addSp delSp modSp mod chgLayout">
        <pc:chgData name="José Antonio Ureta Santacreu" userId="e36999d1-2b92-424a-9e8c-5fde0c5fbdd2" providerId="ADAL" clId="{B441C459-42E0-4465-B296-199851FC6E31}" dt="2024-09-12T10:37:26.570" v="3917" actId="27636"/>
        <pc:sldMkLst>
          <pc:docMk/>
          <pc:sldMk cId="2280314011" sldId="764"/>
        </pc:sldMkLst>
        <pc:spChg chg="mod ord">
          <ac:chgData name="José Antonio Ureta Santacreu" userId="e36999d1-2b92-424a-9e8c-5fde0c5fbdd2" providerId="ADAL" clId="{B441C459-42E0-4465-B296-199851FC6E31}" dt="2024-09-11T11:12:14.001" v="3782" actId="6264"/>
          <ac:spMkLst>
            <pc:docMk/>
            <pc:sldMk cId="2280314011" sldId="764"/>
            <ac:spMk id="2" creationId="{4F217C93-6BC4-B8DF-1673-460B31A281D5}"/>
          </ac:spMkLst>
        </pc:spChg>
        <pc:spChg chg="mod ord">
          <ac:chgData name="José Antonio Ureta Santacreu" userId="e36999d1-2b92-424a-9e8c-5fde0c5fbdd2" providerId="ADAL" clId="{B441C459-42E0-4465-B296-199851FC6E31}" dt="2024-09-11T11:12:14.001" v="3782" actId="6264"/>
          <ac:spMkLst>
            <pc:docMk/>
            <pc:sldMk cId="2280314011" sldId="764"/>
            <ac:spMk id="3" creationId="{33E152DF-C4CF-E193-6837-F8985517B849}"/>
          </ac:spMkLst>
        </pc:spChg>
        <pc:spChg chg="del mod">
          <ac:chgData name="José Antonio Ureta Santacreu" userId="e36999d1-2b92-424a-9e8c-5fde0c5fbdd2" providerId="ADAL" clId="{B441C459-42E0-4465-B296-199851FC6E31}" dt="2024-09-11T11:12:14.001" v="3782" actId="6264"/>
          <ac:spMkLst>
            <pc:docMk/>
            <pc:sldMk cId="2280314011" sldId="764"/>
            <ac:spMk id="4" creationId="{50BC2D40-76ED-0723-867D-B72B08451015}"/>
          </ac:spMkLst>
        </pc:spChg>
        <pc:spChg chg="add del mod">
          <ac:chgData name="José Antonio Ureta Santacreu" userId="e36999d1-2b92-424a-9e8c-5fde0c5fbdd2" providerId="ADAL" clId="{B441C459-42E0-4465-B296-199851FC6E31}" dt="2024-09-11T11:12:14.001" v="3782" actId="6264"/>
          <ac:spMkLst>
            <pc:docMk/>
            <pc:sldMk cId="2280314011" sldId="764"/>
            <ac:spMk id="5" creationId="{711A36D0-6C38-0C24-F00F-8BD0EA648289}"/>
          </ac:spMkLst>
        </pc:spChg>
        <pc:spChg chg="mod ord">
          <ac:chgData name="José Antonio Ureta Santacreu" userId="e36999d1-2b92-424a-9e8c-5fde0c5fbdd2" providerId="ADAL" clId="{B441C459-42E0-4465-B296-199851FC6E31}" dt="2024-09-11T11:12:14.001" v="3782" actId="6264"/>
          <ac:spMkLst>
            <pc:docMk/>
            <pc:sldMk cId="2280314011" sldId="764"/>
            <ac:spMk id="6" creationId="{9029F291-F80D-F31C-675D-D772DD5E8025}"/>
          </ac:spMkLst>
        </pc:spChg>
        <pc:spChg chg="mod ord">
          <ac:chgData name="José Antonio Ureta Santacreu" userId="e36999d1-2b92-424a-9e8c-5fde0c5fbdd2" providerId="ADAL" clId="{B441C459-42E0-4465-B296-199851FC6E31}" dt="2024-09-11T11:12:14.001" v="3782" actId="6264"/>
          <ac:spMkLst>
            <pc:docMk/>
            <pc:sldMk cId="2280314011" sldId="764"/>
            <ac:spMk id="7" creationId="{730A6D15-8120-DB15-191C-21A1EA2F7DFF}"/>
          </ac:spMkLst>
        </pc:spChg>
        <pc:spChg chg="mod ord">
          <ac:chgData name="José Antonio Ureta Santacreu" userId="e36999d1-2b92-424a-9e8c-5fde0c5fbdd2" providerId="ADAL" clId="{B441C459-42E0-4465-B296-199851FC6E31}" dt="2024-09-12T10:37:26.570" v="3917" actId="27636"/>
          <ac:spMkLst>
            <pc:docMk/>
            <pc:sldMk cId="2280314011" sldId="764"/>
            <ac:spMk id="8" creationId="{3D165ED8-A38F-47F1-556E-6C0D61FAD121}"/>
          </ac:spMkLst>
        </pc:spChg>
        <pc:spChg chg="add del mod">
          <ac:chgData name="José Antonio Ureta Santacreu" userId="e36999d1-2b92-424a-9e8c-5fde0c5fbdd2" providerId="ADAL" clId="{B441C459-42E0-4465-B296-199851FC6E31}" dt="2024-09-11T11:12:14.001" v="3782" actId="6264"/>
          <ac:spMkLst>
            <pc:docMk/>
            <pc:sldMk cId="2280314011" sldId="764"/>
            <ac:spMk id="9" creationId="{777CF1A5-83E1-C428-E747-E267F6DA5B9A}"/>
          </ac:spMkLst>
        </pc:spChg>
        <pc:spChg chg="add del mod">
          <ac:chgData name="José Antonio Ureta Santacreu" userId="e36999d1-2b92-424a-9e8c-5fde0c5fbdd2" providerId="ADAL" clId="{B441C459-42E0-4465-B296-199851FC6E31}" dt="2024-09-11T11:12:14.001" v="3782" actId="6264"/>
          <ac:spMkLst>
            <pc:docMk/>
            <pc:sldMk cId="2280314011" sldId="764"/>
            <ac:spMk id="10" creationId="{8C0D8D89-E137-DB43-DC99-C0DDD81B15C7}"/>
          </ac:spMkLst>
        </pc:spChg>
        <pc:spChg chg="add del mod">
          <ac:chgData name="José Antonio Ureta Santacreu" userId="e36999d1-2b92-424a-9e8c-5fde0c5fbdd2" providerId="ADAL" clId="{B441C459-42E0-4465-B296-199851FC6E31}" dt="2024-09-11T11:12:14.001" v="3782" actId="6264"/>
          <ac:spMkLst>
            <pc:docMk/>
            <pc:sldMk cId="2280314011" sldId="764"/>
            <ac:spMk id="11" creationId="{9A7EE0E4-480C-4C4F-197F-C46C269FA513}"/>
          </ac:spMkLst>
        </pc:spChg>
        <pc:spChg chg="add del mod">
          <ac:chgData name="José Antonio Ureta Santacreu" userId="e36999d1-2b92-424a-9e8c-5fde0c5fbdd2" providerId="ADAL" clId="{B441C459-42E0-4465-B296-199851FC6E31}" dt="2024-09-11T11:12:14.001" v="3782" actId="6264"/>
          <ac:spMkLst>
            <pc:docMk/>
            <pc:sldMk cId="2280314011" sldId="764"/>
            <ac:spMk id="12" creationId="{FFB7BD3D-3E75-8939-3C2A-0B107CA210F1}"/>
          </ac:spMkLst>
        </pc:spChg>
        <pc:spChg chg="add mod ord">
          <ac:chgData name="José Antonio Ureta Santacreu" userId="e36999d1-2b92-424a-9e8c-5fde0c5fbdd2" providerId="ADAL" clId="{B441C459-42E0-4465-B296-199851FC6E31}" dt="2024-09-11T11:12:14.001" v="3782" actId="6264"/>
          <ac:spMkLst>
            <pc:docMk/>
            <pc:sldMk cId="2280314011" sldId="764"/>
            <ac:spMk id="13" creationId="{D0849544-76C3-6D91-FA96-BA3E24386F8F}"/>
          </ac:spMkLst>
        </pc:spChg>
        <pc:spChg chg="add mod ord">
          <ac:chgData name="José Antonio Ureta Santacreu" userId="e36999d1-2b92-424a-9e8c-5fde0c5fbdd2" providerId="ADAL" clId="{B441C459-42E0-4465-B296-199851FC6E31}" dt="2024-09-11T11:12:14.001" v="3782" actId="6264"/>
          <ac:spMkLst>
            <pc:docMk/>
            <pc:sldMk cId="2280314011" sldId="764"/>
            <ac:spMk id="14" creationId="{7E978316-D054-C43D-ABA6-81B8854FCFEC}"/>
          </ac:spMkLst>
        </pc:spChg>
      </pc:sldChg>
      <pc:sldChg chg="addSp delSp modSp mod chgLayout">
        <pc:chgData name="José Antonio Ureta Santacreu" userId="e36999d1-2b92-424a-9e8c-5fde0c5fbdd2" providerId="ADAL" clId="{B441C459-42E0-4465-B296-199851FC6E31}" dt="2024-09-12T10:41:16.652" v="4135"/>
        <pc:sldMkLst>
          <pc:docMk/>
          <pc:sldMk cId="1032194021" sldId="766"/>
        </pc:sldMkLst>
        <pc:spChg chg="mod ord">
          <ac:chgData name="José Antonio Ureta Santacreu" userId="e36999d1-2b92-424a-9e8c-5fde0c5fbdd2" providerId="ADAL" clId="{B441C459-42E0-4465-B296-199851FC6E31}" dt="2024-09-11T11:12:14.001" v="3782" actId="6264"/>
          <ac:spMkLst>
            <pc:docMk/>
            <pc:sldMk cId="1032194021" sldId="766"/>
            <ac:spMk id="2" creationId="{AD3B8954-0D20-3745-DB46-C04FD91C2C05}"/>
          </ac:spMkLst>
        </pc:spChg>
        <pc:spChg chg="mod ord">
          <ac:chgData name="José Antonio Ureta Santacreu" userId="e36999d1-2b92-424a-9e8c-5fde0c5fbdd2" providerId="ADAL" clId="{B441C459-42E0-4465-B296-199851FC6E31}" dt="2024-09-11T11:12:14.001" v="3782" actId="6264"/>
          <ac:spMkLst>
            <pc:docMk/>
            <pc:sldMk cId="1032194021" sldId="766"/>
            <ac:spMk id="3" creationId="{9AF57B93-0631-EE65-9C56-DE3187C27FF8}"/>
          </ac:spMkLst>
        </pc:spChg>
        <pc:spChg chg="add del mod">
          <ac:chgData name="José Antonio Ureta Santacreu" userId="e36999d1-2b92-424a-9e8c-5fde0c5fbdd2" providerId="ADAL" clId="{B441C459-42E0-4465-B296-199851FC6E31}" dt="2024-09-11T11:12:14.001" v="3782" actId="6264"/>
          <ac:spMkLst>
            <pc:docMk/>
            <pc:sldMk cId="1032194021" sldId="766"/>
            <ac:spMk id="4" creationId="{793F1FC5-F6B5-24BF-2FAB-B68688428C94}"/>
          </ac:spMkLst>
        </pc:spChg>
        <pc:spChg chg="mod ord">
          <ac:chgData name="José Antonio Ureta Santacreu" userId="e36999d1-2b92-424a-9e8c-5fde0c5fbdd2" providerId="ADAL" clId="{B441C459-42E0-4465-B296-199851FC6E31}" dt="2024-09-12T10:39:46.473" v="4102" actId="27636"/>
          <ac:spMkLst>
            <pc:docMk/>
            <pc:sldMk cId="1032194021" sldId="766"/>
            <ac:spMk id="5" creationId="{68D8833C-5D45-D136-D091-7E8BBA3095B3}"/>
          </ac:spMkLst>
        </pc:spChg>
        <pc:spChg chg="mod ord">
          <ac:chgData name="José Antonio Ureta Santacreu" userId="e36999d1-2b92-424a-9e8c-5fde0c5fbdd2" providerId="ADAL" clId="{B441C459-42E0-4465-B296-199851FC6E31}" dt="2024-09-11T11:12:14.001" v="3782" actId="6264"/>
          <ac:spMkLst>
            <pc:docMk/>
            <pc:sldMk cId="1032194021" sldId="766"/>
            <ac:spMk id="6" creationId="{6088D6D2-D830-C0FC-FB3D-7DB959FE6DC7}"/>
          </ac:spMkLst>
        </pc:spChg>
        <pc:spChg chg="mod ord">
          <ac:chgData name="José Antonio Ureta Santacreu" userId="e36999d1-2b92-424a-9e8c-5fde0c5fbdd2" providerId="ADAL" clId="{B441C459-42E0-4465-B296-199851FC6E31}" dt="2024-09-11T11:12:14.001" v="3782" actId="6264"/>
          <ac:spMkLst>
            <pc:docMk/>
            <pc:sldMk cId="1032194021" sldId="766"/>
            <ac:spMk id="7" creationId="{F6C945D4-3247-6260-8186-EA154C42C80C}"/>
          </ac:spMkLst>
        </pc:spChg>
        <pc:spChg chg="mod ord">
          <ac:chgData name="José Antonio Ureta Santacreu" userId="e36999d1-2b92-424a-9e8c-5fde0c5fbdd2" providerId="ADAL" clId="{B441C459-42E0-4465-B296-199851FC6E31}" dt="2024-09-11T11:12:14.001" v="3782" actId="6264"/>
          <ac:spMkLst>
            <pc:docMk/>
            <pc:sldMk cId="1032194021" sldId="766"/>
            <ac:spMk id="8" creationId="{469F6ABB-8200-E64C-AA13-D3F7BA18E4ED}"/>
          </ac:spMkLst>
        </pc:spChg>
        <pc:spChg chg="add del mod">
          <ac:chgData name="José Antonio Ureta Santacreu" userId="e36999d1-2b92-424a-9e8c-5fde0c5fbdd2" providerId="ADAL" clId="{B441C459-42E0-4465-B296-199851FC6E31}" dt="2024-09-11T11:12:14.001" v="3782" actId="6264"/>
          <ac:spMkLst>
            <pc:docMk/>
            <pc:sldMk cId="1032194021" sldId="766"/>
            <ac:spMk id="9" creationId="{9C8AA398-C688-1C56-C1D0-17C812592C81}"/>
          </ac:spMkLst>
        </pc:spChg>
        <pc:spChg chg="add del mod">
          <ac:chgData name="José Antonio Ureta Santacreu" userId="e36999d1-2b92-424a-9e8c-5fde0c5fbdd2" providerId="ADAL" clId="{B441C459-42E0-4465-B296-199851FC6E31}" dt="2024-09-11T11:12:14.001" v="3782" actId="6264"/>
          <ac:spMkLst>
            <pc:docMk/>
            <pc:sldMk cId="1032194021" sldId="766"/>
            <ac:spMk id="10" creationId="{CC4077B9-50F0-5A4D-50DA-846F5BE3A00C}"/>
          </ac:spMkLst>
        </pc:spChg>
        <pc:spChg chg="add del mod">
          <ac:chgData name="José Antonio Ureta Santacreu" userId="e36999d1-2b92-424a-9e8c-5fde0c5fbdd2" providerId="ADAL" clId="{B441C459-42E0-4465-B296-199851FC6E31}" dt="2024-09-11T11:12:14.001" v="3782" actId="6264"/>
          <ac:spMkLst>
            <pc:docMk/>
            <pc:sldMk cId="1032194021" sldId="766"/>
            <ac:spMk id="12" creationId="{3A9059BE-3D84-BEE6-531A-9304EEF13A40}"/>
          </ac:spMkLst>
        </pc:spChg>
        <pc:spChg chg="add del mod">
          <ac:chgData name="José Antonio Ureta Santacreu" userId="e36999d1-2b92-424a-9e8c-5fde0c5fbdd2" providerId="ADAL" clId="{B441C459-42E0-4465-B296-199851FC6E31}" dt="2024-09-11T11:12:14.001" v="3782" actId="6264"/>
          <ac:spMkLst>
            <pc:docMk/>
            <pc:sldMk cId="1032194021" sldId="766"/>
            <ac:spMk id="13" creationId="{9B0501E6-50F7-7F06-2A87-3EBEBE723CE2}"/>
          </ac:spMkLst>
        </pc:spChg>
        <pc:spChg chg="add del mod">
          <ac:chgData name="José Antonio Ureta Santacreu" userId="e36999d1-2b92-424a-9e8c-5fde0c5fbdd2" providerId="ADAL" clId="{B441C459-42E0-4465-B296-199851FC6E31}" dt="2024-09-11T11:12:14.001" v="3782" actId="6264"/>
          <ac:spMkLst>
            <pc:docMk/>
            <pc:sldMk cId="1032194021" sldId="766"/>
            <ac:spMk id="14" creationId="{3DBAA1C0-E0C6-E263-FF5D-BEA89C749761}"/>
          </ac:spMkLst>
        </pc:spChg>
        <pc:spChg chg="add del mod">
          <ac:chgData name="José Antonio Ureta Santacreu" userId="e36999d1-2b92-424a-9e8c-5fde0c5fbdd2" providerId="ADAL" clId="{B441C459-42E0-4465-B296-199851FC6E31}" dt="2024-09-11T11:12:14.001" v="3782" actId="6264"/>
          <ac:spMkLst>
            <pc:docMk/>
            <pc:sldMk cId="1032194021" sldId="766"/>
            <ac:spMk id="15" creationId="{25BF39F4-74DA-858C-146C-FEE9AFB74645}"/>
          </ac:spMkLst>
        </pc:spChg>
        <pc:spChg chg="add del mod">
          <ac:chgData name="José Antonio Ureta Santacreu" userId="e36999d1-2b92-424a-9e8c-5fde0c5fbdd2" providerId="ADAL" clId="{B441C459-42E0-4465-B296-199851FC6E31}" dt="2024-09-12T10:41:16.652" v="4135"/>
          <ac:spMkLst>
            <pc:docMk/>
            <pc:sldMk cId="1032194021" sldId="766"/>
            <ac:spMk id="17" creationId="{B6E0AB78-54FB-C545-1235-BCDE00CC365F}"/>
          </ac:spMkLst>
        </pc:spChg>
        <pc:picChg chg="del mod ord">
          <ac:chgData name="José Antonio Ureta Santacreu" userId="e36999d1-2b92-424a-9e8c-5fde0c5fbdd2" providerId="ADAL" clId="{B441C459-42E0-4465-B296-199851FC6E31}" dt="2024-09-12T10:41:14.325" v="4134" actId="21"/>
          <ac:picMkLst>
            <pc:docMk/>
            <pc:sldMk cId="1032194021" sldId="766"/>
            <ac:picMk id="11" creationId="{41AFBFAB-A246-5309-2DC0-0CF9267EA620}"/>
          </ac:picMkLst>
        </pc:picChg>
        <pc:picChg chg="add mod">
          <ac:chgData name="José Antonio Ureta Santacreu" userId="e36999d1-2b92-424a-9e8c-5fde0c5fbdd2" providerId="ADAL" clId="{B441C459-42E0-4465-B296-199851FC6E31}" dt="2024-09-12T10:41:16.652" v="4135"/>
          <ac:picMkLst>
            <pc:docMk/>
            <pc:sldMk cId="1032194021" sldId="766"/>
            <ac:picMk id="18" creationId="{41AFBFAB-A246-5309-2DC0-0CF9267EA620}"/>
          </ac:picMkLst>
        </pc:picChg>
      </pc:sldChg>
      <pc:sldChg chg="addSp delSp modSp mod chgLayout">
        <pc:chgData name="José Antonio Ureta Santacreu" userId="e36999d1-2b92-424a-9e8c-5fde0c5fbdd2" providerId="ADAL" clId="{B441C459-42E0-4465-B296-199851FC6E31}" dt="2024-09-11T11:12:14.001" v="3782" actId="6264"/>
        <pc:sldMkLst>
          <pc:docMk/>
          <pc:sldMk cId="423743977" sldId="777"/>
        </pc:sldMkLst>
        <pc:spChg chg="mod ord">
          <ac:chgData name="José Antonio Ureta Santacreu" userId="e36999d1-2b92-424a-9e8c-5fde0c5fbdd2" providerId="ADAL" clId="{B441C459-42E0-4465-B296-199851FC6E31}" dt="2024-09-11T11:12:14.001" v="3782" actId="6264"/>
          <ac:spMkLst>
            <pc:docMk/>
            <pc:sldMk cId="423743977" sldId="777"/>
            <ac:spMk id="2" creationId="{CCDBA840-8A42-45B1-809A-BC7D3DD1EFF8}"/>
          </ac:spMkLst>
        </pc:spChg>
        <pc:spChg chg="mod ord">
          <ac:chgData name="José Antonio Ureta Santacreu" userId="e36999d1-2b92-424a-9e8c-5fde0c5fbdd2" providerId="ADAL" clId="{B441C459-42E0-4465-B296-199851FC6E31}" dt="2024-09-11T11:12:14.001" v="3782" actId="6264"/>
          <ac:spMkLst>
            <pc:docMk/>
            <pc:sldMk cId="423743977" sldId="777"/>
            <ac:spMk id="3" creationId="{EB1ABBE5-1FAA-440F-93A7-745E14350B2E}"/>
          </ac:spMkLst>
        </pc:spChg>
        <pc:spChg chg="mod ord">
          <ac:chgData name="José Antonio Ureta Santacreu" userId="e36999d1-2b92-424a-9e8c-5fde0c5fbdd2" providerId="ADAL" clId="{B441C459-42E0-4465-B296-199851FC6E31}" dt="2024-09-11T11:12:14.001" v="3782" actId="6264"/>
          <ac:spMkLst>
            <pc:docMk/>
            <pc:sldMk cId="423743977" sldId="777"/>
            <ac:spMk id="4" creationId="{083105EC-33B5-4EF3-A4C0-EE4B143E311D}"/>
          </ac:spMkLst>
        </pc:spChg>
        <pc:spChg chg="mod ord">
          <ac:chgData name="José Antonio Ureta Santacreu" userId="e36999d1-2b92-424a-9e8c-5fde0c5fbdd2" providerId="ADAL" clId="{B441C459-42E0-4465-B296-199851FC6E31}" dt="2024-09-11T11:12:14.001" v="3782" actId="6264"/>
          <ac:spMkLst>
            <pc:docMk/>
            <pc:sldMk cId="423743977" sldId="777"/>
            <ac:spMk id="5" creationId="{3BC546E2-6265-4A99-9710-DB45F3536076}"/>
          </ac:spMkLst>
        </pc:spChg>
        <pc:spChg chg="add del mod">
          <ac:chgData name="José Antonio Ureta Santacreu" userId="e36999d1-2b92-424a-9e8c-5fde0c5fbdd2" providerId="ADAL" clId="{B441C459-42E0-4465-B296-199851FC6E31}" dt="2024-09-11T11:12:14.001" v="3782" actId="6264"/>
          <ac:spMkLst>
            <pc:docMk/>
            <pc:sldMk cId="423743977" sldId="777"/>
            <ac:spMk id="6" creationId="{785687D9-2C12-3BA8-DCF6-750DB0E779FF}"/>
          </ac:spMkLst>
        </pc:spChg>
        <pc:spChg chg="add del mod">
          <ac:chgData name="José Antonio Ureta Santacreu" userId="e36999d1-2b92-424a-9e8c-5fde0c5fbdd2" providerId="ADAL" clId="{B441C459-42E0-4465-B296-199851FC6E31}" dt="2024-09-11T11:12:14.001" v="3782" actId="6264"/>
          <ac:spMkLst>
            <pc:docMk/>
            <pc:sldMk cId="423743977" sldId="777"/>
            <ac:spMk id="7" creationId="{6997B0D3-5E4F-595E-7B8F-C3EA98314B7C}"/>
          </ac:spMkLst>
        </pc:spChg>
        <pc:spChg chg="add del mod">
          <ac:chgData name="José Antonio Ureta Santacreu" userId="e36999d1-2b92-424a-9e8c-5fde0c5fbdd2" providerId="ADAL" clId="{B441C459-42E0-4465-B296-199851FC6E31}" dt="2024-09-11T11:12:14.001" v="3782" actId="6264"/>
          <ac:spMkLst>
            <pc:docMk/>
            <pc:sldMk cId="423743977" sldId="777"/>
            <ac:spMk id="12" creationId="{5C7C20D9-F996-4A31-CFA7-47B4A8A6808A}"/>
          </ac:spMkLst>
        </pc:spChg>
        <pc:spChg chg="add del mod">
          <ac:chgData name="José Antonio Ureta Santacreu" userId="e36999d1-2b92-424a-9e8c-5fde0c5fbdd2" providerId="ADAL" clId="{B441C459-42E0-4465-B296-199851FC6E31}" dt="2024-09-11T11:12:14.001" v="3782" actId="6264"/>
          <ac:spMkLst>
            <pc:docMk/>
            <pc:sldMk cId="423743977" sldId="777"/>
            <ac:spMk id="13" creationId="{03DC5D39-1BAA-C6FA-8370-9D62AB15F515}"/>
          </ac:spMkLst>
        </pc:spChg>
        <pc:graphicFrameChg chg="mod">
          <ac:chgData name="José Antonio Ureta Santacreu" userId="e36999d1-2b92-424a-9e8c-5fde0c5fbdd2" providerId="ADAL" clId="{B441C459-42E0-4465-B296-199851FC6E31}" dt="2024-07-31T11:24:34.023" v="1350" actId="12100"/>
          <ac:graphicFrameMkLst>
            <pc:docMk/>
            <pc:sldMk cId="423743977" sldId="777"/>
            <ac:graphicFrameMk id="8" creationId="{D7549FD1-A48D-4E13-9A3B-B66A61553C5B}"/>
          </ac:graphicFrameMkLst>
        </pc:graphicFrameChg>
      </pc:sldChg>
      <pc:sldChg chg="addSp delSp modSp mod chgLayout">
        <pc:chgData name="José Antonio Ureta Santacreu" userId="e36999d1-2b92-424a-9e8c-5fde0c5fbdd2" providerId="ADAL" clId="{B441C459-42E0-4465-B296-199851FC6E31}" dt="2024-09-12T11:37:11.360" v="4680" actId="403"/>
        <pc:sldMkLst>
          <pc:docMk/>
          <pc:sldMk cId="711086188" sldId="778"/>
        </pc:sldMkLst>
        <pc:spChg chg="mod ord">
          <ac:chgData name="José Antonio Ureta Santacreu" userId="e36999d1-2b92-424a-9e8c-5fde0c5fbdd2" providerId="ADAL" clId="{B441C459-42E0-4465-B296-199851FC6E31}" dt="2024-09-11T11:12:14.001" v="3782" actId="6264"/>
          <ac:spMkLst>
            <pc:docMk/>
            <pc:sldMk cId="711086188" sldId="778"/>
            <ac:spMk id="2" creationId="{D0922E94-5756-840C-7000-A202AB0A4532}"/>
          </ac:spMkLst>
        </pc:spChg>
        <pc:spChg chg="mod ord">
          <ac:chgData name="José Antonio Ureta Santacreu" userId="e36999d1-2b92-424a-9e8c-5fde0c5fbdd2" providerId="ADAL" clId="{B441C459-42E0-4465-B296-199851FC6E31}" dt="2024-09-11T11:12:14.001" v="3782" actId="6264"/>
          <ac:spMkLst>
            <pc:docMk/>
            <pc:sldMk cId="711086188" sldId="778"/>
            <ac:spMk id="3" creationId="{8A0145E7-1D42-FF71-7C8E-B4426D4F8D23}"/>
          </ac:spMkLst>
        </pc:spChg>
        <pc:spChg chg="mod ord">
          <ac:chgData name="José Antonio Ureta Santacreu" userId="e36999d1-2b92-424a-9e8c-5fde0c5fbdd2" providerId="ADAL" clId="{B441C459-42E0-4465-B296-199851FC6E31}" dt="2024-09-11T11:12:14.001" v="3782" actId="6264"/>
          <ac:spMkLst>
            <pc:docMk/>
            <pc:sldMk cId="711086188" sldId="778"/>
            <ac:spMk id="4" creationId="{30BB7CD2-7582-B455-49ED-25E021752FD1}"/>
          </ac:spMkLst>
        </pc:spChg>
        <pc:spChg chg="mod ord">
          <ac:chgData name="José Antonio Ureta Santacreu" userId="e36999d1-2b92-424a-9e8c-5fde0c5fbdd2" providerId="ADAL" clId="{B441C459-42E0-4465-B296-199851FC6E31}" dt="2024-09-11T11:12:14.001" v="3782" actId="6264"/>
          <ac:spMkLst>
            <pc:docMk/>
            <pc:sldMk cId="711086188" sldId="778"/>
            <ac:spMk id="5" creationId="{939D17E2-6676-9447-5A5A-A2E4CA215CE0}"/>
          </ac:spMkLst>
        </pc:spChg>
        <pc:spChg chg="add del mod">
          <ac:chgData name="José Antonio Ureta Santacreu" userId="e36999d1-2b92-424a-9e8c-5fde0c5fbdd2" providerId="ADAL" clId="{B441C459-42E0-4465-B296-199851FC6E31}" dt="2024-09-11T11:12:14.001" v="3782" actId="6264"/>
          <ac:spMkLst>
            <pc:docMk/>
            <pc:sldMk cId="711086188" sldId="778"/>
            <ac:spMk id="6" creationId="{2BDC34E4-5DA2-CBE4-BC77-4F2393F4CF30}"/>
          </ac:spMkLst>
        </pc:spChg>
        <pc:spChg chg="add del mod">
          <ac:chgData name="José Antonio Ureta Santacreu" userId="e36999d1-2b92-424a-9e8c-5fde0c5fbdd2" providerId="ADAL" clId="{B441C459-42E0-4465-B296-199851FC6E31}" dt="2024-09-11T11:12:14.001" v="3782" actId="6264"/>
          <ac:spMkLst>
            <pc:docMk/>
            <pc:sldMk cId="711086188" sldId="778"/>
            <ac:spMk id="7" creationId="{E30733F0-F2B3-0BC2-257B-DA87775477C8}"/>
          </ac:spMkLst>
        </pc:spChg>
        <pc:spChg chg="add del mod">
          <ac:chgData name="José Antonio Ureta Santacreu" userId="e36999d1-2b92-424a-9e8c-5fde0c5fbdd2" providerId="ADAL" clId="{B441C459-42E0-4465-B296-199851FC6E31}" dt="2024-09-11T11:12:14.001" v="3782" actId="6264"/>
          <ac:spMkLst>
            <pc:docMk/>
            <pc:sldMk cId="711086188" sldId="778"/>
            <ac:spMk id="8" creationId="{24EBE8C0-BA39-728F-5E44-C53A92558495}"/>
          </ac:spMkLst>
        </pc:spChg>
        <pc:spChg chg="add del mod">
          <ac:chgData name="José Antonio Ureta Santacreu" userId="e36999d1-2b92-424a-9e8c-5fde0c5fbdd2" providerId="ADAL" clId="{B441C459-42E0-4465-B296-199851FC6E31}" dt="2024-09-11T11:12:14.001" v="3782" actId="6264"/>
          <ac:spMkLst>
            <pc:docMk/>
            <pc:sldMk cId="711086188" sldId="778"/>
            <ac:spMk id="11" creationId="{85E7F4E5-7F8F-9D70-BFED-8A79728CB39A}"/>
          </ac:spMkLst>
        </pc:spChg>
        <pc:spChg chg="add del mod">
          <ac:chgData name="José Antonio Ureta Santacreu" userId="e36999d1-2b92-424a-9e8c-5fde0c5fbdd2" providerId="ADAL" clId="{B441C459-42E0-4465-B296-199851FC6E31}" dt="2024-09-11T11:12:14.001" v="3782" actId="6264"/>
          <ac:spMkLst>
            <pc:docMk/>
            <pc:sldMk cId="711086188" sldId="778"/>
            <ac:spMk id="12" creationId="{71AADDC9-91F8-B24D-4E3F-8EB578D6ECCB}"/>
          </ac:spMkLst>
        </pc:spChg>
        <pc:spChg chg="add del mod">
          <ac:chgData name="José Antonio Ureta Santacreu" userId="e36999d1-2b92-424a-9e8c-5fde0c5fbdd2" providerId="ADAL" clId="{B441C459-42E0-4465-B296-199851FC6E31}" dt="2024-09-11T11:12:14.001" v="3782" actId="6264"/>
          <ac:spMkLst>
            <pc:docMk/>
            <pc:sldMk cId="711086188" sldId="778"/>
            <ac:spMk id="13" creationId="{93C89F82-3E35-84DC-7D7C-DCEE44DF6B2C}"/>
          </ac:spMkLst>
        </pc:spChg>
        <pc:graphicFrameChg chg="mod ord modGraphic">
          <ac:chgData name="José Antonio Ureta Santacreu" userId="e36999d1-2b92-424a-9e8c-5fde0c5fbdd2" providerId="ADAL" clId="{B441C459-42E0-4465-B296-199851FC6E31}" dt="2024-09-12T11:37:11.360" v="4680" actId="403"/>
          <ac:graphicFrameMkLst>
            <pc:docMk/>
            <pc:sldMk cId="711086188" sldId="778"/>
            <ac:graphicFrameMk id="9" creationId="{92A77368-C05C-BEFD-F545-94A5F5B531FA}"/>
          </ac:graphicFrameMkLst>
        </pc:graphicFrameChg>
        <pc:picChg chg="mod ord">
          <ac:chgData name="José Antonio Ureta Santacreu" userId="e36999d1-2b92-424a-9e8c-5fde0c5fbdd2" providerId="ADAL" clId="{B441C459-42E0-4465-B296-199851FC6E31}" dt="2024-09-11T11:12:14.001" v="3782" actId="6264"/>
          <ac:picMkLst>
            <pc:docMk/>
            <pc:sldMk cId="711086188" sldId="778"/>
            <ac:picMk id="10" creationId="{EFA82501-A12A-55E6-55A1-8DC6C87B0270}"/>
          </ac:picMkLst>
        </pc:picChg>
      </pc:sldChg>
      <pc:sldChg chg="addSp delSp modSp mod modShow chgLayout">
        <pc:chgData name="José Antonio Ureta Santacreu" userId="e36999d1-2b92-424a-9e8c-5fde0c5fbdd2" providerId="ADAL" clId="{B441C459-42E0-4465-B296-199851FC6E31}" dt="2024-09-11T11:12:14.001" v="3782" actId="6264"/>
        <pc:sldMkLst>
          <pc:docMk/>
          <pc:sldMk cId="37517824" sldId="781"/>
        </pc:sldMkLst>
        <pc:spChg chg="mod ord">
          <ac:chgData name="José Antonio Ureta Santacreu" userId="e36999d1-2b92-424a-9e8c-5fde0c5fbdd2" providerId="ADAL" clId="{B441C459-42E0-4465-B296-199851FC6E31}" dt="2024-09-11T11:12:14.001" v="3782" actId="6264"/>
          <ac:spMkLst>
            <pc:docMk/>
            <pc:sldMk cId="37517824" sldId="781"/>
            <ac:spMk id="2" creationId="{ABE81133-A984-415B-9644-366022A72528}"/>
          </ac:spMkLst>
        </pc:spChg>
        <pc:spChg chg="mod ord">
          <ac:chgData name="José Antonio Ureta Santacreu" userId="e36999d1-2b92-424a-9e8c-5fde0c5fbdd2" providerId="ADAL" clId="{B441C459-42E0-4465-B296-199851FC6E31}" dt="2024-09-11T11:12:14.001" v="3782" actId="6264"/>
          <ac:spMkLst>
            <pc:docMk/>
            <pc:sldMk cId="37517824" sldId="781"/>
            <ac:spMk id="3" creationId="{D1C1EABF-7B6C-469E-85C2-7FDCBA811A1C}"/>
          </ac:spMkLst>
        </pc:spChg>
        <pc:spChg chg="mod ord">
          <ac:chgData name="José Antonio Ureta Santacreu" userId="e36999d1-2b92-424a-9e8c-5fde0c5fbdd2" providerId="ADAL" clId="{B441C459-42E0-4465-B296-199851FC6E31}" dt="2024-09-11T11:12:14.001" v="3782" actId="6264"/>
          <ac:spMkLst>
            <pc:docMk/>
            <pc:sldMk cId="37517824" sldId="781"/>
            <ac:spMk id="4" creationId="{46509CA9-20BD-4EBF-8A8B-511399987A73}"/>
          </ac:spMkLst>
        </pc:spChg>
        <pc:spChg chg="mod ord">
          <ac:chgData name="José Antonio Ureta Santacreu" userId="e36999d1-2b92-424a-9e8c-5fde0c5fbdd2" providerId="ADAL" clId="{B441C459-42E0-4465-B296-199851FC6E31}" dt="2024-09-11T11:12:14.001" v="3782" actId="6264"/>
          <ac:spMkLst>
            <pc:docMk/>
            <pc:sldMk cId="37517824" sldId="781"/>
            <ac:spMk id="5" creationId="{1E9E3E7E-A1B5-4011-8647-196185345E90}"/>
          </ac:spMkLst>
        </pc:spChg>
        <pc:spChg chg="add del mod">
          <ac:chgData name="José Antonio Ureta Santacreu" userId="e36999d1-2b92-424a-9e8c-5fde0c5fbdd2" providerId="ADAL" clId="{B441C459-42E0-4465-B296-199851FC6E31}" dt="2024-09-11T11:12:14.001" v="3782" actId="6264"/>
          <ac:spMkLst>
            <pc:docMk/>
            <pc:sldMk cId="37517824" sldId="781"/>
            <ac:spMk id="6" creationId="{B1738D93-25B3-FA67-75A7-7AEFA53277B4}"/>
          </ac:spMkLst>
        </pc:spChg>
        <pc:spChg chg="add del mod">
          <ac:chgData name="José Antonio Ureta Santacreu" userId="e36999d1-2b92-424a-9e8c-5fde0c5fbdd2" providerId="ADAL" clId="{B441C459-42E0-4465-B296-199851FC6E31}" dt="2024-09-11T11:12:14.001" v="3782" actId="6264"/>
          <ac:spMkLst>
            <pc:docMk/>
            <pc:sldMk cId="37517824" sldId="781"/>
            <ac:spMk id="7" creationId="{E8F6D256-D365-F3A8-A1B9-DAADD5CCE5D2}"/>
          </ac:spMkLst>
        </pc:spChg>
        <pc:spChg chg="add del mod">
          <ac:chgData name="José Antonio Ureta Santacreu" userId="e36999d1-2b92-424a-9e8c-5fde0c5fbdd2" providerId="ADAL" clId="{B441C459-42E0-4465-B296-199851FC6E31}" dt="2024-09-11T11:12:14.001" v="3782" actId="6264"/>
          <ac:spMkLst>
            <pc:docMk/>
            <pc:sldMk cId="37517824" sldId="781"/>
            <ac:spMk id="8" creationId="{34D90CC9-87EA-4754-E8C8-C7E1987BA0C7}"/>
          </ac:spMkLst>
        </pc:spChg>
        <pc:spChg chg="add del mod">
          <ac:chgData name="José Antonio Ureta Santacreu" userId="e36999d1-2b92-424a-9e8c-5fde0c5fbdd2" providerId="ADAL" clId="{B441C459-42E0-4465-B296-199851FC6E31}" dt="2024-09-11T11:12:14.001" v="3782" actId="6264"/>
          <ac:spMkLst>
            <pc:docMk/>
            <pc:sldMk cId="37517824" sldId="781"/>
            <ac:spMk id="10" creationId="{77D40A61-4207-3DE8-AFF6-E17C29712C7A}"/>
          </ac:spMkLst>
        </pc:spChg>
        <pc:spChg chg="del">
          <ac:chgData name="José Antonio Ureta Santacreu" userId="e36999d1-2b92-424a-9e8c-5fde0c5fbdd2" providerId="ADAL" clId="{B441C459-42E0-4465-B296-199851FC6E31}" dt="2024-09-10T14:00:53.447" v="3475" actId="478"/>
          <ac:spMkLst>
            <pc:docMk/>
            <pc:sldMk cId="37517824" sldId="781"/>
            <ac:spMk id="14" creationId="{3BAFF3CB-07B4-4E8A-A29F-66A81E189FC3}"/>
          </ac:spMkLst>
        </pc:spChg>
        <pc:graphicFrameChg chg="mod modGraphic">
          <ac:chgData name="José Antonio Ureta Santacreu" userId="e36999d1-2b92-424a-9e8c-5fde0c5fbdd2" providerId="ADAL" clId="{B441C459-42E0-4465-B296-199851FC6E31}" dt="2024-09-10T14:03:31.395" v="3568" actId="12385"/>
          <ac:graphicFrameMkLst>
            <pc:docMk/>
            <pc:sldMk cId="37517824" sldId="781"/>
            <ac:graphicFrameMk id="9" creationId="{A835B000-4767-4ACC-9792-BFE7E4D3BA32}"/>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3592722719" sldId="798"/>
        </pc:sldMkLst>
        <pc:spChg chg="mod ord">
          <ac:chgData name="José Antonio Ureta Santacreu" userId="e36999d1-2b92-424a-9e8c-5fde0c5fbdd2" providerId="ADAL" clId="{B441C459-42E0-4465-B296-199851FC6E31}" dt="2024-09-11T11:12:14.001" v="3782" actId="6264"/>
          <ac:spMkLst>
            <pc:docMk/>
            <pc:sldMk cId="3592722719" sldId="798"/>
            <ac:spMk id="2" creationId="{5EAF3F50-BD9C-4B0B-98B5-25F49982ABDF}"/>
          </ac:spMkLst>
        </pc:spChg>
        <pc:spChg chg="mod ord">
          <ac:chgData name="José Antonio Ureta Santacreu" userId="e36999d1-2b92-424a-9e8c-5fde0c5fbdd2" providerId="ADAL" clId="{B441C459-42E0-4465-B296-199851FC6E31}" dt="2024-09-11T11:12:14.001" v="3782" actId="6264"/>
          <ac:spMkLst>
            <pc:docMk/>
            <pc:sldMk cId="3592722719" sldId="798"/>
            <ac:spMk id="3" creationId="{3927B23E-DC02-4037-9B4E-F2D4047C22AE}"/>
          </ac:spMkLst>
        </pc:spChg>
        <pc:spChg chg="mod ord">
          <ac:chgData name="José Antonio Ureta Santacreu" userId="e36999d1-2b92-424a-9e8c-5fde0c5fbdd2" providerId="ADAL" clId="{B441C459-42E0-4465-B296-199851FC6E31}" dt="2024-09-11T11:12:14.001" v="3782" actId="6264"/>
          <ac:spMkLst>
            <pc:docMk/>
            <pc:sldMk cId="3592722719" sldId="798"/>
            <ac:spMk id="4" creationId="{3C4B857E-D171-4885-9BC0-1CD78D03AAE1}"/>
          </ac:spMkLst>
        </pc:spChg>
        <pc:spChg chg="mod ord">
          <ac:chgData name="José Antonio Ureta Santacreu" userId="e36999d1-2b92-424a-9e8c-5fde0c5fbdd2" providerId="ADAL" clId="{B441C459-42E0-4465-B296-199851FC6E31}" dt="2024-09-11T11:12:14.001" v="3782" actId="6264"/>
          <ac:spMkLst>
            <pc:docMk/>
            <pc:sldMk cId="3592722719" sldId="798"/>
            <ac:spMk id="5" creationId="{6C280E01-A330-46C6-B739-470298664D64}"/>
          </ac:spMkLst>
        </pc:spChg>
        <pc:spChg chg="add del mod">
          <ac:chgData name="José Antonio Ureta Santacreu" userId="e36999d1-2b92-424a-9e8c-5fde0c5fbdd2" providerId="ADAL" clId="{B441C459-42E0-4465-B296-199851FC6E31}" dt="2024-09-11T11:12:14.001" v="3782" actId="6264"/>
          <ac:spMkLst>
            <pc:docMk/>
            <pc:sldMk cId="3592722719" sldId="798"/>
            <ac:spMk id="7" creationId="{63D2C000-10BF-4DA6-52E5-DCE798D746E1}"/>
          </ac:spMkLst>
        </pc:spChg>
        <pc:spChg chg="add del mod">
          <ac:chgData name="José Antonio Ureta Santacreu" userId="e36999d1-2b92-424a-9e8c-5fde0c5fbdd2" providerId="ADAL" clId="{B441C459-42E0-4465-B296-199851FC6E31}" dt="2024-09-11T11:12:14.001" v="3782" actId="6264"/>
          <ac:spMkLst>
            <pc:docMk/>
            <pc:sldMk cId="3592722719" sldId="798"/>
            <ac:spMk id="11" creationId="{61CD70D1-13C9-989E-E70F-943A9EF532A7}"/>
          </ac:spMkLst>
        </pc:spChg>
        <pc:spChg chg="add del mod">
          <ac:chgData name="José Antonio Ureta Santacreu" userId="e36999d1-2b92-424a-9e8c-5fde0c5fbdd2" providerId="ADAL" clId="{B441C459-42E0-4465-B296-199851FC6E31}" dt="2024-09-11T11:12:14.001" v="3782" actId="6264"/>
          <ac:spMkLst>
            <pc:docMk/>
            <pc:sldMk cId="3592722719" sldId="798"/>
            <ac:spMk id="12" creationId="{7B5FD888-9F47-7E7D-EC71-C28F7F9E4451}"/>
          </ac:spMkLst>
        </pc:spChg>
        <pc:spChg chg="add del mod">
          <ac:chgData name="José Antonio Ureta Santacreu" userId="e36999d1-2b92-424a-9e8c-5fde0c5fbdd2" providerId="ADAL" clId="{B441C459-42E0-4465-B296-199851FC6E31}" dt="2024-09-11T11:12:14.001" v="3782" actId="6264"/>
          <ac:spMkLst>
            <pc:docMk/>
            <pc:sldMk cId="3592722719" sldId="798"/>
            <ac:spMk id="13" creationId="{CAD2E832-D8B6-CC0B-E31B-C4A66144E35D}"/>
          </ac:spMkLst>
        </pc:spChg>
        <pc:graphicFrameChg chg="mod modGraphic">
          <ac:chgData name="José Antonio Ureta Santacreu" userId="e36999d1-2b92-424a-9e8c-5fde0c5fbdd2" providerId="ADAL" clId="{B441C459-42E0-4465-B296-199851FC6E31}" dt="2024-07-31T10:46:59.170" v="998" actId="207"/>
          <ac:graphicFrameMkLst>
            <pc:docMk/>
            <pc:sldMk cId="3592722719" sldId="798"/>
            <ac:graphicFrameMk id="6" creationId="{9BB4FB41-0B07-41EF-9C4B-41159ED76C1F}"/>
          </ac:graphicFrameMkLst>
        </pc:graphicFrameChg>
        <pc:picChg chg="del">
          <ac:chgData name="José Antonio Ureta Santacreu" userId="e36999d1-2b92-424a-9e8c-5fde0c5fbdd2" providerId="ADAL" clId="{B441C459-42E0-4465-B296-199851FC6E31}" dt="2024-07-31T10:41:25.581" v="893" actId="478"/>
          <ac:picMkLst>
            <pc:docMk/>
            <pc:sldMk cId="3592722719" sldId="798"/>
            <ac:picMk id="7" creationId="{FA25ECFA-CEA9-445E-BDEB-25B55D2B9910}"/>
          </ac:picMkLst>
        </pc:picChg>
        <pc:picChg chg="add mod">
          <ac:chgData name="José Antonio Ureta Santacreu" userId="e36999d1-2b92-424a-9e8c-5fde0c5fbdd2" providerId="ADAL" clId="{B441C459-42E0-4465-B296-199851FC6E31}" dt="2024-07-31T10:44:34.841" v="958" actId="1076"/>
          <ac:picMkLst>
            <pc:docMk/>
            <pc:sldMk cId="3592722719" sldId="798"/>
            <ac:picMk id="8" creationId="{F371AFF8-2A7A-60A5-5DED-80A89E1C1753}"/>
          </ac:picMkLst>
        </pc:picChg>
        <pc:picChg chg="add mod">
          <ac:chgData name="José Antonio Ureta Santacreu" userId="e36999d1-2b92-424a-9e8c-5fde0c5fbdd2" providerId="ADAL" clId="{B441C459-42E0-4465-B296-199851FC6E31}" dt="2024-07-31T10:46:55.810" v="997" actId="1076"/>
          <ac:picMkLst>
            <pc:docMk/>
            <pc:sldMk cId="3592722719" sldId="798"/>
            <ac:picMk id="9" creationId="{A5F54A3C-9A16-CAE5-1947-7C18E4E85804}"/>
          </ac:picMkLst>
        </pc:picChg>
        <pc:picChg chg="add mod">
          <ac:chgData name="José Antonio Ureta Santacreu" userId="e36999d1-2b92-424a-9e8c-5fde0c5fbdd2" providerId="ADAL" clId="{B441C459-42E0-4465-B296-199851FC6E31}" dt="2024-07-31T10:47:05.807" v="1000" actId="1076"/>
          <ac:picMkLst>
            <pc:docMk/>
            <pc:sldMk cId="3592722719" sldId="798"/>
            <ac:picMk id="10" creationId="{4B158224-2345-39B9-5E13-548FEEDD4069}"/>
          </ac:picMkLst>
        </pc:picChg>
        <pc:picChg chg="add mod">
          <ac:chgData name="José Antonio Ureta Santacreu" userId="e36999d1-2b92-424a-9e8c-5fde0c5fbdd2" providerId="ADAL" clId="{B441C459-42E0-4465-B296-199851FC6E31}" dt="2024-07-31T10:44:27.820" v="956" actId="1076"/>
          <ac:picMkLst>
            <pc:docMk/>
            <pc:sldMk cId="3592722719" sldId="798"/>
            <ac:picMk id="3074" creationId="{75B42293-B607-6B84-9BB4-3A5202AD6F46}"/>
          </ac:picMkLst>
        </pc:picChg>
        <pc:picChg chg="add mod">
          <ac:chgData name="José Antonio Ureta Santacreu" userId="e36999d1-2b92-424a-9e8c-5fde0c5fbdd2" providerId="ADAL" clId="{B441C459-42E0-4465-B296-199851FC6E31}" dt="2024-07-31T10:45:55.763" v="964" actId="1076"/>
          <ac:picMkLst>
            <pc:docMk/>
            <pc:sldMk cId="3592722719" sldId="798"/>
            <ac:picMk id="3076" creationId="{A6D4BEAD-95E4-9ED4-5449-640BB3C8103C}"/>
          </ac:picMkLst>
        </pc:picChg>
      </pc:sldChg>
      <pc:sldChg chg="del">
        <pc:chgData name="José Antonio Ureta Santacreu" userId="e36999d1-2b92-424a-9e8c-5fde0c5fbdd2" providerId="ADAL" clId="{B441C459-42E0-4465-B296-199851FC6E31}" dt="2024-07-23T10:41:54.955" v="271" actId="2696"/>
        <pc:sldMkLst>
          <pc:docMk/>
          <pc:sldMk cId="983069842" sldId="808"/>
        </pc:sldMkLst>
      </pc:sldChg>
      <pc:sldChg chg="addSp delSp modSp mod chgLayout">
        <pc:chgData name="José Antonio Ureta Santacreu" userId="e36999d1-2b92-424a-9e8c-5fde0c5fbdd2" providerId="ADAL" clId="{B441C459-42E0-4465-B296-199851FC6E31}" dt="2024-09-11T11:12:14.001" v="3782" actId="6264"/>
        <pc:sldMkLst>
          <pc:docMk/>
          <pc:sldMk cId="1489756189" sldId="808"/>
        </pc:sldMkLst>
        <pc:spChg chg="mod ord">
          <ac:chgData name="José Antonio Ureta Santacreu" userId="e36999d1-2b92-424a-9e8c-5fde0c5fbdd2" providerId="ADAL" clId="{B441C459-42E0-4465-B296-199851FC6E31}" dt="2024-09-11T11:12:14.001" v="3782" actId="6264"/>
          <ac:spMkLst>
            <pc:docMk/>
            <pc:sldMk cId="1489756189" sldId="808"/>
            <ac:spMk id="2" creationId="{C9033118-05A9-4E4F-B014-7A03D1E0808A}"/>
          </ac:spMkLst>
        </pc:spChg>
        <pc:spChg chg="mod ord">
          <ac:chgData name="José Antonio Ureta Santacreu" userId="e36999d1-2b92-424a-9e8c-5fde0c5fbdd2" providerId="ADAL" clId="{B441C459-42E0-4465-B296-199851FC6E31}" dt="2024-09-11T11:12:14.001" v="3782" actId="6264"/>
          <ac:spMkLst>
            <pc:docMk/>
            <pc:sldMk cId="1489756189" sldId="808"/>
            <ac:spMk id="3" creationId="{EC495C22-40F1-42C5-861F-60B81B27FA95}"/>
          </ac:spMkLst>
        </pc:spChg>
        <pc:spChg chg="mod ord">
          <ac:chgData name="José Antonio Ureta Santacreu" userId="e36999d1-2b92-424a-9e8c-5fde0c5fbdd2" providerId="ADAL" clId="{B441C459-42E0-4465-B296-199851FC6E31}" dt="2024-09-11T11:12:14.001" v="3782" actId="6264"/>
          <ac:spMkLst>
            <pc:docMk/>
            <pc:sldMk cId="1489756189" sldId="808"/>
            <ac:spMk id="4" creationId="{A14C73D9-C38A-4542-962C-DC7A4BB3FC24}"/>
          </ac:spMkLst>
        </pc:spChg>
        <pc:spChg chg="mod ord">
          <ac:chgData name="José Antonio Ureta Santacreu" userId="e36999d1-2b92-424a-9e8c-5fde0c5fbdd2" providerId="ADAL" clId="{B441C459-42E0-4465-B296-199851FC6E31}" dt="2024-09-11T11:12:14.001" v="3782" actId="6264"/>
          <ac:spMkLst>
            <pc:docMk/>
            <pc:sldMk cId="1489756189" sldId="808"/>
            <ac:spMk id="5" creationId="{5A4D2584-3FA3-4004-B8E0-CE6E0DF80C6C}"/>
          </ac:spMkLst>
        </pc:spChg>
        <pc:spChg chg="add del mod">
          <ac:chgData name="José Antonio Ureta Santacreu" userId="e36999d1-2b92-424a-9e8c-5fde0c5fbdd2" providerId="ADAL" clId="{B441C459-42E0-4465-B296-199851FC6E31}" dt="2024-09-11T11:12:14.001" v="3782" actId="6264"/>
          <ac:spMkLst>
            <pc:docMk/>
            <pc:sldMk cId="1489756189" sldId="808"/>
            <ac:spMk id="8" creationId="{F4EF92E1-385E-CBFF-44D4-41EB1DDB74E2}"/>
          </ac:spMkLst>
        </pc:spChg>
        <pc:spChg chg="add del mod">
          <ac:chgData name="José Antonio Ureta Santacreu" userId="e36999d1-2b92-424a-9e8c-5fde0c5fbdd2" providerId="ADAL" clId="{B441C459-42E0-4465-B296-199851FC6E31}" dt="2024-09-11T11:12:14.001" v="3782" actId="6264"/>
          <ac:spMkLst>
            <pc:docMk/>
            <pc:sldMk cId="1489756189" sldId="808"/>
            <ac:spMk id="9" creationId="{D384A1B5-DEE6-4E74-DE15-09F285032E9E}"/>
          </ac:spMkLst>
        </pc:spChg>
        <pc:spChg chg="add del mod">
          <ac:chgData name="José Antonio Ureta Santacreu" userId="e36999d1-2b92-424a-9e8c-5fde0c5fbdd2" providerId="ADAL" clId="{B441C459-42E0-4465-B296-199851FC6E31}" dt="2024-09-11T11:12:14.001" v="3782" actId="6264"/>
          <ac:spMkLst>
            <pc:docMk/>
            <pc:sldMk cId="1489756189" sldId="808"/>
            <ac:spMk id="10" creationId="{D26EA6EF-3BAF-274B-E605-77C90D2185D2}"/>
          </ac:spMkLst>
        </pc:spChg>
        <pc:spChg chg="add del mod">
          <ac:chgData name="José Antonio Ureta Santacreu" userId="e36999d1-2b92-424a-9e8c-5fde0c5fbdd2" providerId="ADAL" clId="{B441C459-42E0-4465-B296-199851FC6E31}" dt="2024-09-11T11:12:14.001" v="3782" actId="6264"/>
          <ac:spMkLst>
            <pc:docMk/>
            <pc:sldMk cId="1489756189" sldId="808"/>
            <ac:spMk id="11" creationId="{24C06319-BF07-25D9-8C05-606111E555BE}"/>
          </ac:spMkLst>
        </pc:spChg>
      </pc:sldChg>
      <pc:sldChg chg="add">
        <pc:chgData name="José Antonio Ureta Santacreu" userId="e36999d1-2b92-424a-9e8c-5fde0c5fbdd2" providerId="ADAL" clId="{B441C459-42E0-4465-B296-199851FC6E31}" dt="2024-07-23T10:42:07.386" v="272"/>
        <pc:sldMkLst>
          <pc:docMk/>
          <pc:sldMk cId="3147883218" sldId="808"/>
        </pc:sldMkLst>
      </pc:sldChg>
      <pc:sldChg chg="del">
        <pc:chgData name="José Antonio Ureta Santacreu" userId="e36999d1-2b92-424a-9e8c-5fde0c5fbdd2" providerId="ADAL" clId="{B441C459-42E0-4465-B296-199851FC6E31}" dt="2024-07-23T10:41:54.955" v="271" actId="2696"/>
        <pc:sldMkLst>
          <pc:docMk/>
          <pc:sldMk cId="1917666586" sldId="815"/>
        </pc:sldMkLst>
      </pc:sldChg>
      <pc:sldChg chg="addSp delSp modSp add mod chgLayout">
        <pc:chgData name="José Antonio Ureta Santacreu" userId="e36999d1-2b92-424a-9e8c-5fde0c5fbdd2" providerId="ADAL" clId="{B441C459-42E0-4465-B296-199851FC6E31}" dt="2024-09-11T11:12:14.001" v="3782" actId="6264"/>
        <pc:sldMkLst>
          <pc:docMk/>
          <pc:sldMk cId="3324387772" sldId="815"/>
        </pc:sldMkLst>
        <pc:spChg chg="add del mod">
          <ac:chgData name="José Antonio Ureta Santacreu" userId="e36999d1-2b92-424a-9e8c-5fde0c5fbdd2" providerId="ADAL" clId="{B441C459-42E0-4465-B296-199851FC6E31}" dt="2024-09-11T11:12:14.001" v="3782" actId="6264"/>
          <ac:spMkLst>
            <pc:docMk/>
            <pc:sldMk cId="3324387772" sldId="815"/>
            <ac:spMk id="2" creationId="{B9525EAD-2250-53A2-FCAF-21D0350F3C92}"/>
          </ac:spMkLst>
        </pc:spChg>
        <pc:spChg chg="add del mod">
          <ac:chgData name="José Antonio Ureta Santacreu" userId="e36999d1-2b92-424a-9e8c-5fde0c5fbdd2" providerId="ADAL" clId="{B441C459-42E0-4465-B296-199851FC6E31}" dt="2024-09-11T11:12:14.001" v="3782" actId="6264"/>
          <ac:spMkLst>
            <pc:docMk/>
            <pc:sldMk cId="3324387772" sldId="815"/>
            <ac:spMk id="3" creationId="{DCDE6FEA-63A6-86D3-8BF5-5A41FA6CECB7}"/>
          </ac:spMkLst>
        </pc:spChg>
        <pc:spChg chg="add del mod">
          <ac:chgData name="José Antonio Ureta Santacreu" userId="e36999d1-2b92-424a-9e8c-5fde0c5fbdd2" providerId="ADAL" clId="{B441C459-42E0-4465-B296-199851FC6E31}" dt="2024-09-11T11:12:14.001" v="3782" actId="6264"/>
          <ac:spMkLst>
            <pc:docMk/>
            <pc:sldMk cId="3324387772" sldId="815"/>
            <ac:spMk id="4" creationId="{BD71A45A-B818-F23A-D4B8-6E07BD9B4DC7}"/>
          </ac:spMkLst>
        </pc:spChg>
        <pc:spChg chg="mod ord">
          <ac:chgData name="José Antonio Ureta Santacreu" userId="e36999d1-2b92-424a-9e8c-5fde0c5fbdd2" providerId="ADAL" clId="{B441C459-42E0-4465-B296-199851FC6E31}" dt="2024-09-11T11:12:14.001" v="3782" actId="6264"/>
          <ac:spMkLst>
            <pc:docMk/>
            <pc:sldMk cId="3324387772" sldId="815"/>
            <ac:spMk id="5" creationId="{73662AFA-226B-478D-B23C-2F1154E53F05}"/>
          </ac:spMkLst>
        </pc:spChg>
        <pc:spChg chg="mod ord">
          <ac:chgData name="José Antonio Ureta Santacreu" userId="e36999d1-2b92-424a-9e8c-5fde0c5fbdd2" providerId="ADAL" clId="{B441C459-42E0-4465-B296-199851FC6E31}" dt="2024-09-11T11:12:14.001" v="3782" actId="6264"/>
          <ac:spMkLst>
            <pc:docMk/>
            <pc:sldMk cId="3324387772" sldId="815"/>
            <ac:spMk id="6" creationId="{C123CCF4-76BA-41D3-AB60-16FE7A755F3C}"/>
          </ac:spMkLst>
        </pc:spChg>
        <pc:spChg chg="mod ord">
          <ac:chgData name="José Antonio Ureta Santacreu" userId="e36999d1-2b92-424a-9e8c-5fde0c5fbdd2" providerId="ADAL" clId="{B441C459-42E0-4465-B296-199851FC6E31}" dt="2024-09-11T11:12:14.001" v="3782" actId="6264"/>
          <ac:spMkLst>
            <pc:docMk/>
            <pc:sldMk cId="3324387772" sldId="815"/>
            <ac:spMk id="7" creationId="{3ADB1FDA-AC7C-41A1-BD49-F4855AADC0C0}"/>
          </ac:spMkLst>
        </pc:spChg>
        <pc:spChg chg="add del mod">
          <ac:chgData name="José Antonio Ureta Santacreu" userId="e36999d1-2b92-424a-9e8c-5fde0c5fbdd2" providerId="ADAL" clId="{B441C459-42E0-4465-B296-199851FC6E31}" dt="2024-09-11T11:12:14.001" v="3782" actId="6264"/>
          <ac:spMkLst>
            <pc:docMk/>
            <pc:sldMk cId="3324387772" sldId="815"/>
            <ac:spMk id="9" creationId="{2F56B5DE-9D45-8F14-871D-F972A47D5C93}"/>
          </ac:spMkLst>
        </pc:spChg>
        <pc:spChg chg="mod ord">
          <ac:chgData name="José Antonio Ureta Santacreu" userId="e36999d1-2b92-424a-9e8c-5fde0c5fbdd2" providerId="ADAL" clId="{B441C459-42E0-4465-B296-199851FC6E31}" dt="2024-09-11T11:12:14.001" v="3782" actId="6264"/>
          <ac:spMkLst>
            <pc:docMk/>
            <pc:sldMk cId="3324387772" sldId="815"/>
            <ac:spMk id="13" creationId="{2877F976-AA91-43E3-AAE5-077E4C6B22F5}"/>
          </ac:spMkLst>
        </pc:spChg>
        <pc:graphicFrameChg chg="mod ord">
          <ac:chgData name="José Antonio Ureta Santacreu" userId="e36999d1-2b92-424a-9e8c-5fde0c5fbdd2" providerId="ADAL" clId="{B441C459-42E0-4465-B296-199851FC6E31}" dt="2024-09-11T11:12:14.001" v="3782" actId="6264"/>
          <ac:graphicFrameMkLst>
            <pc:docMk/>
            <pc:sldMk cId="3324387772" sldId="815"/>
            <ac:graphicFrameMk id="8" creationId="{DBA94582-1D68-401C-ACF0-3829A0668943}"/>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604158193" sldId="816"/>
        </pc:sldMkLst>
        <pc:spChg chg="mod ord">
          <ac:chgData name="José Antonio Ureta Santacreu" userId="e36999d1-2b92-424a-9e8c-5fde0c5fbdd2" providerId="ADAL" clId="{B441C459-42E0-4465-B296-199851FC6E31}" dt="2024-09-11T11:12:14.001" v="3782" actId="6264"/>
          <ac:spMkLst>
            <pc:docMk/>
            <pc:sldMk cId="604158193" sldId="816"/>
            <ac:spMk id="2" creationId="{BD839C32-EEB1-4A1A-BB7C-071605A90D86}"/>
          </ac:spMkLst>
        </pc:spChg>
        <pc:spChg chg="mod ord">
          <ac:chgData name="José Antonio Ureta Santacreu" userId="e36999d1-2b92-424a-9e8c-5fde0c5fbdd2" providerId="ADAL" clId="{B441C459-42E0-4465-B296-199851FC6E31}" dt="2024-09-11T11:12:14.001" v="3782" actId="6264"/>
          <ac:spMkLst>
            <pc:docMk/>
            <pc:sldMk cId="604158193" sldId="816"/>
            <ac:spMk id="3" creationId="{F8FDAB65-2A08-434A-9785-ED90AEFA7AA5}"/>
          </ac:spMkLst>
        </pc:spChg>
        <pc:spChg chg="mod ord">
          <ac:chgData name="José Antonio Ureta Santacreu" userId="e36999d1-2b92-424a-9e8c-5fde0c5fbdd2" providerId="ADAL" clId="{B441C459-42E0-4465-B296-199851FC6E31}" dt="2024-09-11T11:12:14.001" v="3782" actId="6264"/>
          <ac:spMkLst>
            <pc:docMk/>
            <pc:sldMk cId="604158193" sldId="816"/>
            <ac:spMk id="4" creationId="{C9355F7C-6088-4872-8CDE-F1050BA0243D}"/>
          </ac:spMkLst>
        </pc:spChg>
        <pc:spChg chg="mod ord">
          <ac:chgData name="José Antonio Ureta Santacreu" userId="e36999d1-2b92-424a-9e8c-5fde0c5fbdd2" providerId="ADAL" clId="{B441C459-42E0-4465-B296-199851FC6E31}" dt="2024-09-11T11:12:14.001" v="3782" actId="6264"/>
          <ac:spMkLst>
            <pc:docMk/>
            <pc:sldMk cId="604158193" sldId="816"/>
            <ac:spMk id="5" creationId="{F3B0EB2F-7E51-4931-8180-F3AF5AC4AB3E}"/>
          </ac:spMkLst>
        </pc:spChg>
        <pc:spChg chg="add del mod">
          <ac:chgData name="José Antonio Ureta Santacreu" userId="e36999d1-2b92-424a-9e8c-5fde0c5fbdd2" providerId="ADAL" clId="{B441C459-42E0-4465-B296-199851FC6E31}" dt="2024-09-11T11:12:14.001" v="3782" actId="6264"/>
          <ac:spMkLst>
            <pc:docMk/>
            <pc:sldMk cId="604158193" sldId="816"/>
            <ac:spMk id="7" creationId="{DD5DDA68-D778-0CB2-D3BA-6B5266B7D745}"/>
          </ac:spMkLst>
        </pc:spChg>
        <pc:spChg chg="add del mod">
          <ac:chgData name="José Antonio Ureta Santacreu" userId="e36999d1-2b92-424a-9e8c-5fde0c5fbdd2" providerId="ADAL" clId="{B441C459-42E0-4465-B296-199851FC6E31}" dt="2024-09-11T11:12:14.001" v="3782" actId="6264"/>
          <ac:spMkLst>
            <pc:docMk/>
            <pc:sldMk cId="604158193" sldId="816"/>
            <ac:spMk id="8" creationId="{B6E1E27C-0C27-0C6A-DB8B-77CDAD491005}"/>
          </ac:spMkLst>
        </pc:spChg>
        <pc:spChg chg="add del mod">
          <ac:chgData name="José Antonio Ureta Santacreu" userId="e36999d1-2b92-424a-9e8c-5fde0c5fbdd2" providerId="ADAL" clId="{B441C459-42E0-4465-B296-199851FC6E31}" dt="2024-09-11T11:12:14.001" v="3782" actId="6264"/>
          <ac:spMkLst>
            <pc:docMk/>
            <pc:sldMk cId="604158193" sldId="816"/>
            <ac:spMk id="9" creationId="{2D9AA121-2E63-0BC0-BA43-9A5B3260A6B5}"/>
          </ac:spMkLst>
        </pc:spChg>
        <pc:spChg chg="add del mod">
          <ac:chgData name="José Antonio Ureta Santacreu" userId="e36999d1-2b92-424a-9e8c-5fde0c5fbdd2" providerId="ADAL" clId="{B441C459-42E0-4465-B296-199851FC6E31}" dt="2024-09-11T11:12:14.001" v="3782" actId="6264"/>
          <ac:spMkLst>
            <pc:docMk/>
            <pc:sldMk cId="604158193" sldId="816"/>
            <ac:spMk id="10" creationId="{D839B87D-668D-C11B-8C6E-6BF521BB1F56}"/>
          </ac:spMkLst>
        </pc:spChg>
        <pc:graphicFrameChg chg="mod">
          <ac:chgData name="José Antonio Ureta Santacreu" userId="e36999d1-2b92-424a-9e8c-5fde0c5fbdd2" providerId="ADAL" clId="{B441C459-42E0-4465-B296-199851FC6E31}" dt="2024-07-31T10:32:27.622" v="874" actId="12100"/>
          <ac:graphicFrameMkLst>
            <pc:docMk/>
            <pc:sldMk cId="604158193" sldId="816"/>
            <ac:graphicFrameMk id="6" creationId="{ED48AFCC-6B12-467A-802A-57A8905F6EE5}"/>
          </ac:graphicFrameMkLst>
        </pc:graphicFrameChg>
        <pc:picChg chg="del">
          <ac:chgData name="José Antonio Ureta Santacreu" userId="e36999d1-2b92-424a-9e8c-5fde0c5fbdd2" providerId="ADAL" clId="{B441C459-42E0-4465-B296-199851FC6E31}" dt="2024-07-31T10:32:14.497" v="873" actId="478"/>
          <ac:picMkLst>
            <pc:docMk/>
            <pc:sldMk cId="604158193" sldId="816"/>
            <ac:picMk id="10" creationId="{185A9F1C-3A77-4E31-8087-E228A265CE18}"/>
          </ac:picMkLst>
        </pc:picChg>
      </pc:sldChg>
      <pc:sldChg chg="del">
        <pc:chgData name="José Antonio Ureta Santacreu" userId="e36999d1-2b92-424a-9e8c-5fde0c5fbdd2" providerId="ADAL" clId="{B441C459-42E0-4465-B296-199851FC6E31}" dt="2024-07-23T10:41:54.955" v="271" actId="2696"/>
        <pc:sldMkLst>
          <pc:docMk/>
          <pc:sldMk cId="534935501" sldId="817"/>
        </pc:sldMkLst>
      </pc:sldChg>
      <pc:sldChg chg="addSp delSp modSp add mod delAnim chgLayout">
        <pc:chgData name="José Antonio Ureta Santacreu" userId="e36999d1-2b92-424a-9e8c-5fde0c5fbdd2" providerId="ADAL" clId="{B441C459-42E0-4465-B296-199851FC6E31}" dt="2024-09-12T10:46:23.390" v="4200" actId="478"/>
        <pc:sldMkLst>
          <pc:docMk/>
          <pc:sldMk cId="731926037" sldId="817"/>
        </pc:sldMkLst>
        <pc:spChg chg="mod ord">
          <ac:chgData name="José Antonio Ureta Santacreu" userId="e36999d1-2b92-424a-9e8c-5fde0c5fbdd2" providerId="ADAL" clId="{B441C459-42E0-4465-B296-199851FC6E31}" dt="2024-09-12T10:45:50.023" v="4194" actId="14100"/>
          <ac:spMkLst>
            <pc:docMk/>
            <pc:sldMk cId="731926037" sldId="817"/>
            <ac:spMk id="2" creationId="{0C769344-44E2-463A-BF59-6D28C580A2AB}"/>
          </ac:spMkLst>
        </pc:spChg>
        <pc:spChg chg="del">
          <ac:chgData name="José Antonio Ureta Santacreu" userId="e36999d1-2b92-424a-9e8c-5fde0c5fbdd2" providerId="ADAL" clId="{B441C459-42E0-4465-B296-199851FC6E31}" dt="2024-09-12T10:46:09.901" v="4196" actId="478"/>
          <ac:spMkLst>
            <pc:docMk/>
            <pc:sldMk cId="731926037" sldId="817"/>
            <ac:spMk id="3" creationId="{E5D842D3-71E7-4F50-B4A0-4D1A94FB8DD0}"/>
          </ac:spMkLst>
        </pc:spChg>
        <pc:spChg chg="add del mod">
          <ac:chgData name="José Antonio Ureta Santacreu" userId="e36999d1-2b92-424a-9e8c-5fde0c5fbdd2" providerId="ADAL" clId="{B441C459-42E0-4465-B296-199851FC6E31}" dt="2024-09-11T11:12:14.001" v="3782" actId="6264"/>
          <ac:spMkLst>
            <pc:docMk/>
            <pc:sldMk cId="731926037" sldId="817"/>
            <ac:spMk id="5" creationId="{EBE81493-2769-6213-B149-C221CEC9055C}"/>
          </ac:spMkLst>
        </pc:spChg>
        <pc:spChg chg="del">
          <ac:chgData name="José Antonio Ureta Santacreu" userId="e36999d1-2b92-424a-9e8c-5fde0c5fbdd2" providerId="ADAL" clId="{B441C459-42E0-4465-B296-199851FC6E31}" dt="2024-09-12T10:46:23.390" v="4200" actId="478"/>
          <ac:spMkLst>
            <pc:docMk/>
            <pc:sldMk cId="731926037" sldId="817"/>
            <ac:spMk id="6" creationId="{1CA55E79-4BE9-4619-99E3-D899E9A1CA88}"/>
          </ac:spMkLst>
        </pc:spChg>
        <pc:spChg chg="add del mod">
          <ac:chgData name="José Antonio Ureta Santacreu" userId="e36999d1-2b92-424a-9e8c-5fde0c5fbdd2" providerId="ADAL" clId="{B441C459-42E0-4465-B296-199851FC6E31}" dt="2024-09-11T11:12:14.001" v="3782" actId="6264"/>
          <ac:spMkLst>
            <pc:docMk/>
            <pc:sldMk cId="731926037" sldId="817"/>
            <ac:spMk id="9" creationId="{015EBA03-B7ED-978B-3C65-5E630ECD3652}"/>
          </ac:spMkLst>
        </pc:spChg>
        <pc:spChg chg="add del mod">
          <ac:chgData name="José Antonio Ureta Santacreu" userId="e36999d1-2b92-424a-9e8c-5fde0c5fbdd2" providerId="ADAL" clId="{B441C459-42E0-4465-B296-199851FC6E31}" dt="2024-09-11T11:12:14.001" v="3782" actId="6264"/>
          <ac:spMkLst>
            <pc:docMk/>
            <pc:sldMk cId="731926037" sldId="817"/>
            <ac:spMk id="10" creationId="{7108750F-2BA7-746E-2140-9753A23BB93E}"/>
          </ac:spMkLst>
        </pc:spChg>
        <pc:spChg chg="add del mod">
          <ac:chgData name="José Antonio Ureta Santacreu" userId="e36999d1-2b92-424a-9e8c-5fde0c5fbdd2" providerId="ADAL" clId="{B441C459-42E0-4465-B296-199851FC6E31}" dt="2024-09-11T11:12:14.001" v="3782" actId="6264"/>
          <ac:spMkLst>
            <pc:docMk/>
            <pc:sldMk cId="731926037" sldId="817"/>
            <ac:spMk id="11" creationId="{33DAADB0-8847-EC61-8BE0-F4739D802958}"/>
          </ac:spMkLst>
        </pc:spChg>
        <pc:spChg chg="del">
          <ac:chgData name="José Antonio Ureta Santacreu" userId="e36999d1-2b92-424a-9e8c-5fde0c5fbdd2" providerId="ADAL" clId="{B441C459-42E0-4465-B296-199851FC6E31}" dt="2024-09-12T10:46:07.874" v="4195" actId="478"/>
          <ac:spMkLst>
            <pc:docMk/>
            <pc:sldMk cId="731926037" sldId="817"/>
            <ac:spMk id="22" creationId="{2E7281D9-05E6-4BF9-9E7A-E2CC0D084555}"/>
          </ac:spMkLst>
        </pc:spChg>
        <pc:spChg chg="del">
          <ac:chgData name="José Antonio Ureta Santacreu" userId="e36999d1-2b92-424a-9e8c-5fde0c5fbdd2" providerId="ADAL" clId="{B441C459-42E0-4465-B296-199851FC6E31}" dt="2024-09-12T10:46:16.569" v="4198" actId="478"/>
          <ac:spMkLst>
            <pc:docMk/>
            <pc:sldMk cId="731926037" sldId="817"/>
            <ac:spMk id="24" creationId="{8C61E0A3-1EDA-4814-92CB-3DC136FCC2C1}"/>
          </ac:spMkLst>
        </pc:spChg>
        <pc:spChg chg="del">
          <ac:chgData name="José Antonio Ureta Santacreu" userId="e36999d1-2b92-424a-9e8c-5fde0c5fbdd2" providerId="ADAL" clId="{B441C459-42E0-4465-B296-199851FC6E31}" dt="2024-09-12T10:46:12.366" v="4197" actId="478"/>
          <ac:spMkLst>
            <pc:docMk/>
            <pc:sldMk cId="731926037" sldId="817"/>
            <ac:spMk id="34" creationId="{1DDA98AB-F9B1-48A3-A3A4-F61D2D84B91E}"/>
          </ac:spMkLst>
        </pc:spChg>
        <pc:spChg chg="mod ord">
          <ac:chgData name="José Antonio Ureta Santacreu" userId="e36999d1-2b92-424a-9e8c-5fde0c5fbdd2" providerId="ADAL" clId="{B441C459-42E0-4465-B296-199851FC6E31}" dt="2024-09-11T11:12:14.001" v="3782" actId="6264"/>
          <ac:spMkLst>
            <pc:docMk/>
            <pc:sldMk cId="731926037" sldId="817"/>
            <ac:spMk id="35" creationId="{0C586223-ABFD-4458-A585-8B5FEC38AE49}"/>
          </ac:spMkLst>
        </pc:spChg>
        <pc:spChg chg="mod ord">
          <ac:chgData name="José Antonio Ureta Santacreu" userId="e36999d1-2b92-424a-9e8c-5fde0c5fbdd2" providerId="ADAL" clId="{B441C459-42E0-4465-B296-199851FC6E31}" dt="2024-09-11T11:12:14.001" v="3782" actId="6264"/>
          <ac:spMkLst>
            <pc:docMk/>
            <pc:sldMk cId="731926037" sldId="817"/>
            <ac:spMk id="36" creationId="{285ED4BE-0401-4D8C-A254-DB8E04569350}"/>
          </ac:spMkLst>
        </pc:spChg>
        <pc:spChg chg="mod ord">
          <ac:chgData name="José Antonio Ureta Santacreu" userId="e36999d1-2b92-424a-9e8c-5fde0c5fbdd2" providerId="ADAL" clId="{B441C459-42E0-4465-B296-199851FC6E31}" dt="2024-09-11T11:12:14.001" v="3782" actId="6264"/>
          <ac:spMkLst>
            <pc:docMk/>
            <pc:sldMk cId="731926037" sldId="817"/>
            <ac:spMk id="37" creationId="{5B23D613-296C-43A5-A74A-59EFF90CD66A}"/>
          </ac:spMkLst>
        </pc:spChg>
        <pc:spChg chg="del">
          <ac:chgData name="José Antonio Ureta Santacreu" userId="e36999d1-2b92-424a-9e8c-5fde0c5fbdd2" providerId="ADAL" clId="{B441C459-42E0-4465-B296-199851FC6E31}" dt="2024-09-12T10:46:20.633" v="4199" actId="478"/>
          <ac:spMkLst>
            <pc:docMk/>
            <pc:sldMk cId="731926037" sldId="817"/>
            <ac:spMk id="38" creationId="{8ACDB6DF-F39D-4F73-A496-08724E0F8CB1}"/>
          </ac:spMkLst>
        </pc:spChg>
      </pc:sldChg>
      <pc:sldChg chg="del">
        <pc:chgData name="José Antonio Ureta Santacreu" userId="e36999d1-2b92-424a-9e8c-5fde0c5fbdd2" providerId="ADAL" clId="{B441C459-42E0-4465-B296-199851FC6E31}" dt="2024-07-23T10:41:54.955" v="271" actId="2696"/>
        <pc:sldMkLst>
          <pc:docMk/>
          <pc:sldMk cId="23959129" sldId="821"/>
        </pc:sldMkLst>
      </pc:sldChg>
      <pc:sldChg chg="addSp delSp modSp add mod modClrScheme chgLayout">
        <pc:chgData name="José Antonio Ureta Santacreu" userId="e36999d1-2b92-424a-9e8c-5fde0c5fbdd2" providerId="ADAL" clId="{B441C459-42E0-4465-B296-199851FC6E31}" dt="2024-09-12T11:04:51.141" v="4266" actId="14100"/>
        <pc:sldMkLst>
          <pc:docMk/>
          <pc:sldMk cId="696750959" sldId="821"/>
        </pc:sldMkLst>
        <pc:spChg chg="mod ord">
          <ac:chgData name="José Antonio Ureta Santacreu" userId="e36999d1-2b92-424a-9e8c-5fde0c5fbdd2" providerId="ADAL" clId="{B441C459-42E0-4465-B296-199851FC6E31}" dt="2024-09-12T11:04:42.653" v="4250" actId="6264"/>
          <ac:spMkLst>
            <pc:docMk/>
            <pc:sldMk cId="696750959" sldId="821"/>
            <ac:spMk id="2" creationId="{3D467F57-ED9B-4022-8D12-D382E696EFDE}"/>
          </ac:spMkLst>
        </pc:spChg>
        <pc:spChg chg="add del mod">
          <ac:chgData name="José Antonio Ureta Santacreu" userId="e36999d1-2b92-424a-9e8c-5fde0c5fbdd2" providerId="ADAL" clId="{B441C459-42E0-4465-B296-199851FC6E31}" dt="2024-09-11T11:12:14.001" v="3782" actId="6264"/>
          <ac:spMkLst>
            <pc:docMk/>
            <pc:sldMk cId="696750959" sldId="821"/>
            <ac:spMk id="3" creationId="{6EC7881E-F989-967E-0755-C30531179BC7}"/>
          </ac:spMkLst>
        </pc:spChg>
        <pc:spChg chg="add del mod ord">
          <ac:chgData name="José Antonio Ureta Santacreu" userId="e36999d1-2b92-424a-9e8c-5fde0c5fbdd2" providerId="ADAL" clId="{B441C459-42E0-4465-B296-199851FC6E31}" dt="2024-09-12T11:03:39.376" v="4236"/>
          <ac:spMkLst>
            <pc:docMk/>
            <pc:sldMk cId="696750959" sldId="821"/>
            <ac:spMk id="3" creationId="{B0DE677B-AF04-31E3-90E6-33D994E13115}"/>
          </ac:spMkLst>
        </pc:spChg>
        <pc:spChg chg="add del mod">
          <ac:chgData name="José Antonio Ureta Santacreu" userId="e36999d1-2b92-424a-9e8c-5fde0c5fbdd2" providerId="ADAL" clId="{B441C459-42E0-4465-B296-199851FC6E31}" dt="2024-09-11T11:12:14.001" v="3782" actId="6264"/>
          <ac:spMkLst>
            <pc:docMk/>
            <pc:sldMk cId="696750959" sldId="821"/>
            <ac:spMk id="4" creationId="{1E51A12A-73CB-697B-C2A5-72816FE8DE65}"/>
          </ac:spMkLst>
        </pc:spChg>
        <pc:spChg chg="add del mod">
          <ac:chgData name="José Antonio Ureta Santacreu" userId="e36999d1-2b92-424a-9e8c-5fde0c5fbdd2" providerId="ADAL" clId="{B441C459-42E0-4465-B296-199851FC6E31}" dt="2024-09-11T11:12:14.001" v="3782" actId="6264"/>
          <ac:spMkLst>
            <pc:docMk/>
            <pc:sldMk cId="696750959" sldId="821"/>
            <ac:spMk id="5" creationId="{FEA5419F-5182-1D27-C708-AB8ADCD66875}"/>
          </ac:spMkLst>
        </pc:spChg>
        <pc:spChg chg="mod ord">
          <ac:chgData name="José Antonio Ureta Santacreu" userId="e36999d1-2b92-424a-9e8c-5fde0c5fbdd2" providerId="ADAL" clId="{B441C459-42E0-4465-B296-199851FC6E31}" dt="2024-09-12T11:04:42.653" v="4250" actId="6264"/>
          <ac:spMkLst>
            <pc:docMk/>
            <pc:sldMk cId="696750959" sldId="821"/>
            <ac:spMk id="6" creationId="{7D223BB5-5E06-4B4D-A5E2-79F69CEAA6D7}"/>
          </ac:spMkLst>
        </pc:spChg>
        <pc:spChg chg="mod ord">
          <ac:chgData name="José Antonio Ureta Santacreu" userId="e36999d1-2b92-424a-9e8c-5fde0c5fbdd2" providerId="ADAL" clId="{B441C459-42E0-4465-B296-199851FC6E31}" dt="2024-09-12T11:04:42.653" v="4250" actId="6264"/>
          <ac:spMkLst>
            <pc:docMk/>
            <pc:sldMk cId="696750959" sldId="821"/>
            <ac:spMk id="7" creationId="{6AB557BD-A073-4C97-9DDD-5FE37CDAB450}"/>
          </ac:spMkLst>
        </pc:spChg>
        <pc:spChg chg="mod ord">
          <ac:chgData name="José Antonio Ureta Santacreu" userId="e36999d1-2b92-424a-9e8c-5fde0c5fbdd2" providerId="ADAL" clId="{B441C459-42E0-4465-B296-199851FC6E31}" dt="2024-09-12T11:04:42.653" v="4250" actId="6264"/>
          <ac:spMkLst>
            <pc:docMk/>
            <pc:sldMk cId="696750959" sldId="821"/>
            <ac:spMk id="8" creationId="{EF25457C-92ED-4FE3-8DDF-A649738F5DA6}"/>
          </ac:spMkLst>
        </pc:spChg>
        <pc:spChg chg="add del mod">
          <ac:chgData name="José Antonio Ureta Santacreu" userId="e36999d1-2b92-424a-9e8c-5fde0c5fbdd2" providerId="ADAL" clId="{B441C459-42E0-4465-B296-199851FC6E31}" dt="2024-09-11T11:12:14.001" v="3782" actId="6264"/>
          <ac:spMkLst>
            <pc:docMk/>
            <pc:sldMk cId="696750959" sldId="821"/>
            <ac:spMk id="11" creationId="{022D0736-837F-63E1-6470-8C4DFB87EAE6}"/>
          </ac:spMkLst>
        </pc:spChg>
        <pc:spChg chg="add mod">
          <ac:chgData name="José Antonio Ureta Santacreu" userId="e36999d1-2b92-424a-9e8c-5fde0c5fbdd2" providerId="ADAL" clId="{B441C459-42E0-4465-B296-199851FC6E31}" dt="2024-09-12T11:04:40.453" v="4249" actId="1076"/>
          <ac:spMkLst>
            <pc:docMk/>
            <pc:sldMk cId="696750959" sldId="821"/>
            <ac:spMk id="11" creationId="{8019D0D6-8280-15E8-8D82-BF5944F3C928}"/>
          </ac:spMkLst>
        </pc:spChg>
        <pc:spChg chg="add del mod">
          <ac:chgData name="José Antonio Ureta Santacreu" userId="e36999d1-2b92-424a-9e8c-5fde0c5fbdd2" providerId="ADAL" clId="{B441C459-42E0-4465-B296-199851FC6E31}" dt="2024-09-12T11:04:42.653" v="4250" actId="6264"/>
          <ac:spMkLst>
            <pc:docMk/>
            <pc:sldMk cId="696750959" sldId="821"/>
            <ac:spMk id="12" creationId="{771BFB8A-B1F3-BBB1-6E3A-E0970EFFAEC0}"/>
          </ac:spMkLst>
        </pc:spChg>
        <pc:spChg chg="add del mod">
          <ac:chgData name="José Antonio Ureta Santacreu" userId="e36999d1-2b92-424a-9e8c-5fde0c5fbdd2" providerId="ADAL" clId="{B441C459-42E0-4465-B296-199851FC6E31}" dt="2024-09-11T11:12:14.001" v="3782" actId="6264"/>
          <ac:spMkLst>
            <pc:docMk/>
            <pc:sldMk cId="696750959" sldId="821"/>
            <ac:spMk id="12" creationId="{F8B11807-51CB-F44D-8FC5-FAE0583F1606}"/>
          </ac:spMkLst>
        </pc:spChg>
        <pc:spChg chg="add del mod">
          <ac:chgData name="José Antonio Ureta Santacreu" userId="e36999d1-2b92-424a-9e8c-5fde0c5fbdd2" providerId="ADAL" clId="{B441C459-42E0-4465-B296-199851FC6E31}" dt="2024-09-12T11:04:42.653" v="4250" actId="6264"/>
          <ac:spMkLst>
            <pc:docMk/>
            <pc:sldMk cId="696750959" sldId="821"/>
            <ac:spMk id="13" creationId="{80C790B2-80A6-752C-B0E9-454F6C87E836}"/>
          </ac:spMkLst>
        </pc:spChg>
        <pc:spChg chg="add del mod">
          <ac:chgData name="José Antonio Ureta Santacreu" userId="e36999d1-2b92-424a-9e8c-5fde0c5fbdd2" providerId="ADAL" clId="{B441C459-42E0-4465-B296-199851FC6E31}" dt="2024-09-12T11:04:42.653" v="4250" actId="6264"/>
          <ac:spMkLst>
            <pc:docMk/>
            <pc:sldMk cId="696750959" sldId="821"/>
            <ac:spMk id="14" creationId="{D17AB2CA-C715-1C18-D85E-38AF7BBD7D37}"/>
          </ac:spMkLst>
        </pc:spChg>
        <pc:spChg chg="add del mod">
          <ac:chgData name="José Antonio Ureta Santacreu" userId="e36999d1-2b92-424a-9e8c-5fde0c5fbdd2" providerId="ADAL" clId="{B441C459-42E0-4465-B296-199851FC6E31}" dt="2024-09-12T11:04:42.653" v="4250" actId="6264"/>
          <ac:spMkLst>
            <pc:docMk/>
            <pc:sldMk cId="696750959" sldId="821"/>
            <ac:spMk id="15" creationId="{B946451E-8551-A3C2-30F0-8FD54D145F89}"/>
          </ac:spMkLst>
        </pc:spChg>
        <pc:spChg chg="add del mod">
          <ac:chgData name="José Antonio Ureta Santacreu" userId="e36999d1-2b92-424a-9e8c-5fde0c5fbdd2" providerId="ADAL" clId="{B441C459-42E0-4465-B296-199851FC6E31}" dt="2024-09-12T11:04:42.653" v="4250" actId="6264"/>
          <ac:spMkLst>
            <pc:docMk/>
            <pc:sldMk cId="696750959" sldId="821"/>
            <ac:spMk id="16" creationId="{5631BDA9-986B-C67B-C45C-C7510709AD75}"/>
          </ac:spMkLst>
        </pc:spChg>
        <pc:spChg chg="add del mod">
          <ac:chgData name="José Antonio Ureta Santacreu" userId="e36999d1-2b92-424a-9e8c-5fde0c5fbdd2" providerId="ADAL" clId="{B441C459-42E0-4465-B296-199851FC6E31}" dt="2024-09-12T11:04:42.653" v="4250" actId="6264"/>
          <ac:spMkLst>
            <pc:docMk/>
            <pc:sldMk cId="696750959" sldId="821"/>
            <ac:spMk id="17" creationId="{98FE9FF4-EC2B-DAD8-8DCD-89C5050A9FC2}"/>
          </ac:spMkLst>
        </pc:spChg>
        <pc:picChg chg="add mod ord">
          <ac:chgData name="José Antonio Ureta Santacreu" userId="e36999d1-2b92-424a-9e8c-5fde0c5fbdd2" providerId="ADAL" clId="{B441C459-42E0-4465-B296-199851FC6E31}" dt="2024-09-12T11:04:42.653" v="4250" actId="6264"/>
          <ac:picMkLst>
            <pc:docMk/>
            <pc:sldMk cId="696750959" sldId="821"/>
            <ac:picMk id="4" creationId="{00000000-0000-0000-0000-000000000000}"/>
          </ac:picMkLst>
        </pc:picChg>
        <pc:picChg chg="mod ord">
          <ac:chgData name="José Antonio Ureta Santacreu" userId="e36999d1-2b92-424a-9e8c-5fde0c5fbdd2" providerId="ADAL" clId="{B441C459-42E0-4465-B296-199851FC6E31}" dt="2024-09-12T11:04:51.141" v="4266" actId="14100"/>
          <ac:picMkLst>
            <pc:docMk/>
            <pc:sldMk cId="696750959" sldId="821"/>
            <ac:picMk id="9" creationId="{B12965DB-2B48-4708-8CF6-E580372A6B37}"/>
          </ac:picMkLst>
        </pc:picChg>
        <pc:picChg chg="del">
          <ac:chgData name="José Antonio Ureta Santacreu" userId="e36999d1-2b92-424a-9e8c-5fde0c5fbdd2" providerId="ADAL" clId="{B441C459-42E0-4465-B296-199851FC6E31}" dt="2024-09-12T11:03:37.098" v="4235" actId="21"/>
          <ac:picMkLst>
            <pc:docMk/>
            <pc:sldMk cId="696750959" sldId="821"/>
            <ac:picMk id="1026" creationId="{00000000-0000-0000-0000-000000000000}"/>
          </ac:picMkLst>
        </pc:picChg>
      </pc:sldChg>
      <pc:sldChg chg="delSp add del mod">
        <pc:chgData name="José Antonio Ureta Santacreu" userId="e36999d1-2b92-424a-9e8c-5fde0c5fbdd2" providerId="ADAL" clId="{B441C459-42E0-4465-B296-199851FC6E31}" dt="2024-09-02T10:49:41.876" v="2252" actId="2696"/>
        <pc:sldMkLst>
          <pc:docMk/>
          <pc:sldMk cId="1749019545" sldId="821"/>
        </pc:sldMkLst>
        <pc:spChg chg="del">
          <ac:chgData name="José Antonio Ureta Santacreu" userId="e36999d1-2b92-424a-9e8c-5fde0c5fbdd2" providerId="ADAL" clId="{B441C459-42E0-4465-B296-199851FC6E31}" dt="2024-09-02T10:49:38.652" v="2251" actId="478"/>
          <ac:spMkLst>
            <pc:docMk/>
            <pc:sldMk cId="1749019545" sldId="821"/>
            <ac:spMk id="11" creationId="{EF3AC2E6-23AC-46ED-8189-E2B8959DAC34}"/>
          </ac:spMkLst>
        </pc:spChg>
      </pc:sldChg>
      <pc:sldChg chg="del">
        <pc:chgData name="José Antonio Ureta Santacreu" userId="e36999d1-2b92-424a-9e8c-5fde0c5fbdd2" providerId="ADAL" clId="{B441C459-42E0-4465-B296-199851FC6E31}" dt="2024-07-23T10:41:54.955" v="271" actId="2696"/>
        <pc:sldMkLst>
          <pc:docMk/>
          <pc:sldMk cId="34072401" sldId="822"/>
        </pc:sldMkLst>
      </pc:sldChg>
      <pc:sldChg chg="add">
        <pc:chgData name="José Antonio Ureta Santacreu" userId="e36999d1-2b92-424a-9e8c-5fde0c5fbdd2" providerId="ADAL" clId="{B441C459-42E0-4465-B296-199851FC6E31}" dt="2024-07-23T10:42:07.386" v="272"/>
        <pc:sldMkLst>
          <pc:docMk/>
          <pc:sldMk cId="2315148979" sldId="822"/>
        </pc:sldMkLst>
      </pc:sldChg>
      <pc:sldChg chg="addSp delSp modSp mod chgLayout">
        <pc:chgData name="José Antonio Ureta Santacreu" userId="e36999d1-2b92-424a-9e8c-5fde0c5fbdd2" providerId="ADAL" clId="{B441C459-42E0-4465-B296-199851FC6E31}" dt="2024-09-12T10:42:19.886" v="4143" actId="1076"/>
        <pc:sldMkLst>
          <pc:docMk/>
          <pc:sldMk cId="3220129292" sldId="823"/>
        </pc:sldMkLst>
        <pc:spChg chg="mod ord">
          <ac:chgData name="José Antonio Ureta Santacreu" userId="e36999d1-2b92-424a-9e8c-5fde0c5fbdd2" providerId="ADAL" clId="{B441C459-42E0-4465-B296-199851FC6E31}" dt="2024-09-11T11:12:14.001" v="3782" actId="6264"/>
          <ac:spMkLst>
            <pc:docMk/>
            <pc:sldMk cId="3220129292" sldId="823"/>
            <ac:spMk id="2" creationId="{89B11885-E30C-1F82-E0E6-454FA8058295}"/>
          </ac:spMkLst>
        </pc:spChg>
        <pc:spChg chg="add del mod">
          <ac:chgData name="José Antonio Ureta Santacreu" userId="e36999d1-2b92-424a-9e8c-5fde0c5fbdd2" providerId="ADAL" clId="{B441C459-42E0-4465-B296-199851FC6E31}" dt="2024-09-11T11:12:14.001" v="3782" actId="6264"/>
          <ac:spMkLst>
            <pc:docMk/>
            <pc:sldMk cId="3220129292" sldId="823"/>
            <ac:spMk id="3" creationId="{489E31B2-38FE-4808-7599-ECA8FBD7CC21}"/>
          </ac:spMkLst>
        </pc:spChg>
        <pc:spChg chg="add del mod">
          <ac:chgData name="José Antonio Ureta Santacreu" userId="e36999d1-2b92-424a-9e8c-5fde0c5fbdd2" providerId="ADAL" clId="{B441C459-42E0-4465-B296-199851FC6E31}" dt="2024-09-11T11:12:14.001" v="3782" actId="6264"/>
          <ac:spMkLst>
            <pc:docMk/>
            <pc:sldMk cId="3220129292" sldId="823"/>
            <ac:spMk id="4" creationId="{12298125-4F8C-A86A-E1B6-80C71A99F6EE}"/>
          </ac:spMkLst>
        </pc:spChg>
        <pc:spChg chg="mod">
          <ac:chgData name="José Antonio Ureta Santacreu" userId="e36999d1-2b92-424a-9e8c-5fde0c5fbdd2" providerId="ADAL" clId="{B441C459-42E0-4465-B296-199851FC6E31}" dt="2024-09-12T10:42:19.886" v="4143" actId="1076"/>
          <ac:spMkLst>
            <pc:docMk/>
            <pc:sldMk cId="3220129292" sldId="823"/>
            <ac:spMk id="5" creationId="{6A7F0D58-9F10-FE45-71B6-259CAB4C5D02}"/>
          </ac:spMkLst>
        </pc:spChg>
        <pc:spChg chg="add del mod">
          <ac:chgData name="José Antonio Ureta Santacreu" userId="e36999d1-2b92-424a-9e8c-5fde0c5fbdd2" providerId="ADAL" clId="{B441C459-42E0-4465-B296-199851FC6E31}" dt="2024-09-11T11:12:14.001" v="3782" actId="6264"/>
          <ac:spMkLst>
            <pc:docMk/>
            <pc:sldMk cId="3220129292" sldId="823"/>
            <ac:spMk id="6" creationId="{36456607-24DE-AD3C-6250-85DB7758DFD5}"/>
          </ac:spMkLst>
        </pc:spChg>
        <pc:spChg chg="add del mod">
          <ac:chgData name="José Antonio Ureta Santacreu" userId="e36999d1-2b92-424a-9e8c-5fde0c5fbdd2" providerId="ADAL" clId="{B441C459-42E0-4465-B296-199851FC6E31}" dt="2024-09-11T11:12:14.001" v="3782" actId="6264"/>
          <ac:spMkLst>
            <pc:docMk/>
            <pc:sldMk cId="3220129292" sldId="823"/>
            <ac:spMk id="7" creationId="{F57DCBE9-D510-FEFA-EBDF-A56FD351B0B9}"/>
          </ac:spMkLst>
        </pc:spChg>
        <pc:spChg chg="add del mod">
          <ac:chgData name="José Antonio Ureta Santacreu" userId="e36999d1-2b92-424a-9e8c-5fde0c5fbdd2" providerId="ADAL" clId="{B441C459-42E0-4465-B296-199851FC6E31}" dt="2024-09-11T11:12:14.001" v="3782" actId="6264"/>
          <ac:spMkLst>
            <pc:docMk/>
            <pc:sldMk cId="3220129292" sldId="823"/>
            <ac:spMk id="8" creationId="{2D7A3704-2334-BD69-BF20-88296F079AA2}"/>
          </ac:spMkLst>
        </pc:spChg>
        <pc:spChg chg="add del mod">
          <ac:chgData name="José Antonio Ureta Santacreu" userId="e36999d1-2b92-424a-9e8c-5fde0c5fbdd2" providerId="ADAL" clId="{B441C459-42E0-4465-B296-199851FC6E31}" dt="2024-09-11T11:12:14.001" v="3782" actId="6264"/>
          <ac:spMkLst>
            <pc:docMk/>
            <pc:sldMk cId="3220129292" sldId="823"/>
            <ac:spMk id="9" creationId="{4E89694A-D865-7DD0-59C1-417382045E4D}"/>
          </ac:spMkLst>
        </pc:spChg>
        <pc:spChg chg="mod ord">
          <ac:chgData name="José Antonio Ureta Santacreu" userId="e36999d1-2b92-424a-9e8c-5fde0c5fbdd2" providerId="ADAL" clId="{B441C459-42E0-4465-B296-199851FC6E31}" dt="2024-09-11T11:12:14.001" v="3782" actId="6264"/>
          <ac:spMkLst>
            <pc:docMk/>
            <pc:sldMk cId="3220129292" sldId="823"/>
            <ac:spMk id="13" creationId="{4D2538B0-03BE-5FE7-FD8A-9C011267C4B7}"/>
          </ac:spMkLst>
        </pc:spChg>
        <pc:spChg chg="mod ord">
          <ac:chgData name="José Antonio Ureta Santacreu" userId="e36999d1-2b92-424a-9e8c-5fde0c5fbdd2" providerId="ADAL" clId="{B441C459-42E0-4465-B296-199851FC6E31}" dt="2024-09-11T11:12:14.001" v="3782" actId="6264"/>
          <ac:spMkLst>
            <pc:docMk/>
            <pc:sldMk cId="3220129292" sldId="823"/>
            <ac:spMk id="14" creationId="{37FCC542-2BE8-0FE2-4A58-6090AB57D8AD}"/>
          </ac:spMkLst>
        </pc:spChg>
        <pc:spChg chg="mod ord">
          <ac:chgData name="José Antonio Ureta Santacreu" userId="e36999d1-2b92-424a-9e8c-5fde0c5fbdd2" providerId="ADAL" clId="{B441C459-42E0-4465-B296-199851FC6E31}" dt="2024-09-11T11:12:14.001" v="3782" actId="6264"/>
          <ac:spMkLst>
            <pc:docMk/>
            <pc:sldMk cId="3220129292" sldId="823"/>
            <ac:spMk id="15" creationId="{EFC56CD8-02DC-B24C-F029-A2A99B18F3CD}"/>
          </ac:spMkLst>
        </pc:spChg>
        <pc:graphicFrameChg chg="mod ord">
          <ac:chgData name="José Antonio Ureta Santacreu" userId="e36999d1-2b92-424a-9e8c-5fde0c5fbdd2" providerId="ADAL" clId="{B441C459-42E0-4465-B296-199851FC6E31}" dt="2024-09-12T10:41:59.896" v="4141" actId="14100"/>
          <ac:graphicFrameMkLst>
            <pc:docMk/>
            <pc:sldMk cId="3220129292" sldId="823"/>
            <ac:graphicFrameMk id="10" creationId="{4B6D2A57-68C7-126D-8B00-7454FDF16774}"/>
          </ac:graphicFrameMkLst>
        </pc:graphicFrameChg>
        <pc:picChg chg="mod ord">
          <ac:chgData name="José Antonio Ureta Santacreu" userId="e36999d1-2b92-424a-9e8c-5fde0c5fbdd2" providerId="ADAL" clId="{B441C459-42E0-4465-B296-199851FC6E31}" dt="2024-09-11T11:12:14.001" v="3782" actId="6264"/>
          <ac:picMkLst>
            <pc:docMk/>
            <pc:sldMk cId="3220129292" sldId="823"/>
            <ac:picMk id="1026" creationId="{1624F62E-4E58-FBA6-3FE0-376EBE1FCCC7}"/>
          </ac:picMkLst>
        </pc:picChg>
      </pc:sldChg>
      <pc:sldChg chg="addSp delSp modSp mod chgLayout">
        <pc:chgData name="José Antonio Ureta Santacreu" userId="e36999d1-2b92-424a-9e8c-5fde0c5fbdd2" providerId="ADAL" clId="{B441C459-42E0-4465-B296-199851FC6E31}" dt="2024-09-11T11:12:14.001" v="3782" actId="6264"/>
        <pc:sldMkLst>
          <pc:docMk/>
          <pc:sldMk cId="2629491632" sldId="824"/>
        </pc:sldMkLst>
        <pc:spChg chg="mod ord">
          <ac:chgData name="José Antonio Ureta Santacreu" userId="e36999d1-2b92-424a-9e8c-5fde0c5fbdd2" providerId="ADAL" clId="{B441C459-42E0-4465-B296-199851FC6E31}" dt="2024-09-11T11:12:14.001" v="3782" actId="6264"/>
          <ac:spMkLst>
            <pc:docMk/>
            <pc:sldMk cId="2629491632" sldId="824"/>
            <ac:spMk id="2" creationId="{3805F19F-D324-7A05-065D-40C18B2C7519}"/>
          </ac:spMkLst>
        </pc:spChg>
        <pc:spChg chg="mod ord">
          <ac:chgData name="José Antonio Ureta Santacreu" userId="e36999d1-2b92-424a-9e8c-5fde0c5fbdd2" providerId="ADAL" clId="{B441C459-42E0-4465-B296-199851FC6E31}" dt="2024-09-11T11:12:14.001" v="3782" actId="6264"/>
          <ac:spMkLst>
            <pc:docMk/>
            <pc:sldMk cId="2629491632" sldId="824"/>
            <ac:spMk id="3" creationId="{CA021685-E075-E478-9C84-82F348F28B93}"/>
          </ac:spMkLst>
        </pc:spChg>
        <pc:spChg chg="add del mod">
          <ac:chgData name="José Antonio Ureta Santacreu" userId="e36999d1-2b92-424a-9e8c-5fde0c5fbdd2" providerId="ADAL" clId="{B441C459-42E0-4465-B296-199851FC6E31}" dt="2024-09-11T11:12:14.001" v="3782" actId="6264"/>
          <ac:spMkLst>
            <pc:docMk/>
            <pc:sldMk cId="2629491632" sldId="824"/>
            <ac:spMk id="4" creationId="{4963B68B-A37D-6585-D084-0CCB80857432}"/>
          </ac:spMkLst>
        </pc:spChg>
        <pc:spChg chg="mod ord">
          <ac:chgData name="José Antonio Ureta Santacreu" userId="e36999d1-2b92-424a-9e8c-5fde0c5fbdd2" providerId="ADAL" clId="{B441C459-42E0-4465-B296-199851FC6E31}" dt="2024-09-11T11:12:14.001" v="3782" actId="6264"/>
          <ac:spMkLst>
            <pc:docMk/>
            <pc:sldMk cId="2629491632" sldId="824"/>
            <ac:spMk id="5" creationId="{E7AB1456-0A49-F18C-5358-5E2D87D5CBE0}"/>
          </ac:spMkLst>
        </pc:spChg>
        <pc:spChg chg="add del mod">
          <ac:chgData name="José Antonio Ureta Santacreu" userId="e36999d1-2b92-424a-9e8c-5fde0c5fbdd2" providerId="ADAL" clId="{B441C459-42E0-4465-B296-199851FC6E31}" dt="2024-09-11T11:12:14.001" v="3782" actId="6264"/>
          <ac:spMkLst>
            <pc:docMk/>
            <pc:sldMk cId="2629491632" sldId="824"/>
            <ac:spMk id="6" creationId="{6B34038C-BEAE-B99A-DA91-EB8D085C3E67}"/>
          </ac:spMkLst>
        </pc:spChg>
        <pc:spChg chg="add del mod">
          <ac:chgData name="José Antonio Ureta Santacreu" userId="e36999d1-2b92-424a-9e8c-5fde0c5fbdd2" providerId="ADAL" clId="{B441C459-42E0-4465-B296-199851FC6E31}" dt="2024-09-11T11:12:14.001" v="3782" actId="6264"/>
          <ac:spMkLst>
            <pc:docMk/>
            <pc:sldMk cId="2629491632" sldId="824"/>
            <ac:spMk id="8" creationId="{F04F05BD-1E11-88B6-FE7C-FD6D6DEBD72E}"/>
          </ac:spMkLst>
        </pc:spChg>
        <pc:spChg chg="add del mod">
          <ac:chgData name="José Antonio Ureta Santacreu" userId="e36999d1-2b92-424a-9e8c-5fde0c5fbdd2" providerId="ADAL" clId="{B441C459-42E0-4465-B296-199851FC6E31}" dt="2024-09-11T11:12:14.001" v="3782" actId="6264"/>
          <ac:spMkLst>
            <pc:docMk/>
            <pc:sldMk cId="2629491632" sldId="824"/>
            <ac:spMk id="9" creationId="{0FF9E675-8F26-FFB3-04B1-9AF072BF5BE1}"/>
          </ac:spMkLst>
        </pc:spChg>
        <pc:spChg chg="add del mod">
          <ac:chgData name="José Antonio Ureta Santacreu" userId="e36999d1-2b92-424a-9e8c-5fde0c5fbdd2" providerId="ADAL" clId="{B441C459-42E0-4465-B296-199851FC6E31}" dt="2024-09-11T11:12:14.001" v="3782" actId="6264"/>
          <ac:spMkLst>
            <pc:docMk/>
            <pc:sldMk cId="2629491632" sldId="824"/>
            <ac:spMk id="10" creationId="{FAB6B220-ADE1-867C-A842-435BBCFA74DC}"/>
          </ac:spMkLst>
        </pc:spChg>
        <pc:spChg chg="add del mod">
          <ac:chgData name="José Antonio Ureta Santacreu" userId="e36999d1-2b92-424a-9e8c-5fde0c5fbdd2" providerId="ADAL" clId="{B441C459-42E0-4465-B296-199851FC6E31}" dt="2024-09-11T11:12:14.001" v="3782" actId="6264"/>
          <ac:spMkLst>
            <pc:docMk/>
            <pc:sldMk cId="2629491632" sldId="824"/>
            <ac:spMk id="11" creationId="{0D903803-8012-55EC-C7B6-71A6DA40B472}"/>
          </ac:spMkLst>
        </pc:spChg>
        <pc:spChg chg="add del mod">
          <ac:chgData name="José Antonio Ureta Santacreu" userId="e36999d1-2b92-424a-9e8c-5fde0c5fbdd2" providerId="ADAL" clId="{B441C459-42E0-4465-B296-199851FC6E31}" dt="2024-09-11T11:12:14.001" v="3782" actId="6264"/>
          <ac:spMkLst>
            <pc:docMk/>
            <pc:sldMk cId="2629491632" sldId="824"/>
            <ac:spMk id="12" creationId="{8FB0554E-1CEA-0D6B-ED05-10BCB801C160}"/>
          </ac:spMkLst>
        </pc:spChg>
        <pc:spChg chg="add del mod">
          <ac:chgData name="José Antonio Ureta Santacreu" userId="e36999d1-2b92-424a-9e8c-5fde0c5fbdd2" providerId="ADAL" clId="{B441C459-42E0-4465-B296-199851FC6E31}" dt="2024-09-11T11:12:14.001" v="3782" actId="6264"/>
          <ac:spMkLst>
            <pc:docMk/>
            <pc:sldMk cId="2629491632" sldId="824"/>
            <ac:spMk id="14" creationId="{D5880B90-1AB5-10CF-DF01-F76D90015DD7}"/>
          </ac:spMkLst>
        </pc:spChg>
        <pc:spChg chg="mod ord">
          <ac:chgData name="José Antonio Ureta Santacreu" userId="e36999d1-2b92-424a-9e8c-5fde0c5fbdd2" providerId="ADAL" clId="{B441C459-42E0-4465-B296-199851FC6E31}" dt="2024-09-11T11:12:14.001" v="3782" actId="6264"/>
          <ac:spMkLst>
            <pc:docMk/>
            <pc:sldMk cId="2629491632" sldId="824"/>
            <ac:spMk id="15" creationId="{7D52E668-E1BC-8387-7C7E-1463BFCFB546}"/>
          </ac:spMkLst>
        </pc:spChg>
        <pc:spChg chg="mod ord">
          <ac:chgData name="José Antonio Ureta Santacreu" userId="e36999d1-2b92-424a-9e8c-5fde0c5fbdd2" providerId="ADAL" clId="{B441C459-42E0-4465-B296-199851FC6E31}" dt="2024-09-11T11:12:14.001" v="3782" actId="6264"/>
          <ac:spMkLst>
            <pc:docMk/>
            <pc:sldMk cId="2629491632" sldId="824"/>
            <ac:spMk id="16" creationId="{85156FCE-9957-AC21-CD1D-4F7F46F76E72}"/>
          </ac:spMkLst>
        </pc:spChg>
        <pc:spChg chg="mod ord">
          <ac:chgData name="José Antonio Ureta Santacreu" userId="e36999d1-2b92-424a-9e8c-5fde0c5fbdd2" providerId="ADAL" clId="{B441C459-42E0-4465-B296-199851FC6E31}" dt="2024-09-11T11:12:14.001" v="3782" actId="6264"/>
          <ac:spMkLst>
            <pc:docMk/>
            <pc:sldMk cId="2629491632" sldId="824"/>
            <ac:spMk id="17" creationId="{C00C3471-371D-8045-CEA6-57E0945ECE17}"/>
          </ac:spMkLst>
        </pc:spChg>
        <pc:graphicFrameChg chg="mod ord">
          <ac:chgData name="José Antonio Ureta Santacreu" userId="e36999d1-2b92-424a-9e8c-5fde0c5fbdd2" providerId="ADAL" clId="{B441C459-42E0-4465-B296-199851FC6E31}" dt="2024-09-11T11:12:14.001" v="3782" actId="6264"/>
          <ac:graphicFrameMkLst>
            <pc:docMk/>
            <pc:sldMk cId="2629491632" sldId="824"/>
            <ac:graphicFrameMk id="13" creationId="{4DBCB0E6-6807-C92E-A1B1-65C637C85784}"/>
          </ac:graphicFrameMkLst>
        </pc:graphicFrameChg>
        <pc:graphicFrameChg chg="mod ord">
          <ac:chgData name="José Antonio Ureta Santacreu" userId="e36999d1-2b92-424a-9e8c-5fde0c5fbdd2" providerId="ADAL" clId="{B441C459-42E0-4465-B296-199851FC6E31}" dt="2024-09-11T11:12:14.001" v="3782" actId="6264"/>
          <ac:graphicFrameMkLst>
            <pc:docMk/>
            <pc:sldMk cId="2629491632" sldId="824"/>
            <ac:graphicFrameMk id="18" creationId="{7B5D79BC-9CB2-D48B-F348-E53A79C40967}"/>
          </ac:graphicFrameMkLst>
        </pc:graphicFrameChg>
      </pc:sldChg>
      <pc:sldChg chg="del">
        <pc:chgData name="José Antonio Ureta Santacreu" userId="e36999d1-2b92-424a-9e8c-5fde0c5fbdd2" providerId="ADAL" clId="{B441C459-42E0-4465-B296-199851FC6E31}" dt="2024-07-23T10:41:54.955" v="271" actId="2696"/>
        <pc:sldMkLst>
          <pc:docMk/>
          <pc:sldMk cId="1847230398" sldId="825"/>
        </pc:sldMkLst>
      </pc:sldChg>
      <pc:sldChg chg="addSp delSp modSp add mod chgLayout">
        <pc:chgData name="José Antonio Ureta Santacreu" userId="e36999d1-2b92-424a-9e8c-5fde0c5fbdd2" providerId="ADAL" clId="{B441C459-42E0-4465-B296-199851FC6E31}" dt="2024-09-11T11:12:14.001" v="3782" actId="6264"/>
        <pc:sldMkLst>
          <pc:docMk/>
          <pc:sldMk cId="3408389467" sldId="825"/>
        </pc:sldMkLst>
        <pc:spChg chg="mod ord">
          <ac:chgData name="José Antonio Ureta Santacreu" userId="e36999d1-2b92-424a-9e8c-5fde0c5fbdd2" providerId="ADAL" clId="{B441C459-42E0-4465-B296-199851FC6E31}" dt="2024-09-11T11:12:14.001" v="3782" actId="6264"/>
          <ac:spMkLst>
            <pc:docMk/>
            <pc:sldMk cId="3408389467" sldId="825"/>
            <ac:spMk id="2" creationId="{45D6869F-988A-4DA4-9B9B-1024A19ACEC0}"/>
          </ac:spMkLst>
        </pc:spChg>
        <pc:spChg chg="add del mod">
          <ac:chgData name="José Antonio Ureta Santacreu" userId="e36999d1-2b92-424a-9e8c-5fde0c5fbdd2" providerId="ADAL" clId="{B441C459-42E0-4465-B296-199851FC6E31}" dt="2024-09-11T11:12:14.001" v="3782" actId="6264"/>
          <ac:spMkLst>
            <pc:docMk/>
            <pc:sldMk cId="3408389467" sldId="825"/>
            <ac:spMk id="8" creationId="{21DE2C0D-4FCF-B221-C126-A9D288AFCF8F}"/>
          </ac:spMkLst>
        </pc:spChg>
        <pc:spChg chg="add del mod">
          <ac:chgData name="José Antonio Ureta Santacreu" userId="e36999d1-2b92-424a-9e8c-5fde0c5fbdd2" providerId="ADAL" clId="{B441C459-42E0-4465-B296-199851FC6E31}" dt="2024-09-11T11:12:14.001" v="3782" actId="6264"/>
          <ac:spMkLst>
            <pc:docMk/>
            <pc:sldMk cId="3408389467" sldId="825"/>
            <ac:spMk id="28" creationId="{9DE368D5-666F-3A2E-99C9-CF08DBCB11A7}"/>
          </ac:spMkLst>
        </pc:spChg>
        <pc:spChg chg="add del mod">
          <ac:chgData name="José Antonio Ureta Santacreu" userId="e36999d1-2b92-424a-9e8c-5fde0c5fbdd2" providerId="ADAL" clId="{B441C459-42E0-4465-B296-199851FC6E31}" dt="2024-09-11T11:12:14.001" v="3782" actId="6264"/>
          <ac:spMkLst>
            <pc:docMk/>
            <pc:sldMk cId="3408389467" sldId="825"/>
            <ac:spMk id="30" creationId="{E2CB4C40-1279-1B43-7B51-C72B8688DED4}"/>
          </ac:spMkLst>
        </pc:spChg>
        <pc:spChg chg="add del mod">
          <ac:chgData name="José Antonio Ureta Santacreu" userId="e36999d1-2b92-424a-9e8c-5fde0c5fbdd2" providerId="ADAL" clId="{B441C459-42E0-4465-B296-199851FC6E31}" dt="2024-09-11T11:12:14.001" v="3782" actId="6264"/>
          <ac:spMkLst>
            <pc:docMk/>
            <pc:sldMk cId="3408389467" sldId="825"/>
            <ac:spMk id="35" creationId="{BB808C3C-3B55-7466-13E5-1513B8F6C5C1}"/>
          </ac:spMkLst>
        </pc:spChg>
        <pc:spChg chg="mod ord">
          <ac:chgData name="José Antonio Ureta Santacreu" userId="e36999d1-2b92-424a-9e8c-5fde0c5fbdd2" providerId="ADAL" clId="{B441C459-42E0-4465-B296-199851FC6E31}" dt="2024-09-11T11:12:14.001" v="3782" actId="6264"/>
          <ac:spMkLst>
            <pc:docMk/>
            <pc:sldMk cId="3408389467" sldId="825"/>
            <ac:spMk id="55" creationId="{A7C87614-0D26-4595-ADE7-0F5251738930}"/>
          </ac:spMkLst>
        </pc:spChg>
        <pc:spChg chg="mod ord">
          <ac:chgData name="José Antonio Ureta Santacreu" userId="e36999d1-2b92-424a-9e8c-5fde0c5fbdd2" providerId="ADAL" clId="{B441C459-42E0-4465-B296-199851FC6E31}" dt="2024-09-11T11:12:14.001" v="3782" actId="6264"/>
          <ac:spMkLst>
            <pc:docMk/>
            <pc:sldMk cId="3408389467" sldId="825"/>
            <ac:spMk id="56" creationId="{11277FAC-3817-43CA-B23B-3A7F216B9EEF}"/>
          </ac:spMkLst>
        </pc:spChg>
        <pc:spChg chg="mod ord">
          <ac:chgData name="José Antonio Ureta Santacreu" userId="e36999d1-2b92-424a-9e8c-5fde0c5fbdd2" providerId="ADAL" clId="{B441C459-42E0-4465-B296-199851FC6E31}" dt="2024-09-11T11:12:14.001" v="3782" actId="6264"/>
          <ac:spMkLst>
            <pc:docMk/>
            <pc:sldMk cId="3408389467" sldId="825"/>
            <ac:spMk id="57" creationId="{BEED98E4-BC75-488A-8558-BB88634BEC33}"/>
          </ac:spMkLst>
        </pc:spChg>
      </pc:sldChg>
      <pc:sldChg chg="addSp delSp modSp add mod chgLayout">
        <pc:chgData name="José Antonio Ureta Santacreu" userId="e36999d1-2b92-424a-9e8c-5fde0c5fbdd2" providerId="ADAL" clId="{B441C459-42E0-4465-B296-199851FC6E31}" dt="2024-09-11T11:12:14.001" v="3782" actId="6264"/>
        <pc:sldMkLst>
          <pc:docMk/>
          <pc:sldMk cId="1195626868" sldId="826"/>
        </pc:sldMkLst>
        <pc:spChg chg="mod ord">
          <ac:chgData name="José Antonio Ureta Santacreu" userId="e36999d1-2b92-424a-9e8c-5fde0c5fbdd2" providerId="ADAL" clId="{B441C459-42E0-4465-B296-199851FC6E31}" dt="2024-09-11T11:12:14.001" v="3782" actId="6264"/>
          <ac:spMkLst>
            <pc:docMk/>
            <pc:sldMk cId="1195626868" sldId="826"/>
            <ac:spMk id="2" creationId="{04A1ADBC-8B27-407B-9DB4-EF5BE1D20273}"/>
          </ac:spMkLst>
        </pc:spChg>
        <pc:spChg chg="add del mod">
          <ac:chgData name="José Antonio Ureta Santacreu" userId="e36999d1-2b92-424a-9e8c-5fde0c5fbdd2" providerId="ADAL" clId="{B441C459-42E0-4465-B296-199851FC6E31}" dt="2024-09-11T11:12:14.001" v="3782" actId="6264"/>
          <ac:spMkLst>
            <pc:docMk/>
            <pc:sldMk cId="1195626868" sldId="826"/>
            <ac:spMk id="3" creationId="{9D867929-0B44-CC05-BC91-2F9B54324121}"/>
          </ac:spMkLst>
        </pc:spChg>
        <pc:spChg chg="add del mod">
          <ac:chgData name="José Antonio Ureta Santacreu" userId="e36999d1-2b92-424a-9e8c-5fde0c5fbdd2" providerId="ADAL" clId="{B441C459-42E0-4465-B296-199851FC6E31}" dt="2024-09-11T11:12:14.001" v="3782" actId="6264"/>
          <ac:spMkLst>
            <pc:docMk/>
            <pc:sldMk cId="1195626868" sldId="826"/>
            <ac:spMk id="5" creationId="{8C8D9B97-A5B6-AF1E-4B77-DD1DF672B1C5}"/>
          </ac:spMkLst>
        </pc:spChg>
        <pc:spChg chg="add del mod">
          <ac:chgData name="José Antonio Ureta Santacreu" userId="e36999d1-2b92-424a-9e8c-5fde0c5fbdd2" providerId="ADAL" clId="{B441C459-42E0-4465-B296-199851FC6E31}" dt="2024-09-11T11:12:14.001" v="3782" actId="6264"/>
          <ac:spMkLst>
            <pc:docMk/>
            <pc:sldMk cId="1195626868" sldId="826"/>
            <ac:spMk id="6" creationId="{4AA1A5D5-9827-8334-D036-755D5C4495AA}"/>
          </ac:spMkLst>
        </pc:spChg>
        <pc:spChg chg="add del mod">
          <ac:chgData name="José Antonio Ureta Santacreu" userId="e36999d1-2b92-424a-9e8c-5fde0c5fbdd2" providerId="ADAL" clId="{B441C459-42E0-4465-B296-199851FC6E31}" dt="2024-09-11T11:12:14.001" v="3782" actId="6264"/>
          <ac:spMkLst>
            <pc:docMk/>
            <pc:sldMk cId="1195626868" sldId="826"/>
            <ac:spMk id="7" creationId="{2E07BB87-DAAA-FB7D-099F-77D97E442474}"/>
          </ac:spMkLst>
        </pc:spChg>
        <pc:spChg chg="mod ord">
          <ac:chgData name="José Antonio Ureta Santacreu" userId="e36999d1-2b92-424a-9e8c-5fde0c5fbdd2" providerId="ADAL" clId="{B441C459-42E0-4465-B296-199851FC6E31}" dt="2024-09-11T11:12:14.001" v="3782" actId="6264"/>
          <ac:spMkLst>
            <pc:docMk/>
            <pc:sldMk cId="1195626868" sldId="826"/>
            <ac:spMk id="16" creationId="{886E60B1-6150-47FD-8A8E-23C49D971FA6}"/>
          </ac:spMkLst>
        </pc:spChg>
        <pc:spChg chg="mod ord">
          <ac:chgData name="José Antonio Ureta Santacreu" userId="e36999d1-2b92-424a-9e8c-5fde0c5fbdd2" providerId="ADAL" clId="{B441C459-42E0-4465-B296-199851FC6E31}" dt="2024-09-11T11:12:14.001" v="3782" actId="6264"/>
          <ac:spMkLst>
            <pc:docMk/>
            <pc:sldMk cId="1195626868" sldId="826"/>
            <ac:spMk id="17" creationId="{B46A3C05-D402-4B00-B43E-14EE895C2181}"/>
          </ac:spMkLst>
        </pc:spChg>
        <pc:spChg chg="mod ord">
          <ac:chgData name="José Antonio Ureta Santacreu" userId="e36999d1-2b92-424a-9e8c-5fde0c5fbdd2" providerId="ADAL" clId="{B441C459-42E0-4465-B296-199851FC6E31}" dt="2024-09-11T11:12:14.001" v="3782" actId="6264"/>
          <ac:spMkLst>
            <pc:docMk/>
            <pc:sldMk cId="1195626868" sldId="826"/>
            <ac:spMk id="18" creationId="{59487656-0040-4FFE-9375-BA3ECD8F7916}"/>
          </ac:spMkLst>
        </pc:spChg>
      </pc:sldChg>
      <pc:sldChg chg="del">
        <pc:chgData name="José Antonio Ureta Santacreu" userId="e36999d1-2b92-424a-9e8c-5fde0c5fbdd2" providerId="ADAL" clId="{B441C459-42E0-4465-B296-199851FC6E31}" dt="2024-07-23T10:41:54.955" v="271" actId="2696"/>
        <pc:sldMkLst>
          <pc:docMk/>
          <pc:sldMk cId="3058508598" sldId="826"/>
        </pc:sldMkLst>
      </pc:sldChg>
      <pc:sldChg chg="addSp delSp modSp add mod chgLayout">
        <pc:chgData name="José Antonio Ureta Santacreu" userId="e36999d1-2b92-424a-9e8c-5fde0c5fbdd2" providerId="ADAL" clId="{B441C459-42E0-4465-B296-199851FC6E31}" dt="2024-09-11T11:12:14.001" v="3782" actId="6264"/>
        <pc:sldMkLst>
          <pc:docMk/>
          <pc:sldMk cId="910368630" sldId="830"/>
        </pc:sldMkLst>
        <pc:spChg chg="mod ord">
          <ac:chgData name="José Antonio Ureta Santacreu" userId="e36999d1-2b92-424a-9e8c-5fde0c5fbdd2" providerId="ADAL" clId="{B441C459-42E0-4465-B296-199851FC6E31}" dt="2024-09-11T11:12:14.001" v="3782" actId="6264"/>
          <ac:spMkLst>
            <pc:docMk/>
            <pc:sldMk cId="910368630" sldId="830"/>
            <ac:spMk id="2" creationId="{D37B7C85-7FF9-41AA-8627-92B3DACD70DC}"/>
          </ac:spMkLst>
        </pc:spChg>
        <pc:spChg chg="mod ord">
          <ac:chgData name="José Antonio Ureta Santacreu" userId="e36999d1-2b92-424a-9e8c-5fde0c5fbdd2" providerId="ADAL" clId="{B441C459-42E0-4465-B296-199851FC6E31}" dt="2024-09-11T11:12:14.001" v="3782" actId="6264"/>
          <ac:spMkLst>
            <pc:docMk/>
            <pc:sldMk cId="910368630" sldId="830"/>
            <ac:spMk id="3" creationId="{99591A51-9E73-4AFF-AFBC-EE2138AD1632}"/>
          </ac:spMkLst>
        </pc:spChg>
        <pc:spChg chg="mod ord">
          <ac:chgData name="José Antonio Ureta Santacreu" userId="e36999d1-2b92-424a-9e8c-5fde0c5fbdd2" providerId="ADAL" clId="{B441C459-42E0-4465-B296-199851FC6E31}" dt="2024-09-11T11:12:14.001" v="3782" actId="6264"/>
          <ac:spMkLst>
            <pc:docMk/>
            <pc:sldMk cId="910368630" sldId="830"/>
            <ac:spMk id="4" creationId="{AEC9BF29-54DC-4231-8153-741E9CF4BD0C}"/>
          </ac:spMkLst>
        </pc:spChg>
        <pc:spChg chg="mod ord">
          <ac:chgData name="José Antonio Ureta Santacreu" userId="e36999d1-2b92-424a-9e8c-5fde0c5fbdd2" providerId="ADAL" clId="{B441C459-42E0-4465-B296-199851FC6E31}" dt="2024-09-11T11:12:14.001" v="3782" actId="6264"/>
          <ac:spMkLst>
            <pc:docMk/>
            <pc:sldMk cId="910368630" sldId="830"/>
            <ac:spMk id="5" creationId="{0ECD060C-C0D6-4641-B9EC-CF549F7B4ED7}"/>
          </ac:spMkLst>
        </pc:spChg>
        <pc:spChg chg="add del mod">
          <ac:chgData name="José Antonio Ureta Santacreu" userId="e36999d1-2b92-424a-9e8c-5fde0c5fbdd2" providerId="ADAL" clId="{B441C459-42E0-4465-B296-199851FC6E31}" dt="2024-09-11T11:12:14.001" v="3782" actId="6264"/>
          <ac:spMkLst>
            <pc:docMk/>
            <pc:sldMk cId="910368630" sldId="830"/>
            <ac:spMk id="8" creationId="{AC3D09AA-B13B-55E2-C44F-D9FCA422239A}"/>
          </ac:spMkLst>
        </pc:spChg>
        <pc:spChg chg="add del mod">
          <ac:chgData name="José Antonio Ureta Santacreu" userId="e36999d1-2b92-424a-9e8c-5fde0c5fbdd2" providerId="ADAL" clId="{B441C459-42E0-4465-B296-199851FC6E31}" dt="2024-09-11T11:12:14.001" v="3782" actId="6264"/>
          <ac:spMkLst>
            <pc:docMk/>
            <pc:sldMk cId="910368630" sldId="830"/>
            <ac:spMk id="9" creationId="{1C4A6EE9-E5C6-B046-02E9-4B06C5B0B00F}"/>
          </ac:spMkLst>
        </pc:spChg>
        <pc:spChg chg="add del mod">
          <ac:chgData name="José Antonio Ureta Santacreu" userId="e36999d1-2b92-424a-9e8c-5fde0c5fbdd2" providerId="ADAL" clId="{B441C459-42E0-4465-B296-199851FC6E31}" dt="2024-09-11T11:12:14.001" v="3782" actId="6264"/>
          <ac:spMkLst>
            <pc:docMk/>
            <pc:sldMk cId="910368630" sldId="830"/>
            <ac:spMk id="10" creationId="{D1D2DAB4-04EF-5A8B-19CA-ACE5EF259BCE}"/>
          </ac:spMkLst>
        </pc:spChg>
        <pc:spChg chg="add del mod">
          <ac:chgData name="José Antonio Ureta Santacreu" userId="e36999d1-2b92-424a-9e8c-5fde0c5fbdd2" providerId="ADAL" clId="{B441C459-42E0-4465-B296-199851FC6E31}" dt="2024-09-11T11:12:14.001" v="3782" actId="6264"/>
          <ac:spMkLst>
            <pc:docMk/>
            <pc:sldMk cId="910368630" sldId="830"/>
            <ac:spMk id="13" creationId="{A873E448-85AA-248C-D903-2BF466759544}"/>
          </ac:spMkLst>
        </pc:spChg>
      </pc:sldChg>
      <pc:sldChg chg="del">
        <pc:chgData name="José Antonio Ureta Santacreu" userId="e36999d1-2b92-424a-9e8c-5fde0c5fbdd2" providerId="ADAL" clId="{B441C459-42E0-4465-B296-199851FC6E31}" dt="2024-07-23T10:41:54.955" v="271" actId="2696"/>
        <pc:sldMkLst>
          <pc:docMk/>
          <pc:sldMk cId="2369174897" sldId="830"/>
        </pc:sldMkLst>
      </pc:sldChg>
      <pc:sldChg chg="del">
        <pc:chgData name="José Antonio Ureta Santacreu" userId="e36999d1-2b92-424a-9e8c-5fde0c5fbdd2" providerId="ADAL" clId="{B441C459-42E0-4465-B296-199851FC6E31}" dt="2024-07-23T10:41:54.955" v="271" actId="2696"/>
        <pc:sldMkLst>
          <pc:docMk/>
          <pc:sldMk cId="759859330" sldId="836"/>
        </pc:sldMkLst>
      </pc:sldChg>
      <pc:sldChg chg="add del">
        <pc:chgData name="José Antonio Ureta Santacreu" userId="e36999d1-2b92-424a-9e8c-5fde0c5fbdd2" providerId="ADAL" clId="{B441C459-42E0-4465-B296-199851FC6E31}" dt="2024-09-02T10:52:46.595" v="2255" actId="47"/>
        <pc:sldMkLst>
          <pc:docMk/>
          <pc:sldMk cId="3571537935" sldId="836"/>
        </pc:sldMkLst>
      </pc:sldChg>
      <pc:sldChg chg="addSp delSp modSp mod chgLayout">
        <pc:chgData name="José Antonio Ureta Santacreu" userId="e36999d1-2b92-424a-9e8c-5fde0c5fbdd2" providerId="ADAL" clId="{B441C459-42E0-4465-B296-199851FC6E31}" dt="2024-09-11T11:12:14.001" v="3782" actId="6264"/>
        <pc:sldMkLst>
          <pc:docMk/>
          <pc:sldMk cId="3558456817" sldId="846"/>
        </pc:sldMkLst>
        <pc:spChg chg="add del mod">
          <ac:chgData name="José Antonio Ureta Santacreu" userId="e36999d1-2b92-424a-9e8c-5fde0c5fbdd2" providerId="ADAL" clId="{B441C459-42E0-4465-B296-199851FC6E31}" dt="2024-09-11T11:12:14.001" v="3782" actId="6264"/>
          <ac:spMkLst>
            <pc:docMk/>
            <pc:sldMk cId="3558456817" sldId="846"/>
            <ac:spMk id="2" creationId="{F20473EF-6576-3AA0-1430-0A5436B82A1B}"/>
          </ac:spMkLst>
        </pc:spChg>
        <pc:spChg chg="add del mod">
          <ac:chgData name="José Antonio Ureta Santacreu" userId="e36999d1-2b92-424a-9e8c-5fde0c5fbdd2" providerId="ADAL" clId="{B441C459-42E0-4465-B296-199851FC6E31}" dt="2024-09-11T11:12:14.001" v="3782" actId="6264"/>
          <ac:spMkLst>
            <pc:docMk/>
            <pc:sldMk cId="3558456817" sldId="846"/>
            <ac:spMk id="3" creationId="{2846E145-8558-0A87-E169-027E399ACE08}"/>
          </ac:spMkLst>
        </pc:spChg>
        <pc:spChg chg="mod ord">
          <ac:chgData name="José Antonio Ureta Santacreu" userId="e36999d1-2b92-424a-9e8c-5fde0c5fbdd2" providerId="ADAL" clId="{B441C459-42E0-4465-B296-199851FC6E31}" dt="2024-09-11T11:12:14.001" v="3782" actId="6264"/>
          <ac:spMkLst>
            <pc:docMk/>
            <pc:sldMk cId="3558456817" sldId="846"/>
            <ac:spMk id="4"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3558456817" sldId="846"/>
            <ac:spMk id="6" creationId="{F612DAE4-233E-C1B3-E726-20DA1BEE24EA}"/>
          </ac:spMkLst>
        </pc:spChg>
        <pc:spChg chg="mod ord">
          <ac:chgData name="José Antonio Ureta Santacreu" userId="e36999d1-2b92-424a-9e8c-5fde0c5fbdd2" providerId="ADAL" clId="{B441C459-42E0-4465-B296-199851FC6E31}" dt="2024-09-11T11:12:14.001" v="3782" actId="6264"/>
          <ac:spMkLst>
            <pc:docMk/>
            <pc:sldMk cId="3558456817" sldId="846"/>
            <ac:spMk id="12" creationId="{80734441-B630-4A08-9A31-93E8850457B5}"/>
          </ac:spMkLst>
        </pc:spChg>
        <pc:picChg chg="mod ord">
          <ac:chgData name="José Antonio Ureta Santacreu" userId="e36999d1-2b92-424a-9e8c-5fde0c5fbdd2" providerId="ADAL" clId="{B441C459-42E0-4465-B296-199851FC6E31}" dt="2024-09-11T11:12:14.001" v="3782" actId="6264"/>
          <ac:picMkLst>
            <pc:docMk/>
            <pc:sldMk cId="3558456817" sldId="846"/>
            <ac:picMk id="5" creationId="{883F4F6F-1125-C4B7-A0D0-087249BBBB79}"/>
          </ac:picMkLst>
        </pc:picChg>
      </pc:sldChg>
      <pc:sldChg chg="addSp delSp modSp mod chgLayout">
        <pc:chgData name="José Antonio Ureta Santacreu" userId="e36999d1-2b92-424a-9e8c-5fde0c5fbdd2" providerId="ADAL" clId="{B441C459-42E0-4465-B296-199851FC6E31}" dt="2024-09-11T11:12:14.001" v="3782" actId="6264"/>
        <pc:sldMkLst>
          <pc:docMk/>
          <pc:sldMk cId="1026595820" sldId="849"/>
        </pc:sldMkLst>
        <pc:spChg chg="mod ord">
          <ac:chgData name="José Antonio Ureta Santacreu" userId="e36999d1-2b92-424a-9e8c-5fde0c5fbdd2" providerId="ADAL" clId="{B441C459-42E0-4465-B296-199851FC6E31}" dt="2024-09-11T11:12:14.001" v="3782" actId="6264"/>
          <ac:spMkLst>
            <pc:docMk/>
            <pc:sldMk cId="1026595820" sldId="849"/>
            <ac:spMk id="3" creationId="{B038C0EF-2D2D-4B2A-8A57-FB854C7E3F12}"/>
          </ac:spMkLst>
        </pc:spChg>
        <pc:spChg chg="add del mod">
          <ac:chgData name="José Antonio Ureta Santacreu" userId="e36999d1-2b92-424a-9e8c-5fde0c5fbdd2" providerId="ADAL" clId="{B441C459-42E0-4465-B296-199851FC6E31}" dt="2024-09-11T11:12:14.001" v="3782" actId="6264"/>
          <ac:spMkLst>
            <pc:docMk/>
            <pc:sldMk cId="1026595820" sldId="849"/>
            <ac:spMk id="4" creationId="{2B0F984D-BCB4-7A4C-DB7D-BFE6A06AB056}"/>
          </ac:spMkLst>
        </pc:spChg>
        <pc:spChg chg="mod ord">
          <ac:chgData name="José Antonio Ureta Santacreu" userId="e36999d1-2b92-424a-9e8c-5fde0c5fbdd2" providerId="ADAL" clId="{B441C459-42E0-4465-B296-199851FC6E31}" dt="2024-09-11T11:12:14.001" v="3782" actId="6264"/>
          <ac:spMkLst>
            <pc:docMk/>
            <pc:sldMk cId="1026595820" sldId="849"/>
            <ac:spMk id="5" creationId="{F054B0AC-3628-4D03-B296-86CCD009EBC2}"/>
          </ac:spMkLst>
        </pc:spChg>
        <pc:spChg chg="mod ord">
          <ac:chgData name="José Antonio Ureta Santacreu" userId="e36999d1-2b92-424a-9e8c-5fde0c5fbdd2" providerId="ADAL" clId="{B441C459-42E0-4465-B296-199851FC6E31}" dt="2024-09-11T11:12:14.001" v="3782" actId="6264"/>
          <ac:spMkLst>
            <pc:docMk/>
            <pc:sldMk cId="1026595820" sldId="849"/>
            <ac:spMk id="6" creationId="{FFC966D5-8377-4B0B-AD99-93EE2BAED6D9}"/>
          </ac:spMkLst>
        </pc:spChg>
        <pc:spChg chg="mod ord">
          <ac:chgData name="José Antonio Ureta Santacreu" userId="e36999d1-2b92-424a-9e8c-5fde0c5fbdd2" providerId="ADAL" clId="{B441C459-42E0-4465-B296-199851FC6E31}" dt="2024-09-11T11:12:14.001" v="3782" actId="6264"/>
          <ac:spMkLst>
            <pc:docMk/>
            <pc:sldMk cId="1026595820" sldId="849"/>
            <ac:spMk id="7" creationId="{33D0E556-CB29-42F7-93A0-A5DC2D903B45}"/>
          </ac:spMkLst>
        </pc:spChg>
        <pc:spChg chg="add del mod">
          <ac:chgData name="José Antonio Ureta Santacreu" userId="e36999d1-2b92-424a-9e8c-5fde0c5fbdd2" providerId="ADAL" clId="{B441C459-42E0-4465-B296-199851FC6E31}" dt="2024-09-11T11:12:14.001" v="3782" actId="6264"/>
          <ac:spMkLst>
            <pc:docMk/>
            <pc:sldMk cId="1026595820" sldId="849"/>
            <ac:spMk id="8" creationId="{488A565E-C1AB-1BA6-E2F7-FFA13DA63405}"/>
          </ac:spMkLst>
        </pc:spChg>
        <pc:spChg chg="add del mod">
          <ac:chgData name="José Antonio Ureta Santacreu" userId="e36999d1-2b92-424a-9e8c-5fde0c5fbdd2" providerId="ADAL" clId="{B441C459-42E0-4465-B296-199851FC6E31}" dt="2024-09-11T11:12:14.001" v="3782" actId="6264"/>
          <ac:spMkLst>
            <pc:docMk/>
            <pc:sldMk cId="1026595820" sldId="849"/>
            <ac:spMk id="10" creationId="{8EF1533F-6ACA-E5AE-17DF-0D0E356BEE19}"/>
          </ac:spMkLst>
        </pc:spChg>
        <pc:spChg chg="add del mod">
          <ac:chgData name="José Antonio Ureta Santacreu" userId="e36999d1-2b92-424a-9e8c-5fde0c5fbdd2" providerId="ADAL" clId="{B441C459-42E0-4465-B296-199851FC6E31}" dt="2024-09-11T11:12:14.001" v="3782" actId="6264"/>
          <ac:spMkLst>
            <pc:docMk/>
            <pc:sldMk cId="1026595820" sldId="849"/>
            <ac:spMk id="11" creationId="{10909678-5FA8-B6FD-F9EE-F60A865708CD}"/>
          </ac:spMkLst>
        </pc:spChg>
      </pc:sldChg>
      <pc:sldChg chg="addSp delSp modSp mod chgLayout">
        <pc:chgData name="José Antonio Ureta Santacreu" userId="e36999d1-2b92-424a-9e8c-5fde0c5fbdd2" providerId="ADAL" clId="{B441C459-42E0-4465-B296-199851FC6E31}" dt="2024-09-11T11:12:14.001" v="3782" actId="6264"/>
        <pc:sldMkLst>
          <pc:docMk/>
          <pc:sldMk cId="3161192024" sldId="885"/>
        </pc:sldMkLst>
        <pc:spChg chg="mod ord">
          <ac:chgData name="José Antonio Ureta Santacreu" userId="e36999d1-2b92-424a-9e8c-5fde0c5fbdd2" providerId="ADAL" clId="{B441C459-42E0-4465-B296-199851FC6E31}" dt="2024-09-11T11:12:14.001" v="3782" actId="6264"/>
          <ac:spMkLst>
            <pc:docMk/>
            <pc:sldMk cId="3161192024" sldId="885"/>
            <ac:spMk id="2" creationId="{876122A6-DEC0-629A-310A-338CF74B2461}"/>
          </ac:spMkLst>
        </pc:spChg>
        <pc:spChg chg="mod ord">
          <ac:chgData name="José Antonio Ureta Santacreu" userId="e36999d1-2b92-424a-9e8c-5fde0c5fbdd2" providerId="ADAL" clId="{B441C459-42E0-4465-B296-199851FC6E31}" dt="2024-09-11T11:12:14.001" v="3782" actId="6264"/>
          <ac:spMkLst>
            <pc:docMk/>
            <pc:sldMk cId="3161192024" sldId="885"/>
            <ac:spMk id="4" creationId="{1C19F417-95D4-953E-FB43-A88F34A208F9}"/>
          </ac:spMkLst>
        </pc:spChg>
        <pc:spChg chg="mod ord">
          <ac:chgData name="José Antonio Ureta Santacreu" userId="e36999d1-2b92-424a-9e8c-5fde0c5fbdd2" providerId="ADAL" clId="{B441C459-42E0-4465-B296-199851FC6E31}" dt="2024-09-11T11:12:14.001" v="3782" actId="6264"/>
          <ac:spMkLst>
            <pc:docMk/>
            <pc:sldMk cId="3161192024" sldId="885"/>
            <ac:spMk id="5" creationId="{DB40B7DA-3FDB-10FF-44B2-CE08282B59F2}"/>
          </ac:spMkLst>
        </pc:spChg>
        <pc:spChg chg="mod ord">
          <ac:chgData name="José Antonio Ureta Santacreu" userId="e36999d1-2b92-424a-9e8c-5fde0c5fbdd2" providerId="ADAL" clId="{B441C459-42E0-4465-B296-199851FC6E31}" dt="2024-09-11T11:12:14.001" v="3782" actId="6264"/>
          <ac:spMkLst>
            <pc:docMk/>
            <pc:sldMk cId="3161192024" sldId="885"/>
            <ac:spMk id="6" creationId="{0E4C1DE4-949C-E421-14CE-6C707986144E}"/>
          </ac:spMkLst>
        </pc:spChg>
        <pc:spChg chg="add del mod">
          <ac:chgData name="José Antonio Ureta Santacreu" userId="e36999d1-2b92-424a-9e8c-5fde0c5fbdd2" providerId="ADAL" clId="{B441C459-42E0-4465-B296-199851FC6E31}" dt="2024-09-11T11:12:14.001" v="3782" actId="6264"/>
          <ac:spMkLst>
            <pc:docMk/>
            <pc:sldMk cId="3161192024" sldId="885"/>
            <ac:spMk id="7" creationId="{FEF2417E-8F7B-A34C-ECED-B38666132C6D}"/>
          </ac:spMkLst>
        </pc:spChg>
        <pc:spChg chg="add del mod">
          <ac:chgData name="José Antonio Ureta Santacreu" userId="e36999d1-2b92-424a-9e8c-5fde0c5fbdd2" providerId="ADAL" clId="{B441C459-42E0-4465-B296-199851FC6E31}" dt="2024-09-11T11:12:14.001" v="3782" actId="6264"/>
          <ac:spMkLst>
            <pc:docMk/>
            <pc:sldMk cId="3161192024" sldId="885"/>
            <ac:spMk id="8" creationId="{CBC4F25D-0147-943E-D65D-990B2B4A2987}"/>
          </ac:spMkLst>
        </pc:spChg>
        <pc:spChg chg="add del mod">
          <ac:chgData name="José Antonio Ureta Santacreu" userId="e36999d1-2b92-424a-9e8c-5fde0c5fbdd2" providerId="ADAL" clId="{B441C459-42E0-4465-B296-199851FC6E31}" dt="2024-09-11T11:12:14.001" v="3782" actId="6264"/>
          <ac:spMkLst>
            <pc:docMk/>
            <pc:sldMk cId="3161192024" sldId="885"/>
            <ac:spMk id="9" creationId="{DE9F03AD-83AA-79C2-E12C-6CD998525439}"/>
          </ac:spMkLst>
        </pc:spChg>
        <pc:spChg chg="add del mod">
          <ac:chgData name="José Antonio Ureta Santacreu" userId="e36999d1-2b92-424a-9e8c-5fde0c5fbdd2" providerId="ADAL" clId="{B441C459-42E0-4465-B296-199851FC6E31}" dt="2024-09-11T11:12:14.001" v="3782" actId="6264"/>
          <ac:spMkLst>
            <pc:docMk/>
            <pc:sldMk cId="3161192024" sldId="885"/>
            <ac:spMk id="10" creationId="{7473BB47-63B1-29FD-79B9-0DF809FA92CA}"/>
          </ac:spMkLst>
        </pc:spChg>
      </pc:sldChg>
      <pc:sldChg chg="addSp delSp modSp mod chgLayout">
        <pc:chgData name="José Antonio Ureta Santacreu" userId="e36999d1-2b92-424a-9e8c-5fde0c5fbdd2" providerId="ADAL" clId="{B441C459-42E0-4465-B296-199851FC6E31}" dt="2024-09-12T10:37:26.507" v="3915" actId="27636"/>
        <pc:sldMkLst>
          <pc:docMk/>
          <pc:sldMk cId="1633513032" sldId="889"/>
        </pc:sldMkLst>
        <pc:spChg chg="mod ord">
          <ac:chgData name="José Antonio Ureta Santacreu" userId="e36999d1-2b92-424a-9e8c-5fde0c5fbdd2" providerId="ADAL" clId="{B441C459-42E0-4465-B296-199851FC6E31}" dt="2024-09-11T11:12:14.001" v="3782" actId="6264"/>
          <ac:spMkLst>
            <pc:docMk/>
            <pc:sldMk cId="1633513032" sldId="889"/>
            <ac:spMk id="2" creationId="{B8E2A17B-9C26-C0A9-472B-92788AE00DB2}"/>
          </ac:spMkLst>
        </pc:spChg>
        <pc:spChg chg="mod ord">
          <ac:chgData name="José Antonio Ureta Santacreu" userId="e36999d1-2b92-424a-9e8c-5fde0c5fbdd2" providerId="ADAL" clId="{B441C459-42E0-4465-B296-199851FC6E31}" dt="2024-09-11T11:12:14.001" v="3782" actId="6264"/>
          <ac:spMkLst>
            <pc:docMk/>
            <pc:sldMk cId="1633513032" sldId="889"/>
            <ac:spMk id="3" creationId="{AF18826D-3750-95C4-4F17-F0CA50B0C06B}"/>
          </ac:spMkLst>
        </pc:spChg>
        <pc:spChg chg="mod ord">
          <ac:chgData name="José Antonio Ureta Santacreu" userId="e36999d1-2b92-424a-9e8c-5fde0c5fbdd2" providerId="ADAL" clId="{B441C459-42E0-4465-B296-199851FC6E31}" dt="2024-09-11T11:12:14.001" v="3782" actId="6264"/>
          <ac:spMkLst>
            <pc:docMk/>
            <pc:sldMk cId="1633513032" sldId="889"/>
            <ac:spMk id="4" creationId="{56A9521E-8EAD-F7B4-4318-E9F44C3224A1}"/>
          </ac:spMkLst>
        </pc:spChg>
        <pc:spChg chg="mod ord">
          <ac:chgData name="José Antonio Ureta Santacreu" userId="e36999d1-2b92-424a-9e8c-5fde0c5fbdd2" providerId="ADAL" clId="{B441C459-42E0-4465-B296-199851FC6E31}" dt="2024-09-11T11:12:14.001" v="3782" actId="6264"/>
          <ac:spMkLst>
            <pc:docMk/>
            <pc:sldMk cId="1633513032" sldId="889"/>
            <ac:spMk id="5" creationId="{D732C327-8AA0-4B64-1DD8-3F849F80DAA2}"/>
          </ac:spMkLst>
        </pc:spChg>
        <pc:spChg chg="add del mod">
          <ac:chgData name="José Antonio Ureta Santacreu" userId="e36999d1-2b92-424a-9e8c-5fde0c5fbdd2" providerId="ADAL" clId="{B441C459-42E0-4465-B296-199851FC6E31}" dt="2024-09-11T11:12:14.001" v="3782" actId="6264"/>
          <ac:spMkLst>
            <pc:docMk/>
            <pc:sldMk cId="1633513032" sldId="889"/>
            <ac:spMk id="6" creationId="{09B3A53F-CC29-8395-4873-15A9B8BD69B6}"/>
          </ac:spMkLst>
        </pc:spChg>
        <pc:spChg chg="add del mod">
          <ac:chgData name="José Antonio Ureta Santacreu" userId="e36999d1-2b92-424a-9e8c-5fde0c5fbdd2" providerId="ADAL" clId="{B441C459-42E0-4465-B296-199851FC6E31}" dt="2024-09-11T11:12:14.001" v="3782" actId="6264"/>
          <ac:spMkLst>
            <pc:docMk/>
            <pc:sldMk cId="1633513032" sldId="889"/>
            <ac:spMk id="7" creationId="{0405E1CF-FC77-9641-A077-687929A950A6}"/>
          </ac:spMkLst>
        </pc:spChg>
        <pc:spChg chg="mod ord">
          <ac:chgData name="José Antonio Ureta Santacreu" userId="e36999d1-2b92-424a-9e8c-5fde0c5fbdd2" providerId="ADAL" clId="{B441C459-42E0-4465-B296-199851FC6E31}" dt="2024-09-12T10:37:26.507" v="3915" actId="27636"/>
          <ac:spMkLst>
            <pc:docMk/>
            <pc:sldMk cId="1633513032" sldId="889"/>
            <ac:spMk id="8" creationId="{91A4C372-EA07-08F5-1012-3BF67DAFAC04}"/>
          </ac:spMkLst>
        </pc:spChg>
        <pc:spChg chg="add del mod">
          <ac:chgData name="José Antonio Ureta Santacreu" userId="e36999d1-2b92-424a-9e8c-5fde0c5fbdd2" providerId="ADAL" clId="{B441C459-42E0-4465-B296-199851FC6E31}" dt="2024-09-11T11:12:14.001" v="3782" actId="6264"/>
          <ac:spMkLst>
            <pc:docMk/>
            <pc:sldMk cId="1633513032" sldId="889"/>
            <ac:spMk id="9" creationId="{AAAB4A66-3C3E-8C5D-7F3B-9627D95FA6D9}"/>
          </ac:spMkLst>
        </pc:spChg>
        <pc:spChg chg="add del mod">
          <ac:chgData name="José Antonio Ureta Santacreu" userId="e36999d1-2b92-424a-9e8c-5fde0c5fbdd2" providerId="ADAL" clId="{B441C459-42E0-4465-B296-199851FC6E31}" dt="2024-09-11T11:12:14.001" v="3782" actId="6264"/>
          <ac:spMkLst>
            <pc:docMk/>
            <pc:sldMk cId="1633513032" sldId="889"/>
            <ac:spMk id="10" creationId="{44D5A445-E110-F983-DAB5-2B4203BDE5D6}"/>
          </ac:spMkLst>
        </pc:spChg>
        <pc:spChg chg="add del mod">
          <ac:chgData name="José Antonio Ureta Santacreu" userId="e36999d1-2b92-424a-9e8c-5fde0c5fbdd2" providerId="ADAL" clId="{B441C459-42E0-4465-B296-199851FC6E31}" dt="2024-09-11T11:12:14.001" v="3782" actId="6264"/>
          <ac:spMkLst>
            <pc:docMk/>
            <pc:sldMk cId="1633513032" sldId="889"/>
            <ac:spMk id="11" creationId="{7D436D47-F194-3D36-4B47-C421E3331B06}"/>
          </ac:spMkLst>
        </pc:spChg>
      </pc:sldChg>
      <pc:sldChg chg="addSp delSp modSp mod chgLayout">
        <pc:chgData name="José Antonio Ureta Santacreu" userId="e36999d1-2b92-424a-9e8c-5fde0c5fbdd2" providerId="ADAL" clId="{B441C459-42E0-4465-B296-199851FC6E31}" dt="2024-09-11T11:12:14.001" v="3782" actId="6264"/>
        <pc:sldMkLst>
          <pc:docMk/>
          <pc:sldMk cId="2144677237" sldId="890"/>
        </pc:sldMkLst>
        <pc:spChg chg="mod ord">
          <ac:chgData name="José Antonio Ureta Santacreu" userId="e36999d1-2b92-424a-9e8c-5fde0c5fbdd2" providerId="ADAL" clId="{B441C459-42E0-4465-B296-199851FC6E31}" dt="2024-09-11T11:12:14.001" v="3782" actId="6264"/>
          <ac:spMkLst>
            <pc:docMk/>
            <pc:sldMk cId="2144677237" sldId="890"/>
            <ac:spMk id="2" creationId="{5AD956EA-C898-2915-0A02-66B60692BCF3}"/>
          </ac:spMkLst>
        </pc:spChg>
        <pc:spChg chg="add del mod">
          <ac:chgData name="José Antonio Ureta Santacreu" userId="e36999d1-2b92-424a-9e8c-5fde0c5fbdd2" providerId="ADAL" clId="{B441C459-42E0-4465-B296-199851FC6E31}" dt="2024-09-11T11:12:14.001" v="3782" actId="6264"/>
          <ac:spMkLst>
            <pc:docMk/>
            <pc:sldMk cId="2144677237" sldId="890"/>
            <ac:spMk id="3" creationId="{BC5C7BA6-87F0-EF05-5088-9751D8BCB64C}"/>
          </ac:spMkLst>
        </pc:spChg>
        <pc:spChg chg="mod ord">
          <ac:chgData name="José Antonio Ureta Santacreu" userId="e36999d1-2b92-424a-9e8c-5fde0c5fbdd2" providerId="ADAL" clId="{B441C459-42E0-4465-B296-199851FC6E31}" dt="2024-09-11T11:12:14.001" v="3782" actId="6264"/>
          <ac:spMkLst>
            <pc:docMk/>
            <pc:sldMk cId="2144677237" sldId="890"/>
            <ac:spMk id="4" creationId="{4A010EC3-C961-8EBE-7DEB-9EE7BA361F7E}"/>
          </ac:spMkLst>
        </pc:spChg>
        <pc:spChg chg="mod ord">
          <ac:chgData name="José Antonio Ureta Santacreu" userId="e36999d1-2b92-424a-9e8c-5fde0c5fbdd2" providerId="ADAL" clId="{B441C459-42E0-4465-B296-199851FC6E31}" dt="2024-09-11T11:12:14.001" v="3782" actId="6264"/>
          <ac:spMkLst>
            <pc:docMk/>
            <pc:sldMk cId="2144677237" sldId="890"/>
            <ac:spMk id="5" creationId="{9AAEE6CA-662A-3934-87E2-867AFAFDD42E}"/>
          </ac:spMkLst>
        </pc:spChg>
        <pc:spChg chg="mod ord">
          <ac:chgData name="José Antonio Ureta Santacreu" userId="e36999d1-2b92-424a-9e8c-5fde0c5fbdd2" providerId="ADAL" clId="{B441C459-42E0-4465-B296-199851FC6E31}" dt="2024-09-11T11:12:14.001" v="3782" actId="6264"/>
          <ac:spMkLst>
            <pc:docMk/>
            <pc:sldMk cId="2144677237" sldId="890"/>
            <ac:spMk id="6" creationId="{EAF73913-5214-9F9C-A99B-0E243609C79C}"/>
          </ac:spMkLst>
        </pc:spChg>
        <pc:spChg chg="add del mod">
          <ac:chgData name="José Antonio Ureta Santacreu" userId="e36999d1-2b92-424a-9e8c-5fde0c5fbdd2" providerId="ADAL" clId="{B441C459-42E0-4465-B296-199851FC6E31}" dt="2024-09-11T11:12:14.001" v="3782" actId="6264"/>
          <ac:spMkLst>
            <pc:docMk/>
            <pc:sldMk cId="2144677237" sldId="890"/>
            <ac:spMk id="8" creationId="{BE474CE8-90C7-508D-548B-95FF33802D41}"/>
          </ac:spMkLst>
        </pc:spChg>
        <pc:spChg chg="add del mod">
          <ac:chgData name="José Antonio Ureta Santacreu" userId="e36999d1-2b92-424a-9e8c-5fde0c5fbdd2" providerId="ADAL" clId="{B441C459-42E0-4465-B296-199851FC6E31}" dt="2024-09-11T11:12:14.001" v="3782" actId="6264"/>
          <ac:spMkLst>
            <pc:docMk/>
            <pc:sldMk cId="2144677237" sldId="890"/>
            <ac:spMk id="9" creationId="{8ACBCB63-2CBC-D663-2E45-FB0C39579F47}"/>
          </ac:spMkLst>
        </pc:spChg>
        <pc:spChg chg="add del mod">
          <ac:chgData name="José Antonio Ureta Santacreu" userId="e36999d1-2b92-424a-9e8c-5fde0c5fbdd2" providerId="ADAL" clId="{B441C459-42E0-4465-B296-199851FC6E31}" dt="2024-09-11T11:12:14.001" v="3782" actId="6264"/>
          <ac:spMkLst>
            <pc:docMk/>
            <pc:sldMk cId="2144677237" sldId="890"/>
            <ac:spMk id="10" creationId="{6E501024-A5FA-E774-788D-F89859C36917}"/>
          </ac:spMkLst>
        </pc:spChg>
        <pc:spChg chg="add del mod">
          <ac:chgData name="José Antonio Ureta Santacreu" userId="e36999d1-2b92-424a-9e8c-5fde0c5fbdd2" providerId="ADAL" clId="{B441C459-42E0-4465-B296-199851FC6E31}" dt="2024-09-11T11:12:14.001" v="3782" actId="6264"/>
          <ac:spMkLst>
            <pc:docMk/>
            <pc:sldMk cId="2144677237" sldId="890"/>
            <ac:spMk id="11" creationId="{39B6C9D8-C74C-21EE-1405-96F45701D0F4}"/>
          </ac:spMkLst>
        </pc:spChg>
        <pc:picChg chg="mod ord">
          <ac:chgData name="José Antonio Ureta Santacreu" userId="e36999d1-2b92-424a-9e8c-5fde0c5fbdd2" providerId="ADAL" clId="{B441C459-42E0-4465-B296-199851FC6E31}" dt="2024-09-11T11:12:14.001" v="3782" actId="6264"/>
          <ac:picMkLst>
            <pc:docMk/>
            <pc:sldMk cId="2144677237" sldId="890"/>
            <ac:picMk id="7" creationId="{D0856F71-91A1-4177-5C3D-376C87C33B1B}"/>
          </ac:picMkLst>
        </pc:picChg>
      </pc:sldChg>
      <pc:sldChg chg="addSp delSp modSp mod chgLayout">
        <pc:chgData name="José Antonio Ureta Santacreu" userId="e36999d1-2b92-424a-9e8c-5fde0c5fbdd2" providerId="ADAL" clId="{B441C459-42E0-4465-B296-199851FC6E31}" dt="2024-09-11T11:12:14.001" v="3782" actId="6264"/>
        <pc:sldMkLst>
          <pc:docMk/>
          <pc:sldMk cId="1141953646" sldId="891"/>
        </pc:sldMkLst>
        <pc:spChg chg="mod ord">
          <ac:chgData name="José Antonio Ureta Santacreu" userId="e36999d1-2b92-424a-9e8c-5fde0c5fbdd2" providerId="ADAL" clId="{B441C459-42E0-4465-B296-199851FC6E31}" dt="2024-09-11T11:12:14.001" v="3782" actId="6264"/>
          <ac:spMkLst>
            <pc:docMk/>
            <pc:sldMk cId="1141953646" sldId="891"/>
            <ac:spMk id="2" creationId="{06C2C5B8-018C-9565-4ED6-462A1A0172DD}"/>
          </ac:spMkLst>
        </pc:spChg>
        <pc:spChg chg="mod ord">
          <ac:chgData name="José Antonio Ureta Santacreu" userId="e36999d1-2b92-424a-9e8c-5fde0c5fbdd2" providerId="ADAL" clId="{B441C459-42E0-4465-B296-199851FC6E31}" dt="2024-09-11T11:12:14.001" v="3782" actId="6264"/>
          <ac:spMkLst>
            <pc:docMk/>
            <pc:sldMk cId="1141953646" sldId="891"/>
            <ac:spMk id="3" creationId="{0B867BFF-AEAA-030C-89F0-675B0D8F56D9}"/>
          </ac:spMkLst>
        </pc:spChg>
        <pc:spChg chg="mod ord">
          <ac:chgData name="José Antonio Ureta Santacreu" userId="e36999d1-2b92-424a-9e8c-5fde0c5fbdd2" providerId="ADAL" clId="{B441C459-42E0-4465-B296-199851FC6E31}" dt="2024-09-11T11:12:14.001" v="3782" actId="6264"/>
          <ac:spMkLst>
            <pc:docMk/>
            <pc:sldMk cId="1141953646" sldId="891"/>
            <ac:spMk id="4" creationId="{52BA3178-D27A-F9BF-B31B-769F8819F4FE}"/>
          </ac:spMkLst>
        </pc:spChg>
        <pc:spChg chg="mod ord">
          <ac:chgData name="José Antonio Ureta Santacreu" userId="e36999d1-2b92-424a-9e8c-5fde0c5fbdd2" providerId="ADAL" clId="{B441C459-42E0-4465-B296-199851FC6E31}" dt="2024-09-11T11:12:14.001" v="3782" actId="6264"/>
          <ac:spMkLst>
            <pc:docMk/>
            <pc:sldMk cId="1141953646" sldId="891"/>
            <ac:spMk id="5" creationId="{FCD088FC-8CBA-4369-A721-48D8E4EEDFAF}"/>
          </ac:spMkLst>
        </pc:spChg>
        <pc:spChg chg="add del mod">
          <ac:chgData name="José Antonio Ureta Santacreu" userId="e36999d1-2b92-424a-9e8c-5fde0c5fbdd2" providerId="ADAL" clId="{B441C459-42E0-4465-B296-199851FC6E31}" dt="2024-09-11T11:12:14.001" v="3782" actId="6264"/>
          <ac:spMkLst>
            <pc:docMk/>
            <pc:sldMk cId="1141953646" sldId="891"/>
            <ac:spMk id="7" creationId="{85A59704-D015-798C-C180-F4544918A147}"/>
          </ac:spMkLst>
        </pc:spChg>
        <pc:spChg chg="add del mod">
          <ac:chgData name="José Antonio Ureta Santacreu" userId="e36999d1-2b92-424a-9e8c-5fde0c5fbdd2" providerId="ADAL" clId="{B441C459-42E0-4465-B296-199851FC6E31}" dt="2024-09-11T11:12:14.001" v="3782" actId="6264"/>
          <ac:spMkLst>
            <pc:docMk/>
            <pc:sldMk cId="1141953646" sldId="891"/>
            <ac:spMk id="8" creationId="{10CC61B7-E8ED-C0AD-CDF6-BEEBBCCCD7E2}"/>
          </ac:spMkLst>
        </pc:spChg>
        <pc:spChg chg="add del mod">
          <ac:chgData name="José Antonio Ureta Santacreu" userId="e36999d1-2b92-424a-9e8c-5fde0c5fbdd2" providerId="ADAL" clId="{B441C459-42E0-4465-B296-199851FC6E31}" dt="2024-09-11T11:12:14.001" v="3782" actId="6264"/>
          <ac:spMkLst>
            <pc:docMk/>
            <pc:sldMk cId="1141953646" sldId="891"/>
            <ac:spMk id="9" creationId="{50F3D3D8-777C-3006-9E4B-261661A98AE4}"/>
          </ac:spMkLst>
        </pc:spChg>
        <pc:spChg chg="add del mod">
          <ac:chgData name="José Antonio Ureta Santacreu" userId="e36999d1-2b92-424a-9e8c-5fde0c5fbdd2" providerId="ADAL" clId="{B441C459-42E0-4465-B296-199851FC6E31}" dt="2024-09-11T11:12:14.001" v="3782" actId="6264"/>
          <ac:spMkLst>
            <pc:docMk/>
            <pc:sldMk cId="1141953646" sldId="891"/>
            <ac:spMk id="10" creationId="{FEB54A0A-DAE4-E3A1-A662-0F2978C396E4}"/>
          </ac:spMkLst>
        </pc:spChg>
        <pc:spChg chg="add del mod">
          <ac:chgData name="José Antonio Ureta Santacreu" userId="e36999d1-2b92-424a-9e8c-5fde0c5fbdd2" providerId="ADAL" clId="{B441C459-42E0-4465-B296-199851FC6E31}" dt="2024-09-11T11:12:14.001" v="3782" actId="6264"/>
          <ac:spMkLst>
            <pc:docMk/>
            <pc:sldMk cId="1141953646" sldId="891"/>
            <ac:spMk id="12" creationId="{9B83FEBE-62BD-3FD9-EC65-D9B7070E6A5F}"/>
          </ac:spMkLst>
        </pc:spChg>
        <pc:spChg chg="add del mod">
          <ac:chgData name="José Antonio Ureta Santacreu" userId="e36999d1-2b92-424a-9e8c-5fde0c5fbdd2" providerId="ADAL" clId="{B441C459-42E0-4465-B296-199851FC6E31}" dt="2024-09-11T11:12:14.001" v="3782" actId="6264"/>
          <ac:spMkLst>
            <pc:docMk/>
            <pc:sldMk cId="1141953646" sldId="891"/>
            <ac:spMk id="13" creationId="{C2411F80-659E-7FB8-9FDB-246A73A46365}"/>
          </ac:spMkLst>
        </pc:spChg>
        <pc:graphicFrameChg chg="mod ord">
          <ac:chgData name="José Antonio Ureta Santacreu" userId="e36999d1-2b92-424a-9e8c-5fde0c5fbdd2" providerId="ADAL" clId="{B441C459-42E0-4465-B296-199851FC6E31}" dt="2024-09-11T11:12:14.001" v="3782" actId="6264"/>
          <ac:graphicFrameMkLst>
            <pc:docMk/>
            <pc:sldMk cId="1141953646" sldId="891"/>
            <ac:graphicFrameMk id="15" creationId="{3DBC1B24-0C00-DAB7-9928-818338ABCFD2}"/>
          </ac:graphicFrameMkLst>
        </pc:graphicFrameChg>
        <pc:picChg chg="mod ord">
          <ac:chgData name="José Antonio Ureta Santacreu" userId="e36999d1-2b92-424a-9e8c-5fde0c5fbdd2" providerId="ADAL" clId="{B441C459-42E0-4465-B296-199851FC6E31}" dt="2024-09-11T11:12:14.001" v="3782" actId="6264"/>
          <ac:picMkLst>
            <pc:docMk/>
            <pc:sldMk cId="1141953646" sldId="891"/>
            <ac:picMk id="11" creationId="{2CE2467D-3040-4F41-64C3-41C1D454C63B}"/>
          </ac:picMkLst>
        </pc:picChg>
      </pc:sldChg>
      <pc:sldChg chg="addSp delSp modSp mod chgLayout">
        <pc:chgData name="José Antonio Ureta Santacreu" userId="e36999d1-2b92-424a-9e8c-5fde0c5fbdd2" providerId="ADAL" clId="{B441C459-42E0-4465-B296-199851FC6E31}" dt="2024-09-11T11:12:14.001" v="3782" actId="6264"/>
        <pc:sldMkLst>
          <pc:docMk/>
          <pc:sldMk cId="2436441535" sldId="894"/>
        </pc:sldMkLst>
        <pc:spChg chg="mod ord">
          <ac:chgData name="José Antonio Ureta Santacreu" userId="e36999d1-2b92-424a-9e8c-5fde0c5fbdd2" providerId="ADAL" clId="{B441C459-42E0-4465-B296-199851FC6E31}" dt="2024-09-11T11:12:14.001" v="3782" actId="6264"/>
          <ac:spMkLst>
            <pc:docMk/>
            <pc:sldMk cId="2436441535" sldId="894"/>
            <ac:spMk id="2" creationId="{5379D406-4628-4789-9532-DF0961DFED34}"/>
          </ac:spMkLst>
        </pc:spChg>
        <pc:spChg chg="add del mod">
          <ac:chgData name="José Antonio Ureta Santacreu" userId="e36999d1-2b92-424a-9e8c-5fde0c5fbdd2" providerId="ADAL" clId="{B441C459-42E0-4465-B296-199851FC6E31}" dt="2024-09-11T11:12:14.001" v="3782" actId="6264"/>
          <ac:spMkLst>
            <pc:docMk/>
            <pc:sldMk cId="2436441535" sldId="894"/>
            <ac:spMk id="3" creationId="{7E11642D-73FC-3A0C-A2CB-87346B557A08}"/>
          </ac:spMkLst>
        </pc:spChg>
        <pc:spChg chg="mod ord">
          <ac:chgData name="José Antonio Ureta Santacreu" userId="e36999d1-2b92-424a-9e8c-5fde0c5fbdd2" providerId="ADAL" clId="{B441C459-42E0-4465-B296-199851FC6E31}" dt="2024-09-11T11:12:14.001" v="3782" actId="6264"/>
          <ac:spMkLst>
            <pc:docMk/>
            <pc:sldMk cId="2436441535" sldId="894"/>
            <ac:spMk id="4" creationId="{1518861D-54D8-46B7-A6BB-11993DB94E18}"/>
          </ac:spMkLst>
        </pc:spChg>
        <pc:spChg chg="mod ord">
          <ac:chgData name="José Antonio Ureta Santacreu" userId="e36999d1-2b92-424a-9e8c-5fde0c5fbdd2" providerId="ADAL" clId="{B441C459-42E0-4465-B296-199851FC6E31}" dt="2024-09-11T11:12:14.001" v="3782" actId="6264"/>
          <ac:spMkLst>
            <pc:docMk/>
            <pc:sldMk cId="2436441535" sldId="894"/>
            <ac:spMk id="5" creationId="{D4F881D2-0EE7-4CC1-B998-C0C8D0D00382}"/>
          </ac:spMkLst>
        </pc:spChg>
        <pc:spChg chg="mod ord">
          <ac:chgData name="José Antonio Ureta Santacreu" userId="e36999d1-2b92-424a-9e8c-5fde0c5fbdd2" providerId="ADAL" clId="{B441C459-42E0-4465-B296-199851FC6E31}" dt="2024-09-11T11:12:14.001" v="3782" actId="6264"/>
          <ac:spMkLst>
            <pc:docMk/>
            <pc:sldMk cId="2436441535" sldId="894"/>
            <ac:spMk id="6" creationId="{4511B7AA-6D2A-4406-87F0-6D457EB50D0B}"/>
          </ac:spMkLst>
        </pc:spChg>
        <pc:spChg chg="add del mod">
          <ac:chgData name="José Antonio Ureta Santacreu" userId="e36999d1-2b92-424a-9e8c-5fde0c5fbdd2" providerId="ADAL" clId="{B441C459-42E0-4465-B296-199851FC6E31}" dt="2024-09-11T11:12:14.001" v="3782" actId="6264"/>
          <ac:spMkLst>
            <pc:docMk/>
            <pc:sldMk cId="2436441535" sldId="894"/>
            <ac:spMk id="7" creationId="{9C92EDFE-6897-C898-AF96-5B11D8076593}"/>
          </ac:spMkLst>
        </pc:spChg>
        <pc:spChg chg="add del mod">
          <ac:chgData name="José Antonio Ureta Santacreu" userId="e36999d1-2b92-424a-9e8c-5fde0c5fbdd2" providerId="ADAL" clId="{B441C459-42E0-4465-B296-199851FC6E31}" dt="2024-09-11T11:12:14.001" v="3782" actId="6264"/>
          <ac:spMkLst>
            <pc:docMk/>
            <pc:sldMk cId="2436441535" sldId="894"/>
            <ac:spMk id="8" creationId="{AF0D457E-36E2-41E4-8719-A05923E0CCBA}"/>
          </ac:spMkLst>
        </pc:spChg>
        <pc:spChg chg="add del mod">
          <ac:chgData name="José Antonio Ureta Santacreu" userId="e36999d1-2b92-424a-9e8c-5fde0c5fbdd2" providerId="ADAL" clId="{B441C459-42E0-4465-B296-199851FC6E31}" dt="2024-09-11T11:12:14.001" v="3782" actId="6264"/>
          <ac:spMkLst>
            <pc:docMk/>
            <pc:sldMk cId="2436441535" sldId="894"/>
            <ac:spMk id="9" creationId="{4AC94A4E-BD16-DC68-4C96-F6E6D1FDB318}"/>
          </ac:spMkLst>
        </pc:spChg>
        <pc:spChg chg="add del mod">
          <ac:chgData name="José Antonio Ureta Santacreu" userId="e36999d1-2b92-424a-9e8c-5fde0c5fbdd2" providerId="ADAL" clId="{B441C459-42E0-4465-B296-199851FC6E31}" dt="2024-09-11T11:12:14.001" v="3782" actId="6264"/>
          <ac:spMkLst>
            <pc:docMk/>
            <pc:sldMk cId="2436441535" sldId="894"/>
            <ac:spMk id="10" creationId="{371DC361-36EA-08BA-459A-B64340F676DF}"/>
          </ac:spMkLst>
        </pc:spChg>
        <pc:graphicFrameChg chg="mod ord">
          <ac:chgData name="José Antonio Ureta Santacreu" userId="e36999d1-2b92-424a-9e8c-5fde0c5fbdd2" providerId="ADAL" clId="{B441C459-42E0-4465-B296-199851FC6E31}" dt="2024-09-11T11:12:14.001" v="3782" actId="6264"/>
          <ac:graphicFrameMkLst>
            <pc:docMk/>
            <pc:sldMk cId="2436441535" sldId="894"/>
            <ac:graphicFrameMk id="11" creationId="{79499EFB-27E7-4561-9078-0DEC70D64206}"/>
          </ac:graphicFrameMkLst>
        </pc:graphicFrameChg>
      </pc:sldChg>
      <pc:sldChg chg="addSp delSp modSp mod delAnim modAnim chgLayout">
        <pc:chgData name="José Antonio Ureta Santacreu" userId="e36999d1-2b92-424a-9e8c-5fde0c5fbdd2" providerId="ADAL" clId="{B441C459-42E0-4465-B296-199851FC6E31}" dt="2024-09-12T10:37:26.933" v="3930" actId="27636"/>
        <pc:sldMkLst>
          <pc:docMk/>
          <pc:sldMk cId="80530250" sldId="897"/>
        </pc:sldMkLst>
        <pc:spChg chg="mod ord">
          <ac:chgData name="José Antonio Ureta Santacreu" userId="e36999d1-2b92-424a-9e8c-5fde0c5fbdd2" providerId="ADAL" clId="{B441C459-42E0-4465-B296-199851FC6E31}" dt="2024-09-12T10:37:26.933" v="3930" actId="27636"/>
          <ac:spMkLst>
            <pc:docMk/>
            <pc:sldMk cId="80530250" sldId="897"/>
            <ac:spMk id="2" creationId="{AF4DADD8-11D8-4251-B794-86A8C3C487E9}"/>
          </ac:spMkLst>
        </pc:spChg>
        <pc:spChg chg="add del mod">
          <ac:chgData name="José Antonio Ureta Santacreu" userId="e36999d1-2b92-424a-9e8c-5fde0c5fbdd2" providerId="ADAL" clId="{B441C459-42E0-4465-B296-199851FC6E31}" dt="2024-09-11T11:12:14.001" v="3782" actId="6264"/>
          <ac:spMkLst>
            <pc:docMk/>
            <pc:sldMk cId="80530250" sldId="897"/>
            <ac:spMk id="3" creationId="{AB70CC81-4543-4D92-3278-116A224D5B5E}"/>
          </ac:spMkLst>
        </pc:spChg>
        <pc:spChg chg="mod ord">
          <ac:chgData name="José Antonio Ureta Santacreu" userId="e36999d1-2b92-424a-9e8c-5fde0c5fbdd2" providerId="ADAL" clId="{B441C459-42E0-4465-B296-199851FC6E31}" dt="2024-09-11T11:12:14.001" v="3782" actId="6264"/>
          <ac:spMkLst>
            <pc:docMk/>
            <pc:sldMk cId="80530250" sldId="897"/>
            <ac:spMk id="4" creationId="{A849250E-9DC7-4370-8E59-9A71982B526B}"/>
          </ac:spMkLst>
        </pc:spChg>
        <pc:spChg chg="mod ord">
          <ac:chgData name="José Antonio Ureta Santacreu" userId="e36999d1-2b92-424a-9e8c-5fde0c5fbdd2" providerId="ADAL" clId="{B441C459-42E0-4465-B296-199851FC6E31}" dt="2024-09-11T11:12:14.001" v="3782" actId="6264"/>
          <ac:spMkLst>
            <pc:docMk/>
            <pc:sldMk cId="80530250" sldId="897"/>
            <ac:spMk id="5" creationId="{C7268419-F5B5-421D-9BE2-3987EDCC2EDE}"/>
          </ac:spMkLst>
        </pc:spChg>
        <pc:spChg chg="mod ord">
          <ac:chgData name="José Antonio Ureta Santacreu" userId="e36999d1-2b92-424a-9e8c-5fde0c5fbdd2" providerId="ADAL" clId="{B441C459-42E0-4465-B296-199851FC6E31}" dt="2024-09-11T11:12:14.001" v="3782" actId="6264"/>
          <ac:spMkLst>
            <pc:docMk/>
            <pc:sldMk cId="80530250" sldId="897"/>
            <ac:spMk id="6" creationId="{74CB81DF-8FB6-44CD-A0AC-B388F5D1A246}"/>
          </ac:spMkLst>
        </pc:spChg>
        <pc:spChg chg="del mod">
          <ac:chgData name="José Antonio Ureta Santacreu" userId="e36999d1-2b92-424a-9e8c-5fde0c5fbdd2" providerId="ADAL" clId="{B441C459-42E0-4465-B296-199851FC6E31}" dt="2024-07-31T11:01:05.516" v="1070" actId="478"/>
          <ac:spMkLst>
            <pc:docMk/>
            <pc:sldMk cId="80530250" sldId="897"/>
            <ac:spMk id="8" creationId="{FD33CE69-C072-6F6D-8801-FCD0DA039483}"/>
          </ac:spMkLst>
        </pc:spChg>
        <pc:spChg chg="add mod">
          <ac:chgData name="José Antonio Ureta Santacreu" userId="e36999d1-2b92-424a-9e8c-5fde0c5fbdd2" providerId="ADAL" clId="{B441C459-42E0-4465-B296-199851FC6E31}" dt="2024-09-10T13:51:14.404" v="3328" actId="14100"/>
          <ac:spMkLst>
            <pc:docMk/>
            <pc:sldMk cId="80530250" sldId="897"/>
            <ac:spMk id="9" creationId="{9E85650F-1639-240D-7E90-2FC66C8D7811}"/>
          </ac:spMkLst>
        </pc:spChg>
        <pc:spChg chg="add del mod">
          <ac:chgData name="José Antonio Ureta Santacreu" userId="e36999d1-2b92-424a-9e8c-5fde0c5fbdd2" providerId="ADAL" clId="{B441C459-42E0-4465-B296-199851FC6E31}" dt="2024-09-11T11:12:14.001" v="3782" actId="6264"/>
          <ac:spMkLst>
            <pc:docMk/>
            <pc:sldMk cId="80530250" sldId="897"/>
            <ac:spMk id="10" creationId="{B7781438-00B7-74F8-8279-1F6CC56E2F3E}"/>
          </ac:spMkLst>
        </pc:spChg>
        <pc:spChg chg="add del mod">
          <ac:chgData name="José Antonio Ureta Santacreu" userId="e36999d1-2b92-424a-9e8c-5fde0c5fbdd2" providerId="ADAL" clId="{B441C459-42E0-4465-B296-199851FC6E31}" dt="2024-09-11T11:12:14.001" v="3782" actId="6264"/>
          <ac:spMkLst>
            <pc:docMk/>
            <pc:sldMk cId="80530250" sldId="897"/>
            <ac:spMk id="11" creationId="{3C337E83-90C9-8CE5-87EE-DCFACB01C9D8}"/>
          </ac:spMkLst>
        </pc:spChg>
        <pc:spChg chg="add del mod">
          <ac:chgData name="José Antonio Ureta Santacreu" userId="e36999d1-2b92-424a-9e8c-5fde0c5fbdd2" providerId="ADAL" clId="{B441C459-42E0-4465-B296-199851FC6E31}" dt="2024-09-11T11:12:14.001" v="3782" actId="6264"/>
          <ac:spMkLst>
            <pc:docMk/>
            <pc:sldMk cId="80530250" sldId="897"/>
            <ac:spMk id="12" creationId="{1AD55729-FE34-46E9-4CA1-5EFC8BC78217}"/>
          </ac:spMkLst>
        </pc:spChg>
        <pc:spChg chg="add del mod">
          <ac:chgData name="José Antonio Ureta Santacreu" userId="e36999d1-2b92-424a-9e8c-5fde0c5fbdd2" providerId="ADAL" clId="{B441C459-42E0-4465-B296-199851FC6E31}" dt="2024-09-11T11:12:14.001" v="3782" actId="6264"/>
          <ac:spMkLst>
            <pc:docMk/>
            <pc:sldMk cId="80530250" sldId="897"/>
            <ac:spMk id="13" creationId="{2E495E9C-B265-BE7D-F445-FE894E09EF41}"/>
          </ac:spMkLst>
        </pc:spChg>
        <pc:graphicFrameChg chg="mod ord modGraphic">
          <ac:chgData name="José Antonio Ureta Santacreu" userId="e36999d1-2b92-424a-9e8c-5fde0c5fbdd2" providerId="ADAL" clId="{B441C459-42E0-4465-B296-199851FC6E31}" dt="2024-09-11T11:12:14.001" v="3782" actId="6264"/>
          <ac:graphicFrameMkLst>
            <pc:docMk/>
            <pc:sldMk cId="80530250" sldId="897"/>
            <ac:graphicFrameMk id="7" creationId="{5586834D-D4DF-489A-86A4-29DBB9011955}"/>
          </ac:graphicFrameMkLst>
        </pc:graphicFrameChg>
        <pc:picChg chg="del">
          <ac:chgData name="José Antonio Ureta Santacreu" userId="e36999d1-2b92-424a-9e8c-5fde0c5fbdd2" providerId="ADAL" clId="{B441C459-42E0-4465-B296-199851FC6E31}" dt="2024-07-31T11:00:42.550" v="1066" actId="478"/>
          <ac:picMkLst>
            <pc:docMk/>
            <pc:sldMk cId="80530250" sldId="897"/>
            <ac:picMk id="3" creationId="{4BA4490B-EC8F-4045-882C-D670AA2A1F92}"/>
          </ac:picMkLst>
        </pc:picChg>
        <pc:picChg chg="add mod">
          <ac:chgData name="José Antonio Ureta Santacreu" userId="e36999d1-2b92-424a-9e8c-5fde0c5fbdd2" providerId="ADAL" clId="{B441C459-42E0-4465-B296-199851FC6E31}" dt="2024-09-10T13:42:24.872" v="3302" actId="1036"/>
          <ac:picMkLst>
            <pc:docMk/>
            <pc:sldMk cId="80530250" sldId="897"/>
            <ac:picMk id="8" creationId="{E2720F95-8516-A020-A45C-80F8950C6E4F}"/>
          </ac:picMkLst>
        </pc:picChg>
        <pc:picChg chg="add mod">
          <ac:chgData name="José Antonio Ureta Santacreu" userId="e36999d1-2b92-424a-9e8c-5fde0c5fbdd2" providerId="ADAL" clId="{B441C459-42E0-4465-B296-199851FC6E31}" dt="2024-09-10T13:36:54.602" v="3279" actId="1076"/>
          <ac:picMkLst>
            <pc:docMk/>
            <pc:sldMk cId="80530250" sldId="897"/>
            <ac:picMk id="2050" creationId="{8B560C60-1A5A-DD78-9058-74FCEE25FEDE}"/>
          </ac:picMkLst>
        </pc:picChg>
        <pc:picChg chg="add del mod">
          <ac:chgData name="José Antonio Ureta Santacreu" userId="e36999d1-2b92-424a-9e8c-5fde0c5fbdd2" providerId="ADAL" clId="{B441C459-42E0-4465-B296-199851FC6E31}" dt="2024-07-31T10:59:05.786" v="1053" actId="478"/>
          <ac:picMkLst>
            <pc:docMk/>
            <pc:sldMk cId="80530250" sldId="897"/>
            <ac:picMk id="5122" creationId="{1F5BDA8C-82AA-A4C6-12F4-1E858BBADD0B}"/>
          </ac:picMkLst>
        </pc:picChg>
        <pc:picChg chg="add mod">
          <ac:chgData name="José Antonio Ureta Santacreu" userId="e36999d1-2b92-424a-9e8c-5fde0c5fbdd2" providerId="ADAL" clId="{B441C459-42E0-4465-B296-199851FC6E31}" dt="2024-09-10T13:36:39.166" v="3278" actId="1036"/>
          <ac:picMkLst>
            <pc:docMk/>
            <pc:sldMk cId="80530250" sldId="897"/>
            <ac:picMk id="5124" creationId="{BB85AB90-2738-D250-0F8E-6E688D7ED047}"/>
          </ac:picMkLst>
        </pc:picChg>
        <pc:picChg chg="add mod">
          <ac:chgData name="José Antonio Ureta Santacreu" userId="e36999d1-2b92-424a-9e8c-5fde0c5fbdd2" providerId="ADAL" clId="{B441C459-42E0-4465-B296-199851FC6E31}" dt="2024-07-31T11:05:16.338" v="1225" actId="14100"/>
          <ac:picMkLst>
            <pc:docMk/>
            <pc:sldMk cId="80530250" sldId="897"/>
            <ac:picMk id="5126" creationId="{C2FBD1FC-47D6-CCDE-47AA-9E52B523EAD0}"/>
          </ac:picMkLst>
        </pc:picChg>
      </pc:sldChg>
      <pc:sldChg chg="addSp delSp modSp mod chgLayout">
        <pc:chgData name="José Antonio Ureta Santacreu" userId="e36999d1-2b92-424a-9e8c-5fde0c5fbdd2" providerId="ADAL" clId="{B441C459-42E0-4465-B296-199851FC6E31}" dt="2024-09-11T11:12:14.001" v="3782" actId="6264"/>
        <pc:sldMkLst>
          <pc:docMk/>
          <pc:sldMk cId="2022670775" sldId="903"/>
        </pc:sldMkLst>
        <pc:spChg chg="mod ord">
          <ac:chgData name="José Antonio Ureta Santacreu" userId="e36999d1-2b92-424a-9e8c-5fde0c5fbdd2" providerId="ADAL" clId="{B441C459-42E0-4465-B296-199851FC6E31}" dt="2024-09-11T11:12:14.001" v="3782" actId="6264"/>
          <ac:spMkLst>
            <pc:docMk/>
            <pc:sldMk cId="2022670775" sldId="903"/>
            <ac:spMk id="2" creationId="{A0171F31-1618-CF6B-4120-8DCB0B7C251F}"/>
          </ac:spMkLst>
        </pc:spChg>
        <pc:spChg chg="mod ord">
          <ac:chgData name="José Antonio Ureta Santacreu" userId="e36999d1-2b92-424a-9e8c-5fde0c5fbdd2" providerId="ADAL" clId="{B441C459-42E0-4465-B296-199851FC6E31}" dt="2024-09-11T11:12:14.001" v="3782" actId="6264"/>
          <ac:spMkLst>
            <pc:docMk/>
            <pc:sldMk cId="2022670775" sldId="903"/>
            <ac:spMk id="3" creationId="{C31BE410-351A-B11E-1CCC-949591A954C0}"/>
          </ac:spMkLst>
        </pc:spChg>
        <pc:spChg chg="mod ord">
          <ac:chgData name="José Antonio Ureta Santacreu" userId="e36999d1-2b92-424a-9e8c-5fde0c5fbdd2" providerId="ADAL" clId="{B441C459-42E0-4465-B296-199851FC6E31}" dt="2024-09-11T11:12:14.001" v="3782" actId="6264"/>
          <ac:spMkLst>
            <pc:docMk/>
            <pc:sldMk cId="2022670775" sldId="903"/>
            <ac:spMk id="4" creationId="{E1F142DA-3803-3BF9-3647-59992DC6FE33}"/>
          </ac:spMkLst>
        </pc:spChg>
        <pc:spChg chg="mod ord">
          <ac:chgData name="José Antonio Ureta Santacreu" userId="e36999d1-2b92-424a-9e8c-5fde0c5fbdd2" providerId="ADAL" clId="{B441C459-42E0-4465-B296-199851FC6E31}" dt="2024-09-11T11:12:14.001" v="3782" actId="6264"/>
          <ac:spMkLst>
            <pc:docMk/>
            <pc:sldMk cId="2022670775" sldId="903"/>
            <ac:spMk id="5" creationId="{3E86D2F2-5C50-C73E-80DD-77AE7EA22D09}"/>
          </ac:spMkLst>
        </pc:spChg>
        <pc:spChg chg="add del mod">
          <ac:chgData name="José Antonio Ureta Santacreu" userId="e36999d1-2b92-424a-9e8c-5fde0c5fbdd2" providerId="ADAL" clId="{B441C459-42E0-4465-B296-199851FC6E31}" dt="2024-09-11T11:12:14.001" v="3782" actId="6264"/>
          <ac:spMkLst>
            <pc:docMk/>
            <pc:sldMk cId="2022670775" sldId="903"/>
            <ac:spMk id="6" creationId="{134DF35F-A15E-DCC7-64D1-34F288119846}"/>
          </ac:spMkLst>
        </pc:spChg>
        <pc:spChg chg="add del mod">
          <ac:chgData name="José Antonio Ureta Santacreu" userId="e36999d1-2b92-424a-9e8c-5fde0c5fbdd2" providerId="ADAL" clId="{B441C459-42E0-4465-B296-199851FC6E31}" dt="2024-09-11T11:12:14.001" v="3782" actId="6264"/>
          <ac:spMkLst>
            <pc:docMk/>
            <pc:sldMk cId="2022670775" sldId="903"/>
            <ac:spMk id="7" creationId="{9CC85808-FF6E-FC0C-ED0C-A01B4DC0A982}"/>
          </ac:spMkLst>
        </pc:spChg>
        <pc:spChg chg="add del mod">
          <ac:chgData name="José Antonio Ureta Santacreu" userId="e36999d1-2b92-424a-9e8c-5fde0c5fbdd2" providerId="ADAL" clId="{B441C459-42E0-4465-B296-199851FC6E31}" dt="2024-09-11T11:12:14.001" v="3782" actId="6264"/>
          <ac:spMkLst>
            <pc:docMk/>
            <pc:sldMk cId="2022670775" sldId="903"/>
            <ac:spMk id="8" creationId="{BD322B0F-0756-0974-67C6-D3436753F95B}"/>
          </ac:spMkLst>
        </pc:spChg>
        <pc:spChg chg="add del mod">
          <ac:chgData name="José Antonio Ureta Santacreu" userId="e36999d1-2b92-424a-9e8c-5fde0c5fbdd2" providerId="ADAL" clId="{B441C459-42E0-4465-B296-199851FC6E31}" dt="2024-09-11T11:12:14.001" v="3782" actId="6264"/>
          <ac:spMkLst>
            <pc:docMk/>
            <pc:sldMk cId="2022670775" sldId="903"/>
            <ac:spMk id="9" creationId="{5A87F636-AAAF-07F5-744A-85F9E537502E}"/>
          </ac:spMkLst>
        </pc:spChg>
        <pc:picChg chg="add del mod">
          <ac:chgData name="José Antonio Ureta Santacreu" userId="e36999d1-2b92-424a-9e8c-5fde0c5fbdd2" providerId="ADAL" clId="{B441C459-42E0-4465-B296-199851FC6E31}" dt="2024-07-31T11:25:00.090" v="1355" actId="478"/>
          <ac:picMkLst>
            <pc:docMk/>
            <pc:sldMk cId="2022670775" sldId="903"/>
            <ac:picMk id="7" creationId="{2D971EC4-A36B-9A64-CF04-0E72DAEF1B45}"/>
          </ac:picMkLst>
        </pc:picChg>
        <pc:picChg chg="add mod">
          <ac:chgData name="José Antonio Ureta Santacreu" userId="e36999d1-2b92-424a-9e8c-5fde0c5fbdd2" providerId="ADAL" clId="{B441C459-42E0-4465-B296-199851FC6E31}" dt="2024-07-31T11:25:31.238" v="1386" actId="1038"/>
          <ac:picMkLst>
            <pc:docMk/>
            <pc:sldMk cId="2022670775" sldId="903"/>
            <ac:picMk id="9" creationId="{1B58E521-25C5-A7BE-309F-C9666696E00E}"/>
          </ac:picMkLst>
        </pc:picChg>
      </pc:sldChg>
      <pc:sldChg chg="addSp delSp modSp mod chgLayout">
        <pc:chgData name="José Antonio Ureta Santacreu" userId="e36999d1-2b92-424a-9e8c-5fde0c5fbdd2" providerId="ADAL" clId="{B441C459-42E0-4465-B296-199851FC6E31}" dt="2024-09-11T11:12:14.001" v="3782" actId="6264"/>
        <pc:sldMkLst>
          <pc:docMk/>
          <pc:sldMk cId="279797271" sldId="904"/>
        </pc:sldMkLst>
        <pc:spChg chg="mod ord">
          <ac:chgData name="José Antonio Ureta Santacreu" userId="e36999d1-2b92-424a-9e8c-5fde0c5fbdd2" providerId="ADAL" clId="{B441C459-42E0-4465-B296-199851FC6E31}" dt="2024-09-11T11:12:14.001" v="3782" actId="6264"/>
          <ac:spMkLst>
            <pc:docMk/>
            <pc:sldMk cId="279797271" sldId="904"/>
            <ac:spMk id="2" creationId="{11084FDF-CAA2-6FD4-4F3B-11D41119910E}"/>
          </ac:spMkLst>
        </pc:spChg>
        <pc:spChg chg="mod ord">
          <ac:chgData name="José Antonio Ureta Santacreu" userId="e36999d1-2b92-424a-9e8c-5fde0c5fbdd2" providerId="ADAL" clId="{B441C459-42E0-4465-B296-199851FC6E31}" dt="2024-09-11T11:12:14.001" v="3782" actId="6264"/>
          <ac:spMkLst>
            <pc:docMk/>
            <pc:sldMk cId="279797271" sldId="904"/>
            <ac:spMk id="3" creationId="{9FD429AE-79D7-5687-CBEF-BE6B7F8BBF36}"/>
          </ac:spMkLst>
        </pc:spChg>
        <pc:spChg chg="mod ord">
          <ac:chgData name="José Antonio Ureta Santacreu" userId="e36999d1-2b92-424a-9e8c-5fde0c5fbdd2" providerId="ADAL" clId="{B441C459-42E0-4465-B296-199851FC6E31}" dt="2024-09-11T11:12:14.001" v="3782" actId="6264"/>
          <ac:spMkLst>
            <pc:docMk/>
            <pc:sldMk cId="279797271" sldId="904"/>
            <ac:spMk id="4" creationId="{40F1DDBD-B30A-7149-4035-B8CE8C25DEB2}"/>
          </ac:spMkLst>
        </pc:spChg>
        <pc:spChg chg="mod ord">
          <ac:chgData name="José Antonio Ureta Santacreu" userId="e36999d1-2b92-424a-9e8c-5fde0c5fbdd2" providerId="ADAL" clId="{B441C459-42E0-4465-B296-199851FC6E31}" dt="2024-09-11T11:12:14.001" v="3782" actId="6264"/>
          <ac:spMkLst>
            <pc:docMk/>
            <pc:sldMk cId="279797271" sldId="904"/>
            <ac:spMk id="5" creationId="{FD6F17B6-4DE0-636B-2CB9-14FFA0664807}"/>
          </ac:spMkLst>
        </pc:spChg>
        <pc:spChg chg="add del mod">
          <ac:chgData name="José Antonio Ureta Santacreu" userId="e36999d1-2b92-424a-9e8c-5fde0c5fbdd2" providerId="ADAL" clId="{B441C459-42E0-4465-B296-199851FC6E31}" dt="2024-09-11T11:12:14.001" v="3782" actId="6264"/>
          <ac:spMkLst>
            <pc:docMk/>
            <pc:sldMk cId="279797271" sldId="904"/>
            <ac:spMk id="10" creationId="{D220CD2F-9814-58BF-182F-832B8CFBDC3A}"/>
          </ac:spMkLst>
        </pc:spChg>
        <pc:spChg chg="add del mod">
          <ac:chgData name="José Antonio Ureta Santacreu" userId="e36999d1-2b92-424a-9e8c-5fde0c5fbdd2" providerId="ADAL" clId="{B441C459-42E0-4465-B296-199851FC6E31}" dt="2024-09-11T11:12:14.001" v="3782" actId="6264"/>
          <ac:spMkLst>
            <pc:docMk/>
            <pc:sldMk cId="279797271" sldId="904"/>
            <ac:spMk id="11" creationId="{76B74661-6AE5-A64F-1A5C-7F308D7CA0FE}"/>
          </ac:spMkLst>
        </pc:spChg>
        <pc:spChg chg="add del mod">
          <ac:chgData name="José Antonio Ureta Santacreu" userId="e36999d1-2b92-424a-9e8c-5fde0c5fbdd2" providerId="ADAL" clId="{B441C459-42E0-4465-B296-199851FC6E31}" dt="2024-09-11T11:12:14.001" v="3782" actId="6264"/>
          <ac:spMkLst>
            <pc:docMk/>
            <pc:sldMk cId="279797271" sldId="904"/>
            <ac:spMk id="12" creationId="{F86C8136-F776-56FB-EBF4-195617A17843}"/>
          </ac:spMkLst>
        </pc:spChg>
        <pc:spChg chg="add del mod">
          <ac:chgData name="José Antonio Ureta Santacreu" userId="e36999d1-2b92-424a-9e8c-5fde0c5fbdd2" providerId="ADAL" clId="{B441C459-42E0-4465-B296-199851FC6E31}" dt="2024-09-11T11:12:14.001" v="3782" actId="6264"/>
          <ac:spMkLst>
            <pc:docMk/>
            <pc:sldMk cId="279797271" sldId="904"/>
            <ac:spMk id="13" creationId="{55D6ED99-BBBA-5B78-5D11-B5E5FE6C313D}"/>
          </ac:spMkLst>
        </pc:spChg>
      </pc:sldChg>
      <pc:sldChg chg="addSp delSp modSp mod chgLayout">
        <pc:chgData name="José Antonio Ureta Santacreu" userId="e36999d1-2b92-424a-9e8c-5fde0c5fbdd2" providerId="ADAL" clId="{B441C459-42E0-4465-B296-199851FC6E31}" dt="2024-09-11T11:12:14.001" v="3782" actId="6264"/>
        <pc:sldMkLst>
          <pc:docMk/>
          <pc:sldMk cId="2061733752" sldId="905"/>
        </pc:sldMkLst>
        <pc:spChg chg="mod ord">
          <ac:chgData name="José Antonio Ureta Santacreu" userId="e36999d1-2b92-424a-9e8c-5fde0c5fbdd2" providerId="ADAL" clId="{B441C459-42E0-4465-B296-199851FC6E31}" dt="2024-09-11T11:12:14.001" v="3782" actId="6264"/>
          <ac:spMkLst>
            <pc:docMk/>
            <pc:sldMk cId="2061733752" sldId="905"/>
            <ac:spMk id="2" creationId="{2E78BE03-2A14-3317-5EB7-BFA08365C7B5}"/>
          </ac:spMkLst>
        </pc:spChg>
        <pc:spChg chg="mod ord">
          <ac:chgData name="José Antonio Ureta Santacreu" userId="e36999d1-2b92-424a-9e8c-5fde0c5fbdd2" providerId="ADAL" clId="{B441C459-42E0-4465-B296-199851FC6E31}" dt="2024-09-11T11:12:14.001" v="3782" actId="6264"/>
          <ac:spMkLst>
            <pc:docMk/>
            <pc:sldMk cId="2061733752" sldId="905"/>
            <ac:spMk id="3" creationId="{54FA1FC5-5079-9823-B061-46D52B5150D8}"/>
          </ac:spMkLst>
        </pc:spChg>
        <pc:spChg chg="mod ord">
          <ac:chgData name="José Antonio Ureta Santacreu" userId="e36999d1-2b92-424a-9e8c-5fde0c5fbdd2" providerId="ADAL" clId="{B441C459-42E0-4465-B296-199851FC6E31}" dt="2024-09-11T11:12:14.001" v="3782" actId="6264"/>
          <ac:spMkLst>
            <pc:docMk/>
            <pc:sldMk cId="2061733752" sldId="905"/>
            <ac:spMk id="4" creationId="{121D1051-CBAE-A8F9-B3ED-F24F78B734D1}"/>
          </ac:spMkLst>
        </pc:spChg>
        <pc:spChg chg="mod ord">
          <ac:chgData name="José Antonio Ureta Santacreu" userId="e36999d1-2b92-424a-9e8c-5fde0c5fbdd2" providerId="ADAL" clId="{B441C459-42E0-4465-B296-199851FC6E31}" dt="2024-09-11T11:12:14.001" v="3782" actId="6264"/>
          <ac:spMkLst>
            <pc:docMk/>
            <pc:sldMk cId="2061733752" sldId="905"/>
            <ac:spMk id="5" creationId="{EB7950FB-5FB9-A108-5A37-9A327F7131B7}"/>
          </ac:spMkLst>
        </pc:spChg>
        <pc:spChg chg="add del mod">
          <ac:chgData name="José Antonio Ureta Santacreu" userId="e36999d1-2b92-424a-9e8c-5fde0c5fbdd2" providerId="ADAL" clId="{B441C459-42E0-4465-B296-199851FC6E31}" dt="2024-09-11T11:12:14.001" v="3782" actId="6264"/>
          <ac:spMkLst>
            <pc:docMk/>
            <pc:sldMk cId="2061733752" sldId="905"/>
            <ac:spMk id="7" creationId="{71D55C7B-EEB9-D346-2402-78706F36019E}"/>
          </ac:spMkLst>
        </pc:spChg>
        <pc:spChg chg="add del mod">
          <ac:chgData name="José Antonio Ureta Santacreu" userId="e36999d1-2b92-424a-9e8c-5fde0c5fbdd2" providerId="ADAL" clId="{B441C459-42E0-4465-B296-199851FC6E31}" dt="2024-09-11T11:12:14.001" v="3782" actId="6264"/>
          <ac:spMkLst>
            <pc:docMk/>
            <pc:sldMk cId="2061733752" sldId="905"/>
            <ac:spMk id="8" creationId="{CE8E5988-A1E1-D293-C5F7-DCAB178A9680}"/>
          </ac:spMkLst>
        </pc:spChg>
        <pc:spChg chg="add del mod">
          <ac:chgData name="José Antonio Ureta Santacreu" userId="e36999d1-2b92-424a-9e8c-5fde0c5fbdd2" providerId="ADAL" clId="{B441C459-42E0-4465-B296-199851FC6E31}" dt="2024-09-11T11:12:14.001" v="3782" actId="6264"/>
          <ac:spMkLst>
            <pc:docMk/>
            <pc:sldMk cId="2061733752" sldId="905"/>
            <ac:spMk id="10" creationId="{ABFF19A6-ED0E-E6FD-F8A4-AF7466118643}"/>
          </ac:spMkLst>
        </pc:spChg>
        <pc:spChg chg="add del mod">
          <ac:chgData name="José Antonio Ureta Santacreu" userId="e36999d1-2b92-424a-9e8c-5fde0c5fbdd2" providerId="ADAL" clId="{B441C459-42E0-4465-B296-199851FC6E31}" dt="2024-09-11T11:12:14.001" v="3782" actId="6264"/>
          <ac:spMkLst>
            <pc:docMk/>
            <pc:sldMk cId="2061733752" sldId="905"/>
            <ac:spMk id="12" creationId="{3BE74F2C-7484-FDAC-5D2F-20B9B37A2733}"/>
          </ac:spMkLst>
        </pc:spChg>
      </pc:sldChg>
      <pc:sldChg chg="addSp delSp modSp mod chgLayout">
        <pc:chgData name="José Antonio Ureta Santacreu" userId="e36999d1-2b92-424a-9e8c-5fde0c5fbdd2" providerId="ADAL" clId="{B441C459-42E0-4465-B296-199851FC6E31}" dt="2024-09-11T11:12:14.001" v="3782" actId="6264"/>
        <pc:sldMkLst>
          <pc:docMk/>
          <pc:sldMk cId="2750931206" sldId="906"/>
        </pc:sldMkLst>
        <pc:spChg chg="mod ord">
          <ac:chgData name="José Antonio Ureta Santacreu" userId="e36999d1-2b92-424a-9e8c-5fde0c5fbdd2" providerId="ADAL" clId="{B441C459-42E0-4465-B296-199851FC6E31}" dt="2024-09-11T11:12:14.001" v="3782" actId="6264"/>
          <ac:spMkLst>
            <pc:docMk/>
            <pc:sldMk cId="2750931206" sldId="906"/>
            <ac:spMk id="2" creationId="{BBD37DEF-2997-EA7C-5C0D-B544DFF2ED55}"/>
          </ac:spMkLst>
        </pc:spChg>
        <pc:spChg chg="mod ord">
          <ac:chgData name="José Antonio Ureta Santacreu" userId="e36999d1-2b92-424a-9e8c-5fde0c5fbdd2" providerId="ADAL" clId="{B441C459-42E0-4465-B296-199851FC6E31}" dt="2024-09-11T11:12:14.001" v="3782" actId="6264"/>
          <ac:spMkLst>
            <pc:docMk/>
            <pc:sldMk cId="2750931206" sldId="906"/>
            <ac:spMk id="3" creationId="{CAC651AB-FF6C-2373-0328-3A70CAB1A8A6}"/>
          </ac:spMkLst>
        </pc:spChg>
        <pc:spChg chg="mod ord">
          <ac:chgData name="José Antonio Ureta Santacreu" userId="e36999d1-2b92-424a-9e8c-5fde0c5fbdd2" providerId="ADAL" clId="{B441C459-42E0-4465-B296-199851FC6E31}" dt="2024-09-11T11:12:14.001" v="3782" actId="6264"/>
          <ac:spMkLst>
            <pc:docMk/>
            <pc:sldMk cId="2750931206" sldId="906"/>
            <ac:spMk id="4" creationId="{DEA274F0-765D-6903-4EE4-49AD6CE532DD}"/>
          </ac:spMkLst>
        </pc:spChg>
        <pc:spChg chg="mod ord">
          <ac:chgData name="José Antonio Ureta Santacreu" userId="e36999d1-2b92-424a-9e8c-5fde0c5fbdd2" providerId="ADAL" clId="{B441C459-42E0-4465-B296-199851FC6E31}" dt="2024-09-11T11:12:14.001" v="3782" actId="6264"/>
          <ac:spMkLst>
            <pc:docMk/>
            <pc:sldMk cId="2750931206" sldId="906"/>
            <ac:spMk id="5" creationId="{B5E88153-C29B-DA96-95CA-F7913E76F3AE}"/>
          </ac:spMkLst>
        </pc:spChg>
        <pc:spChg chg="add del mod">
          <ac:chgData name="José Antonio Ureta Santacreu" userId="e36999d1-2b92-424a-9e8c-5fde0c5fbdd2" providerId="ADAL" clId="{B441C459-42E0-4465-B296-199851FC6E31}" dt="2024-09-11T11:12:14.001" v="3782" actId="6264"/>
          <ac:spMkLst>
            <pc:docMk/>
            <pc:sldMk cId="2750931206" sldId="906"/>
            <ac:spMk id="11" creationId="{C2E3B2CA-1358-ADEE-691C-8E69F460DEF5}"/>
          </ac:spMkLst>
        </pc:spChg>
        <pc:spChg chg="add del mod">
          <ac:chgData name="José Antonio Ureta Santacreu" userId="e36999d1-2b92-424a-9e8c-5fde0c5fbdd2" providerId="ADAL" clId="{B441C459-42E0-4465-B296-199851FC6E31}" dt="2024-09-11T11:12:14.001" v="3782" actId="6264"/>
          <ac:spMkLst>
            <pc:docMk/>
            <pc:sldMk cId="2750931206" sldId="906"/>
            <ac:spMk id="12" creationId="{D7AA7644-3B9B-0DD0-E1DC-B88A3487D15D}"/>
          </ac:spMkLst>
        </pc:spChg>
        <pc:spChg chg="add del mod">
          <ac:chgData name="José Antonio Ureta Santacreu" userId="e36999d1-2b92-424a-9e8c-5fde0c5fbdd2" providerId="ADAL" clId="{B441C459-42E0-4465-B296-199851FC6E31}" dt="2024-09-11T11:12:14.001" v="3782" actId="6264"/>
          <ac:spMkLst>
            <pc:docMk/>
            <pc:sldMk cId="2750931206" sldId="906"/>
            <ac:spMk id="13" creationId="{543A8C54-671A-EEAA-B569-ACFA30CE0342}"/>
          </ac:spMkLst>
        </pc:spChg>
        <pc:spChg chg="add del mod">
          <ac:chgData name="José Antonio Ureta Santacreu" userId="e36999d1-2b92-424a-9e8c-5fde0c5fbdd2" providerId="ADAL" clId="{B441C459-42E0-4465-B296-199851FC6E31}" dt="2024-09-11T11:12:14.001" v="3782" actId="6264"/>
          <ac:spMkLst>
            <pc:docMk/>
            <pc:sldMk cId="2750931206" sldId="906"/>
            <ac:spMk id="14" creationId="{F6171323-14C1-9D7A-BAEF-B79A15D204CA}"/>
          </ac:spMkLst>
        </pc:spChg>
      </pc:sldChg>
      <pc:sldChg chg="addSp delSp modSp mod chgLayout">
        <pc:chgData name="José Antonio Ureta Santacreu" userId="e36999d1-2b92-424a-9e8c-5fde0c5fbdd2" providerId="ADAL" clId="{B441C459-42E0-4465-B296-199851FC6E31}" dt="2024-09-12T15:30:43.509" v="4896" actId="1038"/>
        <pc:sldMkLst>
          <pc:docMk/>
          <pc:sldMk cId="1990410930" sldId="908"/>
        </pc:sldMkLst>
        <pc:spChg chg="mod ord">
          <ac:chgData name="José Antonio Ureta Santacreu" userId="e36999d1-2b92-424a-9e8c-5fde0c5fbdd2" providerId="ADAL" clId="{B441C459-42E0-4465-B296-199851FC6E31}" dt="2024-09-12T15:30:06.019" v="4825" actId="27636"/>
          <ac:spMkLst>
            <pc:docMk/>
            <pc:sldMk cId="1990410930" sldId="908"/>
            <ac:spMk id="2" creationId="{CF5A9E75-722E-44BC-BA57-FFBD26A8D07A}"/>
          </ac:spMkLst>
        </pc:spChg>
        <pc:spChg chg="mod ord">
          <ac:chgData name="José Antonio Ureta Santacreu" userId="e36999d1-2b92-424a-9e8c-5fde0c5fbdd2" providerId="ADAL" clId="{B441C459-42E0-4465-B296-199851FC6E31}" dt="2024-09-11T11:12:14.001" v="3782" actId="6264"/>
          <ac:spMkLst>
            <pc:docMk/>
            <pc:sldMk cId="1990410930" sldId="908"/>
            <ac:spMk id="3" creationId="{F47D1B97-FA02-470B-94C4-FBDAF1E75682}"/>
          </ac:spMkLst>
        </pc:spChg>
        <pc:spChg chg="mod ord">
          <ac:chgData name="José Antonio Ureta Santacreu" userId="e36999d1-2b92-424a-9e8c-5fde0c5fbdd2" providerId="ADAL" clId="{B441C459-42E0-4465-B296-199851FC6E31}" dt="2024-09-11T11:12:14.001" v="3782" actId="6264"/>
          <ac:spMkLst>
            <pc:docMk/>
            <pc:sldMk cId="1990410930" sldId="908"/>
            <ac:spMk id="4" creationId="{A5EAE511-E3FE-4E7B-A3B1-851DFEF5D58D}"/>
          </ac:spMkLst>
        </pc:spChg>
        <pc:spChg chg="mod ord">
          <ac:chgData name="José Antonio Ureta Santacreu" userId="e36999d1-2b92-424a-9e8c-5fde0c5fbdd2" providerId="ADAL" clId="{B441C459-42E0-4465-B296-199851FC6E31}" dt="2024-09-11T11:12:14.001" v="3782" actId="6264"/>
          <ac:spMkLst>
            <pc:docMk/>
            <pc:sldMk cId="1990410930" sldId="908"/>
            <ac:spMk id="5" creationId="{7EFDA8DE-A9D5-4BCB-A495-56FBA2450FD3}"/>
          </ac:spMkLst>
        </pc:spChg>
        <pc:spChg chg="add del mod">
          <ac:chgData name="José Antonio Ureta Santacreu" userId="e36999d1-2b92-424a-9e8c-5fde0c5fbdd2" providerId="ADAL" clId="{B441C459-42E0-4465-B296-199851FC6E31}" dt="2024-09-11T11:12:14.001" v="3782" actId="6264"/>
          <ac:spMkLst>
            <pc:docMk/>
            <pc:sldMk cId="1990410930" sldId="908"/>
            <ac:spMk id="6" creationId="{F0D711BA-6977-B0C6-7111-DF132EC76707}"/>
          </ac:spMkLst>
        </pc:spChg>
        <pc:spChg chg="add mod">
          <ac:chgData name="José Antonio Ureta Santacreu" userId="e36999d1-2b92-424a-9e8c-5fde0c5fbdd2" providerId="ADAL" clId="{B441C459-42E0-4465-B296-199851FC6E31}" dt="2024-09-12T15:30:43.509" v="4896" actId="1038"/>
          <ac:spMkLst>
            <pc:docMk/>
            <pc:sldMk cId="1990410930" sldId="908"/>
            <ac:spMk id="7" creationId="{094B414E-09AE-56EC-638F-678B479A1184}"/>
          </ac:spMkLst>
        </pc:spChg>
        <pc:spChg chg="add del mod">
          <ac:chgData name="José Antonio Ureta Santacreu" userId="e36999d1-2b92-424a-9e8c-5fde0c5fbdd2" providerId="ADAL" clId="{B441C459-42E0-4465-B296-199851FC6E31}" dt="2024-09-11T11:12:14.001" v="3782" actId="6264"/>
          <ac:spMkLst>
            <pc:docMk/>
            <pc:sldMk cId="1990410930" sldId="908"/>
            <ac:spMk id="7" creationId="{2A1F7AC0-4976-EC8F-D565-E5041DC89F46}"/>
          </ac:spMkLst>
        </pc:spChg>
        <pc:spChg chg="add del mod">
          <ac:chgData name="José Antonio Ureta Santacreu" userId="e36999d1-2b92-424a-9e8c-5fde0c5fbdd2" providerId="ADAL" clId="{B441C459-42E0-4465-B296-199851FC6E31}" dt="2024-09-11T11:12:14.001" v="3782" actId="6264"/>
          <ac:spMkLst>
            <pc:docMk/>
            <pc:sldMk cId="1990410930" sldId="908"/>
            <ac:spMk id="8" creationId="{54B723B9-3AF2-54B1-EEA2-5939852BD58F}"/>
          </ac:spMkLst>
        </pc:spChg>
        <pc:spChg chg="add del mod">
          <ac:chgData name="José Antonio Ureta Santacreu" userId="e36999d1-2b92-424a-9e8c-5fde0c5fbdd2" providerId="ADAL" clId="{B441C459-42E0-4465-B296-199851FC6E31}" dt="2024-09-11T11:12:14.001" v="3782" actId="6264"/>
          <ac:spMkLst>
            <pc:docMk/>
            <pc:sldMk cId="1990410930" sldId="908"/>
            <ac:spMk id="9" creationId="{4363CECC-81B6-9938-0CC8-658705DB14BB}"/>
          </ac:spMkLst>
        </pc:spChg>
      </pc:sldChg>
      <pc:sldChg chg="addSp delSp modSp mod chgLayout">
        <pc:chgData name="José Antonio Ureta Santacreu" userId="e36999d1-2b92-424a-9e8c-5fde0c5fbdd2" providerId="ADAL" clId="{B441C459-42E0-4465-B296-199851FC6E31}" dt="2024-09-12T15:30:58.632" v="4898" actId="6549"/>
        <pc:sldMkLst>
          <pc:docMk/>
          <pc:sldMk cId="1548247916" sldId="909"/>
        </pc:sldMkLst>
        <pc:spChg chg="mod ord">
          <ac:chgData name="José Antonio Ureta Santacreu" userId="e36999d1-2b92-424a-9e8c-5fde0c5fbdd2" providerId="ADAL" clId="{B441C459-42E0-4465-B296-199851FC6E31}" dt="2024-09-12T15:30:58.632" v="4898" actId="6549"/>
          <ac:spMkLst>
            <pc:docMk/>
            <pc:sldMk cId="1548247916" sldId="909"/>
            <ac:spMk id="2" creationId="{CF5A9E75-722E-44BC-BA57-FFBD26A8D07A}"/>
          </ac:spMkLst>
        </pc:spChg>
        <pc:spChg chg="mod ord">
          <ac:chgData name="José Antonio Ureta Santacreu" userId="e36999d1-2b92-424a-9e8c-5fde0c5fbdd2" providerId="ADAL" clId="{B441C459-42E0-4465-B296-199851FC6E31}" dt="2024-09-11T11:12:14.001" v="3782" actId="6264"/>
          <ac:spMkLst>
            <pc:docMk/>
            <pc:sldMk cId="1548247916" sldId="909"/>
            <ac:spMk id="3" creationId="{F47D1B97-FA02-470B-94C4-FBDAF1E75682}"/>
          </ac:spMkLst>
        </pc:spChg>
        <pc:spChg chg="mod ord">
          <ac:chgData name="José Antonio Ureta Santacreu" userId="e36999d1-2b92-424a-9e8c-5fde0c5fbdd2" providerId="ADAL" clId="{B441C459-42E0-4465-B296-199851FC6E31}" dt="2024-09-11T11:12:14.001" v="3782" actId="6264"/>
          <ac:spMkLst>
            <pc:docMk/>
            <pc:sldMk cId="1548247916" sldId="909"/>
            <ac:spMk id="4" creationId="{A5EAE511-E3FE-4E7B-A3B1-851DFEF5D58D}"/>
          </ac:spMkLst>
        </pc:spChg>
        <pc:spChg chg="mod ord">
          <ac:chgData name="José Antonio Ureta Santacreu" userId="e36999d1-2b92-424a-9e8c-5fde0c5fbdd2" providerId="ADAL" clId="{B441C459-42E0-4465-B296-199851FC6E31}" dt="2024-09-11T11:12:14.001" v="3782" actId="6264"/>
          <ac:spMkLst>
            <pc:docMk/>
            <pc:sldMk cId="1548247916" sldId="909"/>
            <ac:spMk id="5" creationId="{7EFDA8DE-A9D5-4BCB-A495-56FBA2450FD3}"/>
          </ac:spMkLst>
        </pc:spChg>
        <pc:spChg chg="add del mod">
          <ac:chgData name="José Antonio Ureta Santacreu" userId="e36999d1-2b92-424a-9e8c-5fde0c5fbdd2" providerId="ADAL" clId="{B441C459-42E0-4465-B296-199851FC6E31}" dt="2024-09-11T11:12:14.001" v="3782" actId="6264"/>
          <ac:spMkLst>
            <pc:docMk/>
            <pc:sldMk cId="1548247916" sldId="909"/>
            <ac:spMk id="6" creationId="{77052A31-CEFD-D222-9CE0-A1928946AB82}"/>
          </ac:spMkLst>
        </pc:spChg>
        <pc:spChg chg="add del mod">
          <ac:chgData name="José Antonio Ureta Santacreu" userId="e36999d1-2b92-424a-9e8c-5fde0c5fbdd2" providerId="ADAL" clId="{B441C459-42E0-4465-B296-199851FC6E31}" dt="2024-09-11T11:12:14.001" v="3782" actId="6264"/>
          <ac:spMkLst>
            <pc:docMk/>
            <pc:sldMk cId="1548247916" sldId="909"/>
            <ac:spMk id="7" creationId="{201DD7E9-3001-623F-D157-8B5DFD3277A5}"/>
          </ac:spMkLst>
        </pc:spChg>
        <pc:spChg chg="add del mod">
          <ac:chgData name="José Antonio Ureta Santacreu" userId="e36999d1-2b92-424a-9e8c-5fde0c5fbdd2" providerId="ADAL" clId="{B441C459-42E0-4465-B296-199851FC6E31}" dt="2024-09-11T11:12:14.001" v="3782" actId="6264"/>
          <ac:spMkLst>
            <pc:docMk/>
            <pc:sldMk cId="1548247916" sldId="909"/>
            <ac:spMk id="8" creationId="{6BB40F41-8722-4AAA-EFBF-574A8475B4F6}"/>
          </ac:spMkLst>
        </pc:spChg>
        <pc:spChg chg="add del mod">
          <ac:chgData name="José Antonio Ureta Santacreu" userId="e36999d1-2b92-424a-9e8c-5fde0c5fbdd2" providerId="ADAL" clId="{B441C459-42E0-4465-B296-199851FC6E31}" dt="2024-09-11T11:12:14.001" v="3782" actId="6264"/>
          <ac:spMkLst>
            <pc:docMk/>
            <pc:sldMk cId="1548247916" sldId="909"/>
            <ac:spMk id="9" creationId="{8E899488-B113-09E4-E794-0B4653C32E3C}"/>
          </ac:spMkLst>
        </pc:spChg>
      </pc:sldChg>
      <pc:sldChg chg="addSp delSp modSp add del mod chgLayout">
        <pc:chgData name="José Antonio Ureta Santacreu" userId="e36999d1-2b92-424a-9e8c-5fde0c5fbdd2" providerId="ADAL" clId="{B441C459-42E0-4465-B296-199851FC6E31}" dt="2024-09-11T11:12:14.001" v="3782" actId="6264"/>
        <pc:sldMkLst>
          <pc:docMk/>
          <pc:sldMk cId="737495132" sldId="912"/>
        </pc:sldMkLst>
        <pc:spChg chg="mod ord">
          <ac:chgData name="José Antonio Ureta Santacreu" userId="e36999d1-2b92-424a-9e8c-5fde0c5fbdd2" providerId="ADAL" clId="{B441C459-42E0-4465-B296-199851FC6E31}" dt="2024-09-11T11:12:14.001" v="3782" actId="6264"/>
          <ac:spMkLst>
            <pc:docMk/>
            <pc:sldMk cId="737495132" sldId="912"/>
            <ac:spMk id="2" creationId="{A9756B79-BE8D-478C-AA2D-564C38590E6C}"/>
          </ac:spMkLst>
        </pc:spChg>
        <pc:spChg chg="mod ord">
          <ac:chgData name="José Antonio Ureta Santacreu" userId="e36999d1-2b92-424a-9e8c-5fde0c5fbdd2" providerId="ADAL" clId="{B441C459-42E0-4465-B296-199851FC6E31}" dt="2024-09-11T11:12:14.001" v="3782" actId="6264"/>
          <ac:spMkLst>
            <pc:docMk/>
            <pc:sldMk cId="737495132" sldId="912"/>
            <ac:spMk id="3" creationId="{D533CC27-FC1B-8373-4C50-1228FFB9BCC5}"/>
          </ac:spMkLst>
        </pc:spChg>
        <pc:spChg chg="mod ord">
          <ac:chgData name="José Antonio Ureta Santacreu" userId="e36999d1-2b92-424a-9e8c-5fde0c5fbdd2" providerId="ADAL" clId="{B441C459-42E0-4465-B296-199851FC6E31}" dt="2024-09-11T11:12:14.001" v="3782" actId="6264"/>
          <ac:spMkLst>
            <pc:docMk/>
            <pc:sldMk cId="737495132" sldId="912"/>
            <ac:spMk id="4" creationId="{F6F9A825-8AE8-2A98-A5F7-6D7B2B3245B8}"/>
          </ac:spMkLst>
        </pc:spChg>
        <pc:spChg chg="add del mod">
          <ac:chgData name="José Antonio Ureta Santacreu" userId="e36999d1-2b92-424a-9e8c-5fde0c5fbdd2" providerId="ADAL" clId="{B441C459-42E0-4465-B296-199851FC6E31}" dt="2024-09-11T11:12:14.001" v="3782" actId="6264"/>
          <ac:spMkLst>
            <pc:docMk/>
            <pc:sldMk cId="737495132" sldId="912"/>
            <ac:spMk id="5" creationId="{97AE22C4-AE20-1F8C-4CD4-088C1546F07A}"/>
          </ac:spMkLst>
        </pc:spChg>
        <pc:spChg chg="add del mod">
          <ac:chgData name="José Antonio Ureta Santacreu" userId="e36999d1-2b92-424a-9e8c-5fde0c5fbdd2" providerId="ADAL" clId="{B441C459-42E0-4465-B296-199851FC6E31}" dt="2024-09-11T11:12:14.001" v="3782" actId="6264"/>
          <ac:spMkLst>
            <pc:docMk/>
            <pc:sldMk cId="737495132" sldId="912"/>
            <ac:spMk id="6" creationId="{F879FCD0-52F6-8D93-C8F2-C644C587D68B}"/>
          </ac:spMkLst>
        </pc:spChg>
        <pc:spChg chg="add del mod">
          <ac:chgData name="José Antonio Ureta Santacreu" userId="e36999d1-2b92-424a-9e8c-5fde0c5fbdd2" providerId="ADAL" clId="{B441C459-42E0-4465-B296-199851FC6E31}" dt="2024-09-11T11:12:14.001" v="3782" actId="6264"/>
          <ac:spMkLst>
            <pc:docMk/>
            <pc:sldMk cId="737495132" sldId="912"/>
            <ac:spMk id="7" creationId="{D0B97855-FB9F-FDA0-31B5-0D14A5A564DF}"/>
          </ac:spMkLst>
        </pc:spChg>
        <pc:spChg chg="add del mod">
          <ac:chgData name="José Antonio Ureta Santacreu" userId="e36999d1-2b92-424a-9e8c-5fde0c5fbdd2" providerId="ADAL" clId="{B441C459-42E0-4465-B296-199851FC6E31}" dt="2024-09-11T11:12:14.001" v="3782" actId="6264"/>
          <ac:spMkLst>
            <pc:docMk/>
            <pc:sldMk cId="737495132" sldId="912"/>
            <ac:spMk id="8" creationId="{7869D49D-3124-3659-2F5A-F84829C86734}"/>
          </ac:spMkLst>
        </pc:spChg>
        <pc:spChg chg="add del mod">
          <ac:chgData name="José Antonio Ureta Santacreu" userId="e36999d1-2b92-424a-9e8c-5fde0c5fbdd2" providerId="ADAL" clId="{B441C459-42E0-4465-B296-199851FC6E31}" dt="2024-09-11T11:12:14.001" v="3782" actId="6264"/>
          <ac:spMkLst>
            <pc:docMk/>
            <pc:sldMk cId="737495132" sldId="912"/>
            <ac:spMk id="9" creationId="{E21501F5-730D-FE85-27BA-13CBA5A5A58A}"/>
          </ac:spMkLst>
        </pc:spChg>
        <pc:graphicFrameChg chg="mod ord">
          <ac:chgData name="José Antonio Ureta Santacreu" userId="e36999d1-2b92-424a-9e8c-5fde0c5fbdd2" providerId="ADAL" clId="{B441C459-42E0-4465-B296-199851FC6E31}" dt="2024-09-11T11:12:14.001" v="3782" actId="6264"/>
          <ac:graphicFrameMkLst>
            <pc:docMk/>
            <pc:sldMk cId="737495132" sldId="912"/>
            <ac:graphicFrameMk id="13" creationId="{512D6513-9548-4634-9F4A-7E937A1D4EAC}"/>
          </ac:graphicFrameMkLst>
        </pc:graphicFrameChg>
        <pc:picChg chg="mod ord">
          <ac:chgData name="José Antonio Ureta Santacreu" userId="e36999d1-2b92-424a-9e8c-5fde0c5fbdd2" providerId="ADAL" clId="{B441C459-42E0-4465-B296-199851FC6E31}" dt="2024-09-11T11:12:14.001" v="3782" actId="6264"/>
          <ac:picMkLst>
            <pc:docMk/>
            <pc:sldMk cId="737495132" sldId="912"/>
            <ac:picMk id="2050" creationId="{F062E2E2-910A-B6E7-74CC-98CC132DAF74}"/>
          </ac:picMkLst>
        </pc:picChg>
      </pc:sldChg>
      <pc:sldChg chg="del">
        <pc:chgData name="José Antonio Ureta Santacreu" userId="e36999d1-2b92-424a-9e8c-5fde0c5fbdd2" providerId="ADAL" clId="{B441C459-42E0-4465-B296-199851FC6E31}" dt="2024-07-31T11:30:21.478" v="1440" actId="47"/>
        <pc:sldMkLst>
          <pc:docMk/>
          <pc:sldMk cId="2698360823" sldId="913"/>
        </pc:sldMkLst>
      </pc:sldChg>
      <pc:sldChg chg="del">
        <pc:chgData name="José Antonio Ureta Santacreu" userId="e36999d1-2b92-424a-9e8c-5fde0c5fbdd2" providerId="ADAL" clId="{B441C459-42E0-4465-B296-199851FC6E31}" dt="2024-09-10T13:25:09.926" v="2881" actId="47"/>
        <pc:sldMkLst>
          <pc:docMk/>
          <pc:sldMk cId="3086503909" sldId="914"/>
        </pc:sldMkLst>
      </pc:sldChg>
      <pc:sldChg chg="addSp delSp modSp mod chgLayout">
        <pc:chgData name="José Antonio Ureta Santacreu" userId="e36999d1-2b92-424a-9e8c-5fde0c5fbdd2" providerId="ADAL" clId="{B441C459-42E0-4465-B296-199851FC6E31}" dt="2024-09-12T10:37:26.918" v="3929" actId="27636"/>
        <pc:sldMkLst>
          <pc:docMk/>
          <pc:sldMk cId="376848835" sldId="915"/>
        </pc:sldMkLst>
        <pc:spChg chg="mod ord">
          <ac:chgData name="José Antonio Ureta Santacreu" userId="e36999d1-2b92-424a-9e8c-5fde0c5fbdd2" providerId="ADAL" clId="{B441C459-42E0-4465-B296-199851FC6E31}" dt="2024-09-12T10:37:26.918" v="3929" actId="27636"/>
          <ac:spMkLst>
            <pc:docMk/>
            <pc:sldMk cId="376848835" sldId="915"/>
            <ac:spMk id="2" creationId="{88394DE8-5492-474E-9C4B-1760D93B1B66}"/>
          </ac:spMkLst>
        </pc:spChg>
        <pc:spChg chg="mod ord">
          <ac:chgData name="José Antonio Ureta Santacreu" userId="e36999d1-2b92-424a-9e8c-5fde0c5fbdd2" providerId="ADAL" clId="{B441C459-42E0-4465-B296-199851FC6E31}" dt="2024-09-11T11:12:14.001" v="3782" actId="6264"/>
          <ac:spMkLst>
            <pc:docMk/>
            <pc:sldMk cId="376848835" sldId="915"/>
            <ac:spMk id="3" creationId="{6D75ABDD-ABC4-4209-89CF-E2143E4F8602}"/>
          </ac:spMkLst>
        </pc:spChg>
        <pc:spChg chg="mod ord">
          <ac:chgData name="José Antonio Ureta Santacreu" userId="e36999d1-2b92-424a-9e8c-5fde0c5fbdd2" providerId="ADAL" clId="{B441C459-42E0-4465-B296-199851FC6E31}" dt="2024-09-11T11:12:14.001" v="3782" actId="6264"/>
          <ac:spMkLst>
            <pc:docMk/>
            <pc:sldMk cId="376848835" sldId="915"/>
            <ac:spMk id="4" creationId="{6D7A758A-1441-43E5-9D5D-A7B278A6A2E2}"/>
          </ac:spMkLst>
        </pc:spChg>
        <pc:spChg chg="mod ord">
          <ac:chgData name="José Antonio Ureta Santacreu" userId="e36999d1-2b92-424a-9e8c-5fde0c5fbdd2" providerId="ADAL" clId="{B441C459-42E0-4465-B296-199851FC6E31}" dt="2024-09-11T11:12:14.001" v="3782" actId="6264"/>
          <ac:spMkLst>
            <pc:docMk/>
            <pc:sldMk cId="376848835" sldId="915"/>
            <ac:spMk id="5" creationId="{3FFFA8A1-9A45-4833-A225-A209759E98DF}"/>
          </ac:spMkLst>
        </pc:spChg>
        <pc:spChg chg="add del mod">
          <ac:chgData name="José Antonio Ureta Santacreu" userId="e36999d1-2b92-424a-9e8c-5fde0c5fbdd2" providerId="ADAL" clId="{B441C459-42E0-4465-B296-199851FC6E31}" dt="2024-09-11T11:12:14.001" v="3782" actId="6264"/>
          <ac:spMkLst>
            <pc:docMk/>
            <pc:sldMk cId="376848835" sldId="915"/>
            <ac:spMk id="6" creationId="{5794F8A7-BBDF-8FB3-149F-B83D7FC35EC0}"/>
          </ac:spMkLst>
        </pc:spChg>
        <pc:spChg chg="add del mod">
          <ac:chgData name="José Antonio Ureta Santacreu" userId="e36999d1-2b92-424a-9e8c-5fde0c5fbdd2" providerId="ADAL" clId="{B441C459-42E0-4465-B296-199851FC6E31}" dt="2024-09-11T11:12:14.001" v="3782" actId="6264"/>
          <ac:spMkLst>
            <pc:docMk/>
            <pc:sldMk cId="376848835" sldId="915"/>
            <ac:spMk id="8" creationId="{732BDCDE-2EE8-2209-630E-775758965E17}"/>
          </ac:spMkLst>
        </pc:spChg>
        <pc:spChg chg="add del mod">
          <ac:chgData name="José Antonio Ureta Santacreu" userId="e36999d1-2b92-424a-9e8c-5fde0c5fbdd2" providerId="ADAL" clId="{B441C459-42E0-4465-B296-199851FC6E31}" dt="2024-09-11T11:12:14.001" v="3782" actId="6264"/>
          <ac:spMkLst>
            <pc:docMk/>
            <pc:sldMk cId="376848835" sldId="915"/>
            <ac:spMk id="9" creationId="{2820CD3B-BBEF-F1DF-B133-8043D5FAC28D}"/>
          </ac:spMkLst>
        </pc:spChg>
        <pc:spChg chg="add del mod">
          <ac:chgData name="José Antonio Ureta Santacreu" userId="e36999d1-2b92-424a-9e8c-5fde0c5fbdd2" providerId="ADAL" clId="{B441C459-42E0-4465-B296-199851FC6E31}" dt="2024-09-11T11:12:14.001" v="3782" actId="6264"/>
          <ac:spMkLst>
            <pc:docMk/>
            <pc:sldMk cId="376848835" sldId="915"/>
            <ac:spMk id="10" creationId="{A9E68700-A9FA-1719-F0B2-9D3DE7518258}"/>
          </ac:spMkLst>
        </pc:spChg>
        <pc:picChg chg="add mod">
          <ac:chgData name="José Antonio Ureta Santacreu" userId="e36999d1-2b92-424a-9e8c-5fde0c5fbdd2" providerId="ADAL" clId="{B441C459-42E0-4465-B296-199851FC6E31}" dt="2024-09-10T13:24:52.002" v="2880" actId="1038"/>
          <ac:picMkLst>
            <pc:docMk/>
            <pc:sldMk cId="376848835" sldId="915"/>
            <ac:picMk id="7" creationId="{CBA0850F-9AF6-61CC-F18B-BBD882791839}"/>
          </ac:picMkLst>
        </pc:picChg>
        <pc:picChg chg="del">
          <ac:chgData name="José Antonio Ureta Santacreu" userId="e36999d1-2b92-424a-9e8c-5fde0c5fbdd2" providerId="ADAL" clId="{B441C459-42E0-4465-B296-199851FC6E31}" dt="2024-09-10T13:24:26.632" v="2830" actId="478"/>
          <ac:picMkLst>
            <pc:docMk/>
            <pc:sldMk cId="376848835" sldId="915"/>
            <ac:picMk id="1026" creationId="{FF3A18DE-9FBC-3A7B-0370-6D110093B84F}"/>
          </ac:picMkLst>
        </pc:picChg>
      </pc:sldChg>
      <pc:sldChg chg="addSp delSp modSp mod chgLayout">
        <pc:chgData name="José Antonio Ureta Santacreu" userId="e36999d1-2b92-424a-9e8c-5fde0c5fbdd2" providerId="ADAL" clId="{B441C459-42E0-4465-B296-199851FC6E31}" dt="2024-09-11T11:12:14.001" v="3782" actId="6264"/>
        <pc:sldMkLst>
          <pc:docMk/>
          <pc:sldMk cId="2506744013" sldId="916"/>
        </pc:sldMkLst>
        <pc:spChg chg="mod ord">
          <ac:chgData name="José Antonio Ureta Santacreu" userId="e36999d1-2b92-424a-9e8c-5fde0c5fbdd2" providerId="ADAL" clId="{B441C459-42E0-4465-B296-199851FC6E31}" dt="2024-09-11T11:12:14.001" v="3782" actId="6264"/>
          <ac:spMkLst>
            <pc:docMk/>
            <pc:sldMk cId="2506744013" sldId="916"/>
            <ac:spMk id="2" creationId="{9DFE9CE0-870B-4D89-8F9F-A55287F166B8}"/>
          </ac:spMkLst>
        </pc:spChg>
        <pc:spChg chg="mod ord">
          <ac:chgData name="José Antonio Ureta Santacreu" userId="e36999d1-2b92-424a-9e8c-5fde0c5fbdd2" providerId="ADAL" clId="{B441C459-42E0-4465-B296-199851FC6E31}" dt="2024-09-11T11:12:14.001" v="3782" actId="6264"/>
          <ac:spMkLst>
            <pc:docMk/>
            <pc:sldMk cId="2506744013" sldId="916"/>
            <ac:spMk id="3" creationId="{2CACE4D4-981A-471B-A228-639AD82EEDBD}"/>
          </ac:spMkLst>
        </pc:spChg>
        <pc:spChg chg="mod ord">
          <ac:chgData name="José Antonio Ureta Santacreu" userId="e36999d1-2b92-424a-9e8c-5fde0c5fbdd2" providerId="ADAL" clId="{B441C459-42E0-4465-B296-199851FC6E31}" dt="2024-09-11T11:12:14.001" v="3782" actId="6264"/>
          <ac:spMkLst>
            <pc:docMk/>
            <pc:sldMk cId="2506744013" sldId="916"/>
            <ac:spMk id="4" creationId="{42E926B1-2F8F-4D87-9FC9-CECA53F355AF}"/>
          </ac:spMkLst>
        </pc:spChg>
        <pc:spChg chg="mod ord">
          <ac:chgData name="José Antonio Ureta Santacreu" userId="e36999d1-2b92-424a-9e8c-5fde0c5fbdd2" providerId="ADAL" clId="{B441C459-42E0-4465-B296-199851FC6E31}" dt="2024-09-11T11:12:14.001" v="3782" actId="6264"/>
          <ac:spMkLst>
            <pc:docMk/>
            <pc:sldMk cId="2506744013" sldId="916"/>
            <ac:spMk id="5" creationId="{5A261224-1E49-42D1-A015-462F79CD2148}"/>
          </ac:spMkLst>
        </pc:spChg>
        <pc:spChg chg="add del mod">
          <ac:chgData name="José Antonio Ureta Santacreu" userId="e36999d1-2b92-424a-9e8c-5fde0c5fbdd2" providerId="ADAL" clId="{B441C459-42E0-4465-B296-199851FC6E31}" dt="2024-09-11T11:12:14.001" v="3782" actId="6264"/>
          <ac:spMkLst>
            <pc:docMk/>
            <pc:sldMk cId="2506744013" sldId="916"/>
            <ac:spMk id="7" creationId="{E209ACF0-8821-3D41-848D-A025CD697526}"/>
          </ac:spMkLst>
        </pc:spChg>
        <pc:spChg chg="add del mod">
          <ac:chgData name="José Antonio Ureta Santacreu" userId="e36999d1-2b92-424a-9e8c-5fde0c5fbdd2" providerId="ADAL" clId="{B441C459-42E0-4465-B296-199851FC6E31}" dt="2024-09-11T11:12:14.001" v="3782" actId="6264"/>
          <ac:spMkLst>
            <pc:docMk/>
            <pc:sldMk cId="2506744013" sldId="916"/>
            <ac:spMk id="8" creationId="{26E3D653-7372-EB43-2AB4-6C63FA310EE5}"/>
          </ac:spMkLst>
        </pc:spChg>
        <pc:spChg chg="add del mod">
          <ac:chgData name="José Antonio Ureta Santacreu" userId="e36999d1-2b92-424a-9e8c-5fde0c5fbdd2" providerId="ADAL" clId="{B441C459-42E0-4465-B296-199851FC6E31}" dt="2024-09-11T11:12:14.001" v="3782" actId="6264"/>
          <ac:spMkLst>
            <pc:docMk/>
            <pc:sldMk cId="2506744013" sldId="916"/>
            <ac:spMk id="9" creationId="{7C9454DF-A999-CC31-9938-A202960701A4}"/>
          </ac:spMkLst>
        </pc:spChg>
        <pc:spChg chg="add del mod">
          <ac:chgData name="José Antonio Ureta Santacreu" userId="e36999d1-2b92-424a-9e8c-5fde0c5fbdd2" providerId="ADAL" clId="{B441C459-42E0-4465-B296-199851FC6E31}" dt="2024-09-11T11:12:14.001" v="3782" actId="6264"/>
          <ac:spMkLst>
            <pc:docMk/>
            <pc:sldMk cId="2506744013" sldId="916"/>
            <ac:spMk id="10" creationId="{3701A437-1370-4E26-8B9D-66CAD357FA36}"/>
          </ac:spMkLst>
        </pc:spChg>
      </pc:sldChg>
      <pc:sldChg chg="addSp delSp modSp mod chgLayout">
        <pc:chgData name="José Antonio Ureta Santacreu" userId="e36999d1-2b92-424a-9e8c-5fde0c5fbdd2" providerId="ADAL" clId="{B441C459-42E0-4465-B296-199851FC6E31}" dt="2024-09-12T15:46:05.413" v="5161" actId="2"/>
        <pc:sldMkLst>
          <pc:docMk/>
          <pc:sldMk cId="2974846749" sldId="922"/>
        </pc:sldMkLst>
        <pc:spChg chg="mod ord">
          <ac:chgData name="José Antonio Ureta Santacreu" userId="e36999d1-2b92-424a-9e8c-5fde0c5fbdd2" providerId="ADAL" clId="{B441C459-42E0-4465-B296-199851FC6E31}" dt="2024-09-12T15:46:05.413" v="5161" actId="2"/>
          <ac:spMkLst>
            <pc:docMk/>
            <pc:sldMk cId="2974846749" sldId="922"/>
            <ac:spMk id="2" creationId="{B5FF0D9B-CFB7-81F2-F915-1D65A6BCA225}"/>
          </ac:spMkLst>
        </pc:spChg>
        <pc:spChg chg="add del mod">
          <ac:chgData name="José Antonio Ureta Santacreu" userId="e36999d1-2b92-424a-9e8c-5fde0c5fbdd2" providerId="ADAL" clId="{B441C459-42E0-4465-B296-199851FC6E31}" dt="2024-09-12T15:45:59.808" v="5159" actId="6264"/>
          <ac:spMkLst>
            <pc:docMk/>
            <pc:sldMk cId="2974846749" sldId="922"/>
            <ac:spMk id="3" creationId="{F334C32E-98F7-03CC-591E-CBBA391C485A}"/>
          </ac:spMkLst>
        </pc:spChg>
        <pc:spChg chg="add del mod">
          <ac:chgData name="José Antonio Ureta Santacreu" userId="e36999d1-2b92-424a-9e8c-5fde0c5fbdd2" providerId="ADAL" clId="{B441C459-42E0-4465-B296-199851FC6E31}" dt="2024-09-11T11:12:14.001" v="3782" actId="6264"/>
          <ac:spMkLst>
            <pc:docMk/>
            <pc:sldMk cId="2974846749" sldId="922"/>
            <ac:spMk id="3" creationId="{FDFAA363-A933-5398-880A-16C2773A9C9A}"/>
          </ac:spMkLst>
        </pc:spChg>
        <pc:spChg chg="mod ord">
          <ac:chgData name="José Antonio Ureta Santacreu" userId="e36999d1-2b92-424a-9e8c-5fde0c5fbdd2" providerId="ADAL" clId="{B441C459-42E0-4465-B296-199851FC6E31}" dt="2024-09-12T15:45:59.815" v="5160" actId="27636"/>
          <ac:spMkLst>
            <pc:docMk/>
            <pc:sldMk cId="2974846749" sldId="922"/>
            <ac:spMk id="4" creationId="{4CCF178A-5CCD-A4D3-602C-C9CCF0C4C12A}"/>
          </ac:spMkLst>
        </pc:spChg>
        <pc:spChg chg="mod ord">
          <ac:chgData name="José Antonio Ureta Santacreu" userId="e36999d1-2b92-424a-9e8c-5fde0c5fbdd2" providerId="ADAL" clId="{B441C459-42E0-4465-B296-199851FC6E31}" dt="2024-09-12T15:45:59.808" v="5159" actId="6264"/>
          <ac:spMkLst>
            <pc:docMk/>
            <pc:sldMk cId="2974846749" sldId="922"/>
            <ac:spMk id="5" creationId="{36C0EBEF-ADCC-06C7-6768-48893FE092C2}"/>
          </ac:spMkLst>
        </pc:spChg>
        <pc:spChg chg="mod ord">
          <ac:chgData name="José Antonio Ureta Santacreu" userId="e36999d1-2b92-424a-9e8c-5fde0c5fbdd2" providerId="ADAL" clId="{B441C459-42E0-4465-B296-199851FC6E31}" dt="2024-09-12T15:45:59.808" v="5159" actId="6264"/>
          <ac:spMkLst>
            <pc:docMk/>
            <pc:sldMk cId="2974846749" sldId="922"/>
            <ac:spMk id="6" creationId="{DD376297-134D-6181-961F-0D5689639BFD}"/>
          </ac:spMkLst>
        </pc:spChg>
        <pc:spChg chg="mod ord">
          <ac:chgData name="José Antonio Ureta Santacreu" userId="e36999d1-2b92-424a-9e8c-5fde0c5fbdd2" providerId="ADAL" clId="{B441C459-42E0-4465-B296-199851FC6E31}" dt="2024-09-12T15:45:59.808" v="5159" actId="6264"/>
          <ac:spMkLst>
            <pc:docMk/>
            <pc:sldMk cId="2974846749" sldId="922"/>
            <ac:spMk id="7" creationId="{C8627FB4-A3D7-59F4-95DE-1E39CDBCF6EB}"/>
          </ac:spMkLst>
        </pc:spChg>
        <pc:spChg chg="mod ord">
          <ac:chgData name="José Antonio Ureta Santacreu" userId="e36999d1-2b92-424a-9e8c-5fde0c5fbdd2" providerId="ADAL" clId="{B441C459-42E0-4465-B296-199851FC6E31}" dt="2024-09-12T15:45:59.808" v="5159" actId="6264"/>
          <ac:spMkLst>
            <pc:docMk/>
            <pc:sldMk cId="2974846749" sldId="922"/>
            <ac:spMk id="8" creationId="{D41D2CC9-4611-6C04-4642-EEB987B24B8B}"/>
          </ac:spMkLst>
        </pc:spChg>
        <pc:spChg chg="add del mod">
          <ac:chgData name="José Antonio Ureta Santacreu" userId="e36999d1-2b92-424a-9e8c-5fde0c5fbdd2" providerId="ADAL" clId="{B441C459-42E0-4465-B296-199851FC6E31}" dt="2024-09-11T11:12:14.001" v="3782" actId="6264"/>
          <ac:spMkLst>
            <pc:docMk/>
            <pc:sldMk cId="2974846749" sldId="922"/>
            <ac:spMk id="10" creationId="{634A4959-299D-3921-8EEC-FCF78AFAA704}"/>
          </ac:spMkLst>
        </pc:spChg>
        <pc:spChg chg="add del mod">
          <ac:chgData name="José Antonio Ureta Santacreu" userId="e36999d1-2b92-424a-9e8c-5fde0c5fbdd2" providerId="ADAL" clId="{B441C459-42E0-4465-B296-199851FC6E31}" dt="2024-09-12T15:45:59.808" v="5159" actId="6264"/>
          <ac:spMkLst>
            <pc:docMk/>
            <pc:sldMk cId="2974846749" sldId="922"/>
            <ac:spMk id="10" creationId="{D644F64C-9972-E6D7-832A-C949C4A7ABDA}"/>
          </ac:spMkLst>
        </pc:spChg>
        <pc:spChg chg="add del mod">
          <ac:chgData name="José Antonio Ureta Santacreu" userId="e36999d1-2b92-424a-9e8c-5fde0c5fbdd2" providerId="ADAL" clId="{B441C459-42E0-4465-B296-199851FC6E31}" dt="2024-09-12T15:45:59.808" v="5159" actId="6264"/>
          <ac:spMkLst>
            <pc:docMk/>
            <pc:sldMk cId="2974846749" sldId="922"/>
            <ac:spMk id="11" creationId="{3C399FF2-40C5-8BDB-93C2-6BF4EB4015B8}"/>
          </ac:spMkLst>
        </pc:spChg>
        <pc:spChg chg="add del mod">
          <ac:chgData name="José Antonio Ureta Santacreu" userId="e36999d1-2b92-424a-9e8c-5fde0c5fbdd2" providerId="ADAL" clId="{B441C459-42E0-4465-B296-199851FC6E31}" dt="2024-09-11T11:12:14.001" v="3782" actId="6264"/>
          <ac:spMkLst>
            <pc:docMk/>
            <pc:sldMk cId="2974846749" sldId="922"/>
            <ac:spMk id="11" creationId="{B927B047-26F9-9DF1-5DA7-2BEF18D80A62}"/>
          </ac:spMkLst>
        </pc:spChg>
        <pc:spChg chg="add del mod">
          <ac:chgData name="José Antonio Ureta Santacreu" userId="e36999d1-2b92-424a-9e8c-5fde0c5fbdd2" providerId="ADAL" clId="{B441C459-42E0-4465-B296-199851FC6E31}" dt="2024-09-11T11:12:14.001" v="3782" actId="6264"/>
          <ac:spMkLst>
            <pc:docMk/>
            <pc:sldMk cId="2974846749" sldId="922"/>
            <ac:spMk id="12" creationId="{8D97C50E-0A77-0705-1678-DF9B5FEEE7D7}"/>
          </ac:spMkLst>
        </pc:spChg>
        <pc:spChg chg="add del mod">
          <ac:chgData name="José Antonio Ureta Santacreu" userId="e36999d1-2b92-424a-9e8c-5fde0c5fbdd2" providerId="ADAL" clId="{B441C459-42E0-4465-B296-199851FC6E31}" dt="2024-09-12T15:45:59.808" v="5159" actId="6264"/>
          <ac:spMkLst>
            <pc:docMk/>
            <pc:sldMk cId="2974846749" sldId="922"/>
            <ac:spMk id="12" creationId="{A25EC675-D07D-22E1-6BB6-D160535B6B8D}"/>
          </ac:spMkLst>
        </pc:spChg>
        <pc:spChg chg="add del mod">
          <ac:chgData name="José Antonio Ureta Santacreu" userId="e36999d1-2b92-424a-9e8c-5fde0c5fbdd2" providerId="ADAL" clId="{B441C459-42E0-4465-B296-199851FC6E31}" dt="2024-09-11T11:12:14.001" v="3782" actId="6264"/>
          <ac:spMkLst>
            <pc:docMk/>
            <pc:sldMk cId="2974846749" sldId="922"/>
            <ac:spMk id="13" creationId="{10D9E8E8-2C5A-9591-269E-233D1B8F9B6A}"/>
          </ac:spMkLst>
        </pc:spChg>
        <pc:spChg chg="add del mod">
          <ac:chgData name="José Antonio Ureta Santacreu" userId="e36999d1-2b92-424a-9e8c-5fde0c5fbdd2" providerId="ADAL" clId="{B441C459-42E0-4465-B296-199851FC6E31}" dt="2024-09-12T15:45:59.808" v="5159" actId="6264"/>
          <ac:spMkLst>
            <pc:docMk/>
            <pc:sldMk cId="2974846749" sldId="922"/>
            <ac:spMk id="13" creationId="{38C45FD4-3602-7DA4-B3FC-A03C39E7A2B5}"/>
          </ac:spMkLst>
        </pc:spChg>
        <pc:spChg chg="add del mod">
          <ac:chgData name="José Antonio Ureta Santacreu" userId="e36999d1-2b92-424a-9e8c-5fde0c5fbdd2" providerId="ADAL" clId="{B441C459-42E0-4465-B296-199851FC6E31}" dt="2024-09-12T15:45:59.808" v="5159" actId="6264"/>
          <ac:spMkLst>
            <pc:docMk/>
            <pc:sldMk cId="2974846749" sldId="922"/>
            <ac:spMk id="14" creationId="{BA6999B5-7F85-302E-B063-A7265149EECB}"/>
          </ac:spMkLst>
        </pc:spChg>
        <pc:spChg chg="add del mod">
          <ac:chgData name="José Antonio Ureta Santacreu" userId="e36999d1-2b92-424a-9e8c-5fde0c5fbdd2" providerId="ADAL" clId="{B441C459-42E0-4465-B296-199851FC6E31}" dt="2024-09-11T11:12:14.001" v="3782" actId="6264"/>
          <ac:spMkLst>
            <pc:docMk/>
            <pc:sldMk cId="2974846749" sldId="922"/>
            <ac:spMk id="14" creationId="{EE2229F2-91F4-369B-1B6F-5D966605B359}"/>
          </ac:spMkLst>
        </pc:spChg>
        <pc:spChg chg="add del mod">
          <ac:chgData name="José Antonio Ureta Santacreu" userId="e36999d1-2b92-424a-9e8c-5fde0c5fbdd2" providerId="ADAL" clId="{B441C459-42E0-4465-B296-199851FC6E31}" dt="2024-09-12T15:45:59.808" v="5159" actId="6264"/>
          <ac:spMkLst>
            <pc:docMk/>
            <pc:sldMk cId="2974846749" sldId="922"/>
            <ac:spMk id="15" creationId="{DEDDCB0E-454A-C48E-6DBF-5A231F12D933}"/>
          </ac:spMkLst>
        </pc:spChg>
        <pc:spChg chg="add del mod">
          <ac:chgData name="José Antonio Ureta Santacreu" userId="e36999d1-2b92-424a-9e8c-5fde0c5fbdd2" providerId="ADAL" clId="{B441C459-42E0-4465-B296-199851FC6E31}" dt="2024-09-11T11:12:14.001" v="3782" actId="6264"/>
          <ac:spMkLst>
            <pc:docMk/>
            <pc:sldMk cId="2974846749" sldId="922"/>
            <ac:spMk id="15" creationId="{EDA9C8AF-14FC-BB04-A4BC-AB440673B16E}"/>
          </ac:spMkLst>
        </pc:spChg>
        <pc:picChg chg="mod ord">
          <ac:chgData name="José Antonio Ureta Santacreu" userId="e36999d1-2b92-424a-9e8c-5fde0c5fbdd2" providerId="ADAL" clId="{B441C459-42E0-4465-B296-199851FC6E31}" dt="2024-09-12T15:45:59.808" v="5159" actId="6264"/>
          <ac:picMkLst>
            <pc:docMk/>
            <pc:sldMk cId="2974846749" sldId="922"/>
            <ac:picMk id="9" creationId="{FEA4C25D-4ADE-9897-B013-5FA048796735}"/>
          </ac:picMkLst>
        </pc:picChg>
      </pc:sldChg>
      <pc:sldChg chg="addSp delSp modSp mod chgLayout">
        <pc:chgData name="José Antonio Ureta Santacreu" userId="e36999d1-2b92-424a-9e8c-5fde0c5fbdd2" providerId="ADAL" clId="{B441C459-42E0-4465-B296-199851FC6E31}" dt="2024-09-11T11:12:14.001" v="3782" actId="6264"/>
        <pc:sldMkLst>
          <pc:docMk/>
          <pc:sldMk cId="1429039655" sldId="923"/>
        </pc:sldMkLst>
        <pc:spChg chg="mod ord">
          <ac:chgData name="José Antonio Ureta Santacreu" userId="e36999d1-2b92-424a-9e8c-5fde0c5fbdd2" providerId="ADAL" clId="{B441C459-42E0-4465-B296-199851FC6E31}" dt="2024-09-11T11:12:14.001" v="3782" actId="6264"/>
          <ac:spMkLst>
            <pc:docMk/>
            <pc:sldMk cId="1429039655" sldId="923"/>
            <ac:spMk id="2" creationId="{25A5855E-D851-430F-AEF0-6CCA2E29BAA1}"/>
          </ac:spMkLst>
        </pc:spChg>
        <pc:spChg chg="add del mod">
          <ac:chgData name="José Antonio Ureta Santacreu" userId="e36999d1-2b92-424a-9e8c-5fde0c5fbdd2" providerId="ADAL" clId="{B441C459-42E0-4465-B296-199851FC6E31}" dt="2024-09-11T11:12:14.001" v="3782" actId="6264"/>
          <ac:spMkLst>
            <pc:docMk/>
            <pc:sldMk cId="1429039655" sldId="923"/>
            <ac:spMk id="4" creationId="{21919EF4-7308-8D25-B1F6-54CF88ACD4E5}"/>
          </ac:spMkLst>
        </pc:spChg>
        <pc:spChg chg="mod ord">
          <ac:chgData name="José Antonio Ureta Santacreu" userId="e36999d1-2b92-424a-9e8c-5fde0c5fbdd2" providerId="ADAL" clId="{B441C459-42E0-4465-B296-199851FC6E31}" dt="2024-09-11T11:12:14.001" v="3782" actId="6264"/>
          <ac:spMkLst>
            <pc:docMk/>
            <pc:sldMk cId="1429039655" sldId="923"/>
            <ac:spMk id="5" creationId="{872A2A5D-68C0-46FF-91D0-98DE550B78CC}"/>
          </ac:spMkLst>
        </pc:spChg>
        <pc:spChg chg="mod ord">
          <ac:chgData name="José Antonio Ureta Santacreu" userId="e36999d1-2b92-424a-9e8c-5fde0c5fbdd2" providerId="ADAL" clId="{B441C459-42E0-4465-B296-199851FC6E31}" dt="2024-09-11T11:12:14.001" v="3782" actId="6264"/>
          <ac:spMkLst>
            <pc:docMk/>
            <pc:sldMk cId="1429039655" sldId="923"/>
            <ac:spMk id="6" creationId="{C06D0E52-66DD-4B7D-BB00-03A6DA18D3BF}"/>
          </ac:spMkLst>
        </pc:spChg>
        <pc:spChg chg="mod ord">
          <ac:chgData name="José Antonio Ureta Santacreu" userId="e36999d1-2b92-424a-9e8c-5fde0c5fbdd2" providerId="ADAL" clId="{B441C459-42E0-4465-B296-199851FC6E31}" dt="2024-09-11T11:12:14.001" v="3782" actId="6264"/>
          <ac:spMkLst>
            <pc:docMk/>
            <pc:sldMk cId="1429039655" sldId="923"/>
            <ac:spMk id="7" creationId="{1EC83081-D015-472A-AA31-2F18C3D80BBE}"/>
          </ac:spMkLst>
        </pc:spChg>
        <pc:spChg chg="mod ord">
          <ac:chgData name="José Antonio Ureta Santacreu" userId="e36999d1-2b92-424a-9e8c-5fde0c5fbdd2" providerId="ADAL" clId="{B441C459-42E0-4465-B296-199851FC6E31}" dt="2024-09-11T11:12:14.001" v="3782" actId="6264"/>
          <ac:spMkLst>
            <pc:docMk/>
            <pc:sldMk cId="1429039655" sldId="923"/>
            <ac:spMk id="8" creationId="{1CAA4E78-02BF-4C32-8AAF-0D37FCC2653F}"/>
          </ac:spMkLst>
        </pc:spChg>
        <pc:spChg chg="add del mod">
          <ac:chgData name="José Antonio Ureta Santacreu" userId="e36999d1-2b92-424a-9e8c-5fde0c5fbdd2" providerId="ADAL" clId="{B441C459-42E0-4465-B296-199851FC6E31}" dt="2024-09-11T11:12:14.001" v="3782" actId="6264"/>
          <ac:spMkLst>
            <pc:docMk/>
            <pc:sldMk cId="1429039655" sldId="923"/>
            <ac:spMk id="9" creationId="{E037CEC0-C218-08CA-58ED-537E82855B0C}"/>
          </ac:spMkLst>
        </pc:spChg>
        <pc:spChg chg="add del mod">
          <ac:chgData name="José Antonio Ureta Santacreu" userId="e36999d1-2b92-424a-9e8c-5fde0c5fbdd2" providerId="ADAL" clId="{B441C459-42E0-4465-B296-199851FC6E31}" dt="2024-09-11T11:12:14.001" v="3782" actId="6264"/>
          <ac:spMkLst>
            <pc:docMk/>
            <pc:sldMk cId="1429039655" sldId="923"/>
            <ac:spMk id="11" creationId="{FB30E9F7-4302-8E58-7CB6-51DB62D6F848}"/>
          </ac:spMkLst>
        </pc:spChg>
        <pc:spChg chg="add del mod">
          <ac:chgData name="José Antonio Ureta Santacreu" userId="e36999d1-2b92-424a-9e8c-5fde0c5fbdd2" providerId="ADAL" clId="{B441C459-42E0-4465-B296-199851FC6E31}" dt="2024-09-11T11:12:14.001" v="3782" actId="6264"/>
          <ac:spMkLst>
            <pc:docMk/>
            <pc:sldMk cId="1429039655" sldId="923"/>
            <ac:spMk id="12" creationId="{B7CEAB9F-FAA2-9B76-E868-63F87163A1BB}"/>
          </ac:spMkLst>
        </pc:spChg>
        <pc:spChg chg="add del mod">
          <ac:chgData name="José Antonio Ureta Santacreu" userId="e36999d1-2b92-424a-9e8c-5fde0c5fbdd2" providerId="ADAL" clId="{B441C459-42E0-4465-B296-199851FC6E31}" dt="2024-09-11T11:12:14.001" v="3782" actId="6264"/>
          <ac:spMkLst>
            <pc:docMk/>
            <pc:sldMk cId="1429039655" sldId="923"/>
            <ac:spMk id="13" creationId="{52277AC0-2B43-BAE9-BAE0-4D8E88FF7CD6}"/>
          </ac:spMkLst>
        </pc:spChg>
        <pc:spChg chg="add del mod">
          <ac:chgData name="José Antonio Ureta Santacreu" userId="e36999d1-2b92-424a-9e8c-5fde0c5fbdd2" providerId="ADAL" clId="{B441C459-42E0-4465-B296-199851FC6E31}" dt="2024-09-11T11:12:14.001" v="3782" actId="6264"/>
          <ac:spMkLst>
            <pc:docMk/>
            <pc:sldMk cId="1429039655" sldId="923"/>
            <ac:spMk id="14" creationId="{FDBD46DE-F045-FB9E-00B6-1C0A3CA08FFF}"/>
          </ac:spMkLst>
        </pc:spChg>
        <pc:picChg chg="mod ord">
          <ac:chgData name="José Antonio Ureta Santacreu" userId="e36999d1-2b92-424a-9e8c-5fde0c5fbdd2" providerId="ADAL" clId="{B441C459-42E0-4465-B296-199851FC6E31}" dt="2024-09-11T11:12:14.001" v="3782" actId="6264"/>
          <ac:picMkLst>
            <pc:docMk/>
            <pc:sldMk cId="1429039655" sldId="923"/>
            <ac:picMk id="10" creationId="{A4BD5958-4F71-412D-A5B4-0A531FAD31F3}"/>
          </ac:picMkLst>
        </pc:picChg>
      </pc:sldChg>
      <pc:sldChg chg="addSp delSp modSp mod chgLayout">
        <pc:chgData name="José Antonio Ureta Santacreu" userId="e36999d1-2b92-424a-9e8c-5fde0c5fbdd2" providerId="ADAL" clId="{B441C459-42E0-4465-B296-199851FC6E31}" dt="2024-09-11T11:12:14.001" v="3782" actId="6264"/>
        <pc:sldMkLst>
          <pc:docMk/>
          <pc:sldMk cId="2353857604" sldId="924"/>
        </pc:sldMkLst>
        <pc:spChg chg="mod ord">
          <ac:chgData name="José Antonio Ureta Santacreu" userId="e36999d1-2b92-424a-9e8c-5fde0c5fbdd2" providerId="ADAL" clId="{B441C459-42E0-4465-B296-199851FC6E31}" dt="2024-09-11T11:12:14.001" v="3782" actId="6264"/>
          <ac:spMkLst>
            <pc:docMk/>
            <pc:sldMk cId="2353857604" sldId="924"/>
            <ac:spMk id="2" creationId="{F8B2831C-2338-4286-A14E-7089B7D55329}"/>
          </ac:spMkLst>
        </pc:spChg>
        <pc:spChg chg="mod ord">
          <ac:chgData name="José Antonio Ureta Santacreu" userId="e36999d1-2b92-424a-9e8c-5fde0c5fbdd2" providerId="ADAL" clId="{B441C459-42E0-4465-B296-199851FC6E31}" dt="2024-09-11T11:12:14.001" v="3782" actId="6264"/>
          <ac:spMkLst>
            <pc:docMk/>
            <pc:sldMk cId="2353857604" sldId="924"/>
            <ac:spMk id="3" creationId="{A201B0F0-4252-496E-84F2-675E830896D9}"/>
          </ac:spMkLst>
        </pc:spChg>
        <pc:spChg chg="mod ord">
          <ac:chgData name="José Antonio Ureta Santacreu" userId="e36999d1-2b92-424a-9e8c-5fde0c5fbdd2" providerId="ADAL" clId="{B441C459-42E0-4465-B296-199851FC6E31}" dt="2024-09-11T11:12:14.001" v="3782" actId="6264"/>
          <ac:spMkLst>
            <pc:docMk/>
            <pc:sldMk cId="2353857604" sldId="924"/>
            <ac:spMk id="4" creationId="{8E37C4B6-41D8-4E76-8913-6D4C2504D352}"/>
          </ac:spMkLst>
        </pc:spChg>
        <pc:spChg chg="mod ord">
          <ac:chgData name="José Antonio Ureta Santacreu" userId="e36999d1-2b92-424a-9e8c-5fde0c5fbdd2" providerId="ADAL" clId="{B441C459-42E0-4465-B296-199851FC6E31}" dt="2024-09-11T11:12:14.001" v="3782" actId="6264"/>
          <ac:spMkLst>
            <pc:docMk/>
            <pc:sldMk cId="2353857604" sldId="924"/>
            <ac:spMk id="5" creationId="{328ED3F3-3331-4A39-9151-97AD9F41DB44}"/>
          </ac:spMkLst>
        </pc:spChg>
        <pc:spChg chg="add del mod">
          <ac:chgData name="José Antonio Ureta Santacreu" userId="e36999d1-2b92-424a-9e8c-5fde0c5fbdd2" providerId="ADAL" clId="{B441C459-42E0-4465-B296-199851FC6E31}" dt="2024-09-11T11:12:14.001" v="3782" actId="6264"/>
          <ac:spMkLst>
            <pc:docMk/>
            <pc:sldMk cId="2353857604" sldId="924"/>
            <ac:spMk id="6" creationId="{F74C1C2F-1444-1DA1-1388-DCA3FD95A32F}"/>
          </ac:spMkLst>
        </pc:spChg>
        <pc:spChg chg="add del mod">
          <ac:chgData name="José Antonio Ureta Santacreu" userId="e36999d1-2b92-424a-9e8c-5fde0c5fbdd2" providerId="ADAL" clId="{B441C459-42E0-4465-B296-199851FC6E31}" dt="2024-09-11T11:12:14.001" v="3782" actId="6264"/>
          <ac:spMkLst>
            <pc:docMk/>
            <pc:sldMk cId="2353857604" sldId="924"/>
            <ac:spMk id="7" creationId="{4DF8EB85-F358-9BD8-5D27-F7784262F98F}"/>
          </ac:spMkLst>
        </pc:spChg>
        <pc:spChg chg="add del mod">
          <ac:chgData name="José Antonio Ureta Santacreu" userId="e36999d1-2b92-424a-9e8c-5fde0c5fbdd2" providerId="ADAL" clId="{B441C459-42E0-4465-B296-199851FC6E31}" dt="2024-09-11T11:12:14.001" v="3782" actId="6264"/>
          <ac:spMkLst>
            <pc:docMk/>
            <pc:sldMk cId="2353857604" sldId="924"/>
            <ac:spMk id="8" creationId="{9E6C31D4-55CE-3773-C661-51CE5734E0CE}"/>
          </ac:spMkLst>
        </pc:spChg>
        <pc:spChg chg="add del mod">
          <ac:chgData name="José Antonio Ureta Santacreu" userId="e36999d1-2b92-424a-9e8c-5fde0c5fbdd2" providerId="ADAL" clId="{B441C459-42E0-4465-B296-199851FC6E31}" dt="2024-09-11T11:12:14.001" v="3782" actId="6264"/>
          <ac:spMkLst>
            <pc:docMk/>
            <pc:sldMk cId="2353857604" sldId="924"/>
            <ac:spMk id="9" creationId="{CADB9139-7180-26B2-961B-757AED0FA13A}"/>
          </ac:spMkLst>
        </pc:spChg>
      </pc:sldChg>
      <pc:sldChg chg="addSp delSp modSp mod modClrScheme chgLayout">
        <pc:chgData name="José Antonio Ureta Santacreu" userId="e36999d1-2b92-424a-9e8c-5fde0c5fbdd2" providerId="ADAL" clId="{B441C459-42E0-4465-B296-199851FC6E31}" dt="2024-09-11T11:12:14.001" v="3782" actId="6264"/>
        <pc:sldMkLst>
          <pc:docMk/>
          <pc:sldMk cId="426856897" sldId="925"/>
        </pc:sldMkLst>
        <pc:spChg chg="mod ord">
          <ac:chgData name="José Antonio Ureta Santacreu" userId="e36999d1-2b92-424a-9e8c-5fde0c5fbdd2" providerId="ADAL" clId="{B441C459-42E0-4465-B296-199851FC6E31}" dt="2024-09-11T11:12:14.001" v="3782" actId="6264"/>
          <ac:spMkLst>
            <pc:docMk/>
            <pc:sldMk cId="426856897" sldId="925"/>
            <ac:spMk id="2" creationId="{91AA312B-12DC-4581-805E-22E5CD69B98B}"/>
          </ac:spMkLst>
        </pc:spChg>
        <pc:spChg chg="mod ord">
          <ac:chgData name="José Antonio Ureta Santacreu" userId="e36999d1-2b92-424a-9e8c-5fde0c5fbdd2" providerId="ADAL" clId="{B441C459-42E0-4465-B296-199851FC6E31}" dt="2024-09-11T11:12:14.001" v="3782" actId="6264"/>
          <ac:spMkLst>
            <pc:docMk/>
            <pc:sldMk cId="426856897" sldId="925"/>
            <ac:spMk id="3" creationId="{2C6A8C79-4ACB-49BB-B387-519FDC59D89A}"/>
          </ac:spMkLst>
        </pc:spChg>
        <pc:spChg chg="mod ord">
          <ac:chgData name="José Antonio Ureta Santacreu" userId="e36999d1-2b92-424a-9e8c-5fde0c5fbdd2" providerId="ADAL" clId="{B441C459-42E0-4465-B296-199851FC6E31}" dt="2024-09-11T11:12:14.001" v="3782" actId="6264"/>
          <ac:spMkLst>
            <pc:docMk/>
            <pc:sldMk cId="426856897" sldId="925"/>
            <ac:spMk id="4" creationId="{FF2F36C9-3B51-4D4B-B57E-BDFC73F1CB05}"/>
          </ac:spMkLst>
        </pc:spChg>
        <pc:spChg chg="mod ord">
          <ac:chgData name="José Antonio Ureta Santacreu" userId="e36999d1-2b92-424a-9e8c-5fde0c5fbdd2" providerId="ADAL" clId="{B441C459-42E0-4465-B296-199851FC6E31}" dt="2024-09-11T11:12:14.001" v="3782" actId="6264"/>
          <ac:spMkLst>
            <pc:docMk/>
            <pc:sldMk cId="426856897" sldId="925"/>
            <ac:spMk id="5" creationId="{AB5770EF-6ABA-45E2-A973-72D1D26B085D}"/>
          </ac:spMkLst>
        </pc:spChg>
        <pc:spChg chg="add del mod">
          <ac:chgData name="José Antonio Ureta Santacreu" userId="e36999d1-2b92-424a-9e8c-5fde0c5fbdd2" providerId="ADAL" clId="{B441C459-42E0-4465-B296-199851FC6E31}" dt="2024-09-11T11:12:14.001" v="3782" actId="6264"/>
          <ac:spMkLst>
            <pc:docMk/>
            <pc:sldMk cId="426856897" sldId="925"/>
            <ac:spMk id="6" creationId="{3FA5AC87-7E05-3B11-2C9B-8AC8D3C97CF5}"/>
          </ac:spMkLst>
        </pc:spChg>
        <pc:spChg chg="add del mod ord">
          <ac:chgData name="José Antonio Ureta Santacreu" userId="e36999d1-2b92-424a-9e8c-5fde0c5fbdd2" providerId="ADAL" clId="{B441C459-42E0-4465-B296-199851FC6E31}" dt="2024-07-31T10:53:00.071" v="1048"/>
          <ac:spMkLst>
            <pc:docMk/>
            <pc:sldMk cId="426856897" sldId="925"/>
            <ac:spMk id="6" creationId="{CD7756FC-3DF8-BE3C-1B2D-0EF800851379}"/>
          </ac:spMkLst>
        </pc:spChg>
        <pc:spChg chg="add del mod">
          <ac:chgData name="José Antonio Ureta Santacreu" userId="e36999d1-2b92-424a-9e8c-5fde0c5fbdd2" providerId="ADAL" clId="{B441C459-42E0-4465-B296-199851FC6E31}" dt="2024-09-11T11:12:14.001" v="3782" actId="6264"/>
          <ac:spMkLst>
            <pc:docMk/>
            <pc:sldMk cId="426856897" sldId="925"/>
            <ac:spMk id="7" creationId="{E67D3959-AEAA-0464-021E-2D2D6F3B4DDA}"/>
          </ac:spMkLst>
        </pc:spChg>
        <pc:spChg chg="add del mod">
          <ac:chgData name="José Antonio Ureta Santacreu" userId="e36999d1-2b92-424a-9e8c-5fde0c5fbdd2" providerId="ADAL" clId="{B441C459-42E0-4465-B296-199851FC6E31}" dt="2024-09-11T11:12:14.001" v="3782" actId="6264"/>
          <ac:spMkLst>
            <pc:docMk/>
            <pc:sldMk cId="426856897" sldId="925"/>
            <ac:spMk id="8" creationId="{1448E626-F3D0-3462-0C68-3B89E954A032}"/>
          </ac:spMkLst>
        </pc:spChg>
        <pc:spChg chg="add del mod">
          <ac:chgData name="José Antonio Ureta Santacreu" userId="e36999d1-2b92-424a-9e8c-5fde0c5fbdd2" providerId="ADAL" clId="{B441C459-42E0-4465-B296-199851FC6E31}" dt="2024-09-11T11:12:14.001" v="3782" actId="6264"/>
          <ac:spMkLst>
            <pc:docMk/>
            <pc:sldMk cId="426856897" sldId="925"/>
            <ac:spMk id="9" creationId="{97325DBD-3770-3E85-F52B-CC23B8FF71A9}"/>
          </ac:spMkLst>
        </pc:spChg>
        <pc:spChg chg="add del mod">
          <ac:chgData name="José Antonio Ureta Santacreu" userId="e36999d1-2b92-424a-9e8c-5fde0c5fbdd2" providerId="ADAL" clId="{B441C459-42E0-4465-B296-199851FC6E31}" dt="2024-09-11T11:12:14.001" v="3782" actId="6264"/>
          <ac:spMkLst>
            <pc:docMk/>
            <pc:sldMk cId="426856897" sldId="925"/>
            <ac:spMk id="10" creationId="{3B031489-6B95-520C-9E61-55D26B605FF8}"/>
          </ac:spMkLst>
        </pc:spChg>
        <pc:spChg chg="add mod ord">
          <ac:chgData name="José Antonio Ureta Santacreu" userId="e36999d1-2b92-424a-9e8c-5fde0c5fbdd2" providerId="ADAL" clId="{B441C459-42E0-4465-B296-199851FC6E31}" dt="2024-09-11T11:12:14.001" v="3782" actId="6264"/>
          <ac:spMkLst>
            <pc:docMk/>
            <pc:sldMk cId="426856897" sldId="925"/>
            <ac:spMk id="11" creationId="{B8B4E8FF-2124-3DFF-61A2-31936A6679EE}"/>
          </ac:spMkLst>
        </pc:spChg>
        <pc:picChg chg="add mod">
          <ac:chgData name="José Antonio Ureta Santacreu" userId="e36999d1-2b92-424a-9e8c-5fde0c5fbdd2" providerId="ADAL" clId="{B441C459-42E0-4465-B296-199851FC6E31}" dt="2024-09-10T13:28:21.330" v="2923" actId="1038"/>
          <ac:picMkLst>
            <pc:docMk/>
            <pc:sldMk cId="426856897" sldId="925"/>
            <ac:picMk id="1026" creationId="{BE14DAF4-ADA1-C4D0-4BDB-14381445B82F}"/>
          </ac:picMkLst>
        </pc:picChg>
        <pc:picChg chg="add del mod">
          <ac:chgData name="José Antonio Ureta Santacreu" userId="e36999d1-2b92-424a-9e8c-5fde0c5fbdd2" providerId="ADAL" clId="{B441C459-42E0-4465-B296-199851FC6E31}" dt="2024-09-10T13:26:00.021" v="2882" actId="478"/>
          <ac:picMkLst>
            <pc:docMk/>
            <pc:sldMk cId="426856897" sldId="925"/>
            <ac:picMk id="4098" creationId="{AE074131-2CEC-961A-B0A3-ED9C9B0E3BD9}"/>
          </ac:picMkLst>
        </pc:picChg>
      </pc:sldChg>
      <pc:sldChg chg="addSp delSp modSp mod chgLayout">
        <pc:chgData name="José Antonio Ureta Santacreu" userId="e36999d1-2b92-424a-9e8c-5fde0c5fbdd2" providerId="ADAL" clId="{B441C459-42E0-4465-B296-199851FC6E31}" dt="2024-09-12T15:46:52.368" v="5171" actId="2"/>
        <pc:sldMkLst>
          <pc:docMk/>
          <pc:sldMk cId="2329608386" sldId="929"/>
        </pc:sldMkLst>
        <pc:spChg chg="mod ord">
          <ac:chgData name="José Antonio Ureta Santacreu" userId="e36999d1-2b92-424a-9e8c-5fde0c5fbdd2" providerId="ADAL" clId="{B441C459-42E0-4465-B296-199851FC6E31}" dt="2024-09-12T15:46:47.351" v="5169" actId="6264"/>
          <ac:spMkLst>
            <pc:docMk/>
            <pc:sldMk cId="2329608386" sldId="929"/>
            <ac:spMk id="2" creationId="{AEE65988-F8DE-F4E7-0870-FFF8C0872690}"/>
          </ac:spMkLst>
        </pc:spChg>
        <pc:spChg chg="add del mod">
          <ac:chgData name="José Antonio Ureta Santacreu" userId="e36999d1-2b92-424a-9e8c-5fde0c5fbdd2" providerId="ADAL" clId="{B441C459-42E0-4465-B296-199851FC6E31}" dt="2024-09-12T10:41:30.723" v="4137"/>
          <ac:spMkLst>
            <pc:docMk/>
            <pc:sldMk cId="2329608386" sldId="929"/>
            <ac:spMk id="3" creationId="{76CCA3AC-5029-AE15-E0A3-6A305F7A4C5B}"/>
          </ac:spMkLst>
        </pc:spChg>
        <pc:spChg chg="add del mod">
          <ac:chgData name="José Antonio Ureta Santacreu" userId="e36999d1-2b92-424a-9e8c-5fde0c5fbdd2" providerId="ADAL" clId="{B441C459-42E0-4465-B296-199851FC6E31}" dt="2024-09-12T15:46:47.351" v="5169" actId="6264"/>
          <ac:spMkLst>
            <pc:docMk/>
            <pc:sldMk cId="2329608386" sldId="929"/>
            <ac:spMk id="3" creationId="{AD017775-A9F1-0CB0-2638-C6ADA4E1DEF4}"/>
          </ac:spMkLst>
        </pc:spChg>
        <pc:spChg chg="add del mod">
          <ac:chgData name="José Antonio Ureta Santacreu" userId="e36999d1-2b92-424a-9e8c-5fde0c5fbdd2" providerId="ADAL" clId="{B441C459-42E0-4465-B296-199851FC6E31}" dt="2024-09-11T11:12:14.001" v="3782" actId="6264"/>
          <ac:spMkLst>
            <pc:docMk/>
            <pc:sldMk cId="2329608386" sldId="929"/>
            <ac:spMk id="3" creationId="{D303C9BC-9A5D-52B9-0C95-067B5792442F}"/>
          </ac:spMkLst>
        </pc:spChg>
        <pc:spChg chg="mod ord">
          <ac:chgData name="José Antonio Ureta Santacreu" userId="e36999d1-2b92-424a-9e8c-5fde0c5fbdd2" providerId="ADAL" clId="{B441C459-42E0-4465-B296-199851FC6E31}" dt="2024-09-12T15:46:47.351" v="5170" actId="27636"/>
          <ac:spMkLst>
            <pc:docMk/>
            <pc:sldMk cId="2329608386" sldId="929"/>
            <ac:spMk id="4" creationId="{30630979-A8FE-89A5-CDAA-B7C074E77816}"/>
          </ac:spMkLst>
        </pc:spChg>
        <pc:spChg chg="mod ord">
          <ac:chgData name="José Antonio Ureta Santacreu" userId="e36999d1-2b92-424a-9e8c-5fde0c5fbdd2" providerId="ADAL" clId="{B441C459-42E0-4465-B296-199851FC6E31}" dt="2024-09-12T15:46:52.368" v="5171" actId="2"/>
          <ac:spMkLst>
            <pc:docMk/>
            <pc:sldMk cId="2329608386" sldId="929"/>
            <ac:spMk id="5" creationId="{144F1D5B-1810-4C73-0FDB-8F0635DF5F0D}"/>
          </ac:spMkLst>
        </pc:spChg>
        <pc:spChg chg="mod ord">
          <ac:chgData name="José Antonio Ureta Santacreu" userId="e36999d1-2b92-424a-9e8c-5fde0c5fbdd2" providerId="ADAL" clId="{B441C459-42E0-4465-B296-199851FC6E31}" dt="2024-09-12T15:46:47.351" v="5169" actId="6264"/>
          <ac:spMkLst>
            <pc:docMk/>
            <pc:sldMk cId="2329608386" sldId="929"/>
            <ac:spMk id="6" creationId="{D407B693-F501-DE57-A313-C42A138F1A30}"/>
          </ac:spMkLst>
        </pc:spChg>
        <pc:spChg chg="mod ord">
          <ac:chgData name="José Antonio Ureta Santacreu" userId="e36999d1-2b92-424a-9e8c-5fde0c5fbdd2" providerId="ADAL" clId="{B441C459-42E0-4465-B296-199851FC6E31}" dt="2024-09-12T15:46:47.351" v="5169" actId="6264"/>
          <ac:spMkLst>
            <pc:docMk/>
            <pc:sldMk cId="2329608386" sldId="929"/>
            <ac:spMk id="7" creationId="{F1C7F2FA-3F20-3D6E-413F-9EF01F567EAD}"/>
          </ac:spMkLst>
        </pc:spChg>
        <pc:spChg chg="mod ord">
          <ac:chgData name="José Antonio Ureta Santacreu" userId="e36999d1-2b92-424a-9e8c-5fde0c5fbdd2" providerId="ADAL" clId="{B441C459-42E0-4465-B296-199851FC6E31}" dt="2024-09-12T15:46:47.351" v="5169" actId="6264"/>
          <ac:spMkLst>
            <pc:docMk/>
            <pc:sldMk cId="2329608386" sldId="929"/>
            <ac:spMk id="8" creationId="{23D193C9-F029-2343-E1A6-4351B6BAAABC}"/>
          </ac:spMkLst>
        </pc:spChg>
        <pc:spChg chg="add del mod">
          <ac:chgData name="José Antonio Ureta Santacreu" userId="e36999d1-2b92-424a-9e8c-5fde0c5fbdd2" providerId="ADAL" clId="{B441C459-42E0-4465-B296-199851FC6E31}" dt="2024-09-12T15:46:47.351" v="5169" actId="6264"/>
          <ac:spMkLst>
            <pc:docMk/>
            <pc:sldMk cId="2329608386" sldId="929"/>
            <ac:spMk id="9" creationId="{9E3A0294-C142-B777-99F2-B60DD3F1D107}"/>
          </ac:spMkLst>
        </pc:spChg>
        <pc:spChg chg="add del mod">
          <ac:chgData name="José Antonio Ureta Santacreu" userId="e36999d1-2b92-424a-9e8c-5fde0c5fbdd2" providerId="ADAL" clId="{B441C459-42E0-4465-B296-199851FC6E31}" dt="2024-09-11T11:12:14.001" v="3782" actId="6264"/>
          <ac:spMkLst>
            <pc:docMk/>
            <pc:sldMk cId="2329608386" sldId="929"/>
            <ac:spMk id="10" creationId="{3C7A1B6B-CDE1-A9F8-CD7D-FD24C10ECD9B}"/>
          </ac:spMkLst>
        </pc:spChg>
        <pc:spChg chg="add del mod">
          <ac:chgData name="José Antonio Ureta Santacreu" userId="e36999d1-2b92-424a-9e8c-5fde0c5fbdd2" providerId="ADAL" clId="{B441C459-42E0-4465-B296-199851FC6E31}" dt="2024-09-11T11:12:14.001" v="3782" actId="6264"/>
          <ac:spMkLst>
            <pc:docMk/>
            <pc:sldMk cId="2329608386" sldId="929"/>
            <ac:spMk id="11" creationId="{016805E3-FF00-FE03-BD9C-6A0B28EB88F9}"/>
          </ac:spMkLst>
        </pc:spChg>
        <pc:spChg chg="add del mod">
          <ac:chgData name="José Antonio Ureta Santacreu" userId="e36999d1-2b92-424a-9e8c-5fde0c5fbdd2" providerId="ADAL" clId="{B441C459-42E0-4465-B296-199851FC6E31}" dt="2024-09-12T15:46:47.351" v="5169" actId="6264"/>
          <ac:spMkLst>
            <pc:docMk/>
            <pc:sldMk cId="2329608386" sldId="929"/>
            <ac:spMk id="11" creationId="{287FA14C-61A1-C6DD-14B9-C1B73C92B163}"/>
          </ac:spMkLst>
        </pc:spChg>
        <pc:spChg chg="add del mod">
          <ac:chgData name="José Antonio Ureta Santacreu" userId="e36999d1-2b92-424a-9e8c-5fde0c5fbdd2" providerId="ADAL" clId="{B441C459-42E0-4465-B296-199851FC6E31}" dt="2024-09-12T15:46:47.351" v="5169" actId="6264"/>
          <ac:spMkLst>
            <pc:docMk/>
            <pc:sldMk cId="2329608386" sldId="929"/>
            <ac:spMk id="12" creationId="{C03B31DC-0C2B-93ED-974E-A5A0BAEA74BE}"/>
          </ac:spMkLst>
        </pc:spChg>
        <pc:spChg chg="add del mod">
          <ac:chgData name="José Antonio Ureta Santacreu" userId="e36999d1-2b92-424a-9e8c-5fde0c5fbdd2" providerId="ADAL" clId="{B441C459-42E0-4465-B296-199851FC6E31}" dt="2024-09-11T11:12:14.001" v="3782" actId="6264"/>
          <ac:spMkLst>
            <pc:docMk/>
            <pc:sldMk cId="2329608386" sldId="929"/>
            <ac:spMk id="12" creationId="{E7F69840-CABA-8AB5-4C30-C7B5162B3644}"/>
          </ac:spMkLst>
        </pc:spChg>
        <pc:spChg chg="add del mod">
          <ac:chgData name="José Antonio Ureta Santacreu" userId="e36999d1-2b92-424a-9e8c-5fde0c5fbdd2" providerId="ADAL" clId="{B441C459-42E0-4465-B296-199851FC6E31}" dt="2024-09-12T15:46:47.351" v="5169" actId="6264"/>
          <ac:spMkLst>
            <pc:docMk/>
            <pc:sldMk cId="2329608386" sldId="929"/>
            <ac:spMk id="13" creationId="{199BF150-6089-76C2-8E74-3C54390A5E92}"/>
          </ac:spMkLst>
        </pc:spChg>
        <pc:spChg chg="add del mod">
          <ac:chgData name="José Antonio Ureta Santacreu" userId="e36999d1-2b92-424a-9e8c-5fde0c5fbdd2" providerId="ADAL" clId="{B441C459-42E0-4465-B296-199851FC6E31}" dt="2024-09-11T11:12:14.001" v="3782" actId="6264"/>
          <ac:spMkLst>
            <pc:docMk/>
            <pc:sldMk cId="2329608386" sldId="929"/>
            <ac:spMk id="13" creationId="{27788086-C1EF-3F74-428C-D7648731D075}"/>
          </ac:spMkLst>
        </pc:spChg>
        <pc:spChg chg="add del mod">
          <ac:chgData name="José Antonio Ureta Santacreu" userId="e36999d1-2b92-424a-9e8c-5fde0c5fbdd2" providerId="ADAL" clId="{B441C459-42E0-4465-B296-199851FC6E31}" dt="2024-09-11T11:12:14.001" v="3782" actId="6264"/>
          <ac:spMkLst>
            <pc:docMk/>
            <pc:sldMk cId="2329608386" sldId="929"/>
            <ac:spMk id="14" creationId="{A1E3A5EE-D303-AAD0-8C57-092772589BE3}"/>
          </ac:spMkLst>
        </pc:spChg>
        <pc:spChg chg="add del mod">
          <ac:chgData name="José Antonio Ureta Santacreu" userId="e36999d1-2b92-424a-9e8c-5fde0c5fbdd2" providerId="ADAL" clId="{B441C459-42E0-4465-B296-199851FC6E31}" dt="2024-09-12T15:46:47.351" v="5169" actId="6264"/>
          <ac:spMkLst>
            <pc:docMk/>
            <pc:sldMk cId="2329608386" sldId="929"/>
            <ac:spMk id="14" creationId="{F0E3188E-DD02-80C1-8FC7-3B322C3F3321}"/>
          </ac:spMkLst>
        </pc:spChg>
        <pc:spChg chg="add del mod">
          <ac:chgData name="José Antonio Ureta Santacreu" userId="e36999d1-2b92-424a-9e8c-5fde0c5fbdd2" providerId="ADAL" clId="{B441C459-42E0-4465-B296-199851FC6E31}" dt="2024-09-12T15:46:47.351" v="5169" actId="6264"/>
          <ac:spMkLst>
            <pc:docMk/>
            <pc:sldMk cId="2329608386" sldId="929"/>
            <ac:spMk id="15" creationId="{79BFD5E0-17E4-EE88-6B07-3AB23266B1BA}"/>
          </ac:spMkLst>
        </pc:spChg>
        <pc:spChg chg="add del mod">
          <ac:chgData name="José Antonio Ureta Santacreu" userId="e36999d1-2b92-424a-9e8c-5fde0c5fbdd2" providerId="ADAL" clId="{B441C459-42E0-4465-B296-199851FC6E31}" dt="2024-09-11T11:12:14.001" v="3782" actId="6264"/>
          <ac:spMkLst>
            <pc:docMk/>
            <pc:sldMk cId="2329608386" sldId="929"/>
            <ac:spMk id="15" creationId="{FDF487E2-ED5E-DEBF-1FC1-23430C6E508E}"/>
          </ac:spMkLst>
        </pc:spChg>
        <pc:picChg chg="del mod ord">
          <ac:chgData name="José Antonio Ureta Santacreu" userId="e36999d1-2b92-424a-9e8c-5fde0c5fbdd2" providerId="ADAL" clId="{B441C459-42E0-4465-B296-199851FC6E31}" dt="2024-09-12T10:41:28.925" v="4136" actId="21"/>
          <ac:picMkLst>
            <pc:docMk/>
            <pc:sldMk cId="2329608386" sldId="929"/>
            <ac:picMk id="9" creationId="{F0468041-6132-DA6F-43CC-BDEA32DFD0A7}"/>
          </ac:picMkLst>
        </pc:picChg>
        <pc:picChg chg="add mod ord">
          <ac:chgData name="José Antonio Ureta Santacreu" userId="e36999d1-2b92-424a-9e8c-5fde0c5fbdd2" providerId="ADAL" clId="{B441C459-42E0-4465-B296-199851FC6E31}" dt="2024-09-12T15:46:47.351" v="5169" actId="6264"/>
          <ac:picMkLst>
            <pc:docMk/>
            <pc:sldMk cId="2329608386" sldId="929"/>
            <ac:picMk id="10" creationId="{F0468041-6132-DA6F-43CC-BDEA32DFD0A7}"/>
          </ac:picMkLst>
        </pc:picChg>
      </pc:sldChg>
      <pc:sldChg chg="addSp delSp modSp mod modShow chgLayout">
        <pc:chgData name="José Antonio Ureta Santacreu" userId="e36999d1-2b92-424a-9e8c-5fde0c5fbdd2" providerId="ADAL" clId="{B441C459-42E0-4465-B296-199851FC6E31}" dt="2024-09-12T15:47:18.654" v="5187" actId="2"/>
        <pc:sldMkLst>
          <pc:docMk/>
          <pc:sldMk cId="3728386926" sldId="930"/>
        </pc:sldMkLst>
        <pc:spChg chg="mod ord">
          <ac:chgData name="José Antonio Ureta Santacreu" userId="e36999d1-2b92-424a-9e8c-5fde0c5fbdd2" providerId="ADAL" clId="{B441C459-42E0-4465-B296-199851FC6E31}" dt="2024-09-12T15:47:18.654" v="5187" actId="2"/>
          <ac:spMkLst>
            <pc:docMk/>
            <pc:sldMk cId="3728386926" sldId="930"/>
            <ac:spMk id="2" creationId="{C620C0A4-63F2-CF26-11C6-EF0CAA35ABAF}"/>
          </ac:spMkLst>
        </pc:spChg>
        <pc:spChg chg="add del mod">
          <ac:chgData name="José Antonio Ureta Santacreu" userId="e36999d1-2b92-424a-9e8c-5fde0c5fbdd2" providerId="ADAL" clId="{B441C459-42E0-4465-B296-199851FC6E31}" dt="2024-09-11T11:12:14.001" v="3782" actId="6264"/>
          <ac:spMkLst>
            <pc:docMk/>
            <pc:sldMk cId="3728386926" sldId="930"/>
            <ac:spMk id="3" creationId="{A21E969E-0FD0-BF89-AFBB-8307E168F20F}"/>
          </ac:spMkLst>
        </pc:spChg>
        <pc:spChg chg="mod ord">
          <ac:chgData name="José Antonio Ureta Santacreu" userId="e36999d1-2b92-424a-9e8c-5fde0c5fbdd2" providerId="ADAL" clId="{B441C459-42E0-4465-B296-199851FC6E31}" dt="2024-09-12T10:39:46.489" v="4104" actId="27636"/>
          <ac:spMkLst>
            <pc:docMk/>
            <pc:sldMk cId="3728386926" sldId="930"/>
            <ac:spMk id="4" creationId="{E8A90B40-E0FA-0025-DEA1-560FA99B324F}"/>
          </ac:spMkLst>
        </pc:spChg>
        <pc:spChg chg="mod ord">
          <ac:chgData name="José Antonio Ureta Santacreu" userId="e36999d1-2b92-424a-9e8c-5fde0c5fbdd2" providerId="ADAL" clId="{B441C459-42E0-4465-B296-199851FC6E31}" dt="2024-09-11T11:12:14.001" v="3782" actId="6264"/>
          <ac:spMkLst>
            <pc:docMk/>
            <pc:sldMk cId="3728386926" sldId="930"/>
            <ac:spMk id="5" creationId="{3C045AEE-7B83-22AA-62EE-C53149EFF145}"/>
          </ac:spMkLst>
        </pc:spChg>
        <pc:spChg chg="mod ord">
          <ac:chgData name="José Antonio Ureta Santacreu" userId="e36999d1-2b92-424a-9e8c-5fde0c5fbdd2" providerId="ADAL" clId="{B441C459-42E0-4465-B296-199851FC6E31}" dt="2024-09-11T11:12:14.001" v="3782" actId="6264"/>
          <ac:spMkLst>
            <pc:docMk/>
            <pc:sldMk cId="3728386926" sldId="930"/>
            <ac:spMk id="6" creationId="{ACCD6981-E674-15B7-AD21-5A301CC70D46}"/>
          </ac:spMkLst>
        </pc:spChg>
        <pc:spChg chg="mod ord">
          <ac:chgData name="José Antonio Ureta Santacreu" userId="e36999d1-2b92-424a-9e8c-5fde0c5fbdd2" providerId="ADAL" clId="{B441C459-42E0-4465-B296-199851FC6E31}" dt="2024-09-11T11:12:14.001" v="3782" actId="6264"/>
          <ac:spMkLst>
            <pc:docMk/>
            <pc:sldMk cId="3728386926" sldId="930"/>
            <ac:spMk id="7" creationId="{7625197F-A13B-B5A5-8E11-AFC7B107D9B1}"/>
          </ac:spMkLst>
        </pc:spChg>
        <pc:spChg chg="mod ord">
          <ac:chgData name="José Antonio Ureta Santacreu" userId="e36999d1-2b92-424a-9e8c-5fde0c5fbdd2" providerId="ADAL" clId="{B441C459-42E0-4465-B296-199851FC6E31}" dt="2024-09-11T11:12:14.001" v="3782" actId="6264"/>
          <ac:spMkLst>
            <pc:docMk/>
            <pc:sldMk cId="3728386926" sldId="930"/>
            <ac:spMk id="8" creationId="{E268DF93-91BC-9134-E849-672ABE496C7D}"/>
          </ac:spMkLst>
        </pc:spChg>
        <pc:spChg chg="add del mod">
          <ac:chgData name="José Antonio Ureta Santacreu" userId="e36999d1-2b92-424a-9e8c-5fde0c5fbdd2" providerId="ADAL" clId="{B441C459-42E0-4465-B296-199851FC6E31}" dt="2024-09-11T11:12:14.001" v="3782" actId="6264"/>
          <ac:spMkLst>
            <pc:docMk/>
            <pc:sldMk cId="3728386926" sldId="930"/>
            <ac:spMk id="9" creationId="{DE73CF32-0B27-416C-551C-C507B5FE12DF}"/>
          </ac:spMkLst>
        </pc:spChg>
        <pc:spChg chg="add del mod">
          <ac:chgData name="José Antonio Ureta Santacreu" userId="e36999d1-2b92-424a-9e8c-5fde0c5fbdd2" providerId="ADAL" clId="{B441C459-42E0-4465-B296-199851FC6E31}" dt="2024-09-11T11:12:14.001" v="3782" actId="6264"/>
          <ac:spMkLst>
            <pc:docMk/>
            <pc:sldMk cId="3728386926" sldId="930"/>
            <ac:spMk id="10" creationId="{23A68B54-BC48-8DAF-9D68-548C40F43E91}"/>
          </ac:spMkLst>
        </pc:spChg>
        <pc:spChg chg="add del mod">
          <ac:chgData name="José Antonio Ureta Santacreu" userId="e36999d1-2b92-424a-9e8c-5fde0c5fbdd2" providerId="ADAL" clId="{B441C459-42E0-4465-B296-199851FC6E31}" dt="2024-09-11T11:12:14.001" v="3782" actId="6264"/>
          <ac:spMkLst>
            <pc:docMk/>
            <pc:sldMk cId="3728386926" sldId="930"/>
            <ac:spMk id="11" creationId="{B15C761D-5D54-B8F2-3DD0-91370B4F309C}"/>
          </ac:spMkLst>
        </pc:spChg>
        <pc:spChg chg="add del mod">
          <ac:chgData name="José Antonio Ureta Santacreu" userId="e36999d1-2b92-424a-9e8c-5fde0c5fbdd2" providerId="ADAL" clId="{B441C459-42E0-4465-B296-199851FC6E31}" dt="2024-09-11T11:12:14.001" v="3782" actId="6264"/>
          <ac:spMkLst>
            <pc:docMk/>
            <pc:sldMk cId="3728386926" sldId="930"/>
            <ac:spMk id="12" creationId="{224ABEC6-B59B-D591-51B3-5BACDA6081CD}"/>
          </ac:spMkLst>
        </pc:spChg>
        <pc:spChg chg="add del mod">
          <ac:chgData name="José Antonio Ureta Santacreu" userId="e36999d1-2b92-424a-9e8c-5fde0c5fbdd2" providerId="ADAL" clId="{B441C459-42E0-4465-B296-199851FC6E31}" dt="2024-09-11T11:12:14.001" v="3782" actId="6264"/>
          <ac:spMkLst>
            <pc:docMk/>
            <pc:sldMk cId="3728386926" sldId="930"/>
            <ac:spMk id="13" creationId="{224EDED5-A093-2067-ACAC-0967C8B518E7}"/>
          </ac:spMkLst>
        </pc:spChg>
        <pc:spChg chg="add del mod">
          <ac:chgData name="José Antonio Ureta Santacreu" userId="e36999d1-2b92-424a-9e8c-5fde0c5fbdd2" providerId="ADAL" clId="{B441C459-42E0-4465-B296-199851FC6E31}" dt="2024-09-11T11:12:14.001" v="3782" actId="6264"/>
          <ac:spMkLst>
            <pc:docMk/>
            <pc:sldMk cId="3728386926" sldId="930"/>
            <ac:spMk id="14" creationId="{391DA153-C45A-45B7-33CD-82BA71708E15}"/>
          </ac:spMkLst>
        </pc:spChg>
        <pc:picChg chg="mod ord">
          <ac:chgData name="José Antonio Ureta Santacreu" userId="e36999d1-2b92-424a-9e8c-5fde0c5fbdd2" providerId="ADAL" clId="{B441C459-42E0-4465-B296-199851FC6E31}" dt="2024-09-11T11:12:14.001" v="3782" actId="6264"/>
          <ac:picMkLst>
            <pc:docMk/>
            <pc:sldMk cId="3728386926" sldId="930"/>
            <ac:picMk id="3074" creationId="{F0E12E86-4C00-5798-58B3-8336560D3BF8}"/>
          </ac:picMkLst>
        </pc:picChg>
      </pc:sldChg>
      <pc:sldChg chg="addSp delSp modSp mod chgLayout">
        <pc:chgData name="José Antonio Ureta Santacreu" userId="e36999d1-2b92-424a-9e8c-5fde0c5fbdd2" providerId="ADAL" clId="{B441C459-42E0-4465-B296-199851FC6E31}" dt="2024-09-12T10:39:46.504" v="4105" actId="27636"/>
        <pc:sldMkLst>
          <pc:docMk/>
          <pc:sldMk cId="695555796" sldId="931"/>
        </pc:sldMkLst>
        <pc:spChg chg="mod ord">
          <ac:chgData name="José Antonio Ureta Santacreu" userId="e36999d1-2b92-424a-9e8c-5fde0c5fbdd2" providerId="ADAL" clId="{B441C459-42E0-4465-B296-199851FC6E31}" dt="2024-09-11T11:12:14.001" v="3782" actId="6264"/>
          <ac:spMkLst>
            <pc:docMk/>
            <pc:sldMk cId="695555796" sldId="931"/>
            <ac:spMk id="2" creationId="{677CC392-A374-1EA2-F7AA-0868C408021E}"/>
          </ac:spMkLst>
        </pc:spChg>
        <pc:spChg chg="add del mod">
          <ac:chgData name="José Antonio Ureta Santacreu" userId="e36999d1-2b92-424a-9e8c-5fde0c5fbdd2" providerId="ADAL" clId="{B441C459-42E0-4465-B296-199851FC6E31}" dt="2024-09-11T11:12:14.001" v="3782" actId="6264"/>
          <ac:spMkLst>
            <pc:docMk/>
            <pc:sldMk cId="695555796" sldId="931"/>
            <ac:spMk id="3" creationId="{D6E346D7-866A-28D0-DD36-9F15B9CBBE6A}"/>
          </ac:spMkLst>
        </pc:spChg>
        <pc:spChg chg="mod ord">
          <ac:chgData name="José Antonio Ureta Santacreu" userId="e36999d1-2b92-424a-9e8c-5fde0c5fbdd2" providerId="ADAL" clId="{B441C459-42E0-4465-B296-199851FC6E31}" dt="2024-09-12T10:39:46.504" v="4105" actId="27636"/>
          <ac:spMkLst>
            <pc:docMk/>
            <pc:sldMk cId="695555796" sldId="931"/>
            <ac:spMk id="4" creationId="{BC940CF5-7537-B915-BF72-8B0FF0E14036}"/>
          </ac:spMkLst>
        </pc:spChg>
        <pc:spChg chg="mod ord">
          <ac:chgData name="José Antonio Ureta Santacreu" userId="e36999d1-2b92-424a-9e8c-5fde0c5fbdd2" providerId="ADAL" clId="{B441C459-42E0-4465-B296-199851FC6E31}" dt="2024-09-11T11:12:14.001" v="3782" actId="6264"/>
          <ac:spMkLst>
            <pc:docMk/>
            <pc:sldMk cId="695555796" sldId="931"/>
            <ac:spMk id="5" creationId="{C64903EB-E6EC-1CDC-C759-B6EE9072141B}"/>
          </ac:spMkLst>
        </pc:spChg>
        <pc:spChg chg="mod ord">
          <ac:chgData name="José Antonio Ureta Santacreu" userId="e36999d1-2b92-424a-9e8c-5fde0c5fbdd2" providerId="ADAL" clId="{B441C459-42E0-4465-B296-199851FC6E31}" dt="2024-09-11T11:12:14.001" v="3782" actId="6264"/>
          <ac:spMkLst>
            <pc:docMk/>
            <pc:sldMk cId="695555796" sldId="931"/>
            <ac:spMk id="6" creationId="{232FFF4F-0552-4705-F642-AE9B04066375}"/>
          </ac:spMkLst>
        </pc:spChg>
        <pc:spChg chg="mod ord">
          <ac:chgData name="José Antonio Ureta Santacreu" userId="e36999d1-2b92-424a-9e8c-5fde0c5fbdd2" providerId="ADAL" clId="{B441C459-42E0-4465-B296-199851FC6E31}" dt="2024-09-11T11:12:14.001" v="3782" actId="6264"/>
          <ac:spMkLst>
            <pc:docMk/>
            <pc:sldMk cId="695555796" sldId="931"/>
            <ac:spMk id="7" creationId="{6175D80C-E634-FCAF-F88A-63FB1C544D98}"/>
          </ac:spMkLst>
        </pc:spChg>
        <pc:spChg chg="mod ord">
          <ac:chgData name="José Antonio Ureta Santacreu" userId="e36999d1-2b92-424a-9e8c-5fde0c5fbdd2" providerId="ADAL" clId="{B441C459-42E0-4465-B296-199851FC6E31}" dt="2024-09-11T11:12:14.001" v="3782" actId="6264"/>
          <ac:spMkLst>
            <pc:docMk/>
            <pc:sldMk cId="695555796" sldId="931"/>
            <ac:spMk id="8" creationId="{10F3A8DA-D3EE-3B7E-4FAC-B7D6AE20EEA2}"/>
          </ac:spMkLst>
        </pc:spChg>
        <pc:spChg chg="add del mod">
          <ac:chgData name="José Antonio Ureta Santacreu" userId="e36999d1-2b92-424a-9e8c-5fde0c5fbdd2" providerId="ADAL" clId="{B441C459-42E0-4465-B296-199851FC6E31}" dt="2024-09-11T11:12:14.001" v="3782" actId="6264"/>
          <ac:spMkLst>
            <pc:docMk/>
            <pc:sldMk cId="695555796" sldId="931"/>
            <ac:spMk id="10" creationId="{723ECFD6-B016-0F89-B40A-EF2B277F53EC}"/>
          </ac:spMkLst>
        </pc:spChg>
        <pc:spChg chg="add del mod">
          <ac:chgData name="José Antonio Ureta Santacreu" userId="e36999d1-2b92-424a-9e8c-5fde0c5fbdd2" providerId="ADAL" clId="{B441C459-42E0-4465-B296-199851FC6E31}" dt="2024-09-11T11:12:14.001" v="3782" actId="6264"/>
          <ac:spMkLst>
            <pc:docMk/>
            <pc:sldMk cId="695555796" sldId="931"/>
            <ac:spMk id="11" creationId="{3069BA83-D5AB-C57B-4A25-C8B489DAA44C}"/>
          </ac:spMkLst>
        </pc:spChg>
        <pc:spChg chg="add del mod">
          <ac:chgData name="José Antonio Ureta Santacreu" userId="e36999d1-2b92-424a-9e8c-5fde0c5fbdd2" providerId="ADAL" clId="{B441C459-42E0-4465-B296-199851FC6E31}" dt="2024-09-11T11:12:14.001" v="3782" actId="6264"/>
          <ac:spMkLst>
            <pc:docMk/>
            <pc:sldMk cId="695555796" sldId="931"/>
            <ac:spMk id="12" creationId="{57C3E364-8FD0-10F8-81A7-C1F3AB03328F}"/>
          </ac:spMkLst>
        </pc:spChg>
        <pc:spChg chg="add del mod">
          <ac:chgData name="José Antonio Ureta Santacreu" userId="e36999d1-2b92-424a-9e8c-5fde0c5fbdd2" providerId="ADAL" clId="{B441C459-42E0-4465-B296-199851FC6E31}" dt="2024-09-11T11:12:14.001" v="3782" actId="6264"/>
          <ac:spMkLst>
            <pc:docMk/>
            <pc:sldMk cId="695555796" sldId="931"/>
            <ac:spMk id="13" creationId="{F2878026-B4B3-56E8-0DB5-6141B588136D}"/>
          </ac:spMkLst>
        </pc:spChg>
        <pc:spChg chg="add del mod">
          <ac:chgData name="José Antonio Ureta Santacreu" userId="e36999d1-2b92-424a-9e8c-5fde0c5fbdd2" providerId="ADAL" clId="{B441C459-42E0-4465-B296-199851FC6E31}" dt="2024-09-11T11:12:14.001" v="3782" actId="6264"/>
          <ac:spMkLst>
            <pc:docMk/>
            <pc:sldMk cId="695555796" sldId="931"/>
            <ac:spMk id="14" creationId="{BB229DBF-8D9B-1288-5833-1CC146B17721}"/>
          </ac:spMkLst>
        </pc:spChg>
        <pc:spChg chg="add del mod">
          <ac:chgData name="José Antonio Ureta Santacreu" userId="e36999d1-2b92-424a-9e8c-5fde0c5fbdd2" providerId="ADAL" clId="{B441C459-42E0-4465-B296-199851FC6E31}" dt="2024-09-11T11:12:14.001" v="3782" actId="6264"/>
          <ac:spMkLst>
            <pc:docMk/>
            <pc:sldMk cId="695555796" sldId="931"/>
            <ac:spMk id="15" creationId="{4B84C320-35DD-EEA9-E7B4-606D93E3FEDA}"/>
          </ac:spMkLst>
        </pc:spChg>
        <pc:picChg chg="mod ord">
          <ac:chgData name="José Antonio Ureta Santacreu" userId="e36999d1-2b92-424a-9e8c-5fde0c5fbdd2" providerId="ADAL" clId="{B441C459-42E0-4465-B296-199851FC6E31}" dt="2024-09-11T11:12:14.001" v="3782" actId="6264"/>
          <ac:picMkLst>
            <pc:docMk/>
            <pc:sldMk cId="695555796" sldId="931"/>
            <ac:picMk id="9" creationId="{A9D82E9C-DB0B-CD09-1FA6-E588DCFF973E}"/>
          </ac:picMkLst>
        </pc:picChg>
      </pc:sldChg>
      <pc:sldChg chg="addSp delSp modSp mod chgLayout">
        <pc:chgData name="José Antonio Ureta Santacreu" userId="e36999d1-2b92-424a-9e8c-5fde0c5fbdd2" providerId="ADAL" clId="{B441C459-42E0-4465-B296-199851FC6E31}" dt="2024-09-12T10:39:46.504" v="4106" actId="27636"/>
        <pc:sldMkLst>
          <pc:docMk/>
          <pc:sldMk cId="788222971" sldId="932"/>
        </pc:sldMkLst>
        <pc:spChg chg="mod ord">
          <ac:chgData name="José Antonio Ureta Santacreu" userId="e36999d1-2b92-424a-9e8c-5fde0c5fbdd2" providerId="ADAL" clId="{B441C459-42E0-4465-B296-199851FC6E31}" dt="2024-09-11T11:12:14.001" v="3782" actId="6264"/>
          <ac:spMkLst>
            <pc:docMk/>
            <pc:sldMk cId="788222971" sldId="932"/>
            <ac:spMk id="2" creationId="{7349E494-F92C-C84E-683B-750700AC2042}"/>
          </ac:spMkLst>
        </pc:spChg>
        <pc:spChg chg="add del mod">
          <ac:chgData name="José Antonio Ureta Santacreu" userId="e36999d1-2b92-424a-9e8c-5fde0c5fbdd2" providerId="ADAL" clId="{B441C459-42E0-4465-B296-199851FC6E31}" dt="2024-09-11T11:12:14.001" v="3782" actId="6264"/>
          <ac:spMkLst>
            <pc:docMk/>
            <pc:sldMk cId="788222971" sldId="932"/>
            <ac:spMk id="3" creationId="{2548C068-D416-BE39-A78D-4DDDC19A5872}"/>
          </ac:spMkLst>
        </pc:spChg>
        <pc:spChg chg="mod ord">
          <ac:chgData name="José Antonio Ureta Santacreu" userId="e36999d1-2b92-424a-9e8c-5fde0c5fbdd2" providerId="ADAL" clId="{B441C459-42E0-4465-B296-199851FC6E31}" dt="2024-09-12T10:39:46.504" v="4106" actId="27636"/>
          <ac:spMkLst>
            <pc:docMk/>
            <pc:sldMk cId="788222971" sldId="932"/>
            <ac:spMk id="4" creationId="{8C3B18C2-CB36-966A-29F2-474D36AA8675}"/>
          </ac:spMkLst>
        </pc:spChg>
        <pc:spChg chg="mod ord">
          <ac:chgData name="José Antonio Ureta Santacreu" userId="e36999d1-2b92-424a-9e8c-5fde0c5fbdd2" providerId="ADAL" clId="{B441C459-42E0-4465-B296-199851FC6E31}" dt="2024-09-11T11:12:14.001" v="3782" actId="6264"/>
          <ac:spMkLst>
            <pc:docMk/>
            <pc:sldMk cId="788222971" sldId="932"/>
            <ac:spMk id="5" creationId="{BE556CA6-7FBC-6987-F7D3-09BBCAE50893}"/>
          </ac:spMkLst>
        </pc:spChg>
        <pc:spChg chg="mod ord">
          <ac:chgData name="José Antonio Ureta Santacreu" userId="e36999d1-2b92-424a-9e8c-5fde0c5fbdd2" providerId="ADAL" clId="{B441C459-42E0-4465-B296-199851FC6E31}" dt="2024-09-11T11:12:14.001" v="3782" actId="6264"/>
          <ac:spMkLst>
            <pc:docMk/>
            <pc:sldMk cId="788222971" sldId="932"/>
            <ac:spMk id="6" creationId="{2D290328-0106-9CBB-8190-2C17D4D94696}"/>
          </ac:spMkLst>
        </pc:spChg>
        <pc:spChg chg="mod ord">
          <ac:chgData name="José Antonio Ureta Santacreu" userId="e36999d1-2b92-424a-9e8c-5fde0c5fbdd2" providerId="ADAL" clId="{B441C459-42E0-4465-B296-199851FC6E31}" dt="2024-09-11T11:12:14.001" v="3782" actId="6264"/>
          <ac:spMkLst>
            <pc:docMk/>
            <pc:sldMk cId="788222971" sldId="932"/>
            <ac:spMk id="7" creationId="{EFBA4FA9-A0D0-9120-1D7C-6D7288DD6B50}"/>
          </ac:spMkLst>
        </pc:spChg>
        <pc:spChg chg="mod ord">
          <ac:chgData name="José Antonio Ureta Santacreu" userId="e36999d1-2b92-424a-9e8c-5fde0c5fbdd2" providerId="ADAL" clId="{B441C459-42E0-4465-B296-199851FC6E31}" dt="2024-09-11T11:12:14.001" v="3782" actId="6264"/>
          <ac:spMkLst>
            <pc:docMk/>
            <pc:sldMk cId="788222971" sldId="932"/>
            <ac:spMk id="8" creationId="{E92B07AD-7157-F8A0-892A-B8DC3D86F137}"/>
          </ac:spMkLst>
        </pc:spChg>
        <pc:spChg chg="add del mod">
          <ac:chgData name="José Antonio Ureta Santacreu" userId="e36999d1-2b92-424a-9e8c-5fde0c5fbdd2" providerId="ADAL" clId="{B441C459-42E0-4465-B296-199851FC6E31}" dt="2024-09-11T11:12:14.001" v="3782" actId="6264"/>
          <ac:spMkLst>
            <pc:docMk/>
            <pc:sldMk cId="788222971" sldId="932"/>
            <ac:spMk id="9" creationId="{546392BB-7E2B-B7A0-C153-2943F52F8EA0}"/>
          </ac:spMkLst>
        </pc:spChg>
        <pc:spChg chg="add del mod">
          <ac:chgData name="José Antonio Ureta Santacreu" userId="e36999d1-2b92-424a-9e8c-5fde0c5fbdd2" providerId="ADAL" clId="{B441C459-42E0-4465-B296-199851FC6E31}" dt="2024-09-11T11:12:14.001" v="3782" actId="6264"/>
          <ac:spMkLst>
            <pc:docMk/>
            <pc:sldMk cId="788222971" sldId="932"/>
            <ac:spMk id="10" creationId="{83DA5791-5F68-EC06-C1E0-EF0BF0DFE88A}"/>
          </ac:spMkLst>
        </pc:spChg>
        <pc:spChg chg="add del mod">
          <ac:chgData name="José Antonio Ureta Santacreu" userId="e36999d1-2b92-424a-9e8c-5fde0c5fbdd2" providerId="ADAL" clId="{B441C459-42E0-4465-B296-199851FC6E31}" dt="2024-09-11T11:12:14.001" v="3782" actId="6264"/>
          <ac:spMkLst>
            <pc:docMk/>
            <pc:sldMk cId="788222971" sldId="932"/>
            <ac:spMk id="11" creationId="{5D3A1367-CB44-F758-AF0F-A8FA35DF84BD}"/>
          </ac:spMkLst>
        </pc:spChg>
        <pc:spChg chg="add del mod">
          <ac:chgData name="José Antonio Ureta Santacreu" userId="e36999d1-2b92-424a-9e8c-5fde0c5fbdd2" providerId="ADAL" clId="{B441C459-42E0-4465-B296-199851FC6E31}" dt="2024-09-11T11:12:14.001" v="3782" actId="6264"/>
          <ac:spMkLst>
            <pc:docMk/>
            <pc:sldMk cId="788222971" sldId="932"/>
            <ac:spMk id="12" creationId="{CBBAAC00-1251-151F-7E76-BA6B9379F1ED}"/>
          </ac:spMkLst>
        </pc:spChg>
        <pc:spChg chg="add del mod">
          <ac:chgData name="José Antonio Ureta Santacreu" userId="e36999d1-2b92-424a-9e8c-5fde0c5fbdd2" providerId="ADAL" clId="{B441C459-42E0-4465-B296-199851FC6E31}" dt="2024-09-11T11:12:14.001" v="3782" actId="6264"/>
          <ac:spMkLst>
            <pc:docMk/>
            <pc:sldMk cId="788222971" sldId="932"/>
            <ac:spMk id="13" creationId="{7B21DBD9-E7C3-BEF4-82BE-547E60647365}"/>
          </ac:spMkLst>
        </pc:spChg>
        <pc:spChg chg="add del mod">
          <ac:chgData name="José Antonio Ureta Santacreu" userId="e36999d1-2b92-424a-9e8c-5fde0c5fbdd2" providerId="ADAL" clId="{B441C459-42E0-4465-B296-199851FC6E31}" dt="2024-09-11T11:12:14.001" v="3782" actId="6264"/>
          <ac:spMkLst>
            <pc:docMk/>
            <pc:sldMk cId="788222971" sldId="932"/>
            <ac:spMk id="14" creationId="{B5FEA642-9DE6-50D1-2107-FC9A27FB1A49}"/>
          </ac:spMkLst>
        </pc:spChg>
        <pc:picChg chg="mod ord">
          <ac:chgData name="José Antonio Ureta Santacreu" userId="e36999d1-2b92-424a-9e8c-5fde0c5fbdd2" providerId="ADAL" clId="{B441C459-42E0-4465-B296-199851FC6E31}" dt="2024-09-11T11:12:14.001" v="3782" actId="6264"/>
          <ac:picMkLst>
            <pc:docMk/>
            <pc:sldMk cId="788222971" sldId="932"/>
            <ac:picMk id="2050" creationId="{5022A480-7FF7-5F61-3E40-C6662130A209}"/>
          </ac:picMkLst>
        </pc:picChg>
      </pc:sldChg>
      <pc:sldChg chg="addSp delSp modSp mod chgLayout">
        <pc:chgData name="José Antonio Ureta Santacreu" userId="e36999d1-2b92-424a-9e8c-5fde0c5fbdd2" providerId="ADAL" clId="{B441C459-42E0-4465-B296-199851FC6E31}" dt="2024-09-11T11:12:14.001" v="3782" actId="6264"/>
        <pc:sldMkLst>
          <pc:docMk/>
          <pc:sldMk cId="1187540785" sldId="933"/>
        </pc:sldMkLst>
        <pc:spChg chg="mod ord">
          <ac:chgData name="José Antonio Ureta Santacreu" userId="e36999d1-2b92-424a-9e8c-5fde0c5fbdd2" providerId="ADAL" clId="{B441C459-42E0-4465-B296-199851FC6E31}" dt="2024-09-11T11:12:14.001" v="3782" actId="6264"/>
          <ac:spMkLst>
            <pc:docMk/>
            <pc:sldMk cId="1187540785" sldId="933"/>
            <ac:spMk id="2" creationId="{6A487A77-BB4B-4E13-BDCC-16DB903D1087}"/>
          </ac:spMkLst>
        </pc:spChg>
        <pc:spChg chg="mod ord">
          <ac:chgData name="José Antonio Ureta Santacreu" userId="e36999d1-2b92-424a-9e8c-5fde0c5fbdd2" providerId="ADAL" clId="{B441C459-42E0-4465-B296-199851FC6E31}" dt="2024-09-11T11:12:14.001" v="3782" actId="6264"/>
          <ac:spMkLst>
            <pc:docMk/>
            <pc:sldMk cId="1187540785" sldId="933"/>
            <ac:spMk id="3" creationId="{564CE5DA-F6AC-482A-86B3-587F432C68AE}"/>
          </ac:spMkLst>
        </pc:spChg>
        <pc:spChg chg="mod ord">
          <ac:chgData name="José Antonio Ureta Santacreu" userId="e36999d1-2b92-424a-9e8c-5fde0c5fbdd2" providerId="ADAL" clId="{B441C459-42E0-4465-B296-199851FC6E31}" dt="2024-09-11T11:12:14.001" v="3782" actId="6264"/>
          <ac:spMkLst>
            <pc:docMk/>
            <pc:sldMk cId="1187540785" sldId="933"/>
            <ac:spMk id="4" creationId="{AC0C659F-3698-408D-845E-9EF5BB3364A8}"/>
          </ac:spMkLst>
        </pc:spChg>
        <pc:spChg chg="mod ord">
          <ac:chgData name="José Antonio Ureta Santacreu" userId="e36999d1-2b92-424a-9e8c-5fde0c5fbdd2" providerId="ADAL" clId="{B441C459-42E0-4465-B296-199851FC6E31}" dt="2024-09-11T11:12:14.001" v="3782" actId="6264"/>
          <ac:spMkLst>
            <pc:docMk/>
            <pc:sldMk cId="1187540785" sldId="933"/>
            <ac:spMk id="5" creationId="{813551B2-16B2-46BA-8968-ED64FBC9C186}"/>
          </ac:spMkLst>
        </pc:spChg>
        <pc:spChg chg="add del mod">
          <ac:chgData name="José Antonio Ureta Santacreu" userId="e36999d1-2b92-424a-9e8c-5fde0c5fbdd2" providerId="ADAL" clId="{B441C459-42E0-4465-B296-199851FC6E31}" dt="2024-09-11T11:12:14.001" v="3782" actId="6264"/>
          <ac:spMkLst>
            <pc:docMk/>
            <pc:sldMk cId="1187540785" sldId="933"/>
            <ac:spMk id="6" creationId="{77194F65-E061-3FB1-5420-1EC6D6B9BB53}"/>
          </ac:spMkLst>
        </pc:spChg>
        <pc:spChg chg="add del mod">
          <ac:chgData name="José Antonio Ureta Santacreu" userId="e36999d1-2b92-424a-9e8c-5fde0c5fbdd2" providerId="ADAL" clId="{B441C459-42E0-4465-B296-199851FC6E31}" dt="2024-09-11T11:12:14.001" v="3782" actId="6264"/>
          <ac:spMkLst>
            <pc:docMk/>
            <pc:sldMk cId="1187540785" sldId="933"/>
            <ac:spMk id="7" creationId="{8672E3C9-9DED-F507-FB23-F6494676E4DA}"/>
          </ac:spMkLst>
        </pc:spChg>
        <pc:spChg chg="add del mod">
          <ac:chgData name="José Antonio Ureta Santacreu" userId="e36999d1-2b92-424a-9e8c-5fde0c5fbdd2" providerId="ADAL" clId="{B441C459-42E0-4465-B296-199851FC6E31}" dt="2024-09-11T11:12:14.001" v="3782" actId="6264"/>
          <ac:spMkLst>
            <pc:docMk/>
            <pc:sldMk cId="1187540785" sldId="933"/>
            <ac:spMk id="8" creationId="{FBC4400B-3109-B780-FF37-AAB2A03BE4D8}"/>
          </ac:spMkLst>
        </pc:spChg>
        <pc:spChg chg="add del mod">
          <ac:chgData name="José Antonio Ureta Santacreu" userId="e36999d1-2b92-424a-9e8c-5fde0c5fbdd2" providerId="ADAL" clId="{B441C459-42E0-4465-B296-199851FC6E31}" dt="2024-09-11T11:12:14.001" v="3782" actId="6264"/>
          <ac:spMkLst>
            <pc:docMk/>
            <pc:sldMk cId="1187540785" sldId="933"/>
            <ac:spMk id="9" creationId="{D824694C-C87B-FFD8-5E51-5C3E2D327419}"/>
          </ac:spMkLst>
        </pc:spChg>
      </pc:sldChg>
      <pc:sldChg chg="del">
        <pc:chgData name="José Antonio Ureta Santacreu" userId="e36999d1-2b92-424a-9e8c-5fde0c5fbdd2" providerId="ADAL" clId="{B441C459-42E0-4465-B296-199851FC6E31}" dt="2024-07-23T10:41:54.955" v="271" actId="2696"/>
        <pc:sldMkLst>
          <pc:docMk/>
          <pc:sldMk cId="208038382" sldId="934"/>
        </pc:sldMkLst>
      </pc:sldChg>
      <pc:sldChg chg="addSp delSp modSp add mod modShow chgLayout">
        <pc:chgData name="José Antonio Ureta Santacreu" userId="e36999d1-2b92-424a-9e8c-5fde0c5fbdd2" providerId="ADAL" clId="{B441C459-42E0-4465-B296-199851FC6E31}" dt="2024-09-11T11:12:14.001" v="3782" actId="6264"/>
        <pc:sldMkLst>
          <pc:docMk/>
          <pc:sldMk cId="985495867" sldId="934"/>
        </pc:sldMkLst>
        <pc:spChg chg="mod ord">
          <ac:chgData name="José Antonio Ureta Santacreu" userId="e36999d1-2b92-424a-9e8c-5fde0c5fbdd2" providerId="ADAL" clId="{B441C459-42E0-4465-B296-199851FC6E31}" dt="2024-09-11T11:12:14.001" v="3782" actId="6264"/>
          <ac:spMkLst>
            <pc:docMk/>
            <pc:sldMk cId="985495867" sldId="934"/>
            <ac:spMk id="2" creationId="{22CDF0E9-1CC0-45B5-A47C-C071104B8FA3}"/>
          </ac:spMkLst>
        </pc:spChg>
        <pc:spChg chg="add del mod">
          <ac:chgData name="José Antonio Ureta Santacreu" userId="e36999d1-2b92-424a-9e8c-5fde0c5fbdd2" providerId="ADAL" clId="{B441C459-42E0-4465-B296-199851FC6E31}" dt="2024-09-11T11:12:14.001" v="3782" actId="6264"/>
          <ac:spMkLst>
            <pc:docMk/>
            <pc:sldMk cId="985495867" sldId="934"/>
            <ac:spMk id="3" creationId="{06B10341-B899-17D9-3ACE-A6B9690CDEF7}"/>
          </ac:spMkLst>
        </pc:spChg>
        <pc:spChg chg="mod ord">
          <ac:chgData name="José Antonio Ureta Santacreu" userId="e36999d1-2b92-424a-9e8c-5fde0c5fbdd2" providerId="ADAL" clId="{B441C459-42E0-4465-B296-199851FC6E31}" dt="2024-09-11T11:12:14.001" v="3782" actId="6264"/>
          <ac:spMkLst>
            <pc:docMk/>
            <pc:sldMk cId="985495867" sldId="934"/>
            <ac:spMk id="4" creationId="{24E381A0-2D52-4A6E-B7EC-EB7DF7239D08}"/>
          </ac:spMkLst>
        </pc:spChg>
        <pc:spChg chg="mod ord">
          <ac:chgData name="José Antonio Ureta Santacreu" userId="e36999d1-2b92-424a-9e8c-5fde0c5fbdd2" providerId="ADAL" clId="{B441C459-42E0-4465-B296-199851FC6E31}" dt="2024-09-11T11:12:14.001" v="3782" actId="6264"/>
          <ac:spMkLst>
            <pc:docMk/>
            <pc:sldMk cId="985495867" sldId="934"/>
            <ac:spMk id="5" creationId="{BFD1462B-4B91-424B-A3B1-A3F076F1B66A}"/>
          </ac:spMkLst>
        </pc:spChg>
        <pc:spChg chg="mod ord">
          <ac:chgData name="José Antonio Ureta Santacreu" userId="e36999d1-2b92-424a-9e8c-5fde0c5fbdd2" providerId="ADAL" clId="{B441C459-42E0-4465-B296-199851FC6E31}" dt="2024-09-11T11:12:14.001" v="3782" actId="6264"/>
          <ac:spMkLst>
            <pc:docMk/>
            <pc:sldMk cId="985495867" sldId="934"/>
            <ac:spMk id="6" creationId="{EDBCEEF0-9B9B-4E4F-9F80-9C5763AF76B3}"/>
          </ac:spMkLst>
        </pc:spChg>
        <pc:spChg chg="add del mod">
          <ac:chgData name="José Antonio Ureta Santacreu" userId="e36999d1-2b92-424a-9e8c-5fde0c5fbdd2" providerId="ADAL" clId="{B441C459-42E0-4465-B296-199851FC6E31}" dt="2024-09-11T11:12:14.001" v="3782" actId="6264"/>
          <ac:spMkLst>
            <pc:docMk/>
            <pc:sldMk cId="985495867" sldId="934"/>
            <ac:spMk id="8" creationId="{9B970804-3CA8-60CC-E53B-3148BE41DA3B}"/>
          </ac:spMkLst>
        </pc:spChg>
        <pc:spChg chg="add del mod">
          <ac:chgData name="José Antonio Ureta Santacreu" userId="e36999d1-2b92-424a-9e8c-5fde0c5fbdd2" providerId="ADAL" clId="{B441C459-42E0-4465-B296-199851FC6E31}" dt="2024-09-11T11:12:14.001" v="3782" actId="6264"/>
          <ac:spMkLst>
            <pc:docMk/>
            <pc:sldMk cId="985495867" sldId="934"/>
            <ac:spMk id="9" creationId="{287303B5-483E-077E-5C75-DCC0A751D59B}"/>
          </ac:spMkLst>
        </pc:spChg>
        <pc:spChg chg="add del mod">
          <ac:chgData name="José Antonio Ureta Santacreu" userId="e36999d1-2b92-424a-9e8c-5fde0c5fbdd2" providerId="ADAL" clId="{B441C459-42E0-4465-B296-199851FC6E31}" dt="2024-09-11T11:12:14.001" v="3782" actId="6264"/>
          <ac:spMkLst>
            <pc:docMk/>
            <pc:sldMk cId="985495867" sldId="934"/>
            <ac:spMk id="10" creationId="{20882425-9D1F-1B88-54B8-5D096083DB4D}"/>
          </ac:spMkLst>
        </pc:spChg>
      </pc:sldChg>
      <pc:sldChg chg="addSp delSp modSp mod chgLayout">
        <pc:chgData name="José Antonio Ureta Santacreu" userId="e36999d1-2b92-424a-9e8c-5fde0c5fbdd2" providerId="ADAL" clId="{B441C459-42E0-4465-B296-199851FC6E31}" dt="2024-09-12T15:47:12.756" v="5185" actId="27636"/>
        <pc:sldMkLst>
          <pc:docMk/>
          <pc:sldMk cId="124857213" sldId="936"/>
        </pc:sldMkLst>
        <pc:spChg chg="mod ord">
          <ac:chgData name="José Antonio Ureta Santacreu" userId="e36999d1-2b92-424a-9e8c-5fde0c5fbdd2" providerId="ADAL" clId="{B441C459-42E0-4465-B296-199851FC6E31}" dt="2024-09-12T15:47:12.756" v="5185" actId="27636"/>
          <ac:spMkLst>
            <pc:docMk/>
            <pc:sldMk cId="124857213" sldId="936"/>
            <ac:spMk id="2" creationId="{4F976921-0A8A-5E65-A919-EF741FD3B4D3}"/>
          </ac:spMkLst>
        </pc:spChg>
        <pc:spChg chg="add del mod">
          <ac:chgData name="José Antonio Ureta Santacreu" userId="e36999d1-2b92-424a-9e8c-5fde0c5fbdd2" providerId="ADAL" clId="{B441C459-42E0-4465-B296-199851FC6E31}" dt="2024-09-12T10:44:47.781" v="4169" actId="6264"/>
          <ac:spMkLst>
            <pc:docMk/>
            <pc:sldMk cId="124857213" sldId="936"/>
            <ac:spMk id="3" creationId="{2C42DA4B-CAFD-76FC-A728-EF7DD37218CB}"/>
          </ac:spMkLst>
        </pc:spChg>
        <pc:spChg chg="add del mod">
          <ac:chgData name="José Antonio Ureta Santacreu" userId="e36999d1-2b92-424a-9e8c-5fde0c5fbdd2" providerId="ADAL" clId="{B441C459-42E0-4465-B296-199851FC6E31}" dt="2024-09-11T11:12:14.001" v="3782" actId="6264"/>
          <ac:spMkLst>
            <pc:docMk/>
            <pc:sldMk cId="124857213" sldId="936"/>
            <ac:spMk id="3" creationId="{BD784BC2-82C9-EBF3-21C6-52DCFC2EB953}"/>
          </ac:spMkLst>
        </pc:spChg>
        <pc:spChg chg="mod ord">
          <ac:chgData name="José Antonio Ureta Santacreu" userId="e36999d1-2b92-424a-9e8c-5fde0c5fbdd2" providerId="ADAL" clId="{B441C459-42E0-4465-B296-199851FC6E31}" dt="2024-09-12T15:47:05.393" v="5179" actId="2"/>
          <ac:spMkLst>
            <pc:docMk/>
            <pc:sldMk cId="124857213" sldId="936"/>
            <ac:spMk id="4" creationId="{CE3787A4-FFBB-190C-F5CD-C6549282F0A1}"/>
          </ac:spMkLst>
        </pc:spChg>
        <pc:spChg chg="mod ord">
          <ac:chgData name="José Antonio Ureta Santacreu" userId="e36999d1-2b92-424a-9e8c-5fde0c5fbdd2" providerId="ADAL" clId="{B441C459-42E0-4465-B296-199851FC6E31}" dt="2024-09-12T10:44:47.781" v="4169" actId="6264"/>
          <ac:spMkLst>
            <pc:docMk/>
            <pc:sldMk cId="124857213" sldId="936"/>
            <ac:spMk id="5" creationId="{7267EC9B-5874-72F2-D75C-69C69E82381F}"/>
          </ac:spMkLst>
        </pc:spChg>
        <pc:spChg chg="mod ord">
          <ac:chgData name="José Antonio Ureta Santacreu" userId="e36999d1-2b92-424a-9e8c-5fde0c5fbdd2" providerId="ADAL" clId="{B441C459-42E0-4465-B296-199851FC6E31}" dt="2024-09-12T10:44:47.781" v="4169" actId="6264"/>
          <ac:spMkLst>
            <pc:docMk/>
            <pc:sldMk cId="124857213" sldId="936"/>
            <ac:spMk id="6" creationId="{B7A41C11-88FF-A787-2120-2879DDC34BB9}"/>
          </ac:spMkLst>
        </pc:spChg>
        <pc:spChg chg="mod ord">
          <ac:chgData name="José Antonio Ureta Santacreu" userId="e36999d1-2b92-424a-9e8c-5fde0c5fbdd2" providerId="ADAL" clId="{B441C459-42E0-4465-B296-199851FC6E31}" dt="2024-09-12T10:44:47.781" v="4169" actId="6264"/>
          <ac:spMkLst>
            <pc:docMk/>
            <pc:sldMk cId="124857213" sldId="936"/>
            <ac:spMk id="7" creationId="{11879EB8-DD00-106F-6F3F-BC76249A2ECA}"/>
          </ac:spMkLst>
        </pc:spChg>
        <pc:spChg chg="add del mod">
          <ac:chgData name="José Antonio Ureta Santacreu" userId="e36999d1-2b92-424a-9e8c-5fde0c5fbdd2" providerId="ADAL" clId="{B441C459-42E0-4465-B296-199851FC6E31}" dt="2024-09-12T10:44:47.781" v="4169" actId="6264"/>
          <ac:spMkLst>
            <pc:docMk/>
            <pc:sldMk cId="124857213" sldId="936"/>
            <ac:spMk id="8" creationId="{56214A29-9177-4D5E-0550-3DDCAE226B8C}"/>
          </ac:spMkLst>
        </pc:spChg>
        <pc:spChg chg="add del mod">
          <ac:chgData name="José Antonio Ureta Santacreu" userId="e36999d1-2b92-424a-9e8c-5fde0c5fbdd2" providerId="ADAL" clId="{B441C459-42E0-4465-B296-199851FC6E31}" dt="2024-09-11T11:12:14.001" v="3782" actId="6264"/>
          <ac:spMkLst>
            <pc:docMk/>
            <pc:sldMk cId="124857213" sldId="936"/>
            <ac:spMk id="8" creationId="{64D1DE83-3775-B2B5-9477-C197A1E1FBA3}"/>
          </ac:spMkLst>
        </pc:spChg>
        <pc:spChg chg="mod ord">
          <ac:chgData name="José Antonio Ureta Santacreu" userId="e36999d1-2b92-424a-9e8c-5fde0c5fbdd2" providerId="ADAL" clId="{B441C459-42E0-4465-B296-199851FC6E31}" dt="2024-09-12T15:47:06.715" v="5180" actId="2"/>
          <ac:spMkLst>
            <pc:docMk/>
            <pc:sldMk cId="124857213" sldId="936"/>
            <ac:spMk id="9" creationId="{34565802-FE38-29F1-7177-9FBA5BAB23AE}"/>
          </ac:spMkLst>
        </pc:spChg>
        <pc:spChg chg="add del mod">
          <ac:chgData name="José Antonio Ureta Santacreu" userId="e36999d1-2b92-424a-9e8c-5fde0c5fbdd2" providerId="ADAL" clId="{B441C459-42E0-4465-B296-199851FC6E31}" dt="2024-09-11T11:12:14.001" v="3782" actId="6264"/>
          <ac:spMkLst>
            <pc:docMk/>
            <pc:sldMk cId="124857213" sldId="936"/>
            <ac:spMk id="10" creationId="{1217C626-D69A-7A96-0205-0C9A39BBBBBE}"/>
          </ac:spMkLst>
        </pc:spChg>
        <pc:spChg chg="add del mod">
          <ac:chgData name="José Antonio Ureta Santacreu" userId="e36999d1-2b92-424a-9e8c-5fde0c5fbdd2" providerId="ADAL" clId="{B441C459-42E0-4465-B296-199851FC6E31}" dt="2024-09-12T10:44:47.781" v="4169" actId="6264"/>
          <ac:spMkLst>
            <pc:docMk/>
            <pc:sldMk cId="124857213" sldId="936"/>
            <ac:spMk id="10" creationId="{44E0B852-FECA-E3D0-D6A0-7289019D45BB}"/>
          </ac:spMkLst>
        </pc:spChg>
        <pc:spChg chg="add del mod">
          <ac:chgData name="José Antonio Ureta Santacreu" userId="e36999d1-2b92-424a-9e8c-5fde0c5fbdd2" providerId="ADAL" clId="{B441C459-42E0-4465-B296-199851FC6E31}" dt="2024-09-12T10:44:47.781" v="4169" actId="6264"/>
          <ac:spMkLst>
            <pc:docMk/>
            <pc:sldMk cId="124857213" sldId="936"/>
            <ac:spMk id="11" creationId="{0034E1D9-F8AC-A58D-4823-E8A5D3C2CE2D}"/>
          </ac:spMkLst>
        </pc:spChg>
        <pc:spChg chg="add del mod">
          <ac:chgData name="José Antonio Ureta Santacreu" userId="e36999d1-2b92-424a-9e8c-5fde0c5fbdd2" providerId="ADAL" clId="{B441C459-42E0-4465-B296-199851FC6E31}" dt="2024-09-11T11:12:14.001" v="3782" actId="6264"/>
          <ac:spMkLst>
            <pc:docMk/>
            <pc:sldMk cId="124857213" sldId="936"/>
            <ac:spMk id="11" creationId="{84200298-7C36-3A51-1979-5CACC8E70830}"/>
          </ac:spMkLst>
        </pc:spChg>
        <pc:spChg chg="add del mod">
          <ac:chgData name="José Antonio Ureta Santacreu" userId="e36999d1-2b92-424a-9e8c-5fde0c5fbdd2" providerId="ADAL" clId="{B441C459-42E0-4465-B296-199851FC6E31}" dt="2024-09-11T11:12:14.001" v="3782" actId="6264"/>
          <ac:spMkLst>
            <pc:docMk/>
            <pc:sldMk cId="124857213" sldId="936"/>
            <ac:spMk id="13" creationId="{2086054C-59EF-0A12-31FC-DF8F9665E1BF}"/>
          </ac:spMkLst>
        </pc:spChg>
        <pc:spChg chg="add del mod">
          <ac:chgData name="José Antonio Ureta Santacreu" userId="e36999d1-2b92-424a-9e8c-5fde0c5fbdd2" providerId="ADAL" clId="{B441C459-42E0-4465-B296-199851FC6E31}" dt="2024-09-12T10:44:47.781" v="4169" actId="6264"/>
          <ac:spMkLst>
            <pc:docMk/>
            <pc:sldMk cId="124857213" sldId="936"/>
            <ac:spMk id="13" creationId="{A707A893-14F7-6366-9139-764733FCDC2F}"/>
          </ac:spMkLst>
        </pc:spChg>
        <pc:spChg chg="add del mod">
          <ac:chgData name="José Antonio Ureta Santacreu" userId="e36999d1-2b92-424a-9e8c-5fde0c5fbdd2" providerId="ADAL" clId="{B441C459-42E0-4465-B296-199851FC6E31}" dt="2024-09-11T11:12:14.001" v="3782" actId="6264"/>
          <ac:spMkLst>
            <pc:docMk/>
            <pc:sldMk cId="124857213" sldId="936"/>
            <ac:spMk id="14" creationId="{1981B9B5-F7F0-0CD7-A081-07FE9E36A597}"/>
          </ac:spMkLst>
        </pc:spChg>
        <pc:spChg chg="add del mod">
          <ac:chgData name="José Antonio Ureta Santacreu" userId="e36999d1-2b92-424a-9e8c-5fde0c5fbdd2" providerId="ADAL" clId="{B441C459-42E0-4465-B296-199851FC6E31}" dt="2024-09-12T10:44:47.781" v="4169" actId="6264"/>
          <ac:spMkLst>
            <pc:docMk/>
            <pc:sldMk cId="124857213" sldId="936"/>
            <ac:spMk id="14" creationId="{300957FD-7791-8DD0-BD3D-FAB555C68C64}"/>
          </ac:spMkLst>
        </pc:spChg>
        <pc:spChg chg="add del mod">
          <ac:chgData name="José Antonio Ureta Santacreu" userId="e36999d1-2b92-424a-9e8c-5fde0c5fbdd2" providerId="ADAL" clId="{B441C459-42E0-4465-B296-199851FC6E31}" dt="2024-09-11T11:12:14.001" v="3782" actId="6264"/>
          <ac:spMkLst>
            <pc:docMk/>
            <pc:sldMk cId="124857213" sldId="936"/>
            <ac:spMk id="15" creationId="{26E81927-2631-DB54-1532-CA82A9ADFB01}"/>
          </ac:spMkLst>
        </pc:spChg>
        <pc:spChg chg="add del mod">
          <ac:chgData name="José Antonio Ureta Santacreu" userId="e36999d1-2b92-424a-9e8c-5fde0c5fbdd2" providerId="ADAL" clId="{B441C459-42E0-4465-B296-199851FC6E31}" dt="2024-09-12T10:44:47.781" v="4169" actId="6264"/>
          <ac:spMkLst>
            <pc:docMk/>
            <pc:sldMk cId="124857213" sldId="936"/>
            <ac:spMk id="15" creationId="{8F690BDC-DAD5-6CEC-39A0-599AB1ED995D}"/>
          </ac:spMkLst>
        </pc:spChg>
        <pc:picChg chg="mod ord">
          <ac:chgData name="José Antonio Ureta Santacreu" userId="e36999d1-2b92-424a-9e8c-5fde0c5fbdd2" providerId="ADAL" clId="{B441C459-42E0-4465-B296-199851FC6E31}" dt="2024-09-12T10:44:47.781" v="4169" actId="6264"/>
          <ac:picMkLst>
            <pc:docMk/>
            <pc:sldMk cId="124857213" sldId="936"/>
            <ac:picMk id="12" creationId="{8119C0A8-AAF4-9E01-B9EE-662D3B2DC8DA}"/>
          </ac:picMkLst>
        </pc:picChg>
      </pc:sldChg>
      <pc:sldChg chg="addSp delSp modSp mod chgLayout">
        <pc:chgData name="José Antonio Ureta Santacreu" userId="e36999d1-2b92-424a-9e8c-5fde0c5fbdd2" providerId="ADAL" clId="{B441C459-42E0-4465-B296-199851FC6E31}" dt="2024-09-11T11:12:14.001" v="3782" actId="6264"/>
        <pc:sldMkLst>
          <pc:docMk/>
          <pc:sldMk cId="1224980382" sldId="937"/>
        </pc:sldMkLst>
        <pc:spChg chg="mod ord">
          <ac:chgData name="José Antonio Ureta Santacreu" userId="e36999d1-2b92-424a-9e8c-5fde0c5fbdd2" providerId="ADAL" clId="{B441C459-42E0-4465-B296-199851FC6E31}" dt="2024-09-11T11:12:14.001" v="3782" actId="6264"/>
          <ac:spMkLst>
            <pc:docMk/>
            <pc:sldMk cId="1224980382" sldId="937"/>
            <ac:spMk id="2" creationId="{E698FD8A-A1E3-4B78-BB0A-1B48CF3D1149}"/>
          </ac:spMkLst>
        </pc:spChg>
        <pc:spChg chg="mod ord">
          <ac:chgData name="José Antonio Ureta Santacreu" userId="e36999d1-2b92-424a-9e8c-5fde0c5fbdd2" providerId="ADAL" clId="{B441C459-42E0-4465-B296-199851FC6E31}" dt="2024-09-11T11:12:14.001" v="3782" actId="6264"/>
          <ac:spMkLst>
            <pc:docMk/>
            <pc:sldMk cId="1224980382" sldId="937"/>
            <ac:spMk id="3" creationId="{BDD7550F-A9A3-480C-A9EE-DEFC324A57E4}"/>
          </ac:spMkLst>
        </pc:spChg>
        <pc:spChg chg="mod ord">
          <ac:chgData name="José Antonio Ureta Santacreu" userId="e36999d1-2b92-424a-9e8c-5fde0c5fbdd2" providerId="ADAL" clId="{B441C459-42E0-4465-B296-199851FC6E31}" dt="2024-09-11T11:12:14.001" v="3782" actId="6264"/>
          <ac:spMkLst>
            <pc:docMk/>
            <pc:sldMk cId="1224980382" sldId="937"/>
            <ac:spMk id="4" creationId="{6D77A206-46CF-4A21-AA8A-8202E3FF2293}"/>
          </ac:spMkLst>
        </pc:spChg>
        <pc:spChg chg="add del mod">
          <ac:chgData name="José Antonio Ureta Santacreu" userId="e36999d1-2b92-424a-9e8c-5fde0c5fbdd2" providerId="ADAL" clId="{B441C459-42E0-4465-B296-199851FC6E31}" dt="2024-09-11T11:12:14.001" v="3782" actId="6264"/>
          <ac:spMkLst>
            <pc:docMk/>
            <pc:sldMk cId="1224980382" sldId="937"/>
            <ac:spMk id="7" creationId="{B46B2D7F-2A09-241D-AC86-45397CC33345}"/>
          </ac:spMkLst>
        </pc:spChg>
        <pc:spChg chg="mod ord">
          <ac:chgData name="José Antonio Ureta Santacreu" userId="e36999d1-2b92-424a-9e8c-5fde0c5fbdd2" providerId="ADAL" clId="{B441C459-42E0-4465-B296-199851FC6E31}" dt="2024-09-11T11:12:14.001" v="3782" actId="6264"/>
          <ac:spMkLst>
            <pc:docMk/>
            <pc:sldMk cId="1224980382" sldId="937"/>
            <ac:spMk id="8"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1224980382" sldId="937"/>
            <ac:spMk id="9" creationId="{36854019-32F6-AFBE-FF77-97A0C273982F}"/>
          </ac:spMkLst>
        </pc:spChg>
        <pc:spChg chg="add del mod">
          <ac:chgData name="José Antonio Ureta Santacreu" userId="e36999d1-2b92-424a-9e8c-5fde0c5fbdd2" providerId="ADAL" clId="{B441C459-42E0-4465-B296-199851FC6E31}" dt="2024-09-11T11:12:14.001" v="3782" actId="6264"/>
          <ac:spMkLst>
            <pc:docMk/>
            <pc:sldMk cId="1224980382" sldId="937"/>
            <ac:spMk id="10" creationId="{7F28EB8B-6753-FCDD-1AB5-3262C70AAB86}"/>
          </ac:spMkLst>
        </pc:spChg>
        <pc:spChg chg="add del mod">
          <ac:chgData name="José Antonio Ureta Santacreu" userId="e36999d1-2b92-424a-9e8c-5fde0c5fbdd2" providerId="ADAL" clId="{B441C459-42E0-4465-B296-199851FC6E31}" dt="2024-09-11T11:12:14.001" v="3782" actId="6264"/>
          <ac:spMkLst>
            <pc:docMk/>
            <pc:sldMk cId="1224980382" sldId="937"/>
            <ac:spMk id="11" creationId="{115CC59D-1BA6-1AD7-BBAE-1162594860D7}"/>
          </ac:spMkLst>
        </pc:spChg>
        <pc:spChg chg="add del mod">
          <ac:chgData name="José Antonio Ureta Santacreu" userId="e36999d1-2b92-424a-9e8c-5fde0c5fbdd2" providerId="ADAL" clId="{B441C459-42E0-4465-B296-199851FC6E31}" dt="2024-09-11T11:12:14.001" v="3782" actId="6264"/>
          <ac:spMkLst>
            <pc:docMk/>
            <pc:sldMk cId="1224980382" sldId="937"/>
            <ac:spMk id="12" creationId="{1F85704B-40CD-560F-B212-BBF06DDBD6A8}"/>
          </ac:spMkLst>
        </pc:spChg>
        <pc:spChg chg="add del mod">
          <ac:chgData name="José Antonio Ureta Santacreu" userId="e36999d1-2b92-424a-9e8c-5fde0c5fbdd2" providerId="ADAL" clId="{B441C459-42E0-4465-B296-199851FC6E31}" dt="2024-09-11T11:12:14.001" v="3782" actId="6264"/>
          <ac:spMkLst>
            <pc:docMk/>
            <pc:sldMk cId="1224980382" sldId="937"/>
            <ac:spMk id="13" creationId="{43085031-1B6A-F864-1DDC-4B5757E06E15}"/>
          </ac:spMkLst>
        </pc:spChg>
        <pc:graphicFrameChg chg="mod ord">
          <ac:chgData name="José Antonio Ureta Santacreu" userId="e36999d1-2b92-424a-9e8c-5fde0c5fbdd2" providerId="ADAL" clId="{B441C459-42E0-4465-B296-199851FC6E31}" dt="2024-09-11T11:12:14.001" v="3782" actId="6264"/>
          <ac:graphicFrameMkLst>
            <pc:docMk/>
            <pc:sldMk cId="1224980382" sldId="937"/>
            <ac:graphicFrameMk id="5" creationId="{E39D7E6A-A421-4DAD-BFD9-FE883A8E4E6E}"/>
          </ac:graphicFrameMkLst>
        </pc:graphicFrameChg>
        <pc:picChg chg="mod ord">
          <ac:chgData name="José Antonio Ureta Santacreu" userId="e36999d1-2b92-424a-9e8c-5fde0c5fbdd2" providerId="ADAL" clId="{B441C459-42E0-4465-B296-199851FC6E31}" dt="2024-09-11T11:12:14.001" v="3782" actId="6264"/>
          <ac:picMkLst>
            <pc:docMk/>
            <pc:sldMk cId="1224980382" sldId="937"/>
            <ac:picMk id="19" creationId="{8EC61222-D462-48D1-9445-6436D04BBF4B}"/>
          </ac:picMkLst>
        </pc:picChg>
      </pc:sldChg>
      <pc:sldChg chg="addSp delSp modSp mod modClrScheme chgLayout">
        <pc:chgData name="José Antonio Ureta Santacreu" userId="e36999d1-2b92-424a-9e8c-5fde0c5fbdd2" providerId="ADAL" clId="{B441C459-42E0-4465-B296-199851FC6E31}" dt="2024-09-12T15:53:41.961" v="5240" actId="20577"/>
        <pc:sldMkLst>
          <pc:docMk/>
          <pc:sldMk cId="1231219106" sldId="943"/>
        </pc:sldMkLst>
        <pc:spChg chg="mod ord">
          <ac:chgData name="José Antonio Ureta Santacreu" userId="e36999d1-2b92-424a-9e8c-5fde0c5fbdd2" providerId="ADAL" clId="{B441C459-42E0-4465-B296-199851FC6E31}" dt="2024-09-11T11:12:14.001" v="3782" actId="6264"/>
          <ac:spMkLst>
            <pc:docMk/>
            <pc:sldMk cId="1231219106" sldId="943"/>
            <ac:spMk id="2" creationId="{5EAF3F50-BD9C-4B0B-98B5-25F49982ABDF}"/>
          </ac:spMkLst>
        </pc:spChg>
        <pc:spChg chg="mod ord">
          <ac:chgData name="José Antonio Ureta Santacreu" userId="e36999d1-2b92-424a-9e8c-5fde0c5fbdd2" providerId="ADAL" clId="{B441C459-42E0-4465-B296-199851FC6E31}" dt="2024-09-11T11:12:14.001" v="3782" actId="6264"/>
          <ac:spMkLst>
            <pc:docMk/>
            <pc:sldMk cId="1231219106" sldId="943"/>
            <ac:spMk id="3" creationId="{3927B23E-DC02-4037-9B4E-F2D4047C22AE}"/>
          </ac:spMkLst>
        </pc:spChg>
        <pc:spChg chg="mod ord">
          <ac:chgData name="José Antonio Ureta Santacreu" userId="e36999d1-2b92-424a-9e8c-5fde0c5fbdd2" providerId="ADAL" clId="{B441C459-42E0-4465-B296-199851FC6E31}" dt="2024-09-11T11:12:14.001" v="3782" actId="6264"/>
          <ac:spMkLst>
            <pc:docMk/>
            <pc:sldMk cId="1231219106" sldId="943"/>
            <ac:spMk id="4" creationId="{3C4B857E-D171-4885-9BC0-1CD78D03AAE1}"/>
          </ac:spMkLst>
        </pc:spChg>
        <pc:spChg chg="mod ord">
          <ac:chgData name="José Antonio Ureta Santacreu" userId="e36999d1-2b92-424a-9e8c-5fde0c5fbdd2" providerId="ADAL" clId="{B441C459-42E0-4465-B296-199851FC6E31}" dt="2024-09-11T11:12:14.001" v="3782" actId="6264"/>
          <ac:spMkLst>
            <pc:docMk/>
            <pc:sldMk cId="1231219106" sldId="943"/>
            <ac:spMk id="5" creationId="{6C280E01-A330-46C6-B739-470298664D64}"/>
          </ac:spMkLst>
        </pc:spChg>
        <pc:spChg chg="add del mod ord">
          <ac:chgData name="José Antonio Ureta Santacreu" userId="e36999d1-2b92-424a-9e8c-5fde0c5fbdd2" providerId="ADAL" clId="{B441C459-42E0-4465-B296-199851FC6E31}" dt="2024-07-31T10:51:09.412" v="1036"/>
          <ac:spMkLst>
            <pc:docMk/>
            <pc:sldMk cId="1231219106" sldId="943"/>
            <ac:spMk id="6" creationId="{28B889A5-8EB3-8CF8-B699-19EB2099BF49}"/>
          </ac:spMkLst>
        </pc:spChg>
        <pc:spChg chg="add del mod">
          <ac:chgData name="José Antonio Ureta Santacreu" userId="e36999d1-2b92-424a-9e8c-5fde0c5fbdd2" providerId="ADAL" clId="{B441C459-42E0-4465-B296-199851FC6E31}" dt="2024-09-11T11:12:14.001" v="3782" actId="6264"/>
          <ac:spMkLst>
            <pc:docMk/>
            <pc:sldMk cId="1231219106" sldId="943"/>
            <ac:spMk id="6" creationId="{C7F91677-C443-CF54-DFBB-35B034C0B9C4}"/>
          </ac:spMkLst>
        </pc:spChg>
        <pc:spChg chg="add del mod ord">
          <ac:chgData name="José Antonio Ureta Santacreu" userId="e36999d1-2b92-424a-9e8c-5fde0c5fbdd2" providerId="ADAL" clId="{B441C459-42E0-4465-B296-199851FC6E31}" dt="2024-09-12T15:37:53.479" v="5039" actId="1032"/>
          <ac:spMkLst>
            <pc:docMk/>
            <pc:sldMk cId="1231219106" sldId="943"/>
            <ac:spMk id="7" creationId="{4EA42F50-6D2A-D687-56B3-9AD1EF9D40FB}"/>
          </ac:spMkLst>
        </pc:spChg>
        <pc:spChg chg="add del mod">
          <ac:chgData name="José Antonio Ureta Santacreu" userId="e36999d1-2b92-424a-9e8c-5fde0c5fbdd2" providerId="ADAL" clId="{B441C459-42E0-4465-B296-199851FC6E31}" dt="2024-07-31T10:51:30.332" v="1042" actId="6264"/>
          <ac:spMkLst>
            <pc:docMk/>
            <pc:sldMk cId="1231219106" sldId="943"/>
            <ac:spMk id="9" creationId="{75C4FC88-61E9-C696-4DDB-1326BFCEA74E}"/>
          </ac:spMkLst>
        </pc:spChg>
        <pc:spChg chg="add del mod">
          <ac:chgData name="José Antonio Ureta Santacreu" userId="e36999d1-2b92-424a-9e8c-5fde0c5fbdd2" providerId="ADAL" clId="{B441C459-42E0-4465-B296-199851FC6E31}" dt="2024-09-11T11:12:14.001" v="3782" actId="6264"/>
          <ac:spMkLst>
            <pc:docMk/>
            <pc:sldMk cId="1231219106" sldId="943"/>
            <ac:spMk id="9" creationId="{C9065901-7856-B62E-AA63-514022051339}"/>
          </ac:spMkLst>
        </pc:spChg>
        <pc:spChg chg="add del mod">
          <ac:chgData name="José Antonio Ureta Santacreu" userId="e36999d1-2b92-424a-9e8c-5fde0c5fbdd2" providerId="ADAL" clId="{B441C459-42E0-4465-B296-199851FC6E31}" dt="2024-09-11T11:12:14.001" v="3782" actId="6264"/>
          <ac:spMkLst>
            <pc:docMk/>
            <pc:sldMk cId="1231219106" sldId="943"/>
            <ac:spMk id="10" creationId="{E20B35A1-F55C-E925-8F30-F8F0D0A0AAFD}"/>
          </ac:spMkLst>
        </pc:spChg>
        <pc:spChg chg="add del mod">
          <ac:chgData name="José Antonio Ureta Santacreu" userId="e36999d1-2b92-424a-9e8c-5fde0c5fbdd2" providerId="ADAL" clId="{B441C459-42E0-4465-B296-199851FC6E31}" dt="2024-07-31T10:51:30.332" v="1042" actId="6264"/>
          <ac:spMkLst>
            <pc:docMk/>
            <pc:sldMk cId="1231219106" sldId="943"/>
            <ac:spMk id="11" creationId="{1C37EFBE-C63B-A0B3-A03F-DFF6F07D7A37}"/>
          </ac:spMkLst>
        </pc:spChg>
        <pc:spChg chg="add del mod">
          <ac:chgData name="José Antonio Ureta Santacreu" userId="e36999d1-2b92-424a-9e8c-5fde0c5fbdd2" providerId="ADAL" clId="{B441C459-42E0-4465-B296-199851FC6E31}" dt="2024-09-11T11:12:14.001" v="3782" actId="6264"/>
          <ac:spMkLst>
            <pc:docMk/>
            <pc:sldMk cId="1231219106" sldId="943"/>
            <ac:spMk id="11" creationId="{26062721-A4A0-92AD-CF0B-6FF866B4BF55}"/>
          </ac:spMkLst>
        </pc:spChg>
        <pc:spChg chg="add del mod">
          <ac:chgData name="José Antonio Ureta Santacreu" userId="e36999d1-2b92-424a-9e8c-5fde0c5fbdd2" providerId="ADAL" clId="{B441C459-42E0-4465-B296-199851FC6E31}" dt="2024-07-31T10:51:30.332" v="1042" actId="6264"/>
          <ac:spMkLst>
            <pc:docMk/>
            <pc:sldMk cId="1231219106" sldId="943"/>
            <ac:spMk id="12" creationId="{1DCF532A-EA12-A98F-DE99-F687C1F98010}"/>
          </ac:spMkLst>
        </pc:spChg>
        <pc:spChg chg="add del mod">
          <ac:chgData name="José Antonio Ureta Santacreu" userId="e36999d1-2b92-424a-9e8c-5fde0c5fbdd2" providerId="ADAL" clId="{B441C459-42E0-4465-B296-199851FC6E31}" dt="2024-09-11T11:12:14.001" v="3782" actId="6264"/>
          <ac:spMkLst>
            <pc:docMk/>
            <pc:sldMk cId="1231219106" sldId="943"/>
            <ac:spMk id="12" creationId="{C2B4C4FE-9470-017C-2FF4-3C51A5917A3E}"/>
          </ac:spMkLst>
        </pc:spChg>
        <pc:spChg chg="add del mod">
          <ac:chgData name="José Antonio Ureta Santacreu" userId="e36999d1-2b92-424a-9e8c-5fde0c5fbdd2" providerId="ADAL" clId="{B441C459-42E0-4465-B296-199851FC6E31}" dt="2024-09-11T11:12:14.001" v="3782" actId="6264"/>
          <ac:spMkLst>
            <pc:docMk/>
            <pc:sldMk cId="1231219106" sldId="943"/>
            <ac:spMk id="13" creationId="{1EC18B05-3900-C310-0098-CE23ABD30532}"/>
          </ac:spMkLst>
        </pc:spChg>
        <pc:spChg chg="add del mod">
          <ac:chgData name="José Antonio Ureta Santacreu" userId="e36999d1-2b92-424a-9e8c-5fde0c5fbdd2" providerId="ADAL" clId="{B441C459-42E0-4465-B296-199851FC6E31}" dt="2024-07-31T10:51:30.332" v="1042" actId="6264"/>
          <ac:spMkLst>
            <pc:docMk/>
            <pc:sldMk cId="1231219106" sldId="943"/>
            <ac:spMk id="13" creationId="{C9C16E3A-9B1A-3115-2EE6-164FABA76E27}"/>
          </ac:spMkLst>
        </pc:spChg>
        <pc:spChg chg="del mod ord">
          <ac:chgData name="José Antonio Ureta Santacreu" userId="e36999d1-2b92-424a-9e8c-5fde0c5fbdd2" providerId="ADAL" clId="{B441C459-42E0-4465-B296-199851FC6E31}" dt="2024-07-31T10:51:20.853" v="1038" actId="478"/>
          <ac:spMkLst>
            <pc:docMk/>
            <pc:sldMk cId="1231219106" sldId="943"/>
            <ac:spMk id="14" creationId="{F2E93191-B9A8-4C46-B891-8DE5A0B8139D}"/>
          </ac:spMkLst>
        </pc:spChg>
        <pc:spChg chg="add del mod">
          <ac:chgData name="José Antonio Ureta Santacreu" userId="e36999d1-2b92-424a-9e8c-5fde0c5fbdd2" providerId="ADAL" clId="{B441C459-42E0-4465-B296-199851FC6E31}" dt="2024-07-31T10:51:30.332" v="1042" actId="6264"/>
          <ac:spMkLst>
            <pc:docMk/>
            <pc:sldMk cId="1231219106" sldId="943"/>
            <ac:spMk id="15" creationId="{8D50D456-DEBA-EF86-F191-3BB2DD4BD1D2}"/>
          </ac:spMkLst>
        </pc:spChg>
        <pc:spChg chg="add del mod">
          <ac:chgData name="José Antonio Ureta Santacreu" userId="e36999d1-2b92-424a-9e8c-5fde0c5fbdd2" providerId="ADAL" clId="{B441C459-42E0-4465-B296-199851FC6E31}" dt="2024-07-31T10:51:30.332" v="1042" actId="6264"/>
          <ac:spMkLst>
            <pc:docMk/>
            <pc:sldMk cId="1231219106" sldId="943"/>
            <ac:spMk id="16" creationId="{35FEE5D7-D2FA-4EC5-01C3-78A1742B010C}"/>
          </ac:spMkLst>
        </pc:spChg>
        <pc:graphicFrameChg chg="add mod modGraphic">
          <ac:chgData name="José Antonio Ureta Santacreu" userId="e36999d1-2b92-424a-9e8c-5fde0c5fbdd2" providerId="ADAL" clId="{B441C459-42E0-4465-B296-199851FC6E31}" dt="2024-09-12T15:53:41.961" v="5240" actId="20577"/>
          <ac:graphicFrameMkLst>
            <pc:docMk/>
            <pc:sldMk cId="1231219106" sldId="943"/>
            <ac:graphicFrameMk id="6" creationId="{8EC1BCAF-EA5F-D313-14EC-63277B0415B3}"/>
          </ac:graphicFrameMkLst>
        </pc:graphicFrameChg>
        <pc:picChg chg="add mod ord">
          <ac:chgData name="José Antonio Ureta Santacreu" userId="e36999d1-2b92-424a-9e8c-5fde0c5fbdd2" providerId="ADAL" clId="{B441C459-42E0-4465-B296-199851FC6E31}" dt="2024-09-11T11:12:14.001" v="3782" actId="6264"/>
          <ac:picMkLst>
            <pc:docMk/>
            <pc:sldMk cId="1231219106" sldId="943"/>
            <ac:picMk id="8" creationId="{DE479C66-6790-D61C-AEA4-A87B253E43B3}"/>
          </ac:picMkLst>
        </pc:picChg>
        <pc:picChg chg="del mod ord">
          <ac:chgData name="José Antonio Ureta Santacreu" userId="e36999d1-2b92-424a-9e8c-5fde0c5fbdd2" providerId="ADAL" clId="{B441C459-42E0-4465-B296-199851FC6E31}" dt="2024-07-31T10:51:07.029" v="1035" actId="21"/>
          <ac:picMkLst>
            <pc:docMk/>
            <pc:sldMk cId="1231219106" sldId="943"/>
            <ac:picMk id="10" creationId="{DE479C66-6790-D61C-AEA4-A87B253E43B3}"/>
          </ac:picMkLst>
        </pc:picChg>
      </pc:sldChg>
      <pc:sldChg chg="addSp delSp modSp mod chgLayout">
        <pc:chgData name="José Antonio Ureta Santacreu" userId="e36999d1-2b92-424a-9e8c-5fde0c5fbdd2" providerId="ADAL" clId="{B441C459-42E0-4465-B296-199851FC6E31}" dt="2024-09-11T11:12:14.001" v="3782" actId="6264"/>
        <pc:sldMkLst>
          <pc:docMk/>
          <pc:sldMk cId="564975057" sldId="944"/>
        </pc:sldMkLst>
        <pc:spChg chg="mod ord">
          <ac:chgData name="José Antonio Ureta Santacreu" userId="e36999d1-2b92-424a-9e8c-5fde0c5fbdd2" providerId="ADAL" clId="{B441C459-42E0-4465-B296-199851FC6E31}" dt="2024-09-11T11:12:14.001" v="3782" actId="6264"/>
          <ac:spMkLst>
            <pc:docMk/>
            <pc:sldMk cId="564975057" sldId="944"/>
            <ac:spMk id="2" creationId="{5C8A20B3-7379-4024-9AFC-99A70D0B77BD}"/>
          </ac:spMkLst>
        </pc:spChg>
        <pc:spChg chg="add del mod">
          <ac:chgData name="José Antonio Ureta Santacreu" userId="e36999d1-2b92-424a-9e8c-5fde0c5fbdd2" providerId="ADAL" clId="{B441C459-42E0-4465-B296-199851FC6E31}" dt="2024-09-11T11:12:14.001" v="3782" actId="6264"/>
          <ac:spMkLst>
            <pc:docMk/>
            <pc:sldMk cId="564975057" sldId="944"/>
            <ac:spMk id="4" creationId="{9DC45304-FEDF-D907-BD03-A198F48D70D1}"/>
          </ac:spMkLst>
        </pc:spChg>
        <pc:spChg chg="mod ord">
          <ac:chgData name="José Antonio Ureta Santacreu" userId="e36999d1-2b92-424a-9e8c-5fde0c5fbdd2" providerId="ADAL" clId="{B441C459-42E0-4465-B296-199851FC6E31}" dt="2024-09-11T11:12:14.001" v="3782" actId="6264"/>
          <ac:spMkLst>
            <pc:docMk/>
            <pc:sldMk cId="564975057" sldId="944"/>
            <ac:spMk id="5" creationId="{FF7812A5-ECA7-41BF-A0A9-6B9143600319}"/>
          </ac:spMkLst>
        </pc:spChg>
        <pc:spChg chg="mod ord">
          <ac:chgData name="José Antonio Ureta Santacreu" userId="e36999d1-2b92-424a-9e8c-5fde0c5fbdd2" providerId="ADAL" clId="{B441C459-42E0-4465-B296-199851FC6E31}" dt="2024-09-11T11:12:14.001" v="3782" actId="6264"/>
          <ac:spMkLst>
            <pc:docMk/>
            <pc:sldMk cId="564975057" sldId="944"/>
            <ac:spMk id="6" creationId="{19654A33-6AFF-41A2-8B34-E244F155E3E9}"/>
          </ac:spMkLst>
        </pc:spChg>
        <pc:spChg chg="mod ord">
          <ac:chgData name="José Antonio Ureta Santacreu" userId="e36999d1-2b92-424a-9e8c-5fde0c5fbdd2" providerId="ADAL" clId="{B441C459-42E0-4465-B296-199851FC6E31}" dt="2024-09-11T11:12:14.001" v="3782" actId="6264"/>
          <ac:spMkLst>
            <pc:docMk/>
            <pc:sldMk cId="564975057" sldId="944"/>
            <ac:spMk id="7" creationId="{62EDEA5C-8DFE-42AC-B851-D013330CDE6E}"/>
          </ac:spMkLst>
        </pc:spChg>
        <pc:spChg chg="add del mod">
          <ac:chgData name="José Antonio Ureta Santacreu" userId="e36999d1-2b92-424a-9e8c-5fde0c5fbdd2" providerId="ADAL" clId="{B441C459-42E0-4465-B296-199851FC6E31}" dt="2024-09-11T11:12:14.001" v="3782" actId="6264"/>
          <ac:spMkLst>
            <pc:docMk/>
            <pc:sldMk cId="564975057" sldId="944"/>
            <ac:spMk id="8" creationId="{BC9FE182-1B6F-6FE9-A7C1-7196A83CA22A}"/>
          </ac:spMkLst>
        </pc:spChg>
        <pc:spChg chg="add del mod">
          <ac:chgData name="José Antonio Ureta Santacreu" userId="e36999d1-2b92-424a-9e8c-5fde0c5fbdd2" providerId="ADAL" clId="{B441C459-42E0-4465-B296-199851FC6E31}" dt="2024-09-11T11:12:14.001" v="3782" actId="6264"/>
          <ac:spMkLst>
            <pc:docMk/>
            <pc:sldMk cId="564975057" sldId="944"/>
            <ac:spMk id="10" creationId="{0EE5F06F-9FBA-B1CD-BB61-E97BB67C69AF}"/>
          </ac:spMkLst>
        </pc:spChg>
        <pc:spChg chg="add del mod">
          <ac:chgData name="José Antonio Ureta Santacreu" userId="e36999d1-2b92-424a-9e8c-5fde0c5fbdd2" providerId="ADAL" clId="{B441C459-42E0-4465-B296-199851FC6E31}" dt="2024-09-11T11:12:14.001" v="3782" actId="6264"/>
          <ac:spMkLst>
            <pc:docMk/>
            <pc:sldMk cId="564975057" sldId="944"/>
            <ac:spMk id="11" creationId="{D5598BFE-34AA-0798-3085-9D80E6625D0E}"/>
          </ac:spMkLst>
        </pc:spChg>
        <pc:spChg chg="add del mod">
          <ac:chgData name="José Antonio Ureta Santacreu" userId="e36999d1-2b92-424a-9e8c-5fde0c5fbdd2" providerId="ADAL" clId="{B441C459-42E0-4465-B296-199851FC6E31}" dt="2024-09-11T11:12:14.001" v="3782" actId="6264"/>
          <ac:spMkLst>
            <pc:docMk/>
            <pc:sldMk cId="564975057" sldId="944"/>
            <ac:spMk id="12" creationId="{90B4DF08-75E1-92D1-92C2-42B2D362833D}"/>
          </ac:spMkLst>
        </pc:spChg>
        <pc:spChg chg="add del mod">
          <ac:chgData name="José Antonio Ureta Santacreu" userId="e36999d1-2b92-424a-9e8c-5fde0c5fbdd2" providerId="ADAL" clId="{B441C459-42E0-4465-B296-199851FC6E31}" dt="2024-09-11T11:12:14.001" v="3782" actId="6264"/>
          <ac:spMkLst>
            <pc:docMk/>
            <pc:sldMk cId="564975057" sldId="944"/>
            <ac:spMk id="13" creationId="{4C29C771-7010-35F4-76EF-9AA373422BCB}"/>
          </ac:spMkLst>
        </pc:spChg>
        <pc:graphicFrameChg chg="mod ord">
          <ac:chgData name="José Antonio Ureta Santacreu" userId="e36999d1-2b92-424a-9e8c-5fde0c5fbdd2" providerId="ADAL" clId="{B441C459-42E0-4465-B296-199851FC6E31}" dt="2024-09-11T11:12:14.001" v="3782" actId="6264"/>
          <ac:graphicFrameMkLst>
            <pc:docMk/>
            <pc:sldMk cId="564975057" sldId="944"/>
            <ac:graphicFrameMk id="3" creationId="{512729AA-2FF8-77BF-01AD-F24F80FB1135}"/>
          </ac:graphicFrameMkLst>
        </pc:graphicFrameChg>
        <pc:picChg chg="mod ord">
          <ac:chgData name="José Antonio Ureta Santacreu" userId="e36999d1-2b92-424a-9e8c-5fde0c5fbdd2" providerId="ADAL" clId="{B441C459-42E0-4465-B296-199851FC6E31}" dt="2024-09-11T11:12:14.001" v="3782" actId="6264"/>
          <ac:picMkLst>
            <pc:docMk/>
            <pc:sldMk cId="564975057" sldId="944"/>
            <ac:picMk id="9" creationId="{A7F9A0D9-2402-A9CA-3A06-4595012ACFA2}"/>
          </ac:picMkLst>
        </pc:picChg>
      </pc:sldChg>
      <pc:sldChg chg="addSp delSp modSp mod chgLayout">
        <pc:chgData name="José Antonio Ureta Santacreu" userId="e36999d1-2b92-424a-9e8c-5fde0c5fbdd2" providerId="ADAL" clId="{B441C459-42E0-4465-B296-199851FC6E31}" dt="2024-09-11T11:12:14.001" v="3782" actId="6264"/>
        <pc:sldMkLst>
          <pc:docMk/>
          <pc:sldMk cId="1512409672" sldId="947"/>
        </pc:sldMkLst>
        <pc:spChg chg="mod ord">
          <ac:chgData name="José Antonio Ureta Santacreu" userId="e36999d1-2b92-424a-9e8c-5fde0c5fbdd2" providerId="ADAL" clId="{B441C459-42E0-4465-B296-199851FC6E31}" dt="2024-09-11T11:12:14.001" v="3782" actId="6264"/>
          <ac:spMkLst>
            <pc:docMk/>
            <pc:sldMk cId="1512409672" sldId="947"/>
            <ac:spMk id="2" creationId="{14691F33-1F4E-4084-AAA7-5FABD3EF731F}"/>
          </ac:spMkLst>
        </pc:spChg>
        <pc:spChg chg="mod ord">
          <ac:chgData name="José Antonio Ureta Santacreu" userId="e36999d1-2b92-424a-9e8c-5fde0c5fbdd2" providerId="ADAL" clId="{B441C459-42E0-4465-B296-199851FC6E31}" dt="2024-09-11T11:12:14.001" v="3782" actId="6264"/>
          <ac:spMkLst>
            <pc:docMk/>
            <pc:sldMk cId="1512409672" sldId="947"/>
            <ac:spMk id="3" creationId="{6831456A-99CB-49C0-81D5-823F1ECB11BE}"/>
          </ac:spMkLst>
        </pc:spChg>
        <pc:spChg chg="mod ord">
          <ac:chgData name="José Antonio Ureta Santacreu" userId="e36999d1-2b92-424a-9e8c-5fde0c5fbdd2" providerId="ADAL" clId="{B441C459-42E0-4465-B296-199851FC6E31}" dt="2024-09-11T11:12:14.001" v="3782" actId="6264"/>
          <ac:spMkLst>
            <pc:docMk/>
            <pc:sldMk cId="1512409672" sldId="947"/>
            <ac:spMk id="4" creationId="{63707821-66F5-47FC-A721-057575FB174A}"/>
          </ac:spMkLst>
        </pc:spChg>
        <pc:spChg chg="mod ord">
          <ac:chgData name="José Antonio Ureta Santacreu" userId="e36999d1-2b92-424a-9e8c-5fde0c5fbdd2" providerId="ADAL" clId="{B441C459-42E0-4465-B296-199851FC6E31}" dt="2024-09-11T11:12:14.001" v="3782" actId="6264"/>
          <ac:spMkLst>
            <pc:docMk/>
            <pc:sldMk cId="1512409672" sldId="947"/>
            <ac:spMk id="5" creationId="{F7235540-0894-49B2-835C-49BBF7206053}"/>
          </ac:spMkLst>
        </pc:spChg>
        <pc:spChg chg="add del mod">
          <ac:chgData name="José Antonio Ureta Santacreu" userId="e36999d1-2b92-424a-9e8c-5fde0c5fbdd2" providerId="ADAL" clId="{B441C459-42E0-4465-B296-199851FC6E31}" dt="2024-09-11T11:12:14.001" v="3782" actId="6264"/>
          <ac:spMkLst>
            <pc:docMk/>
            <pc:sldMk cId="1512409672" sldId="947"/>
            <ac:spMk id="7" creationId="{EFD41CA6-FC3B-B1BE-2E0C-0EEB7EBF4361}"/>
          </ac:spMkLst>
        </pc:spChg>
        <pc:spChg chg="add del mod">
          <ac:chgData name="José Antonio Ureta Santacreu" userId="e36999d1-2b92-424a-9e8c-5fde0c5fbdd2" providerId="ADAL" clId="{B441C459-42E0-4465-B296-199851FC6E31}" dt="2024-09-11T11:12:14.001" v="3782" actId="6264"/>
          <ac:spMkLst>
            <pc:docMk/>
            <pc:sldMk cId="1512409672" sldId="947"/>
            <ac:spMk id="8" creationId="{28FFCD52-E92C-C23F-5498-A9512D163A71}"/>
          </ac:spMkLst>
        </pc:spChg>
        <pc:spChg chg="add del mod">
          <ac:chgData name="José Antonio Ureta Santacreu" userId="e36999d1-2b92-424a-9e8c-5fde0c5fbdd2" providerId="ADAL" clId="{B441C459-42E0-4465-B296-199851FC6E31}" dt="2024-09-11T11:12:14.001" v="3782" actId="6264"/>
          <ac:spMkLst>
            <pc:docMk/>
            <pc:sldMk cId="1512409672" sldId="947"/>
            <ac:spMk id="9" creationId="{0F7D3E47-F5B0-5F31-6DBB-2127D9325595}"/>
          </ac:spMkLst>
        </pc:spChg>
        <pc:spChg chg="add del mod">
          <ac:chgData name="José Antonio Ureta Santacreu" userId="e36999d1-2b92-424a-9e8c-5fde0c5fbdd2" providerId="ADAL" clId="{B441C459-42E0-4465-B296-199851FC6E31}" dt="2024-09-11T11:12:14.001" v="3782" actId="6264"/>
          <ac:spMkLst>
            <pc:docMk/>
            <pc:sldMk cId="1512409672" sldId="947"/>
            <ac:spMk id="10" creationId="{A0A27899-EADD-A656-DA92-CB18100D0226}"/>
          </ac:spMkLst>
        </pc:spChg>
        <pc:graphicFrameChg chg="mod">
          <ac:chgData name="José Antonio Ureta Santacreu" userId="e36999d1-2b92-424a-9e8c-5fde0c5fbdd2" providerId="ADAL" clId="{B441C459-42E0-4465-B296-199851FC6E31}" dt="2024-07-31T11:24:42.575" v="1351" actId="12100"/>
          <ac:graphicFrameMkLst>
            <pc:docMk/>
            <pc:sldMk cId="1512409672" sldId="947"/>
            <ac:graphicFrameMk id="6" creationId="{307F0217-EC69-4137-BA17-E6E988A74C19}"/>
          </ac:graphicFrameMkLst>
        </pc:graphicFrameChg>
      </pc:sldChg>
      <pc:sldChg chg="addSp delSp modSp mod chgLayout">
        <pc:chgData name="José Antonio Ureta Santacreu" userId="e36999d1-2b92-424a-9e8c-5fde0c5fbdd2" providerId="ADAL" clId="{B441C459-42E0-4465-B296-199851FC6E31}" dt="2024-09-12T15:53:00.323" v="5238"/>
        <pc:sldMkLst>
          <pc:docMk/>
          <pc:sldMk cId="1116742199" sldId="948"/>
        </pc:sldMkLst>
        <pc:spChg chg="mod ord">
          <ac:chgData name="José Antonio Ureta Santacreu" userId="e36999d1-2b92-424a-9e8c-5fde0c5fbdd2" providerId="ADAL" clId="{B441C459-42E0-4465-B296-199851FC6E31}" dt="2024-09-11T11:12:14.001" v="3782" actId="6264"/>
          <ac:spMkLst>
            <pc:docMk/>
            <pc:sldMk cId="1116742199" sldId="948"/>
            <ac:spMk id="2"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1116742199" sldId="948"/>
            <ac:spMk id="3" creationId="{0DA9B0F9-22C0-1B27-843F-67FDB31A677E}"/>
          </ac:spMkLst>
        </pc:spChg>
        <pc:spChg chg="mod ord">
          <ac:chgData name="José Antonio Ureta Santacreu" userId="e36999d1-2b92-424a-9e8c-5fde0c5fbdd2" providerId="ADAL" clId="{B441C459-42E0-4465-B296-199851FC6E31}" dt="2024-09-11T11:12:14.001" v="3782" actId="6264"/>
          <ac:spMkLst>
            <pc:docMk/>
            <pc:sldMk cId="1116742199" sldId="948"/>
            <ac:spMk id="4" creationId="{2E843197-2421-4530-BC6F-A2710B1C618C}"/>
          </ac:spMkLst>
        </pc:spChg>
        <pc:spChg chg="add del mod">
          <ac:chgData name="José Antonio Ureta Santacreu" userId="e36999d1-2b92-424a-9e8c-5fde0c5fbdd2" providerId="ADAL" clId="{B441C459-42E0-4465-B296-199851FC6E31}" dt="2024-09-11T11:12:14.001" v="3782" actId="6264"/>
          <ac:spMkLst>
            <pc:docMk/>
            <pc:sldMk cId="1116742199" sldId="948"/>
            <ac:spMk id="5" creationId="{CBE61682-EE5F-9127-EC8E-B5E7819DCECE}"/>
          </ac:spMkLst>
        </pc:spChg>
        <pc:spChg chg="add del mod">
          <ac:chgData name="José Antonio Ureta Santacreu" userId="e36999d1-2b92-424a-9e8c-5fde0c5fbdd2" providerId="ADAL" clId="{B441C459-42E0-4465-B296-199851FC6E31}" dt="2024-09-11T11:12:14.001" v="3782" actId="6264"/>
          <ac:spMkLst>
            <pc:docMk/>
            <pc:sldMk cId="1116742199" sldId="948"/>
            <ac:spMk id="6" creationId="{EB5C5BC1-051B-F126-4242-6C86742E17F5}"/>
          </ac:spMkLst>
        </pc:spChg>
        <pc:spChg chg="mod ord">
          <ac:chgData name="José Antonio Ureta Santacreu" userId="e36999d1-2b92-424a-9e8c-5fde0c5fbdd2" providerId="ADAL" clId="{B441C459-42E0-4465-B296-199851FC6E31}" dt="2024-09-11T11:12:14.001" v="3782" actId="6264"/>
          <ac:spMkLst>
            <pc:docMk/>
            <pc:sldMk cId="1116742199" sldId="948"/>
            <ac:spMk id="7" creationId="{16B1073C-0F4C-4C9D-A7FF-E09FEE48281F}"/>
          </ac:spMkLst>
        </pc:spChg>
        <pc:spChg chg="mod ord">
          <ac:chgData name="José Antonio Ureta Santacreu" userId="e36999d1-2b92-424a-9e8c-5fde0c5fbdd2" providerId="ADAL" clId="{B441C459-42E0-4465-B296-199851FC6E31}" dt="2024-09-11T11:12:14.001" v="3782" actId="6264"/>
          <ac:spMkLst>
            <pc:docMk/>
            <pc:sldMk cId="1116742199" sldId="948"/>
            <ac:spMk id="8" creationId="{C3051BCF-1A3D-4C89-B213-F49D0DB66877}"/>
          </ac:spMkLst>
        </pc:spChg>
        <pc:spChg chg="add del mod">
          <ac:chgData name="José Antonio Ureta Santacreu" userId="e36999d1-2b92-424a-9e8c-5fde0c5fbdd2" providerId="ADAL" clId="{B441C459-42E0-4465-B296-199851FC6E31}" dt="2024-09-11T11:12:14.001" v="3782" actId="6264"/>
          <ac:spMkLst>
            <pc:docMk/>
            <pc:sldMk cId="1116742199" sldId="948"/>
            <ac:spMk id="9" creationId="{9A668EB6-E2ED-FBCF-732F-6775975A6300}"/>
          </ac:spMkLst>
        </pc:spChg>
        <pc:graphicFrameChg chg="mod">
          <ac:chgData name="José Antonio Ureta Santacreu" userId="e36999d1-2b92-424a-9e8c-5fde0c5fbdd2" providerId="ADAL" clId="{B441C459-42E0-4465-B296-199851FC6E31}" dt="2024-09-12T15:53:00.323" v="5238"/>
          <ac:graphicFrameMkLst>
            <pc:docMk/>
            <pc:sldMk cId="1116742199" sldId="948"/>
            <ac:graphicFrameMk id="27" creationId="{0FF84CC4-36A5-49B5-94A9-8959834B0BE6}"/>
          </ac:graphicFrameMkLst>
        </pc:graphicFrameChg>
      </pc:sldChg>
      <pc:sldChg chg="add">
        <pc:chgData name="José Antonio Ureta Santacreu" userId="e36999d1-2b92-424a-9e8c-5fde0c5fbdd2" providerId="ADAL" clId="{B441C459-42E0-4465-B296-199851FC6E31}" dt="2024-07-23T10:42:07.386" v="272"/>
        <pc:sldMkLst>
          <pc:docMk/>
          <pc:sldMk cId="1131913651" sldId="948"/>
        </pc:sldMkLst>
      </pc:sldChg>
      <pc:sldChg chg="del">
        <pc:chgData name="José Antonio Ureta Santacreu" userId="e36999d1-2b92-424a-9e8c-5fde0c5fbdd2" providerId="ADAL" clId="{B441C459-42E0-4465-B296-199851FC6E31}" dt="2024-07-23T10:41:54.955" v="271" actId="2696"/>
        <pc:sldMkLst>
          <pc:docMk/>
          <pc:sldMk cId="1581181406" sldId="948"/>
        </pc:sldMkLst>
      </pc:sldChg>
      <pc:sldChg chg="addSp delSp modSp mod chgLayout">
        <pc:chgData name="José Antonio Ureta Santacreu" userId="e36999d1-2b92-424a-9e8c-5fde0c5fbdd2" providerId="ADAL" clId="{B441C459-42E0-4465-B296-199851FC6E31}" dt="2024-09-12T10:39:46.520" v="4107" actId="27636"/>
        <pc:sldMkLst>
          <pc:docMk/>
          <pc:sldMk cId="2167965002" sldId="951"/>
        </pc:sldMkLst>
        <pc:spChg chg="mod ord">
          <ac:chgData name="José Antonio Ureta Santacreu" userId="e36999d1-2b92-424a-9e8c-5fde0c5fbdd2" providerId="ADAL" clId="{B441C459-42E0-4465-B296-199851FC6E31}" dt="2024-09-11T11:12:14.001" v="3782" actId="6264"/>
          <ac:spMkLst>
            <pc:docMk/>
            <pc:sldMk cId="2167965002" sldId="951"/>
            <ac:spMk id="2" creationId="{17689875-6256-B2B6-B0F5-6D473DAA7247}"/>
          </ac:spMkLst>
        </pc:spChg>
        <pc:spChg chg="mod ord">
          <ac:chgData name="José Antonio Ureta Santacreu" userId="e36999d1-2b92-424a-9e8c-5fde0c5fbdd2" providerId="ADAL" clId="{B441C459-42E0-4465-B296-199851FC6E31}" dt="2024-09-11T11:12:14.001" v="3782" actId="6264"/>
          <ac:spMkLst>
            <pc:docMk/>
            <pc:sldMk cId="2167965002" sldId="951"/>
            <ac:spMk id="3" creationId="{13A88534-BB37-0451-8CCA-4F9352A28F14}"/>
          </ac:spMkLst>
        </pc:spChg>
        <pc:spChg chg="mod ord">
          <ac:chgData name="José Antonio Ureta Santacreu" userId="e36999d1-2b92-424a-9e8c-5fde0c5fbdd2" providerId="ADAL" clId="{B441C459-42E0-4465-B296-199851FC6E31}" dt="2024-09-11T11:12:14.001" v="3782" actId="6264"/>
          <ac:spMkLst>
            <pc:docMk/>
            <pc:sldMk cId="2167965002" sldId="951"/>
            <ac:spMk id="5" creationId="{6377786C-7479-BFCE-3CF0-676FF3652C8A}"/>
          </ac:spMkLst>
        </pc:spChg>
        <pc:spChg chg="mod ord">
          <ac:chgData name="José Antonio Ureta Santacreu" userId="e36999d1-2b92-424a-9e8c-5fde0c5fbdd2" providerId="ADAL" clId="{B441C459-42E0-4465-B296-199851FC6E31}" dt="2024-09-11T11:12:14.001" v="3782" actId="6264"/>
          <ac:spMkLst>
            <pc:docMk/>
            <pc:sldMk cId="2167965002" sldId="951"/>
            <ac:spMk id="6" creationId="{2A2236EE-62B7-785A-648C-166290D697CB}"/>
          </ac:spMkLst>
        </pc:spChg>
        <pc:spChg chg="mod ord">
          <ac:chgData name="José Antonio Ureta Santacreu" userId="e36999d1-2b92-424a-9e8c-5fde0c5fbdd2" providerId="ADAL" clId="{B441C459-42E0-4465-B296-199851FC6E31}" dt="2024-09-11T11:12:14.001" v="3782" actId="6264"/>
          <ac:spMkLst>
            <pc:docMk/>
            <pc:sldMk cId="2167965002" sldId="951"/>
            <ac:spMk id="7" creationId="{6F5E935E-E60C-C59F-BCE8-41F0F5110855}"/>
          </ac:spMkLst>
        </pc:spChg>
        <pc:spChg chg="add del mod">
          <ac:chgData name="José Antonio Ureta Santacreu" userId="e36999d1-2b92-424a-9e8c-5fde0c5fbdd2" providerId="ADAL" clId="{B441C459-42E0-4465-B296-199851FC6E31}" dt="2024-09-11T11:12:14.001" v="3782" actId="6264"/>
          <ac:spMkLst>
            <pc:docMk/>
            <pc:sldMk cId="2167965002" sldId="951"/>
            <ac:spMk id="8" creationId="{3E43952F-2109-1317-9C9D-F726DF78FE96}"/>
          </ac:spMkLst>
        </pc:spChg>
        <pc:spChg chg="add del mod">
          <ac:chgData name="José Antonio Ureta Santacreu" userId="e36999d1-2b92-424a-9e8c-5fde0c5fbdd2" providerId="ADAL" clId="{B441C459-42E0-4465-B296-199851FC6E31}" dt="2024-09-11T11:12:14.001" v="3782" actId="6264"/>
          <ac:spMkLst>
            <pc:docMk/>
            <pc:sldMk cId="2167965002" sldId="951"/>
            <ac:spMk id="9" creationId="{86DBF308-C953-6530-DA57-238B0310A7AF}"/>
          </ac:spMkLst>
        </pc:spChg>
        <pc:spChg chg="add del mod">
          <ac:chgData name="José Antonio Ureta Santacreu" userId="e36999d1-2b92-424a-9e8c-5fde0c5fbdd2" providerId="ADAL" clId="{B441C459-42E0-4465-B296-199851FC6E31}" dt="2024-09-11T11:12:14.001" v="3782" actId="6264"/>
          <ac:spMkLst>
            <pc:docMk/>
            <pc:sldMk cId="2167965002" sldId="951"/>
            <ac:spMk id="10" creationId="{B822E33E-3F43-05E5-A71B-2692161AD95B}"/>
          </ac:spMkLst>
        </pc:spChg>
        <pc:spChg chg="add del mod">
          <ac:chgData name="José Antonio Ureta Santacreu" userId="e36999d1-2b92-424a-9e8c-5fde0c5fbdd2" providerId="ADAL" clId="{B441C459-42E0-4465-B296-199851FC6E31}" dt="2024-09-11T11:12:14.001" v="3782" actId="6264"/>
          <ac:spMkLst>
            <pc:docMk/>
            <pc:sldMk cId="2167965002" sldId="951"/>
            <ac:spMk id="11" creationId="{41A13272-5DFF-795C-2EA0-3EE6CD5522C9}"/>
          </ac:spMkLst>
        </pc:spChg>
        <pc:spChg chg="add del mod">
          <ac:chgData name="José Antonio Ureta Santacreu" userId="e36999d1-2b92-424a-9e8c-5fde0c5fbdd2" providerId="ADAL" clId="{B441C459-42E0-4465-B296-199851FC6E31}" dt="2024-09-11T11:12:14.001" v="3782" actId="6264"/>
          <ac:spMkLst>
            <pc:docMk/>
            <pc:sldMk cId="2167965002" sldId="951"/>
            <ac:spMk id="12" creationId="{DCE7790F-7D8A-B315-2878-B2C145C1DA62}"/>
          </ac:spMkLst>
        </pc:spChg>
        <pc:spChg chg="add del mod">
          <ac:chgData name="José Antonio Ureta Santacreu" userId="e36999d1-2b92-424a-9e8c-5fde0c5fbdd2" providerId="ADAL" clId="{B441C459-42E0-4465-B296-199851FC6E31}" dt="2024-09-11T11:12:14.001" v="3782" actId="6264"/>
          <ac:spMkLst>
            <pc:docMk/>
            <pc:sldMk cId="2167965002" sldId="951"/>
            <ac:spMk id="13" creationId="{33987938-8BAB-6A3A-56FD-95427E29E173}"/>
          </ac:spMkLst>
        </pc:spChg>
        <pc:spChg chg="add del mod">
          <ac:chgData name="José Antonio Ureta Santacreu" userId="e36999d1-2b92-424a-9e8c-5fde0c5fbdd2" providerId="ADAL" clId="{B441C459-42E0-4465-B296-199851FC6E31}" dt="2024-09-11T11:12:14.001" v="3782" actId="6264"/>
          <ac:spMkLst>
            <pc:docMk/>
            <pc:sldMk cId="2167965002" sldId="951"/>
            <ac:spMk id="14" creationId="{D5D7311C-F94B-6508-027B-20991C9E3054}"/>
          </ac:spMkLst>
        </pc:spChg>
        <pc:spChg chg="mod ord">
          <ac:chgData name="José Antonio Ureta Santacreu" userId="e36999d1-2b92-424a-9e8c-5fde0c5fbdd2" providerId="ADAL" clId="{B441C459-42E0-4465-B296-199851FC6E31}" dt="2024-09-12T10:39:46.520" v="4107" actId="27636"/>
          <ac:spMkLst>
            <pc:docMk/>
            <pc:sldMk cId="2167965002" sldId="951"/>
            <ac:spMk id="15" creationId="{07C61C60-A57D-3C5A-C020-F85B61C74C21}"/>
          </ac:spMkLst>
        </pc:spChg>
        <pc:picChg chg="mod ord">
          <ac:chgData name="José Antonio Ureta Santacreu" userId="e36999d1-2b92-424a-9e8c-5fde0c5fbdd2" providerId="ADAL" clId="{B441C459-42E0-4465-B296-199851FC6E31}" dt="2024-09-11T11:12:14.001" v="3782" actId="6264"/>
          <ac:picMkLst>
            <pc:docMk/>
            <pc:sldMk cId="2167965002" sldId="951"/>
            <ac:picMk id="4" creationId="{57008542-A8A4-BC53-18A0-55A750E080BF}"/>
          </ac:picMkLst>
        </pc:picChg>
      </pc:sldChg>
      <pc:sldChg chg="addSp delSp modSp mod chgLayout">
        <pc:chgData name="José Antonio Ureta Santacreu" userId="e36999d1-2b92-424a-9e8c-5fde0c5fbdd2" providerId="ADAL" clId="{B441C459-42E0-4465-B296-199851FC6E31}" dt="2024-09-12T10:39:46.520" v="4108" actId="27636"/>
        <pc:sldMkLst>
          <pc:docMk/>
          <pc:sldMk cId="2695236011" sldId="952"/>
        </pc:sldMkLst>
        <pc:spChg chg="mod ord">
          <ac:chgData name="José Antonio Ureta Santacreu" userId="e36999d1-2b92-424a-9e8c-5fde0c5fbdd2" providerId="ADAL" clId="{B441C459-42E0-4465-B296-199851FC6E31}" dt="2024-09-11T11:12:14.001" v="3782" actId="6264"/>
          <ac:spMkLst>
            <pc:docMk/>
            <pc:sldMk cId="2695236011" sldId="952"/>
            <ac:spMk id="2" creationId="{135D9A58-421E-9B2F-DE38-ADB5AE202D30}"/>
          </ac:spMkLst>
        </pc:spChg>
        <pc:spChg chg="mod ord">
          <ac:chgData name="José Antonio Ureta Santacreu" userId="e36999d1-2b92-424a-9e8c-5fde0c5fbdd2" providerId="ADAL" clId="{B441C459-42E0-4465-B296-199851FC6E31}" dt="2024-09-11T11:12:14.001" v="3782" actId="6264"/>
          <ac:spMkLst>
            <pc:docMk/>
            <pc:sldMk cId="2695236011" sldId="952"/>
            <ac:spMk id="3" creationId="{0AB6799A-3CF5-BD3C-355D-D339D38E303E}"/>
          </ac:spMkLst>
        </pc:spChg>
        <pc:spChg chg="mod ord">
          <ac:chgData name="José Antonio Ureta Santacreu" userId="e36999d1-2b92-424a-9e8c-5fde0c5fbdd2" providerId="ADAL" clId="{B441C459-42E0-4465-B296-199851FC6E31}" dt="2024-09-11T11:12:14.001" v="3782" actId="6264"/>
          <ac:spMkLst>
            <pc:docMk/>
            <pc:sldMk cId="2695236011" sldId="952"/>
            <ac:spMk id="4" creationId="{58ED4E9A-602D-AC0F-D7E6-E7131E8CE195}"/>
          </ac:spMkLst>
        </pc:spChg>
        <pc:spChg chg="mod ord">
          <ac:chgData name="José Antonio Ureta Santacreu" userId="e36999d1-2b92-424a-9e8c-5fde0c5fbdd2" providerId="ADAL" clId="{B441C459-42E0-4465-B296-199851FC6E31}" dt="2024-09-11T11:12:14.001" v="3782" actId="6264"/>
          <ac:spMkLst>
            <pc:docMk/>
            <pc:sldMk cId="2695236011" sldId="952"/>
            <ac:spMk id="5" creationId="{586F1A88-BFFE-B87B-5473-9F6AD1767CC7}"/>
          </ac:spMkLst>
        </pc:spChg>
        <pc:spChg chg="add del mod">
          <ac:chgData name="José Antonio Ureta Santacreu" userId="e36999d1-2b92-424a-9e8c-5fde0c5fbdd2" providerId="ADAL" clId="{B441C459-42E0-4465-B296-199851FC6E31}" dt="2024-09-11T11:12:14.001" v="3782" actId="6264"/>
          <ac:spMkLst>
            <pc:docMk/>
            <pc:sldMk cId="2695236011" sldId="952"/>
            <ac:spMk id="6" creationId="{739C1AE6-6AC5-3B09-6E3B-02A391DAFB13}"/>
          </ac:spMkLst>
        </pc:spChg>
        <pc:spChg chg="mod ord">
          <ac:chgData name="José Antonio Ureta Santacreu" userId="e36999d1-2b92-424a-9e8c-5fde0c5fbdd2" providerId="ADAL" clId="{B441C459-42E0-4465-B296-199851FC6E31}" dt="2024-09-11T11:12:14.001" v="3782" actId="6264"/>
          <ac:spMkLst>
            <pc:docMk/>
            <pc:sldMk cId="2695236011" sldId="952"/>
            <ac:spMk id="7" creationId="{7C87B4EA-B883-3A73-9948-A09AE4224858}"/>
          </ac:spMkLst>
        </pc:spChg>
        <pc:spChg chg="add del mod">
          <ac:chgData name="José Antonio Ureta Santacreu" userId="e36999d1-2b92-424a-9e8c-5fde0c5fbdd2" providerId="ADAL" clId="{B441C459-42E0-4465-B296-199851FC6E31}" dt="2024-09-11T11:12:14.001" v="3782" actId="6264"/>
          <ac:spMkLst>
            <pc:docMk/>
            <pc:sldMk cId="2695236011" sldId="952"/>
            <ac:spMk id="8" creationId="{0356C30F-787C-BA9F-AEDA-AEEAD7710790}"/>
          </ac:spMkLst>
        </pc:spChg>
        <pc:spChg chg="add del mod">
          <ac:chgData name="José Antonio Ureta Santacreu" userId="e36999d1-2b92-424a-9e8c-5fde0c5fbdd2" providerId="ADAL" clId="{B441C459-42E0-4465-B296-199851FC6E31}" dt="2024-09-11T11:12:14.001" v="3782" actId="6264"/>
          <ac:spMkLst>
            <pc:docMk/>
            <pc:sldMk cId="2695236011" sldId="952"/>
            <ac:spMk id="9" creationId="{4B000A61-DB7B-53C2-AC32-FF132140F124}"/>
          </ac:spMkLst>
        </pc:spChg>
        <pc:spChg chg="add del mod">
          <ac:chgData name="José Antonio Ureta Santacreu" userId="e36999d1-2b92-424a-9e8c-5fde0c5fbdd2" providerId="ADAL" clId="{B441C459-42E0-4465-B296-199851FC6E31}" dt="2024-09-11T11:12:14.001" v="3782" actId="6264"/>
          <ac:spMkLst>
            <pc:docMk/>
            <pc:sldMk cId="2695236011" sldId="952"/>
            <ac:spMk id="10" creationId="{A2A52925-AC1B-7BF5-E9D8-3434F687DA13}"/>
          </ac:spMkLst>
        </pc:spChg>
        <pc:spChg chg="add del mod">
          <ac:chgData name="José Antonio Ureta Santacreu" userId="e36999d1-2b92-424a-9e8c-5fde0c5fbdd2" providerId="ADAL" clId="{B441C459-42E0-4465-B296-199851FC6E31}" dt="2024-09-11T11:12:14.001" v="3782" actId="6264"/>
          <ac:spMkLst>
            <pc:docMk/>
            <pc:sldMk cId="2695236011" sldId="952"/>
            <ac:spMk id="12" creationId="{EF86A643-4694-BAF7-6917-77DBF3B024C8}"/>
          </ac:spMkLst>
        </pc:spChg>
        <pc:spChg chg="add del mod">
          <ac:chgData name="José Antonio Ureta Santacreu" userId="e36999d1-2b92-424a-9e8c-5fde0c5fbdd2" providerId="ADAL" clId="{B441C459-42E0-4465-B296-199851FC6E31}" dt="2024-09-11T11:12:14.001" v="3782" actId="6264"/>
          <ac:spMkLst>
            <pc:docMk/>
            <pc:sldMk cId="2695236011" sldId="952"/>
            <ac:spMk id="13" creationId="{F5D45D7C-B378-33A8-DB13-69AD408A2DE1}"/>
          </ac:spMkLst>
        </pc:spChg>
        <pc:spChg chg="add del mod">
          <ac:chgData name="José Antonio Ureta Santacreu" userId="e36999d1-2b92-424a-9e8c-5fde0c5fbdd2" providerId="ADAL" clId="{B441C459-42E0-4465-B296-199851FC6E31}" dt="2024-09-11T11:12:14.001" v="3782" actId="6264"/>
          <ac:spMkLst>
            <pc:docMk/>
            <pc:sldMk cId="2695236011" sldId="952"/>
            <ac:spMk id="14" creationId="{79B9CFA7-13F9-B34D-2051-D8E72B0FDC23}"/>
          </ac:spMkLst>
        </pc:spChg>
        <pc:spChg chg="mod ord">
          <ac:chgData name="José Antonio Ureta Santacreu" userId="e36999d1-2b92-424a-9e8c-5fde0c5fbdd2" providerId="ADAL" clId="{B441C459-42E0-4465-B296-199851FC6E31}" dt="2024-09-12T10:39:46.520" v="4108" actId="27636"/>
          <ac:spMkLst>
            <pc:docMk/>
            <pc:sldMk cId="2695236011" sldId="952"/>
            <ac:spMk id="15" creationId="{58D983A1-6CDC-A92F-C6BD-592578521022}"/>
          </ac:spMkLst>
        </pc:spChg>
        <pc:picChg chg="mod ord">
          <ac:chgData name="José Antonio Ureta Santacreu" userId="e36999d1-2b92-424a-9e8c-5fde0c5fbdd2" providerId="ADAL" clId="{B441C459-42E0-4465-B296-199851FC6E31}" dt="2024-09-11T11:12:14.001" v="3782" actId="6264"/>
          <ac:picMkLst>
            <pc:docMk/>
            <pc:sldMk cId="2695236011" sldId="952"/>
            <ac:picMk id="11" creationId="{61F9820D-04C1-F4B0-677B-69EFB7F3E374}"/>
          </ac:picMkLst>
        </pc:picChg>
      </pc:sldChg>
      <pc:sldChg chg="addSp delSp modSp mod chgLayout">
        <pc:chgData name="José Antonio Ureta Santacreu" userId="e36999d1-2b92-424a-9e8c-5fde0c5fbdd2" providerId="ADAL" clId="{B441C459-42E0-4465-B296-199851FC6E31}" dt="2024-09-12T10:34:14.849" v="3811" actId="1076"/>
        <pc:sldMkLst>
          <pc:docMk/>
          <pc:sldMk cId="2517821740" sldId="961"/>
        </pc:sldMkLst>
        <pc:spChg chg="mod ord">
          <ac:chgData name="José Antonio Ureta Santacreu" userId="e36999d1-2b92-424a-9e8c-5fde0c5fbdd2" providerId="ADAL" clId="{B441C459-42E0-4465-B296-199851FC6E31}" dt="2024-09-12T10:34:14.849" v="3811" actId="1076"/>
          <ac:spMkLst>
            <pc:docMk/>
            <pc:sldMk cId="2517821740" sldId="961"/>
            <ac:spMk id="2" creationId="{9FB95F02-BC6F-49F0-AE39-00E02194FD04}"/>
          </ac:spMkLst>
        </pc:spChg>
        <pc:spChg chg="mod ord">
          <ac:chgData name="José Antonio Ureta Santacreu" userId="e36999d1-2b92-424a-9e8c-5fde0c5fbdd2" providerId="ADAL" clId="{B441C459-42E0-4465-B296-199851FC6E31}" dt="2024-09-11T11:12:14.001" v="3782" actId="6264"/>
          <ac:spMkLst>
            <pc:docMk/>
            <pc:sldMk cId="2517821740" sldId="961"/>
            <ac:spMk id="3" creationId="{4CE73173-3708-4A52-AA98-FE2950E41737}"/>
          </ac:spMkLst>
        </pc:spChg>
        <pc:spChg chg="mod ord">
          <ac:chgData name="José Antonio Ureta Santacreu" userId="e36999d1-2b92-424a-9e8c-5fde0c5fbdd2" providerId="ADAL" clId="{B441C459-42E0-4465-B296-199851FC6E31}" dt="2024-09-11T11:12:14.001" v="3782" actId="6264"/>
          <ac:spMkLst>
            <pc:docMk/>
            <pc:sldMk cId="2517821740" sldId="961"/>
            <ac:spMk id="4" creationId="{4B4B7D78-28A6-4EF7-A9C5-9B86DF54B43E}"/>
          </ac:spMkLst>
        </pc:spChg>
        <pc:spChg chg="mod ord">
          <ac:chgData name="José Antonio Ureta Santacreu" userId="e36999d1-2b92-424a-9e8c-5fde0c5fbdd2" providerId="ADAL" clId="{B441C459-42E0-4465-B296-199851FC6E31}" dt="2024-09-11T11:12:14.001" v="3782" actId="6264"/>
          <ac:spMkLst>
            <pc:docMk/>
            <pc:sldMk cId="2517821740" sldId="961"/>
            <ac:spMk id="5" creationId="{7DEDEB19-3DA5-4100-9BDF-8EEDE053D3F8}"/>
          </ac:spMkLst>
        </pc:spChg>
        <pc:spChg chg="add del mod">
          <ac:chgData name="José Antonio Ureta Santacreu" userId="e36999d1-2b92-424a-9e8c-5fde0c5fbdd2" providerId="ADAL" clId="{B441C459-42E0-4465-B296-199851FC6E31}" dt="2024-09-11T11:12:14.001" v="3782" actId="6264"/>
          <ac:spMkLst>
            <pc:docMk/>
            <pc:sldMk cId="2517821740" sldId="961"/>
            <ac:spMk id="6" creationId="{666EB002-DE3E-D05E-AB6E-B5A1E7FBD671}"/>
          </ac:spMkLst>
        </pc:spChg>
        <pc:spChg chg="add mod">
          <ac:chgData name="José Antonio Ureta Santacreu" userId="e36999d1-2b92-424a-9e8c-5fde0c5fbdd2" providerId="ADAL" clId="{B441C459-42E0-4465-B296-199851FC6E31}" dt="2024-08-26T10:29:59.228" v="1788" actId="1036"/>
          <ac:spMkLst>
            <pc:docMk/>
            <pc:sldMk cId="2517821740" sldId="961"/>
            <ac:spMk id="8" creationId="{BD08FC1C-56E3-D1B0-D63E-3105BB87B62B}"/>
          </ac:spMkLst>
        </pc:spChg>
        <pc:spChg chg="add del mod">
          <ac:chgData name="José Antonio Ureta Santacreu" userId="e36999d1-2b92-424a-9e8c-5fde0c5fbdd2" providerId="ADAL" clId="{B441C459-42E0-4465-B296-199851FC6E31}" dt="2024-09-11T11:12:14.001" v="3782" actId="6264"/>
          <ac:spMkLst>
            <pc:docMk/>
            <pc:sldMk cId="2517821740" sldId="961"/>
            <ac:spMk id="9" creationId="{0C5FFF69-E0D5-07D7-593D-20E55DB7616E}"/>
          </ac:spMkLst>
        </pc:spChg>
        <pc:spChg chg="add del mod">
          <ac:chgData name="José Antonio Ureta Santacreu" userId="e36999d1-2b92-424a-9e8c-5fde0c5fbdd2" providerId="ADAL" clId="{B441C459-42E0-4465-B296-199851FC6E31}" dt="2024-09-11T11:12:14.001" v="3782" actId="6264"/>
          <ac:spMkLst>
            <pc:docMk/>
            <pc:sldMk cId="2517821740" sldId="961"/>
            <ac:spMk id="10" creationId="{F281FFC4-F168-134C-4D02-67DD4D7B8E45}"/>
          </ac:spMkLst>
        </pc:spChg>
        <pc:spChg chg="add del mod">
          <ac:chgData name="José Antonio Ureta Santacreu" userId="e36999d1-2b92-424a-9e8c-5fde0c5fbdd2" providerId="ADAL" clId="{B441C459-42E0-4465-B296-199851FC6E31}" dt="2024-09-11T11:12:14.001" v="3782" actId="6264"/>
          <ac:spMkLst>
            <pc:docMk/>
            <pc:sldMk cId="2517821740" sldId="961"/>
            <ac:spMk id="11" creationId="{C91477E9-DABC-70D3-9B46-86C16C0A7C44}"/>
          </ac:spMkLst>
        </pc:spChg>
        <pc:spChg chg="mod">
          <ac:chgData name="José Antonio Ureta Santacreu" userId="e36999d1-2b92-424a-9e8c-5fde0c5fbdd2" providerId="ADAL" clId="{B441C459-42E0-4465-B296-199851FC6E31}" dt="2024-08-26T10:28:26.422" v="1672" actId="120"/>
          <ac:spMkLst>
            <pc:docMk/>
            <pc:sldMk cId="2517821740" sldId="961"/>
            <ac:spMk id="12" creationId="{67305A74-090D-4F62-BD73-E4966BA80074}"/>
          </ac:spMkLst>
        </pc:spChg>
        <pc:spChg chg="mod">
          <ac:chgData name="José Antonio Ureta Santacreu" userId="e36999d1-2b92-424a-9e8c-5fde0c5fbdd2" providerId="ADAL" clId="{B441C459-42E0-4465-B296-199851FC6E31}" dt="2024-08-26T10:28:29.190" v="1673" actId="121"/>
          <ac:spMkLst>
            <pc:docMk/>
            <pc:sldMk cId="2517821740" sldId="961"/>
            <ac:spMk id="13" creationId="{4C74F40F-4836-448D-AF15-7FA6B13AF8DD}"/>
          </ac:spMkLst>
        </pc:spChg>
        <pc:spChg chg="mod">
          <ac:chgData name="José Antonio Ureta Santacreu" userId="e36999d1-2b92-424a-9e8c-5fde0c5fbdd2" providerId="ADAL" clId="{B441C459-42E0-4465-B296-199851FC6E31}" dt="2024-08-26T10:29:44.928" v="1716" actId="242"/>
          <ac:spMkLst>
            <pc:docMk/>
            <pc:sldMk cId="2517821740" sldId="961"/>
            <ac:spMk id="14" creationId="{EA27E9A5-CA30-40BB-A5E0-DCF958E33201}"/>
          </ac:spMkLst>
        </pc:spChg>
        <pc:spChg chg="mod">
          <ac:chgData name="José Antonio Ureta Santacreu" userId="e36999d1-2b92-424a-9e8c-5fde0c5fbdd2" providerId="ADAL" clId="{B441C459-42E0-4465-B296-199851FC6E31}" dt="2024-08-26T10:29:44.928" v="1716" actId="242"/>
          <ac:spMkLst>
            <pc:docMk/>
            <pc:sldMk cId="2517821740" sldId="961"/>
            <ac:spMk id="15" creationId="{2612C8C1-F664-40A7-907B-890138E38874}"/>
          </ac:spMkLst>
        </pc:spChg>
        <pc:spChg chg="mod">
          <ac:chgData name="José Antonio Ureta Santacreu" userId="e36999d1-2b92-424a-9e8c-5fde0c5fbdd2" providerId="ADAL" clId="{B441C459-42E0-4465-B296-199851FC6E31}" dt="2024-08-26T10:29:49.078" v="1749" actId="1036"/>
          <ac:spMkLst>
            <pc:docMk/>
            <pc:sldMk cId="2517821740" sldId="961"/>
            <ac:spMk id="16" creationId="{E899D86B-CFFB-490C-A2AD-402521918B9F}"/>
          </ac:spMkLst>
        </pc:spChg>
        <pc:picChg chg="add mod modCrop">
          <ac:chgData name="José Antonio Ureta Santacreu" userId="e36999d1-2b92-424a-9e8c-5fde0c5fbdd2" providerId="ADAL" clId="{B441C459-42E0-4465-B296-199851FC6E31}" dt="2024-08-26T10:29:59.228" v="1788" actId="1036"/>
          <ac:picMkLst>
            <pc:docMk/>
            <pc:sldMk cId="2517821740" sldId="961"/>
            <ac:picMk id="7" creationId="{A1CCB188-A5F7-DF66-D012-39C59C15979D}"/>
          </ac:picMkLst>
        </pc:picChg>
        <pc:picChg chg="del mod">
          <ac:chgData name="José Antonio Ureta Santacreu" userId="e36999d1-2b92-424a-9e8c-5fde0c5fbdd2" providerId="ADAL" clId="{B441C459-42E0-4465-B296-199851FC6E31}" dt="2024-08-26T10:26:46.907" v="1659" actId="478"/>
          <ac:picMkLst>
            <pc:docMk/>
            <pc:sldMk cId="2517821740" sldId="961"/>
            <ac:picMk id="17" creationId="{CC90AE9E-DC1F-4929-9802-CAB50D4F383A}"/>
          </ac:picMkLst>
        </pc:picChg>
      </pc:sldChg>
      <pc:sldChg chg="addSp delSp modSp mod chgLayout">
        <pc:chgData name="José Antonio Ureta Santacreu" userId="e36999d1-2b92-424a-9e8c-5fde0c5fbdd2" providerId="ADAL" clId="{B441C459-42E0-4465-B296-199851FC6E31}" dt="2024-09-11T11:12:14.001" v="3782" actId="6264"/>
        <pc:sldMkLst>
          <pc:docMk/>
          <pc:sldMk cId="4024914087" sldId="963"/>
        </pc:sldMkLst>
        <pc:spChg chg="mod ord">
          <ac:chgData name="José Antonio Ureta Santacreu" userId="e36999d1-2b92-424a-9e8c-5fde0c5fbdd2" providerId="ADAL" clId="{B441C459-42E0-4465-B296-199851FC6E31}" dt="2024-09-11T11:12:14.001" v="3782" actId="6264"/>
          <ac:spMkLst>
            <pc:docMk/>
            <pc:sldMk cId="4024914087" sldId="963"/>
            <ac:spMk id="2" creationId="{0574840E-6BA3-371A-3A05-6B936495F3B9}"/>
          </ac:spMkLst>
        </pc:spChg>
        <pc:spChg chg="mod ord">
          <ac:chgData name="José Antonio Ureta Santacreu" userId="e36999d1-2b92-424a-9e8c-5fde0c5fbdd2" providerId="ADAL" clId="{B441C459-42E0-4465-B296-199851FC6E31}" dt="2024-09-11T11:12:14.001" v="3782" actId="6264"/>
          <ac:spMkLst>
            <pc:docMk/>
            <pc:sldMk cId="4024914087" sldId="963"/>
            <ac:spMk id="3" creationId="{EE09C1FB-C519-7D46-FF28-6993126C677F}"/>
          </ac:spMkLst>
        </pc:spChg>
        <pc:spChg chg="mod ord">
          <ac:chgData name="José Antonio Ureta Santacreu" userId="e36999d1-2b92-424a-9e8c-5fde0c5fbdd2" providerId="ADAL" clId="{B441C459-42E0-4465-B296-199851FC6E31}" dt="2024-09-11T11:12:14.001" v="3782" actId="6264"/>
          <ac:spMkLst>
            <pc:docMk/>
            <pc:sldMk cId="4024914087" sldId="963"/>
            <ac:spMk id="4" creationId="{5551F464-76E2-1180-AA35-F8F76EDCAB3F}"/>
          </ac:spMkLst>
        </pc:spChg>
        <pc:spChg chg="mod ord">
          <ac:chgData name="José Antonio Ureta Santacreu" userId="e36999d1-2b92-424a-9e8c-5fde0c5fbdd2" providerId="ADAL" clId="{B441C459-42E0-4465-B296-199851FC6E31}" dt="2024-09-11T11:12:14.001" v="3782" actId="6264"/>
          <ac:spMkLst>
            <pc:docMk/>
            <pc:sldMk cId="4024914087" sldId="963"/>
            <ac:spMk id="5" creationId="{B28DC722-9AF5-4A32-E39E-4F576BDE00D8}"/>
          </ac:spMkLst>
        </pc:spChg>
        <pc:spChg chg="add del mod">
          <ac:chgData name="José Antonio Ureta Santacreu" userId="e36999d1-2b92-424a-9e8c-5fde0c5fbdd2" providerId="ADAL" clId="{B441C459-42E0-4465-B296-199851FC6E31}" dt="2024-09-11T11:12:14.001" v="3782" actId="6264"/>
          <ac:spMkLst>
            <pc:docMk/>
            <pc:sldMk cId="4024914087" sldId="963"/>
            <ac:spMk id="6" creationId="{989B1815-0AC0-7170-D2A2-A2C0ECF5F363}"/>
          </ac:spMkLst>
        </pc:spChg>
        <pc:spChg chg="mod ord">
          <ac:chgData name="José Antonio Ureta Santacreu" userId="e36999d1-2b92-424a-9e8c-5fde0c5fbdd2" providerId="ADAL" clId="{B441C459-42E0-4465-B296-199851FC6E31}" dt="2024-09-11T11:12:14.001" v="3782" actId="6264"/>
          <ac:spMkLst>
            <pc:docMk/>
            <pc:sldMk cId="4024914087" sldId="963"/>
            <ac:spMk id="7" creationId="{20F10EDD-1B33-7836-13D5-C2DFC544589F}"/>
          </ac:spMkLst>
        </pc:spChg>
        <pc:spChg chg="mod ord">
          <ac:chgData name="José Antonio Ureta Santacreu" userId="e36999d1-2b92-424a-9e8c-5fde0c5fbdd2" providerId="ADAL" clId="{B441C459-42E0-4465-B296-199851FC6E31}" dt="2024-09-11T11:12:14.001" v="3782" actId="6264"/>
          <ac:spMkLst>
            <pc:docMk/>
            <pc:sldMk cId="4024914087" sldId="963"/>
            <ac:spMk id="8" creationId="{E30B994B-8002-92A1-5940-75CA9C03D5CF}"/>
          </ac:spMkLst>
        </pc:spChg>
        <pc:spChg chg="add del mod">
          <ac:chgData name="José Antonio Ureta Santacreu" userId="e36999d1-2b92-424a-9e8c-5fde0c5fbdd2" providerId="ADAL" clId="{B441C459-42E0-4465-B296-199851FC6E31}" dt="2024-09-11T11:12:14.001" v="3782" actId="6264"/>
          <ac:spMkLst>
            <pc:docMk/>
            <pc:sldMk cId="4024914087" sldId="963"/>
            <ac:spMk id="9" creationId="{1082E36E-8685-F6C1-EBC3-B3EDEA5829BF}"/>
          </ac:spMkLst>
        </pc:spChg>
        <pc:spChg chg="add del mod">
          <ac:chgData name="José Antonio Ureta Santacreu" userId="e36999d1-2b92-424a-9e8c-5fde0c5fbdd2" providerId="ADAL" clId="{B441C459-42E0-4465-B296-199851FC6E31}" dt="2024-09-11T11:12:14.001" v="3782" actId="6264"/>
          <ac:spMkLst>
            <pc:docMk/>
            <pc:sldMk cId="4024914087" sldId="963"/>
            <ac:spMk id="10" creationId="{677A7118-7858-9B4A-3361-E9E6D1FC2AC1}"/>
          </ac:spMkLst>
        </pc:spChg>
        <pc:spChg chg="add del mod">
          <ac:chgData name="José Antonio Ureta Santacreu" userId="e36999d1-2b92-424a-9e8c-5fde0c5fbdd2" providerId="ADAL" clId="{B441C459-42E0-4465-B296-199851FC6E31}" dt="2024-09-11T11:12:14.001" v="3782" actId="6264"/>
          <ac:spMkLst>
            <pc:docMk/>
            <pc:sldMk cId="4024914087" sldId="963"/>
            <ac:spMk id="11" creationId="{6885A22E-2CDD-D9A3-33E3-A62636988E14}"/>
          </ac:spMkLst>
        </pc:spChg>
        <pc:spChg chg="add del mod">
          <ac:chgData name="José Antonio Ureta Santacreu" userId="e36999d1-2b92-424a-9e8c-5fde0c5fbdd2" providerId="ADAL" clId="{B441C459-42E0-4465-B296-199851FC6E31}" dt="2024-09-11T11:12:14.001" v="3782" actId="6264"/>
          <ac:spMkLst>
            <pc:docMk/>
            <pc:sldMk cId="4024914087" sldId="963"/>
            <ac:spMk id="13" creationId="{EAE94372-BB0B-FEFD-4B09-BA06B3EA4497}"/>
          </ac:spMkLst>
        </pc:spChg>
        <pc:spChg chg="add del mod">
          <ac:chgData name="José Antonio Ureta Santacreu" userId="e36999d1-2b92-424a-9e8c-5fde0c5fbdd2" providerId="ADAL" clId="{B441C459-42E0-4465-B296-199851FC6E31}" dt="2024-09-11T11:12:14.001" v="3782" actId="6264"/>
          <ac:spMkLst>
            <pc:docMk/>
            <pc:sldMk cId="4024914087" sldId="963"/>
            <ac:spMk id="14" creationId="{B2590839-5D69-0522-948C-6ED31BFD22CF}"/>
          </ac:spMkLst>
        </pc:spChg>
        <pc:spChg chg="add del mod">
          <ac:chgData name="José Antonio Ureta Santacreu" userId="e36999d1-2b92-424a-9e8c-5fde0c5fbdd2" providerId="ADAL" clId="{B441C459-42E0-4465-B296-199851FC6E31}" dt="2024-09-11T11:12:14.001" v="3782" actId="6264"/>
          <ac:spMkLst>
            <pc:docMk/>
            <pc:sldMk cId="4024914087" sldId="963"/>
            <ac:spMk id="15" creationId="{FFE1F176-E56F-2FB6-175E-221A61110531}"/>
          </ac:spMkLst>
        </pc:spChg>
        <pc:spChg chg="add del mod">
          <ac:chgData name="José Antonio Ureta Santacreu" userId="e36999d1-2b92-424a-9e8c-5fde0c5fbdd2" providerId="ADAL" clId="{B441C459-42E0-4465-B296-199851FC6E31}" dt="2024-09-11T11:12:14.001" v="3782" actId="6264"/>
          <ac:spMkLst>
            <pc:docMk/>
            <pc:sldMk cId="4024914087" sldId="963"/>
            <ac:spMk id="16" creationId="{719437FB-C621-CEB5-655B-63DBED060994}"/>
          </ac:spMkLst>
        </pc:spChg>
        <pc:picChg chg="mod ord">
          <ac:chgData name="José Antonio Ureta Santacreu" userId="e36999d1-2b92-424a-9e8c-5fde0c5fbdd2" providerId="ADAL" clId="{B441C459-42E0-4465-B296-199851FC6E31}" dt="2024-09-11T11:12:14.001" v="3782" actId="6264"/>
          <ac:picMkLst>
            <pc:docMk/>
            <pc:sldMk cId="4024914087" sldId="963"/>
            <ac:picMk id="12" creationId="{345FC089-229B-A562-AA0A-B77355076EEA}"/>
          </ac:picMkLst>
        </pc:picChg>
        <pc:picChg chg="mod ord">
          <ac:chgData name="José Antonio Ureta Santacreu" userId="e36999d1-2b92-424a-9e8c-5fde0c5fbdd2" providerId="ADAL" clId="{B441C459-42E0-4465-B296-199851FC6E31}" dt="2024-09-11T11:12:14.001" v="3782" actId="6264"/>
          <ac:picMkLst>
            <pc:docMk/>
            <pc:sldMk cId="4024914087" sldId="963"/>
            <ac:picMk id="3074" creationId="{6332D1E4-45BB-C8FA-67F9-97B03B61371B}"/>
          </ac:picMkLst>
        </pc:picChg>
      </pc:sldChg>
      <pc:sldChg chg="addSp delSp modSp mod chgLayout">
        <pc:chgData name="José Antonio Ureta Santacreu" userId="e36999d1-2b92-424a-9e8c-5fde0c5fbdd2" providerId="ADAL" clId="{B441C459-42E0-4465-B296-199851FC6E31}" dt="2024-09-12T15:49:11.415" v="5195" actId="2"/>
        <pc:sldMkLst>
          <pc:docMk/>
          <pc:sldMk cId="1270734470" sldId="964"/>
        </pc:sldMkLst>
        <pc:spChg chg="mod ord">
          <ac:chgData name="José Antonio Ureta Santacreu" userId="e36999d1-2b92-424a-9e8c-5fde0c5fbdd2" providerId="ADAL" clId="{B441C459-42E0-4465-B296-199851FC6E31}" dt="2024-09-12T15:49:11.415" v="5195" actId="2"/>
          <ac:spMkLst>
            <pc:docMk/>
            <pc:sldMk cId="1270734470" sldId="964"/>
            <ac:spMk id="2" creationId="{00000000-0000-0000-0000-000000000000}"/>
          </ac:spMkLst>
        </pc:spChg>
        <pc:spChg chg="mod ord">
          <ac:chgData name="José Antonio Ureta Santacreu" userId="e36999d1-2b92-424a-9e8c-5fde0c5fbdd2" providerId="ADAL" clId="{B441C459-42E0-4465-B296-199851FC6E31}" dt="2024-09-12T11:08:35.109" v="4329" actId="27636"/>
          <ac:spMkLst>
            <pc:docMk/>
            <pc:sldMk cId="1270734470" sldId="964"/>
            <ac:spMk id="4" creationId="{00000000-0000-0000-0000-000000000000}"/>
          </ac:spMkLst>
        </pc:spChg>
        <pc:spChg chg="mod ord">
          <ac:chgData name="José Antonio Ureta Santacreu" userId="e36999d1-2b92-424a-9e8c-5fde0c5fbdd2" providerId="ADAL" clId="{B441C459-42E0-4465-B296-199851FC6E31}" dt="2024-09-12T11:08:35.076" v="4328" actId="6264"/>
          <ac:spMkLst>
            <pc:docMk/>
            <pc:sldMk cId="1270734470" sldId="964"/>
            <ac:spMk id="5" creationId="{00000000-0000-0000-0000-000000000000}"/>
          </ac:spMkLst>
        </pc:spChg>
        <pc:spChg chg="mod ord">
          <ac:chgData name="José Antonio Ureta Santacreu" userId="e36999d1-2b92-424a-9e8c-5fde0c5fbdd2" providerId="ADAL" clId="{B441C459-42E0-4465-B296-199851FC6E31}" dt="2024-09-12T11:08:35.076" v="4328" actId="6264"/>
          <ac:spMkLst>
            <pc:docMk/>
            <pc:sldMk cId="1270734470" sldId="964"/>
            <ac:spMk id="6" creationId="{00000000-0000-0000-0000-000000000000}"/>
          </ac:spMkLst>
        </pc:spChg>
        <pc:spChg chg="mod ord">
          <ac:chgData name="José Antonio Ureta Santacreu" userId="e36999d1-2b92-424a-9e8c-5fde0c5fbdd2" providerId="ADAL" clId="{B441C459-42E0-4465-B296-199851FC6E31}" dt="2024-09-12T11:08:35.076" v="4328" actId="6264"/>
          <ac:spMkLst>
            <pc:docMk/>
            <pc:sldMk cId="1270734470" sldId="964"/>
            <ac:spMk id="7" creationId="{00000000-0000-0000-0000-000000000000}"/>
          </ac:spMkLst>
        </pc:spChg>
        <pc:spChg chg="mod ord">
          <ac:chgData name="José Antonio Ureta Santacreu" userId="e36999d1-2b92-424a-9e8c-5fde0c5fbdd2" providerId="ADAL" clId="{B441C459-42E0-4465-B296-199851FC6E31}" dt="2024-09-12T11:08:35.076" v="4328" actId="6264"/>
          <ac:spMkLst>
            <pc:docMk/>
            <pc:sldMk cId="1270734470" sldId="964"/>
            <ac:spMk id="8" creationId="{00000000-0000-0000-0000-000000000000}"/>
          </ac:spMkLst>
        </pc:spChg>
        <pc:spChg chg="add del mod">
          <ac:chgData name="José Antonio Ureta Santacreu" userId="e36999d1-2b92-424a-9e8c-5fde0c5fbdd2" providerId="ADAL" clId="{B441C459-42E0-4465-B296-199851FC6E31}" dt="2024-09-12T11:08:35.076" v="4328" actId="6264"/>
          <ac:spMkLst>
            <pc:docMk/>
            <pc:sldMk cId="1270734470" sldId="964"/>
            <ac:spMk id="9" creationId="{DDF7C4AF-2C36-9419-899B-1AF313C1AAA6}"/>
          </ac:spMkLst>
        </pc:spChg>
        <pc:spChg chg="add del mod">
          <ac:chgData name="José Antonio Ureta Santacreu" userId="e36999d1-2b92-424a-9e8c-5fde0c5fbdd2" providerId="ADAL" clId="{B441C459-42E0-4465-B296-199851FC6E31}" dt="2024-09-11T11:12:14.001" v="3782" actId="6264"/>
          <ac:spMkLst>
            <pc:docMk/>
            <pc:sldMk cId="1270734470" sldId="964"/>
            <ac:spMk id="9" creationId="{E5B4E25B-1473-3E45-8078-612E23DDC53A}"/>
          </ac:spMkLst>
        </pc:spChg>
        <pc:spChg chg="add del mod">
          <ac:chgData name="José Antonio Ureta Santacreu" userId="e36999d1-2b92-424a-9e8c-5fde0c5fbdd2" providerId="ADAL" clId="{B441C459-42E0-4465-B296-199851FC6E31}" dt="2024-09-12T11:08:35.076" v="4328" actId="6264"/>
          <ac:spMkLst>
            <pc:docMk/>
            <pc:sldMk cId="1270734470" sldId="964"/>
            <ac:spMk id="11" creationId="{74DE9AC5-3CDE-88ED-EC34-675C573046FB}"/>
          </ac:spMkLst>
        </pc:spChg>
        <pc:spChg chg="add del mod">
          <ac:chgData name="José Antonio Ureta Santacreu" userId="e36999d1-2b92-424a-9e8c-5fde0c5fbdd2" providerId="ADAL" clId="{B441C459-42E0-4465-B296-199851FC6E31}" dt="2024-09-11T11:12:14.001" v="3782" actId="6264"/>
          <ac:spMkLst>
            <pc:docMk/>
            <pc:sldMk cId="1270734470" sldId="964"/>
            <ac:spMk id="11" creationId="{7E0AB9AD-52C1-C8CA-D635-6546D4C1BDCC}"/>
          </ac:spMkLst>
        </pc:spChg>
        <pc:spChg chg="add del mod">
          <ac:chgData name="José Antonio Ureta Santacreu" userId="e36999d1-2b92-424a-9e8c-5fde0c5fbdd2" providerId="ADAL" clId="{B441C459-42E0-4465-B296-199851FC6E31}" dt="2024-09-11T11:12:14.001" v="3782" actId="6264"/>
          <ac:spMkLst>
            <pc:docMk/>
            <pc:sldMk cId="1270734470" sldId="964"/>
            <ac:spMk id="12" creationId="{294315CF-1FA5-AB31-A7DF-1066109440A9}"/>
          </ac:spMkLst>
        </pc:spChg>
        <pc:spChg chg="add del mod">
          <ac:chgData name="José Antonio Ureta Santacreu" userId="e36999d1-2b92-424a-9e8c-5fde0c5fbdd2" providerId="ADAL" clId="{B441C459-42E0-4465-B296-199851FC6E31}" dt="2024-09-12T11:08:35.076" v="4328" actId="6264"/>
          <ac:spMkLst>
            <pc:docMk/>
            <pc:sldMk cId="1270734470" sldId="964"/>
            <ac:spMk id="12" creationId="{F8B07FF6-52E8-5E8D-BE53-70B05D1A8E44}"/>
          </ac:spMkLst>
        </pc:spChg>
        <pc:spChg chg="add del mod">
          <ac:chgData name="José Antonio Ureta Santacreu" userId="e36999d1-2b92-424a-9e8c-5fde0c5fbdd2" providerId="ADAL" clId="{B441C459-42E0-4465-B296-199851FC6E31}" dt="2024-09-11T11:12:14.001" v="3782" actId="6264"/>
          <ac:spMkLst>
            <pc:docMk/>
            <pc:sldMk cId="1270734470" sldId="964"/>
            <ac:spMk id="13" creationId="{DB1936AB-8FB5-B2D7-E3CF-E9EC8946CBBE}"/>
          </ac:spMkLst>
        </pc:spChg>
        <pc:spChg chg="add del mod">
          <ac:chgData name="José Antonio Ureta Santacreu" userId="e36999d1-2b92-424a-9e8c-5fde0c5fbdd2" providerId="ADAL" clId="{B441C459-42E0-4465-B296-199851FC6E31}" dt="2024-09-12T11:08:35.076" v="4328" actId="6264"/>
          <ac:spMkLst>
            <pc:docMk/>
            <pc:sldMk cId="1270734470" sldId="964"/>
            <ac:spMk id="13" creationId="{E65B6D8A-2F41-25B5-5196-367365D33A76}"/>
          </ac:spMkLst>
        </pc:spChg>
        <pc:spChg chg="add del mod">
          <ac:chgData name="José Antonio Ureta Santacreu" userId="e36999d1-2b92-424a-9e8c-5fde0c5fbdd2" providerId="ADAL" clId="{B441C459-42E0-4465-B296-199851FC6E31}" dt="2024-09-12T11:08:35.076" v="4328" actId="6264"/>
          <ac:spMkLst>
            <pc:docMk/>
            <pc:sldMk cId="1270734470" sldId="964"/>
            <ac:spMk id="14" creationId="{2C614685-7672-CE65-9B03-6EB7BE2317A8}"/>
          </ac:spMkLst>
        </pc:spChg>
        <pc:spChg chg="add del mod">
          <ac:chgData name="José Antonio Ureta Santacreu" userId="e36999d1-2b92-424a-9e8c-5fde0c5fbdd2" providerId="ADAL" clId="{B441C459-42E0-4465-B296-199851FC6E31}" dt="2024-09-11T11:12:14.001" v="3782" actId="6264"/>
          <ac:spMkLst>
            <pc:docMk/>
            <pc:sldMk cId="1270734470" sldId="964"/>
            <ac:spMk id="14" creationId="{AE221E12-839E-E88C-195C-618E4DE36909}"/>
          </ac:spMkLst>
        </pc:spChg>
        <pc:spChg chg="add del mod">
          <ac:chgData name="José Antonio Ureta Santacreu" userId="e36999d1-2b92-424a-9e8c-5fde0c5fbdd2" providerId="ADAL" clId="{B441C459-42E0-4465-B296-199851FC6E31}" dt="2024-09-11T11:12:14.001" v="3782" actId="6264"/>
          <ac:spMkLst>
            <pc:docMk/>
            <pc:sldMk cId="1270734470" sldId="964"/>
            <ac:spMk id="15" creationId="{A339C26F-15BE-5BBE-8FBF-69213F6C5F12}"/>
          </ac:spMkLst>
        </pc:spChg>
        <pc:spChg chg="add del mod">
          <ac:chgData name="José Antonio Ureta Santacreu" userId="e36999d1-2b92-424a-9e8c-5fde0c5fbdd2" providerId="ADAL" clId="{B441C459-42E0-4465-B296-199851FC6E31}" dt="2024-09-12T11:08:35.076" v="4328" actId="6264"/>
          <ac:spMkLst>
            <pc:docMk/>
            <pc:sldMk cId="1270734470" sldId="964"/>
            <ac:spMk id="15" creationId="{A6427B91-3F98-689F-BBF5-BA5471DE34DC}"/>
          </ac:spMkLst>
        </pc:spChg>
        <pc:spChg chg="add del mod">
          <ac:chgData name="José Antonio Ureta Santacreu" userId="e36999d1-2b92-424a-9e8c-5fde0c5fbdd2" providerId="ADAL" clId="{B441C459-42E0-4465-B296-199851FC6E31}" dt="2024-09-11T11:12:14.001" v="3782" actId="6264"/>
          <ac:spMkLst>
            <pc:docMk/>
            <pc:sldMk cId="1270734470" sldId="964"/>
            <ac:spMk id="16" creationId="{11237BBB-249B-67BF-0828-37A71D9B7104}"/>
          </ac:spMkLst>
        </pc:spChg>
        <pc:spChg chg="add del mod">
          <ac:chgData name="José Antonio Ureta Santacreu" userId="e36999d1-2b92-424a-9e8c-5fde0c5fbdd2" providerId="ADAL" clId="{B441C459-42E0-4465-B296-199851FC6E31}" dt="2024-09-12T11:08:35.076" v="4328" actId="6264"/>
          <ac:spMkLst>
            <pc:docMk/>
            <pc:sldMk cId="1270734470" sldId="964"/>
            <ac:spMk id="16" creationId="{3B7055BE-8505-FDF8-6747-1BECFA23D7F2}"/>
          </ac:spMkLst>
        </pc:spChg>
        <pc:picChg chg="mod ord">
          <ac:chgData name="José Antonio Ureta Santacreu" userId="e36999d1-2b92-424a-9e8c-5fde0c5fbdd2" providerId="ADAL" clId="{B441C459-42E0-4465-B296-199851FC6E31}" dt="2024-09-12T11:08:35.076" v="4328" actId="6264"/>
          <ac:picMkLst>
            <pc:docMk/>
            <pc:sldMk cId="1270734470" sldId="964"/>
            <ac:picMk id="10" creationId="{344A0E8E-0067-AFBC-0B27-BC655B3CACA2}"/>
          </ac:picMkLst>
        </pc:picChg>
      </pc:sldChg>
      <pc:sldChg chg="addSp delSp modSp mod chgLayout">
        <pc:chgData name="José Antonio Ureta Santacreu" userId="e36999d1-2b92-424a-9e8c-5fde0c5fbdd2" providerId="ADAL" clId="{B441C459-42E0-4465-B296-199851FC6E31}" dt="2024-09-12T15:46:57.993" v="5174" actId="2"/>
        <pc:sldMkLst>
          <pc:docMk/>
          <pc:sldMk cId="223710012" sldId="965"/>
        </pc:sldMkLst>
        <pc:spChg chg="mod ord">
          <ac:chgData name="José Antonio Ureta Santacreu" userId="e36999d1-2b92-424a-9e8c-5fde0c5fbdd2" providerId="ADAL" clId="{B441C459-42E0-4465-B296-199851FC6E31}" dt="2024-09-11T11:12:14.001" v="3782" actId="6264"/>
          <ac:spMkLst>
            <pc:docMk/>
            <pc:sldMk cId="223710012" sldId="965"/>
            <ac:spMk id="2" creationId="{F4D310F6-DE78-F4BC-A5F5-29597DA7D8F4}"/>
          </ac:spMkLst>
        </pc:spChg>
        <pc:spChg chg="mod ord">
          <ac:chgData name="José Antonio Ureta Santacreu" userId="e36999d1-2b92-424a-9e8c-5fde0c5fbdd2" providerId="ADAL" clId="{B441C459-42E0-4465-B296-199851FC6E31}" dt="2024-09-11T11:12:14.001" v="3782" actId="6264"/>
          <ac:spMkLst>
            <pc:docMk/>
            <pc:sldMk cId="223710012" sldId="965"/>
            <ac:spMk id="3" creationId="{BFD1F3FE-129E-D42F-DF3B-36B04D4999AA}"/>
          </ac:spMkLst>
        </pc:spChg>
        <pc:spChg chg="mod ord">
          <ac:chgData name="José Antonio Ureta Santacreu" userId="e36999d1-2b92-424a-9e8c-5fde0c5fbdd2" providerId="ADAL" clId="{B441C459-42E0-4465-B296-199851FC6E31}" dt="2024-09-11T11:12:14.001" v="3782" actId="6264"/>
          <ac:spMkLst>
            <pc:docMk/>
            <pc:sldMk cId="223710012" sldId="965"/>
            <ac:spMk id="4" creationId="{E7C1B390-9105-C91C-6A10-D08CC00166AF}"/>
          </ac:spMkLst>
        </pc:spChg>
        <pc:spChg chg="mod ord">
          <ac:chgData name="José Antonio Ureta Santacreu" userId="e36999d1-2b92-424a-9e8c-5fde0c5fbdd2" providerId="ADAL" clId="{B441C459-42E0-4465-B296-199851FC6E31}" dt="2024-09-11T11:12:14.001" v="3782" actId="6264"/>
          <ac:spMkLst>
            <pc:docMk/>
            <pc:sldMk cId="223710012" sldId="965"/>
            <ac:spMk id="5" creationId="{6D5E2E06-F4D8-E3C4-0146-E3DF9862BA08}"/>
          </ac:spMkLst>
        </pc:spChg>
        <pc:spChg chg="add del mod">
          <ac:chgData name="José Antonio Ureta Santacreu" userId="e36999d1-2b92-424a-9e8c-5fde0c5fbdd2" providerId="ADAL" clId="{B441C459-42E0-4465-B296-199851FC6E31}" dt="2024-09-11T11:12:14.001" v="3782" actId="6264"/>
          <ac:spMkLst>
            <pc:docMk/>
            <pc:sldMk cId="223710012" sldId="965"/>
            <ac:spMk id="6" creationId="{8B87B6E8-E50C-4E8C-BBC2-2F11FB098CE2}"/>
          </ac:spMkLst>
        </pc:spChg>
        <pc:spChg chg="add del mod">
          <ac:chgData name="José Antonio Ureta Santacreu" userId="e36999d1-2b92-424a-9e8c-5fde0c5fbdd2" providerId="ADAL" clId="{B441C459-42E0-4465-B296-199851FC6E31}" dt="2024-09-11T11:12:14.001" v="3782" actId="6264"/>
          <ac:spMkLst>
            <pc:docMk/>
            <pc:sldMk cId="223710012" sldId="965"/>
            <ac:spMk id="10" creationId="{64005AEE-741A-527A-B3EF-26BD6E484585}"/>
          </ac:spMkLst>
        </pc:spChg>
        <pc:spChg chg="add del mod">
          <ac:chgData name="José Antonio Ureta Santacreu" userId="e36999d1-2b92-424a-9e8c-5fde0c5fbdd2" providerId="ADAL" clId="{B441C459-42E0-4465-B296-199851FC6E31}" dt="2024-09-11T11:12:14.001" v="3782" actId="6264"/>
          <ac:spMkLst>
            <pc:docMk/>
            <pc:sldMk cId="223710012" sldId="965"/>
            <ac:spMk id="11" creationId="{DD44EEFF-C3A2-15A1-94DE-68BBBE1046D5}"/>
          </ac:spMkLst>
        </pc:spChg>
        <pc:spChg chg="add del mod">
          <ac:chgData name="José Antonio Ureta Santacreu" userId="e36999d1-2b92-424a-9e8c-5fde0c5fbdd2" providerId="ADAL" clId="{B441C459-42E0-4465-B296-199851FC6E31}" dt="2024-09-11T11:12:14.001" v="3782" actId="6264"/>
          <ac:spMkLst>
            <pc:docMk/>
            <pc:sldMk cId="223710012" sldId="965"/>
            <ac:spMk id="13" creationId="{02260A69-AD43-DA6A-5DCF-2E99676B1E01}"/>
          </ac:spMkLst>
        </pc:spChg>
        <pc:graphicFrameChg chg="mod">
          <ac:chgData name="José Antonio Ureta Santacreu" userId="e36999d1-2b92-424a-9e8c-5fde0c5fbdd2" providerId="ADAL" clId="{B441C459-42E0-4465-B296-199851FC6E31}" dt="2024-09-12T15:46:57.993" v="5174" actId="2"/>
          <ac:graphicFrameMkLst>
            <pc:docMk/>
            <pc:sldMk cId="223710012" sldId="965"/>
            <ac:graphicFrameMk id="7" creationId="{31D2ED22-0798-1CE5-E5B4-0E17730D3D4C}"/>
          </ac:graphicFrameMkLst>
        </pc:graphicFrameChg>
        <pc:picChg chg="mod">
          <ac:chgData name="José Antonio Ureta Santacreu" userId="e36999d1-2b92-424a-9e8c-5fde0c5fbdd2" providerId="ADAL" clId="{B441C459-42E0-4465-B296-199851FC6E31}" dt="2024-09-12T10:44:29.336" v="4168" actId="1036"/>
          <ac:picMkLst>
            <pc:docMk/>
            <pc:sldMk cId="223710012" sldId="965"/>
            <ac:picMk id="2052" creationId="{1F63C3B9-ECF2-0223-1327-CE87C5EFC4DC}"/>
          </ac:picMkLst>
        </pc:picChg>
      </pc:sldChg>
      <pc:sldChg chg="addSp delSp modSp mod chgLayout">
        <pc:chgData name="José Antonio Ureta Santacreu" userId="e36999d1-2b92-424a-9e8c-5fde0c5fbdd2" providerId="ADAL" clId="{B441C459-42E0-4465-B296-199851FC6E31}" dt="2024-09-12T15:48:35.297" v="5191"/>
        <pc:sldMkLst>
          <pc:docMk/>
          <pc:sldMk cId="2786689226" sldId="975"/>
        </pc:sldMkLst>
        <pc:spChg chg="mod ord">
          <ac:chgData name="José Antonio Ureta Santacreu" userId="e36999d1-2b92-424a-9e8c-5fde0c5fbdd2" providerId="ADAL" clId="{B441C459-42E0-4465-B296-199851FC6E31}" dt="2024-09-11T11:12:14.001" v="3782" actId="6264"/>
          <ac:spMkLst>
            <pc:docMk/>
            <pc:sldMk cId="2786689226" sldId="975"/>
            <ac:spMk id="2" creationId="{2866CFC3-BA85-7D56-246C-8ACA573CF896}"/>
          </ac:spMkLst>
        </pc:spChg>
        <pc:spChg chg="mod ord">
          <ac:chgData name="José Antonio Ureta Santacreu" userId="e36999d1-2b92-424a-9e8c-5fde0c5fbdd2" providerId="ADAL" clId="{B441C459-42E0-4465-B296-199851FC6E31}" dt="2024-09-12T15:48:35.297" v="5191"/>
          <ac:spMkLst>
            <pc:docMk/>
            <pc:sldMk cId="2786689226" sldId="975"/>
            <ac:spMk id="3" creationId="{48B95604-A865-311B-96C5-452CCF7C3F68}"/>
          </ac:spMkLst>
        </pc:spChg>
        <pc:spChg chg="mod ord">
          <ac:chgData name="José Antonio Ureta Santacreu" userId="e36999d1-2b92-424a-9e8c-5fde0c5fbdd2" providerId="ADAL" clId="{B441C459-42E0-4465-B296-199851FC6E31}" dt="2024-09-11T11:12:14.001" v="3782" actId="6264"/>
          <ac:spMkLst>
            <pc:docMk/>
            <pc:sldMk cId="2786689226" sldId="975"/>
            <ac:spMk id="5" creationId="{968DBF91-3EA9-6314-99A0-F088BC101B3E}"/>
          </ac:spMkLst>
        </pc:spChg>
        <pc:spChg chg="mod ord">
          <ac:chgData name="José Antonio Ureta Santacreu" userId="e36999d1-2b92-424a-9e8c-5fde0c5fbdd2" providerId="ADAL" clId="{B441C459-42E0-4465-B296-199851FC6E31}" dt="2024-09-11T11:12:14.001" v="3782" actId="6264"/>
          <ac:spMkLst>
            <pc:docMk/>
            <pc:sldMk cId="2786689226" sldId="975"/>
            <ac:spMk id="6" creationId="{C513A5E0-3F6E-00CE-8A93-AA0F27F6256A}"/>
          </ac:spMkLst>
        </pc:spChg>
        <pc:spChg chg="mod ord">
          <ac:chgData name="José Antonio Ureta Santacreu" userId="e36999d1-2b92-424a-9e8c-5fde0c5fbdd2" providerId="ADAL" clId="{B441C459-42E0-4465-B296-199851FC6E31}" dt="2024-09-11T11:12:14.001" v="3782" actId="6264"/>
          <ac:spMkLst>
            <pc:docMk/>
            <pc:sldMk cId="2786689226" sldId="975"/>
            <ac:spMk id="7" creationId="{5550DBC5-0337-79FF-31FF-8A244E9ED1D8}"/>
          </ac:spMkLst>
        </pc:spChg>
        <pc:spChg chg="add del mod">
          <ac:chgData name="José Antonio Ureta Santacreu" userId="e36999d1-2b92-424a-9e8c-5fde0c5fbdd2" providerId="ADAL" clId="{B441C459-42E0-4465-B296-199851FC6E31}" dt="2024-09-11T11:12:14.001" v="3782" actId="6264"/>
          <ac:spMkLst>
            <pc:docMk/>
            <pc:sldMk cId="2786689226" sldId="975"/>
            <ac:spMk id="8" creationId="{19737A6D-D99C-5B63-7FC2-347DA1108AE3}"/>
          </ac:spMkLst>
        </pc:spChg>
        <pc:spChg chg="add del mod">
          <ac:chgData name="José Antonio Ureta Santacreu" userId="e36999d1-2b92-424a-9e8c-5fde0c5fbdd2" providerId="ADAL" clId="{B441C459-42E0-4465-B296-199851FC6E31}" dt="2024-09-11T11:12:14.001" v="3782" actId="6264"/>
          <ac:spMkLst>
            <pc:docMk/>
            <pc:sldMk cId="2786689226" sldId="975"/>
            <ac:spMk id="10" creationId="{197EB14E-7A32-0BE3-EC9E-A43CED887C80}"/>
          </ac:spMkLst>
        </pc:spChg>
        <pc:spChg chg="add del mod">
          <ac:chgData name="José Antonio Ureta Santacreu" userId="e36999d1-2b92-424a-9e8c-5fde0c5fbdd2" providerId="ADAL" clId="{B441C459-42E0-4465-B296-199851FC6E31}" dt="2024-09-11T11:12:14.001" v="3782" actId="6264"/>
          <ac:spMkLst>
            <pc:docMk/>
            <pc:sldMk cId="2786689226" sldId="975"/>
            <ac:spMk id="11" creationId="{C55F1A0E-1467-A611-F385-029A6D7E9B56}"/>
          </ac:spMkLst>
        </pc:spChg>
        <pc:spChg chg="add del mod">
          <ac:chgData name="José Antonio Ureta Santacreu" userId="e36999d1-2b92-424a-9e8c-5fde0c5fbdd2" providerId="ADAL" clId="{B441C459-42E0-4465-B296-199851FC6E31}" dt="2024-09-11T11:12:14.001" v="3782" actId="6264"/>
          <ac:spMkLst>
            <pc:docMk/>
            <pc:sldMk cId="2786689226" sldId="975"/>
            <ac:spMk id="12" creationId="{E3A0CCF1-7EAD-9B40-2A60-77727E1EB8FB}"/>
          </ac:spMkLst>
        </pc:spChg>
        <pc:spChg chg="add del mod">
          <ac:chgData name="José Antonio Ureta Santacreu" userId="e36999d1-2b92-424a-9e8c-5fde0c5fbdd2" providerId="ADAL" clId="{B441C459-42E0-4465-B296-199851FC6E31}" dt="2024-09-11T11:12:14.001" v="3782" actId="6264"/>
          <ac:spMkLst>
            <pc:docMk/>
            <pc:sldMk cId="2786689226" sldId="975"/>
            <ac:spMk id="13" creationId="{23101149-EF17-9093-CC40-5E2C810760AF}"/>
          </ac:spMkLst>
        </pc:spChg>
        <pc:spChg chg="add del mod">
          <ac:chgData name="José Antonio Ureta Santacreu" userId="e36999d1-2b92-424a-9e8c-5fde0c5fbdd2" providerId="ADAL" clId="{B441C459-42E0-4465-B296-199851FC6E31}" dt="2024-09-11T11:12:14.001" v="3782" actId="6264"/>
          <ac:spMkLst>
            <pc:docMk/>
            <pc:sldMk cId="2786689226" sldId="975"/>
            <ac:spMk id="14" creationId="{3BFCAC3B-B5A1-0A61-ADCD-ADC3BF746BDF}"/>
          </ac:spMkLst>
        </pc:spChg>
        <pc:picChg chg="mod ord">
          <ac:chgData name="José Antonio Ureta Santacreu" userId="e36999d1-2b92-424a-9e8c-5fde0c5fbdd2" providerId="ADAL" clId="{B441C459-42E0-4465-B296-199851FC6E31}" dt="2024-09-11T11:12:14.001" v="3782" actId="6264"/>
          <ac:picMkLst>
            <pc:docMk/>
            <pc:sldMk cId="2786689226" sldId="975"/>
            <ac:picMk id="9" creationId="{3D10B7A8-B61B-A851-7C92-1EA8511CDCE4}"/>
          </ac:picMkLst>
        </pc:picChg>
      </pc:sldChg>
      <pc:sldChg chg="addSp delSp modSp mod chgLayout">
        <pc:chgData name="José Antonio Ureta Santacreu" userId="e36999d1-2b92-424a-9e8c-5fde0c5fbdd2" providerId="ADAL" clId="{B441C459-42E0-4465-B296-199851FC6E31}" dt="2024-09-12T15:41:34.501" v="5143" actId="207"/>
        <pc:sldMkLst>
          <pc:docMk/>
          <pc:sldMk cId="2655967095" sldId="976"/>
        </pc:sldMkLst>
        <pc:spChg chg="mod ord">
          <ac:chgData name="José Antonio Ureta Santacreu" userId="e36999d1-2b92-424a-9e8c-5fde0c5fbdd2" providerId="ADAL" clId="{B441C459-42E0-4465-B296-199851FC6E31}" dt="2024-09-12T15:39:25.568" v="5092" actId="20577"/>
          <ac:spMkLst>
            <pc:docMk/>
            <pc:sldMk cId="2655967095" sldId="976"/>
            <ac:spMk id="2" creationId="{666D3422-D50C-468D-839A-D64A0925A329}"/>
          </ac:spMkLst>
        </pc:spChg>
        <pc:spChg chg="mod ord">
          <ac:chgData name="José Antonio Ureta Santacreu" userId="e36999d1-2b92-424a-9e8c-5fde0c5fbdd2" providerId="ADAL" clId="{B441C459-42E0-4465-B296-199851FC6E31}" dt="2024-09-11T11:12:14.001" v="3782" actId="6264"/>
          <ac:spMkLst>
            <pc:docMk/>
            <pc:sldMk cId="2655967095" sldId="976"/>
            <ac:spMk id="3" creationId="{7BF07255-B9D2-43B3-9425-DB6D76C39F3C}"/>
          </ac:spMkLst>
        </pc:spChg>
        <pc:spChg chg="mod ord">
          <ac:chgData name="José Antonio Ureta Santacreu" userId="e36999d1-2b92-424a-9e8c-5fde0c5fbdd2" providerId="ADAL" clId="{B441C459-42E0-4465-B296-199851FC6E31}" dt="2024-09-11T11:12:14.001" v="3782" actId="6264"/>
          <ac:spMkLst>
            <pc:docMk/>
            <pc:sldMk cId="2655967095" sldId="976"/>
            <ac:spMk id="4" creationId="{95A1B4D5-3288-4A89-A9F8-CC2FD8A6C2CC}"/>
          </ac:spMkLst>
        </pc:spChg>
        <pc:spChg chg="mod ord">
          <ac:chgData name="José Antonio Ureta Santacreu" userId="e36999d1-2b92-424a-9e8c-5fde0c5fbdd2" providerId="ADAL" clId="{B441C459-42E0-4465-B296-199851FC6E31}" dt="2024-09-11T11:12:14.001" v="3782" actId="6264"/>
          <ac:spMkLst>
            <pc:docMk/>
            <pc:sldMk cId="2655967095" sldId="976"/>
            <ac:spMk id="5" creationId="{C65FD04F-C84D-4AB1-9EB9-5C01734448CB}"/>
          </ac:spMkLst>
        </pc:spChg>
        <pc:spChg chg="mod ord">
          <ac:chgData name="José Antonio Ureta Santacreu" userId="e36999d1-2b92-424a-9e8c-5fde0c5fbdd2" providerId="ADAL" clId="{B441C459-42E0-4465-B296-199851FC6E31}" dt="2024-09-11T11:12:14.001" v="3782" actId="6264"/>
          <ac:spMkLst>
            <pc:docMk/>
            <pc:sldMk cId="2655967095" sldId="976"/>
            <ac:spMk id="7" creationId="{2F356A1F-F69A-4968-AA20-DBB90A1AEF39}"/>
          </ac:spMkLst>
        </pc:spChg>
        <pc:spChg chg="mod ord">
          <ac:chgData name="José Antonio Ureta Santacreu" userId="e36999d1-2b92-424a-9e8c-5fde0c5fbdd2" providerId="ADAL" clId="{B441C459-42E0-4465-B296-199851FC6E31}" dt="2024-09-11T11:12:14.001" v="3782" actId="6264"/>
          <ac:spMkLst>
            <pc:docMk/>
            <pc:sldMk cId="2655967095" sldId="976"/>
            <ac:spMk id="8" creationId="{43C66BA7-D495-4DE6-88F3-2E15911C6618}"/>
          </ac:spMkLst>
        </pc:spChg>
        <pc:spChg chg="add del mod">
          <ac:chgData name="José Antonio Ureta Santacreu" userId="e36999d1-2b92-424a-9e8c-5fde0c5fbdd2" providerId="ADAL" clId="{B441C459-42E0-4465-B296-199851FC6E31}" dt="2024-09-11T11:12:14.001" v="3782" actId="6264"/>
          <ac:spMkLst>
            <pc:docMk/>
            <pc:sldMk cId="2655967095" sldId="976"/>
            <ac:spMk id="9" creationId="{72EA53F1-1251-DC41-C3B0-B7772F2D9BDC}"/>
          </ac:spMkLst>
        </pc:spChg>
        <pc:spChg chg="add del mod">
          <ac:chgData name="José Antonio Ureta Santacreu" userId="e36999d1-2b92-424a-9e8c-5fde0c5fbdd2" providerId="ADAL" clId="{B441C459-42E0-4465-B296-199851FC6E31}" dt="2024-09-11T11:12:14.001" v="3782" actId="6264"/>
          <ac:spMkLst>
            <pc:docMk/>
            <pc:sldMk cId="2655967095" sldId="976"/>
            <ac:spMk id="10" creationId="{DB92E26C-1608-8462-1CCC-5D7234F09B9C}"/>
          </ac:spMkLst>
        </pc:spChg>
        <pc:spChg chg="add del mod">
          <ac:chgData name="José Antonio Ureta Santacreu" userId="e36999d1-2b92-424a-9e8c-5fde0c5fbdd2" providerId="ADAL" clId="{B441C459-42E0-4465-B296-199851FC6E31}" dt="2024-09-11T11:12:14.001" v="3782" actId="6264"/>
          <ac:spMkLst>
            <pc:docMk/>
            <pc:sldMk cId="2655967095" sldId="976"/>
            <ac:spMk id="11" creationId="{DA7282E6-9AC3-5A80-B686-321F30455315}"/>
          </ac:spMkLst>
        </pc:spChg>
        <pc:spChg chg="add del mod">
          <ac:chgData name="José Antonio Ureta Santacreu" userId="e36999d1-2b92-424a-9e8c-5fde0c5fbdd2" providerId="ADAL" clId="{B441C459-42E0-4465-B296-199851FC6E31}" dt="2024-09-11T11:12:14.001" v="3782" actId="6264"/>
          <ac:spMkLst>
            <pc:docMk/>
            <pc:sldMk cId="2655967095" sldId="976"/>
            <ac:spMk id="12" creationId="{912A02F1-7D21-C6D0-D3AF-9CE4570CE0D1}"/>
          </ac:spMkLst>
        </pc:spChg>
        <pc:spChg chg="add del mod">
          <ac:chgData name="José Antonio Ureta Santacreu" userId="e36999d1-2b92-424a-9e8c-5fde0c5fbdd2" providerId="ADAL" clId="{B441C459-42E0-4465-B296-199851FC6E31}" dt="2024-09-11T11:12:14.001" v="3782" actId="6264"/>
          <ac:spMkLst>
            <pc:docMk/>
            <pc:sldMk cId="2655967095" sldId="976"/>
            <ac:spMk id="14" creationId="{CBD655A6-C80C-F488-B583-5F88CF830D0D}"/>
          </ac:spMkLst>
        </pc:spChg>
        <pc:spChg chg="add del mod">
          <ac:chgData name="José Antonio Ureta Santacreu" userId="e36999d1-2b92-424a-9e8c-5fde0c5fbdd2" providerId="ADAL" clId="{B441C459-42E0-4465-B296-199851FC6E31}" dt="2024-09-11T11:12:14.001" v="3782" actId="6264"/>
          <ac:spMkLst>
            <pc:docMk/>
            <pc:sldMk cId="2655967095" sldId="976"/>
            <ac:spMk id="15" creationId="{DB0248B0-4E67-6EA3-2533-15AA5A8F48EF}"/>
          </ac:spMkLst>
        </pc:spChg>
        <pc:spChg chg="add del mod">
          <ac:chgData name="José Antonio Ureta Santacreu" userId="e36999d1-2b92-424a-9e8c-5fde0c5fbdd2" providerId="ADAL" clId="{B441C459-42E0-4465-B296-199851FC6E31}" dt="2024-09-11T11:12:14.001" v="3782" actId="6264"/>
          <ac:spMkLst>
            <pc:docMk/>
            <pc:sldMk cId="2655967095" sldId="976"/>
            <ac:spMk id="16" creationId="{8E951B01-B56B-717A-C47C-9468EEAC9B44}"/>
          </ac:spMkLst>
        </pc:spChg>
        <pc:spChg chg="add del mod">
          <ac:chgData name="José Antonio Ureta Santacreu" userId="e36999d1-2b92-424a-9e8c-5fde0c5fbdd2" providerId="ADAL" clId="{B441C459-42E0-4465-B296-199851FC6E31}" dt="2024-09-11T11:12:14.001" v="3782" actId="6264"/>
          <ac:spMkLst>
            <pc:docMk/>
            <pc:sldMk cId="2655967095" sldId="976"/>
            <ac:spMk id="17" creationId="{08D56A5C-18FD-B7AE-9A36-B370BA0AC2C0}"/>
          </ac:spMkLst>
        </pc:spChg>
        <pc:graphicFrameChg chg="mod ord modGraphic">
          <ac:chgData name="José Antonio Ureta Santacreu" userId="e36999d1-2b92-424a-9e8c-5fde0c5fbdd2" providerId="ADAL" clId="{B441C459-42E0-4465-B296-199851FC6E31}" dt="2024-09-12T15:41:34.501" v="5143" actId="207"/>
          <ac:graphicFrameMkLst>
            <pc:docMk/>
            <pc:sldMk cId="2655967095" sldId="976"/>
            <ac:graphicFrameMk id="6" creationId="{2D452B3A-3C19-4410-8269-1CA971200D45}"/>
          </ac:graphicFrameMkLst>
        </pc:graphicFrameChg>
        <pc:graphicFrameChg chg="mod ord">
          <ac:chgData name="José Antonio Ureta Santacreu" userId="e36999d1-2b92-424a-9e8c-5fde0c5fbdd2" providerId="ADAL" clId="{B441C459-42E0-4465-B296-199851FC6E31}" dt="2024-09-12T15:41:08.547" v="5141" actId="12269"/>
          <ac:graphicFrameMkLst>
            <pc:docMk/>
            <pc:sldMk cId="2655967095" sldId="976"/>
            <ac:graphicFrameMk id="13" creationId="{6B4300B3-42AC-47E1-84F1-E08E45CA0CB5}"/>
          </ac:graphicFrameMkLst>
        </pc:graphicFrameChg>
      </pc:sldChg>
      <pc:sldChg chg="del">
        <pc:chgData name="José Antonio Ureta Santacreu" userId="e36999d1-2b92-424a-9e8c-5fde0c5fbdd2" providerId="ADAL" clId="{B441C459-42E0-4465-B296-199851FC6E31}" dt="2024-07-31T10:34:45.814" v="877" actId="47"/>
        <pc:sldMkLst>
          <pc:docMk/>
          <pc:sldMk cId="381341890" sldId="982"/>
        </pc:sldMkLst>
      </pc:sldChg>
      <pc:sldChg chg="addSp delSp modSp mod chgLayout">
        <pc:chgData name="José Antonio Ureta Santacreu" userId="e36999d1-2b92-424a-9e8c-5fde0c5fbdd2" providerId="ADAL" clId="{B441C459-42E0-4465-B296-199851FC6E31}" dt="2024-09-11T11:12:14.001" v="3782" actId="6264"/>
        <pc:sldMkLst>
          <pc:docMk/>
          <pc:sldMk cId="3679921320" sldId="989"/>
        </pc:sldMkLst>
        <pc:spChg chg="mod ord">
          <ac:chgData name="José Antonio Ureta Santacreu" userId="e36999d1-2b92-424a-9e8c-5fde0c5fbdd2" providerId="ADAL" clId="{B441C459-42E0-4465-B296-199851FC6E31}" dt="2024-09-11T11:12:14.001" v="3782" actId="6264"/>
          <ac:spMkLst>
            <pc:docMk/>
            <pc:sldMk cId="3679921320" sldId="989"/>
            <ac:spMk id="2" creationId="{F880A233-580A-44D5-BA32-0EA177C84498}"/>
          </ac:spMkLst>
        </pc:spChg>
        <pc:spChg chg="mod ord">
          <ac:chgData name="José Antonio Ureta Santacreu" userId="e36999d1-2b92-424a-9e8c-5fde0c5fbdd2" providerId="ADAL" clId="{B441C459-42E0-4465-B296-199851FC6E31}" dt="2024-09-11T11:12:14.001" v="3782" actId="6264"/>
          <ac:spMkLst>
            <pc:docMk/>
            <pc:sldMk cId="3679921320" sldId="989"/>
            <ac:spMk id="3" creationId="{8FF777FA-7B5D-4AD9-BD67-A0937B814E1E}"/>
          </ac:spMkLst>
        </pc:spChg>
        <pc:spChg chg="mod ord">
          <ac:chgData name="José Antonio Ureta Santacreu" userId="e36999d1-2b92-424a-9e8c-5fde0c5fbdd2" providerId="ADAL" clId="{B441C459-42E0-4465-B296-199851FC6E31}" dt="2024-09-11T11:12:14.001" v="3782" actId="6264"/>
          <ac:spMkLst>
            <pc:docMk/>
            <pc:sldMk cId="3679921320" sldId="989"/>
            <ac:spMk id="4" creationId="{715473EB-7CB1-448C-8FEF-7D15D3462841}"/>
          </ac:spMkLst>
        </pc:spChg>
        <pc:spChg chg="mod ord">
          <ac:chgData name="José Antonio Ureta Santacreu" userId="e36999d1-2b92-424a-9e8c-5fde0c5fbdd2" providerId="ADAL" clId="{B441C459-42E0-4465-B296-199851FC6E31}" dt="2024-09-11T11:12:14.001" v="3782" actId="6264"/>
          <ac:spMkLst>
            <pc:docMk/>
            <pc:sldMk cId="3679921320" sldId="989"/>
            <ac:spMk id="5" creationId="{EBF74793-A7D3-4086-8955-35893538E910}"/>
          </ac:spMkLst>
        </pc:spChg>
        <pc:spChg chg="mod">
          <ac:chgData name="José Antonio Ureta Santacreu" userId="e36999d1-2b92-424a-9e8c-5fde0c5fbdd2" providerId="ADAL" clId="{B441C459-42E0-4465-B296-199851FC6E31}" dt="2024-09-02T10:48:33.354" v="2247" actId="207"/>
          <ac:spMkLst>
            <pc:docMk/>
            <pc:sldMk cId="3679921320" sldId="989"/>
            <ac:spMk id="7" creationId="{7E78797C-9480-40B8-B2FB-0086B58466FE}"/>
          </ac:spMkLst>
        </pc:spChg>
        <pc:spChg chg="mod">
          <ac:chgData name="José Antonio Ureta Santacreu" userId="e36999d1-2b92-424a-9e8c-5fde0c5fbdd2" providerId="ADAL" clId="{B441C459-42E0-4465-B296-199851FC6E31}" dt="2024-09-02T10:48:57.681" v="2249" actId="207"/>
          <ac:spMkLst>
            <pc:docMk/>
            <pc:sldMk cId="3679921320" sldId="989"/>
            <ac:spMk id="8" creationId="{409B1DDE-9648-4605-8150-9868B98143FB}"/>
          </ac:spMkLst>
        </pc:spChg>
        <pc:spChg chg="mod">
          <ac:chgData name="José Antonio Ureta Santacreu" userId="e36999d1-2b92-424a-9e8c-5fde0c5fbdd2" providerId="ADAL" clId="{B441C459-42E0-4465-B296-199851FC6E31}" dt="2024-09-02T10:48:57.681" v="2249" actId="207"/>
          <ac:spMkLst>
            <pc:docMk/>
            <pc:sldMk cId="3679921320" sldId="989"/>
            <ac:spMk id="9" creationId="{50707A5E-C768-4C4F-9500-08F58EF8DFD2}"/>
          </ac:spMkLst>
        </pc:spChg>
        <pc:spChg chg="mod">
          <ac:chgData name="José Antonio Ureta Santacreu" userId="e36999d1-2b92-424a-9e8c-5fde0c5fbdd2" providerId="ADAL" clId="{B441C459-42E0-4465-B296-199851FC6E31}" dt="2024-09-02T10:48:33.354" v="2247" actId="207"/>
          <ac:spMkLst>
            <pc:docMk/>
            <pc:sldMk cId="3679921320" sldId="989"/>
            <ac:spMk id="10" creationId="{85AA9DF2-0342-4C1B-9EE8-17BF225B30F1}"/>
          </ac:spMkLst>
        </pc:spChg>
        <pc:spChg chg="mod">
          <ac:chgData name="José Antonio Ureta Santacreu" userId="e36999d1-2b92-424a-9e8c-5fde0c5fbdd2" providerId="ADAL" clId="{B441C459-42E0-4465-B296-199851FC6E31}" dt="2024-09-02T10:48:33.354" v="2247" actId="207"/>
          <ac:spMkLst>
            <pc:docMk/>
            <pc:sldMk cId="3679921320" sldId="989"/>
            <ac:spMk id="11" creationId="{4BF8FB1F-5DA1-41BC-8292-EE4DBDE4BF6C}"/>
          </ac:spMkLst>
        </pc:spChg>
        <pc:spChg chg="mod">
          <ac:chgData name="José Antonio Ureta Santacreu" userId="e36999d1-2b92-424a-9e8c-5fde0c5fbdd2" providerId="ADAL" clId="{B441C459-42E0-4465-B296-199851FC6E31}" dt="2024-09-02T10:48:57.681" v="2249" actId="207"/>
          <ac:spMkLst>
            <pc:docMk/>
            <pc:sldMk cId="3679921320" sldId="989"/>
            <ac:spMk id="12" creationId="{71FB30B2-2F04-46B7-9FB7-2DCF09D4A3BF}"/>
          </ac:spMkLst>
        </pc:spChg>
        <pc:spChg chg="mod">
          <ac:chgData name="José Antonio Ureta Santacreu" userId="e36999d1-2b92-424a-9e8c-5fde0c5fbdd2" providerId="ADAL" clId="{B441C459-42E0-4465-B296-199851FC6E31}" dt="2024-09-02T10:48:57.681" v="2249" actId="207"/>
          <ac:spMkLst>
            <pc:docMk/>
            <pc:sldMk cId="3679921320" sldId="989"/>
            <ac:spMk id="13" creationId="{B1CD504B-C409-4D5A-B7FA-15607EAAD8BC}"/>
          </ac:spMkLst>
        </pc:spChg>
        <pc:spChg chg="mod">
          <ac:chgData name="José Antonio Ureta Santacreu" userId="e36999d1-2b92-424a-9e8c-5fde0c5fbdd2" providerId="ADAL" clId="{B441C459-42E0-4465-B296-199851FC6E31}" dt="2024-09-02T10:48:33.354" v="2247" actId="207"/>
          <ac:spMkLst>
            <pc:docMk/>
            <pc:sldMk cId="3679921320" sldId="989"/>
            <ac:spMk id="14" creationId="{E7733D32-A2C1-43BA-A76B-CF4040564596}"/>
          </ac:spMkLst>
        </pc:spChg>
        <pc:spChg chg="mod">
          <ac:chgData name="José Antonio Ureta Santacreu" userId="e36999d1-2b92-424a-9e8c-5fde0c5fbdd2" providerId="ADAL" clId="{B441C459-42E0-4465-B296-199851FC6E31}" dt="2024-09-02T10:48:33.354" v="2247" actId="207"/>
          <ac:spMkLst>
            <pc:docMk/>
            <pc:sldMk cId="3679921320" sldId="989"/>
            <ac:spMk id="15" creationId="{8BA1FFCA-1C82-47BD-AD97-F0E9CB55A6A9}"/>
          </ac:spMkLst>
        </pc:spChg>
        <pc:spChg chg="mod">
          <ac:chgData name="José Antonio Ureta Santacreu" userId="e36999d1-2b92-424a-9e8c-5fde0c5fbdd2" providerId="ADAL" clId="{B441C459-42E0-4465-B296-199851FC6E31}" dt="2024-09-02T10:48:57.681" v="2249" actId="207"/>
          <ac:spMkLst>
            <pc:docMk/>
            <pc:sldMk cId="3679921320" sldId="989"/>
            <ac:spMk id="16" creationId="{C4CE7D9C-536F-404F-B080-9E62BFFFA8CF}"/>
          </ac:spMkLst>
        </pc:spChg>
        <pc:spChg chg="add del mod">
          <ac:chgData name="José Antonio Ureta Santacreu" userId="e36999d1-2b92-424a-9e8c-5fde0c5fbdd2" providerId="ADAL" clId="{B441C459-42E0-4465-B296-199851FC6E31}" dt="2024-09-11T11:12:14.001" v="3782" actId="6264"/>
          <ac:spMkLst>
            <pc:docMk/>
            <pc:sldMk cId="3679921320" sldId="989"/>
            <ac:spMk id="22" creationId="{742970C9-30D4-58E4-110D-BA6A55524A9D}"/>
          </ac:spMkLst>
        </pc:spChg>
        <pc:spChg chg="add del mod">
          <ac:chgData name="José Antonio Ureta Santacreu" userId="e36999d1-2b92-424a-9e8c-5fde0c5fbdd2" providerId="ADAL" clId="{B441C459-42E0-4465-B296-199851FC6E31}" dt="2024-09-11T11:12:14.001" v="3782" actId="6264"/>
          <ac:spMkLst>
            <pc:docMk/>
            <pc:sldMk cId="3679921320" sldId="989"/>
            <ac:spMk id="23" creationId="{4FCC7B2C-E213-FE33-ED49-E7427A54FC9C}"/>
          </ac:spMkLst>
        </pc:spChg>
        <pc:spChg chg="add del mod">
          <ac:chgData name="José Antonio Ureta Santacreu" userId="e36999d1-2b92-424a-9e8c-5fde0c5fbdd2" providerId="ADAL" clId="{B441C459-42E0-4465-B296-199851FC6E31}" dt="2024-09-11T11:12:14.001" v="3782" actId="6264"/>
          <ac:spMkLst>
            <pc:docMk/>
            <pc:sldMk cId="3679921320" sldId="989"/>
            <ac:spMk id="24" creationId="{AE9B8F8F-30D7-C305-05E9-5FDC806DA53D}"/>
          </ac:spMkLst>
        </pc:spChg>
        <pc:spChg chg="add del mod">
          <ac:chgData name="José Antonio Ureta Santacreu" userId="e36999d1-2b92-424a-9e8c-5fde0c5fbdd2" providerId="ADAL" clId="{B441C459-42E0-4465-B296-199851FC6E31}" dt="2024-09-11T11:12:14.001" v="3782" actId="6264"/>
          <ac:spMkLst>
            <pc:docMk/>
            <pc:sldMk cId="3679921320" sldId="989"/>
            <ac:spMk id="25" creationId="{67E4128E-6777-16DA-05E4-18B8AD9A72A2}"/>
          </ac:spMkLst>
        </pc:spChg>
        <pc:graphicFrameChg chg="mod">
          <ac:chgData name="José Antonio Ureta Santacreu" userId="e36999d1-2b92-424a-9e8c-5fde0c5fbdd2" providerId="ADAL" clId="{B441C459-42E0-4465-B296-199851FC6E31}" dt="2024-09-02T10:49:07.284" v="2250" actId="12100"/>
          <ac:graphicFrameMkLst>
            <pc:docMk/>
            <pc:sldMk cId="3679921320" sldId="989"/>
            <ac:graphicFrameMk id="6" creationId="{BB440350-B7E4-48D8-9F19-7E0FE2FD6D0F}"/>
          </ac:graphicFrameMkLst>
        </pc:graphicFrameChg>
      </pc:sldChg>
      <pc:sldChg chg="addSp delSp modSp mod chgLayout">
        <pc:chgData name="José Antonio Ureta Santacreu" userId="e36999d1-2b92-424a-9e8c-5fde0c5fbdd2" providerId="ADAL" clId="{B441C459-42E0-4465-B296-199851FC6E31}" dt="2024-09-12T11:09:58.159" v="4371" actId="14100"/>
        <pc:sldMkLst>
          <pc:docMk/>
          <pc:sldMk cId="90626152" sldId="990"/>
        </pc:sldMkLst>
        <pc:spChg chg="mod ord">
          <ac:chgData name="José Antonio Ureta Santacreu" userId="e36999d1-2b92-424a-9e8c-5fde0c5fbdd2" providerId="ADAL" clId="{B441C459-42E0-4465-B296-199851FC6E31}" dt="2024-09-12T11:09:58.159" v="4371" actId="14100"/>
          <ac:spMkLst>
            <pc:docMk/>
            <pc:sldMk cId="90626152" sldId="990"/>
            <ac:spMk id="2" creationId="{381BD4C4-C9E1-44A3-864A-0E4271290AFC}"/>
          </ac:spMkLst>
        </pc:spChg>
        <pc:spChg chg="mod ord">
          <ac:chgData name="José Antonio Ureta Santacreu" userId="e36999d1-2b92-424a-9e8c-5fde0c5fbdd2" providerId="ADAL" clId="{B441C459-42E0-4465-B296-199851FC6E31}" dt="2024-09-11T11:12:14.001" v="3782" actId="6264"/>
          <ac:spMkLst>
            <pc:docMk/>
            <pc:sldMk cId="90626152" sldId="990"/>
            <ac:spMk id="3" creationId="{2DCDC89E-80ED-40F3-88B4-CA21BAA649A3}"/>
          </ac:spMkLst>
        </pc:spChg>
        <pc:spChg chg="mod ord">
          <ac:chgData name="José Antonio Ureta Santacreu" userId="e36999d1-2b92-424a-9e8c-5fde0c5fbdd2" providerId="ADAL" clId="{B441C459-42E0-4465-B296-199851FC6E31}" dt="2024-09-11T11:12:14.001" v="3782" actId="6264"/>
          <ac:spMkLst>
            <pc:docMk/>
            <pc:sldMk cId="90626152" sldId="990"/>
            <ac:spMk id="4" creationId="{C4D96B8D-9FB5-447C-809A-28C0DEF418D7}"/>
          </ac:spMkLst>
        </pc:spChg>
        <pc:spChg chg="mod ord">
          <ac:chgData name="José Antonio Ureta Santacreu" userId="e36999d1-2b92-424a-9e8c-5fde0c5fbdd2" providerId="ADAL" clId="{B441C459-42E0-4465-B296-199851FC6E31}" dt="2024-09-11T11:12:14.001" v="3782" actId="6264"/>
          <ac:spMkLst>
            <pc:docMk/>
            <pc:sldMk cId="90626152" sldId="990"/>
            <ac:spMk id="5" creationId="{30DBEAB3-6C4B-45CC-A8A7-3824B40C07D9}"/>
          </ac:spMkLst>
        </pc:spChg>
        <pc:spChg chg="add del mod">
          <ac:chgData name="José Antonio Ureta Santacreu" userId="e36999d1-2b92-424a-9e8c-5fde0c5fbdd2" providerId="ADAL" clId="{B441C459-42E0-4465-B296-199851FC6E31}" dt="2024-09-11T11:12:14.001" v="3782" actId="6264"/>
          <ac:spMkLst>
            <pc:docMk/>
            <pc:sldMk cId="90626152" sldId="990"/>
            <ac:spMk id="130" creationId="{9DB98AD0-54FD-C4A6-48D6-E960F0A62DC0}"/>
          </ac:spMkLst>
        </pc:spChg>
        <pc:spChg chg="add del mod">
          <ac:chgData name="José Antonio Ureta Santacreu" userId="e36999d1-2b92-424a-9e8c-5fde0c5fbdd2" providerId="ADAL" clId="{B441C459-42E0-4465-B296-199851FC6E31}" dt="2024-09-11T11:12:14.001" v="3782" actId="6264"/>
          <ac:spMkLst>
            <pc:docMk/>
            <pc:sldMk cId="90626152" sldId="990"/>
            <ac:spMk id="131" creationId="{E839E703-E6EC-241C-E5DE-36ADCD34D25D}"/>
          </ac:spMkLst>
        </pc:spChg>
        <pc:spChg chg="add del mod">
          <ac:chgData name="José Antonio Ureta Santacreu" userId="e36999d1-2b92-424a-9e8c-5fde0c5fbdd2" providerId="ADAL" clId="{B441C459-42E0-4465-B296-199851FC6E31}" dt="2024-09-11T11:12:14.001" v="3782" actId="6264"/>
          <ac:spMkLst>
            <pc:docMk/>
            <pc:sldMk cId="90626152" sldId="990"/>
            <ac:spMk id="132" creationId="{738DEB7E-E860-6893-1DFC-8EDC8D6E32EE}"/>
          </ac:spMkLst>
        </pc:spChg>
        <pc:spChg chg="add del mod">
          <ac:chgData name="José Antonio Ureta Santacreu" userId="e36999d1-2b92-424a-9e8c-5fde0c5fbdd2" providerId="ADAL" clId="{B441C459-42E0-4465-B296-199851FC6E31}" dt="2024-09-11T11:12:14.001" v="3782" actId="6264"/>
          <ac:spMkLst>
            <pc:docMk/>
            <pc:sldMk cId="90626152" sldId="990"/>
            <ac:spMk id="133" creationId="{1A58B6A4-8A6D-899F-0B4C-2416C17C97F0}"/>
          </ac:spMkLst>
        </pc:spChg>
      </pc:sldChg>
      <pc:sldChg chg="addSp delSp modSp mod chgLayout">
        <pc:chgData name="José Antonio Ureta Santacreu" userId="e36999d1-2b92-424a-9e8c-5fde0c5fbdd2" providerId="ADAL" clId="{B441C459-42E0-4465-B296-199851FC6E31}" dt="2024-09-11T11:12:14.001" v="3782" actId="6264"/>
        <pc:sldMkLst>
          <pc:docMk/>
          <pc:sldMk cId="3748997194" sldId="991"/>
        </pc:sldMkLst>
        <pc:spChg chg="mod ord">
          <ac:chgData name="José Antonio Ureta Santacreu" userId="e36999d1-2b92-424a-9e8c-5fde0c5fbdd2" providerId="ADAL" clId="{B441C459-42E0-4465-B296-199851FC6E31}" dt="2024-09-11T11:12:14.001" v="3782" actId="6264"/>
          <ac:spMkLst>
            <pc:docMk/>
            <pc:sldMk cId="3748997194" sldId="991"/>
            <ac:spMk id="2" creationId="{3A9D4328-330C-49A9-A070-2F2519F17B91}"/>
          </ac:spMkLst>
        </pc:spChg>
        <pc:spChg chg="mod ord">
          <ac:chgData name="José Antonio Ureta Santacreu" userId="e36999d1-2b92-424a-9e8c-5fde0c5fbdd2" providerId="ADAL" clId="{B441C459-42E0-4465-B296-199851FC6E31}" dt="2024-09-11T11:12:14.001" v="3782" actId="6264"/>
          <ac:spMkLst>
            <pc:docMk/>
            <pc:sldMk cId="3748997194" sldId="991"/>
            <ac:spMk id="4" creationId="{37F9F95A-5271-4113-BBB4-626DE656FCF5}"/>
          </ac:spMkLst>
        </pc:spChg>
        <pc:spChg chg="mod ord">
          <ac:chgData name="José Antonio Ureta Santacreu" userId="e36999d1-2b92-424a-9e8c-5fde0c5fbdd2" providerId="ADAL" clId="{B441C459-42E0-4465-B296-199851FC6E31}" dt="2024-09-11T11:12:14.001" v="3782" actId="6264"/>
          <ac:spMkLst>
            <pc:docMk/>
            <pc:sldMk cId="3748997194" sldId="991"/>
            <ac:spMk id="5" creationId="{4A9B541D-8DA7-42D0-95F6-13090AAB291E}"/>
          </ac:spMkLst>
        </pc:spChg>
        <pc:spChg chg="mod ord">
          <ac:chgData name="José Antonio Ureta Santacreu" userId="e36999d1-2b92-424a-9e8c-5fde0c5fbdd2" providerId="ADAL" clId="{B441C459-42E0-4465-B296-199851FC6E31}" dt="2024-09-11T11:12:14.001" v="3782" actId="6264"/>
          <ac:spMkLst>
            <pc:docMk/>
            <pc:sldMk cId="3748997194" sldId="991"/>
            <ac:spMk id="6" creationId="{2F4D75C0-852F-48E7-AD2E-48976D85D59E}"/>
          </ac:spMkLst>
        </pc:spChg>
        <pc:spChg chg="add del mod">
          <ac:chgData name="José Antonio Ureta Santacreu" userId="e36999d1-2b92-424a-9e8c-5fde0c5fbdd2" providerId="ADAL" clId="{B441C459-42E0-4465-B296-199851FC6E31}" dt="2024-09-11T11:12:14.001" v="3782" actId="6264"/>
          <ac:spMkLst>
            <pc:docMk/>
            <pc:sldMk cId="3748997194" sldId="991"/>
            <ac:spMk id="143" creationId="{624D4206-8A49-BB44-4E84-026EE5D660B5}"/>
          </ac:spMkLst>
        </pc:spChg>
        <pc:spChg chg="add del mod">
          <ac:chgData name="José Antonio Ureta Santacreu" userId="e36999d1-2b92-424a-9e8c-5fde0c5fbdd2" providerId="ADAL" clId="{B441C459-42E0-4465-B296-199851FC6E31}" dt="2024-09-11T11:12:14.001" v="3782" actId="6264"/>
          <ac:spMkLst>
            <pc:docMk/>
            <pc:sldMk cId="3748997194" sldId="991"/>
            <ac:spMk id="144" creationId="{5977D0BF-C49D-0971-607B-ED8EE2E784B6}"/>
          </ac:spMkLst>
        </pc:spChg>
        <pc:spChg chg="add del mod">
          <ac:chgData name="José Antonio Ureta Santacreu" userId="e36999d1-2b92-424a-9e8c-5fde0c5fbdd2" providerId="ADAL" clId="{B441C459-42E0-4465-B296-199851FC6E31}" dt="2024-09-11T11:12:14.001" v="3782" actId="6264"/>
          <ac:spMkLst>
            <pc:docMk/>
            <pc:sldMk cId="3748997194" sldId="991"/>
            <ac:spMk id="145" creationId="{A8F88312-7F39-FA03-09EF-2DE354E5511D}"/>
          </ac:spMkLst>
        </pc:spChg>
        <pc:spChg chg="add del mod">
          <ac:chgData name="José Antonio Ureta Santacreu" userId="e36999d1-2b92-424a-9e8c-5fde0c5fbdd2" providerId="ADAL" clId="{B441C459-42E0-4465-B296-199851FC6E31}" dt="2024-09-11T11:12:14.001" v="3782" actId="6264"/>
          <ac:spMkLst>
            <pc:docMk/>
            <pc:sldMk cId="3748997194" sldId="991"/>
            <ac:spMk id="146" creationId="{4B98AD2C-0430-0ED5-BB6E-E80F4F6BBFAC}"/>
          </ac:spMkLst>
        </pc:spChg>
        <pc:spChg chg="add del mod">
          <ac:chgData name="José Antonio Ureta Santacreu" userId="e36999d1-2b92-424a-9e8c-5fde0c5fbdd2" providerId="ADAL" clId="{B441C459-42E0-4465-B296-199851FC6E31}" dt="2024-09-11T11:12:14.001" v="3782" actId="6264"/>
          <ac:spMkLst>
            <pc:docMk/>
            <pc:sldMk cId="3748997194" sldId="991"/>
            <ac:spMk id="147" creationId="{25F0A71F-459A-6F6D-3C84-4BCC435F96C3}"/>
          </ac:spMkLst>
        </pc:spChg>
        <pc:graphicFrameChg chg="mod ord">
          <ac:chgData name="José Antonio Ureta Santacreu" userId="e36999d1-2b92-424a-9e8c-5fde0c5fbdd2" providerId="ADAL" clId="{B441C459-42E0-4465-B296-199851FC6E31}" dt="2024-09-11T11:12:14.001" v="3782" actId="6264"/>
          <ac:graphicFrameMkLst>
            <pc:docMk/>
            <pc:sldMk cId="3748997194" sldId="991"/>
            <ac:graphicFrameMk id="7" creationId="{9BCB6B51-6395-4716-BE6A-8EED05620CD7}"/>
          </ac:graphicFrameMkLst>
        </pc:graphicFrameChg>
      </pc:sldChg>
      <pc:sldChg chg="addSp delSp modSp mod modShow chgLayout">
        <pc:chgData name="José Antonio Ureta Santacreu" userId="e36999d1-2b92-424a-9e8c-5fde0c5fbdd2" providerId="ADAL" clId="{B441C459-42E0-4465-B296-199851FC6E31}" dt="2024-09-12T15:17:57.252" v="4748" actId="14100"/>
        <pc:sldMkLst>
          <pc:docMk/>
          <pc:sldMk cId="2760323116" sldId="1002"/>
        </pc:sldMkLst>
        <pc:spChg chg="mod ord">
          <ac:chgData name="José Antonio Ureta Santacreu" userId="e36999d1-2b92-424a-9e8c-5fde0c5fbdd2" providerId="ADAL" clId="{B441C459-42E0-4465-B296-199851FC6E31}" dt="2024-09-11T11:12:14.001" v="3782" actId="6264"/>
          <ac:spMkLst>
            <pc:docMk/>
            <pc:sldMk cId="2760323116" sldId="1002"/>
            <ac:spMk id="2" creationId="{19D361B8-D2CC-4230-9C7F-A5B9AFE4BCF0}"/>
          </ac:spMkLst>
        </pc:spChg>
        <pc:spChg chg="add del mod">
          <ac:chgData name="José Antonio Ureta Santacreu" userId="e36999d1-2b92-424a-9e8c-5fde0c5fbdd2" providerId="ADAL" clId="{B441C459-42E0-4465-B296-199851FC6E31}" dt="2024-09-11T11:12:14.001" v="3782" actId="6264"/>
          <ac:spMkLst>
            <pc:docMk/>
            <pc:sldMk cId="2760323116" sldId="1002"/>
            <ac:spMk id="3" creationId="{7DAD098C-52FF-4D99-0483-87B0EBC7ACF9}"/>
          </ac:spMkLst>
        </pc:spChg>
        <pc:spChg chg="mod ord">
          <ac:chgData name="José Antonio Ureta Santacreu" userId="e36999d1-2b92-424a-9e8c-5fde0c5fbdd2" providerId="ADAL" clId="{B441C459-42E0-4465-B296-199851FC6E31}" dt="2024-09-11T11:12:14.001" v="3782" actId="6264"/>
          <ac:spMkLst>
            <pc:docMk/>
            <pc:sldMk cId="2760323116" sldId="1002"/>
            <ac:spMk id="4" creationId="{A4023038-7A9F-42EC-AA5A-B1915B1DD970}"/>
          </ac:spMkLst>
        </pc:spChg>
        <pc:spChg chg="mod ord">
          <ac:chgData name="José Antonio Ureta Santacreu" userId="e36999d1-2b92-424a-9e8c-5fde0c5fbdd2" providerId="ADAL" clId="{B441C459-42E0-4465-B296-199851FC6E31}" dt="2024-09-11T11:12:14.001" v="3782" actId="6264"/>
          <ac:spMkLst>
            <pc:docMk/>
            <pc:sldMk cId="2760323116" sldId="1002"/>
            <ac:spMk id="5" creationId="{988666EB-7571-4256-9186-E26310B310F0}"/>
          </ac:spMkLst>
        </pc:spChg>
        <pc:spChg chg="add del mod">
          <ac:chgData name="José Antonio Ureta Santacreu" userId="e36999d1-2b92-424a-9e8c-5fde0c5fbdd2" providerId="ADAL" clId="{B441C459-42E0-4465-B296-199851FC6E31}" dt="2024-09-11T11:12:14.001" v="3782" actId="6264"/>
          <ac:spMkLst>
            <pc:docMk/>
            <pc:sldMk cId="2760323116" sldId="1002"/>
            <ac:spMk id="6" creationId="{7ECD4187-0853-F75B-AA81-57D2EB8C65CF}"/>
          </ac:spMkLst>
        </pc:spChg>
        <pc:spChg chg="add del mod">
          <ac:chgData name="José Antonio Ureta Santacreu" userId="e36999d1-2b92-424a-9e8c-5fde0c5fbdd2" providerId="ADAL" clId="{B441C459-42E0-4465-B296-199851FC6E31}" dt="2024-09-11T11:12:14.001" v="3782" actId="6264"/>
          <ac:spMkLst>
            <pc:docMk/>
            <pc:sldMk cId="2760323116" sldId="1002"/>
            <ac:spMk id="8" creationId="{23D14B23-0606-3A8A-726C-A810D305152C}"/>
          </ac:spMkLst>
        </pc:spChg>
        <pc:spChg chg="add del mod">
          <ac:chgData name="José Antonio Ureta Santacreu" userId="e36999d1-2b92-424a-9e8c-5fde0c5fbdd2" providerId="ADAL" clId="{B441C459-42E0-4465-B296-199851FC6E31}" dt="2024-09-11T11:12:14.001" v="3782" actId="6264"/>
          <ac:spMkLst>
            <pc:docMk/>
            <pc:sldMk cId="2760323116" sldId="1002"/>
            <ac:spMk id="9" creationId="{92BA248E-9B0E-4025-1F7E-88627B6BDCC8}"/>
          </ac:spMkLst>
        </pc:spChg>
        <pc:spChg chg="mod ord">
          <ac:chgData name="José Antonio Ureta Santacreu" userId="e36999d1-2b92-424a-9e8c-5fde0c5fbdd2" providerId="ADAL" clId="{B441C459-42E0-4465-B296-199851FC6E31}" dt="2024-09-11T11:12:14.001" v="3782" actId="6264"/>
          <ac:spMkLst>
            <pc:docMk/>
            <pc:sldMk cId="2760323116" sldId="1002"/>
            <ac:spMk id="10" creationId="{6B719B5D-51FF-4A12-8BE6-13B468390DF0}"/>
          </ac:spMkLst>
        </pc:spChg>
        <pc:spChg chg="add del mod">
          <ac:chgData name="José Antonio Ureta Santacreu" userId="e36999d1-2b92-424a-9e8c-5fde0c5fbdd2" providerId="ADAL" clId="{B441C459-42E0-4465-B296-199851FC6E31}" dt="2024-09-11T11:12:14.001" v="3782" actId="6264"/>
          <ac:spMkLst>
            <pc:docMk/>
            <pc:sldMk cId="2760323116" sldId="1002"/>
            <ac:spMk id="12" creationId="{A6F686E1-1015-9960-C3B7-BAABD36122E1}"/>
          </ac:spMkLst>
        </pc:spChg>
        <pc:spChg chg="add del mod ord">
          <ac:chgData name="José Antonio Ureta Santacreu" userId="e36999d1-2b92-424a-9e8c-5fde0c5fbdd2" providerId="ADAL" clId="{B441C459-42E0-4465-B296-199851FC6E31}" dt="2024-09-12T15:17:50.638" v="4746"/>
          <ac:spMkLst>
            <pc:docMk/>
            <pc:sldMk cId="2760323116" sldId="1002"/>
            <ac:spMk id="13" creationId="{DFF0BA22-E926-A53C-090A-37D0E0CE971E}"/>
          </ac:spMkLst>
        </pc:spChg>
        <pc:graphicFrameChg chg="mod ord">
          <ac:chgData name="José Antonio Ureta Santacreu" userId="e36999d1-2b92-424a-9e8c-5fde0c5fbdd2" providerId="ADAL" clId="{B441C459-42E0-4465-B296-199851FC6E31}" dt="2024-09-11T11:12:14.001" v="3782" actId="6264"/>
          <ac:graphicFrameMkLst>
            <pc:docMk/>
            <pc:sldMk cId="2760323116" sldId="1002"/>
            <ac:graphicFrameMk id="7" creationId="{E8A69646-B720-4D68-811C-A5AA610B7AFF}"/>
          </ac:graphicFrameMkLst>
        </pc:graphicFrameChg>
        <pc:picChg chg="add mod">
          <ac:chgData name="José Antonio Ureta Santacreu" userId="e36999d1-2b92-424a-9e8c-5fde0c5fbdd2" providerId="ADAL" clId="{B441C459-42E0-4465-B296-199851FC6E31}" dt="2024-09-12T15:17:57.252" v="4748" actId="14100"/>
          <ac:picMkLst>
            <pc:docMk/>
            <pc:sldMk cId="2760323116" sldId="1002"/>
            <ac:picMk id="3" creationId="{186DD38A-9F64-4761-85CD-C476280EB8D2}"/>
          </ac:picMkLst>
        </pc:picChg>
        <pc:picChg chg="del">
          <ac:chgData name="José Antonio Ureta Santacreu" userId="e36999d1-2b92-424a-9e8c-5fde0c5fbdd2" providerId="ADAL" clId="{B441C459-42E0-4465-B296-199851FC6E31}" dt="2024-09-12T15:17:48.747" v="4745" actId="21"/>
          <ac:picMkLst>
            <pc:docMk/>
            <pc:sldMk cId="2760323116" sldId="1002"/>
            <ac:picMk id="11" creationId="{186DD38A-9F64-4761-85CD-C476280EB8D2}"/>
          </ac:picMkLst>
        </pc:picChg>
      </pc:sldChg>
      <pc:sldChg chg="del">
        <pc:chgData name="José Antonio Ureta Santacreu" userId="e36999d1-2b92-424a-9e8c-5fde0c5fbdd2" providerId="ADAL" clId="{B441C459-42E0-4465-B296-199851FC6E31}" dt="2024-07-23T10:41:54.955" v="271" actId="2696"/>
        <pc:sldMkLst>
          <pc:docMk/>
          <pc:sldMk cId="2277357659" sldId="1045"/>
        </pc:sldMkLst>
      </pc:sldChg>
      <pc:sldChg chg="addSp delSp modSp add mod chgLayout">
        <pc:chgData name="José Antonio Ureta Santacreu" userId="e36999d1-2b92-424a-9e8c-5fde0c5fbdd2" providerId="ADAL" clId="{B441C459-42E0-4465-B296-199851FC6E31}" dt="2024-09-12T10:45:32.097" v="4185" actId="1035"/>
        <pc:sldMkLst>
          <pc:docMk/>
          <pc:sldMk cId="2801306372" sldId="1045"/>
        </pc:sldMkLst>
        <pc:spChg chg="mod ord">
          <ac:chgData name="José Antonio Ureta Santacreu" userId="e36999d1-2b92-424a-9e8c-5fde0c5fbdd2" providerId="ADAL" clId="{B441C459-42E0-4465-B296-199851FC6E31}" dt="2024-09-11T11:12:14.001" v="3782" actId="6264"/>
          <ac:spMkLst>
            <pc:docMk/>
            <pc:sldMk cId="2801306372" sldId="1045"/>
            <ac:spMk id="2" creationId="{FBB61F92-8658-4C4D-8D8F-B4C61DD219AC}"/>
          </ac:spMkLst>
        </pc:spChg>
        <pc:spChg chg="mod ord">
          <ac:chgData name="José Antonio Ureta Santacreu" userId="e36999d1-2b92-424a-9e8c-5fde0c5fbdd2" providerId="ADAL" clId="{B441C459-42E0-4465-B296-199851FC6E31}" dt="2024-09-11T11:12:14.001" v="3782" actId="6264"/>
          <ac:spMkLst>
            <pc:docMk/>
            <pc:sldMk cId="2801306372" sldId="1045"/>
            <ac:spMk id="5" creationId="{0A544F4E-EBF2-46B5-9D06-5146DFCFB283}"/>
          </ac:spMkLst>
        </pc:spChg>
        <pc:spChg chg="mod ord">
          <ac:chgData name="José Antonio Ureta Santacreu" userId="e36999d1-2b92-424a-9e8c-5fde0c5fbdd2" providerId="ADAL" clId="{B441C459-42E0-4465-B296-199851FC6E31}" dt="2024-09-11T11:12:14.001" v="3782" actId="6264"/>
          <ac:spMkLst>
            <pc:docMk/>
            <pc:sldMk cId="2801306372" sldId="1045"/>
            <ac:spMk id="6" creationId="{911DF392-9027-4245-9AC3-C462D0CFE3D7}"/>
          </ac:spMkLst>
        </pc:spChg>
        <pc:spChg chg="mod ord">
          <ac:chgData name="José Antonio Ureta Santacreu" userId="e36999d1-2b92-424a-9e8c-5fde0c5fbdd2" providerId="ADAL" clId="{B441C459-42E0-4465-B296-199851FC6E31}" dt="2024-09-11T11:12:14.001" v="3782" actId="6264"/>
          <ac:spMkLst>
            <pc:docMk/>
            <pc:sldMk cId="2801306372" sldId="1045"/>
            <ac:spMk id="7" creationId="{96AD6309-2BB0-4B97-BF55-A0DFADA86054}"/>
          </ac:spMkLst>
        </pc:spChg>
        <pc:spChg chg="add del mod">
          <ac:chgData name="José Antonio Ureta Santacreu" userId="e36999d1-2b92-424a-9e8c-5fde0c5fbdd2" providerId="ADAL" clId="{B441C459-42E0-4465-B296-199851FC6E31}" dt="2024-09-11T11:12:14.001" v="3782" actId="6264"/>
          <ac:spMkLst>
            <pc:docMk/>
            <pc:sldMk cId="2801306372" sldId="1045"/>
            <ac:spMk id="8" creationId="{8D32C587-6CED-E1A2-D35F-93D56C0734EC}"/>
          </ac:spMkLst>
        </pc:spChg>
        <pc:spChg chg="mod">
          <ac:chgData name="José Antonio Ureta Santacreu" userId="e36999d1-2b92-424a-9e8c-5fde0c5fbdd2" providerId="ADAL" clId="{B441C459-42E0-4465-B296-199851FC6E31}" dt="2024-09-12T10:45:18.977" v="4172" actId="13926"/>
          <ac:spMkLst>
            <pc:docMk/>
            <pc:sldMk cId="2801306372" sldId="1045"/>
            <ac:spMk id="9" creationId="{E70564A4-DC1A-45DE-ADEB-372855188B92}"/>
          </ac:spMkLst>
        </pc:spChg>
        <pc:spChg chg="add del mod">
          <ac:chgData name="José Antonio Ureta Santacreu" userId="e36999d1-2b92-424a-9e8c-5fde0c5fbdd2" providerId="ADAL" clId="{B441C459-42E0-4465-B296-199851FC6E31}" dt="2024-09-11T11:12:14.001" v="3782" actId="6264"/>
          <ac:spMkLst>
            <pc:docMk/>
            <pc:sldMk cId="2801306372" sldId="1045"/>
            <ac:spMk id="10" creationId="{3F8F11FB-CFBC-D210-1D41-2B23E6040688}"/>
          </ac:spMkLst>
        </pc:spChg>
        <pc:spChg chg="add del mod">
          <ac:chgData name="José Antonio Ureta Santacreu" userId="e36999d1-2b92-424a-9e8c-5fde0c5fbdd2" providerId="ADAL" clId="{B441C459-42E0-4465-B296-199851FC6E31}" dt="2024-09-11T11:12:14.001" v="3782" actId="6264"/>
          <ac:spMkLst>
            <pc:docMk/>
            <pc:sldMk cId="2801306372" sldId="1045"/>
            <ac:spMk id="11" creationId="{124D4D70-7D63-DA44-1E69-BF3109E760A8}"/>
          </ac:spMkLst>
        </pc:spChg>
        <pc:spChg chg="add del mod">
          <ac:chgData name="José Antonio Ureta Santacreu" userId="e36999d1-2b92-424a-9e8c-5fde0c5fbdd2" providerId="ADAL" clId="{B441C459-42E0-4465-B296-199851FC6E31}" dt="2024-09-11T11:12:14.001" v="3782" actId="6264"/>
          <ac:spMkLst>
            <pc:docMk/>
            <pc:sldMk cId="2801306372" sldId="1045"/>
            <ac:spMk id="12" creationId="{83B7D0F4-7070-9A37-2AC0-321B68169654}"/>
          </ac:spMkLst>
        </pc:spChg>
        <pc:graphicFrameChg chg="mod">
          <ac:chgData name="José Antonio Ureta Santacreu" userId="e36999d1-2b92-424a-9e8c-5fde0c5fbdd2" providerId="ADAL" clId="{B441C459-42E0-4465-B296-199851FC6E31}" dt="2024-09-12T10:45:32.097" v="4185" actId="1035"/>
          <ac:graphicFrameMkLst>
            <pc:docMk/>
            <pc:sldMk cId="2801306372" sldId="1045"/>
            <ac:graphicFrameMk id="23" creationId="{32FAEB61-07CC-4C2A-B2B4-EADDDCEACD90}"/>
          </ac:graphicFrameMkLst>
        </pc:graphicFrameChg>
        <pc:cxnChg chg="mod">
          <ac:chgData name="José Antonio Ureta Santacreu" userId="e36999d1-2b92-424a-9e8c-5fde0c5fbdd2" providerId="ADAL" clId="{B441C459-42E0-4465-B296-199851FC6E31}" dt="2024-09-12T10:45:11.054" v="4171" actId="14100"/>
          <ac:cxnSpMkLst>
            <pc:docMk/>
            <pc:sldMk cId="2801306372" sldId="1045"/>
            <ac:cxnSpMk id="3" creationId="{57C24BBF-E7B4-44B0-BEDA-1F59DF89DF2B}"/>
          </ac:cxnSpMkLst>
        </pc:cxnChg>
        <pc:cxnChg chg="mod">
          <ac:chgData name="José Antonio Ureta Santacreu" userId="e36999d1-2b92-424a-9e8c-5fde0c5fbdd2" providerId="ADAL" clId="{B441C459-42E0-4465-B296-199851FC6E31}" dt="2024-09-12T10:45:11.054" v="4171" actId="14100"/>
          <ac:cxnSpMkLst>
            <pc:docMk/>
            <pc:sldMk cId="2801306372" sldId="1045"/>
            <ac:cxnSpMk id="14" creationId="{7B5EAFD8-93BB-418D-AE71-A2D335780168}"/>
          </ac:cxnSpMkLst>
        </pc:cxnChg>
      </pc:sldChg>
      <pc:sldChg chg="add">
        <pc:chgData name="José Antonio Ureta Santacreu" userId="e36999d1-2b92-424a-9e8c-5fde0c5fbdd2" providerId="ADAL" clId="{B441C459-42E0-4465-B296-199851FC6E31}" dt="2024-07-23T10:42:07.386" v="272"/>
        <pc:sldMkLst>
          <pc:docMk/>
          <pc:sldMk cId="412263653" sldId="1047"/>
        </pc:sldMkLst>
      </pc:sldChg>
      <pc:sldChg chg="del">
        <pc:chgData name="José Antonio Ureta Santacreu" userId="e36999d1-2b92-424a-9e8c-5fde0c5fbdd2" providerId="ADAL" clId="{B441C459-42E0-4465-B296-199851FC6E31}" dt="2024-07-23T10:41:54.955" v="271" actId="2696"/>
        <pc:sldMkLst>
          <pc:docMk/>
          <pc:sldMk cId="3508964806" sldId="1047"/>
        </pc:sldMkLst>
      </pc:sldChg>
      <pc:sldChg chg="del">
        <pc:chgData name="José Antonio Ureta Santacreu" userId="e36999d1-2b92-424a-9e8c-5fde0c5fbdd2" providerId="ADAL" clId="{B441C459-42E0-4465-B296-199851FC6E31}" dt="2024-07-23T10:41:54.955" v="271" actId="2696"/>
        <pc:sldMkLst>
          <pc:docMk/>
          <pc:sldMk cId="1653045506" sldId="1048"/>
        </pc:sldMkLst>
      </pc:sldChg>
      <pc:sldChg chg="addSp delSp modSp mod chgLayout">
        <pc:chgData name="José Antonio Ureta Santacreu" userId="e36999d1-2b92-424a-9e8c-5fde0c5fbdd2" providerId="ADAL" clId="{B441C459-42E0-4465-B296-199851FC6E31}" dt="2024-09-11T11:12:14.001" v="3782" actId="6264"/>
        <pc:sldMkLst>
          <pc:docMk/>
          <pc:sldMk cId="3595669355" sldId="1048"/>
        </pc:sldMkLst>
        <pc:spChg chg="mod ord">
          <ac:chgData name="José Antonio Ureta Santacreu" userId="e36999d1-2b92-424a-9e8c-5fde0c5fbdd2" providerId="ADAL" clId="{B441C459-42E0-4465-B296-199851FC6E31}" dt="2024-09-11T11:12:14.001" v="3782" actId="6264"/>
          <ac:spMkLst>
            <pc:docMk/>
            <pc:sldMk cId="3595669355" sldId="1048"/>
            <ac:spMk id="2" creationId="{97F67DEF-2146-468D-B79D-60AEEE386D1C}"/>
          </ac:spMkLst>
        </pc:spChg>
        <pc:spChg chg="mod ord">
          <ac:chgData name="José Antonio Ureta Santacreu" userId="e36999d1-2b92-424a-9e8c-5fde0c5fbdd2" providerId="ADAL" clId="{B441C459-42E0-4465-B296-199851FC6E31}" dt="2024-09-11T11:12:14.001" v="3782" actId="6264"/>
          <ac:spMkLst>
            <pc:docMk/>
            <pc:sldMk cId="3595669355" sldId="1048"/>
            <ac:spMk id="3" creationId="{2C38505D-0477-4ABF-93F0-CA77E3188475}"/>
          </ac:spMkLst>
        </pc:spChg>
        <pc:spChg chg="mod ord">
          <ac:chgData name="José Antonio Ureta Santacreu" userId="e36999d1-2b92-424a-9e8c-5fde0c5fbdd2" providerId="ADAL" clId="{B441C459-42E0-4465-B296-199851FC6E31}" dt="2024-09-11T11:12:14.001" v="3782" actId="6264"/>
          <ac:spMkLst>
            <pc:docMk/>
            <pc:sldMk cId="3595669355" sldId="1048"/>
            <ac:spMk id="5" creationId="{DCF0B7F0-BFFC-4265-97FC-BD810B52A1A1}"/>
          </ac:spMkLst>
        </pc:spChg>
        <pc:spChg chg="mod ord">
          <ac:chgData name="José Antonio Ureta Santacreu" userId="e36999d1-2b92-424a-9e8c-5fde0c5fbdd2" providerId="ADAL" clId="{B441C459-42E0-4465-B296-199851FC6E31}" dt="2024-09-11T11:12:14.001" v="3782" actId="6264"/>
          <ac:spMkLst>
            <pc:docMk/>
            <pc:sldMk cId="3595669355" sldId="1048"/>
            <ac:spMk id="6" creationId="{81B51664-ED5F-4B66-A8A4-444BF324D0EC}"/>
          </ac:spMkLst>
        </pc:spChg>
        <pc:spChg chg="add del mod">
          <ac:chgData name="José Antonio Ureta Santacreu" userId="e36999d1-2b92-424a-9e8c-5fde0c5fbdd2" providerId="ADAL" clId="{B441C459-42E0-4465-B296-199851FC6E31}" dt="2024-09-11T11:12:14.001" v="3782" actId="6264"/>
          <ac:spMkLst>
            <pc:docMk/>
            <pc:sldMk cId="3595669355" sldId="1048"/>
            <ac:spMk id="7" creationId="{734F89DC-FDE5-EE03-DE7B-410E2AF023A6}"/>
          </ac:spMkLst>
        </pc:spChg>
        <pc:spChg chg="add del mod">
          <ac:chgData name="José Antonio Ureta Santacreu" userId="e36999d1-2b92-424a-9e8c-5fde0c5fbdd2" providerId="ADAL" clId="{B441C459-42E0-4465-B296-199851FC6E31}" dt="2024-09-11T11:12:14.001" v="3782" actId="6264"/>
          <ac:spMkLst>
            <pc:docMk/>
            <pc:sldMk cId="3595669355" sldId="1048"/>
            <ac:spMk id="8" creationId="{5A9AF33E-75F7-498B-2F66-78784851A9C6}"/>
          </ac:spMkLst>
        </pc:spChg>
        <pc:spChg chg="add del mod">
          <ac:chgData name="José Antonio Ureta Santacreu" userId="e36999d1-2b92-424a-9e8c-5fde0c5fbdd2" providerId="ADAL" clId="{B441C459-42E0-4465-B296-199851FC6E31}" dt="2024-09-11T11:12:14.001" v="3782" actId="6264"/>
          <ac:spMkLst>
            <pc:docMk/>
            <pc:sldMk cId="3595669355" sldId="1048"/>
            <ac:spMk id="9" creationId="{B85AADB2-F5DF-FB4E-DEF0-3CD15982F869}"/>
          </ac:spMkLst>
        </pc:spChg>
        <pc:spChg chg="add del mod">
          <ac:chgData name="José Antonio Ureta Santacreu" userId="e36999d1-2b92-424a-9e8c-5fde0c5fbdd2" providerId="ADAL" clId="{B441C459-42E0-4465-B296-199851FC6E31}" dt="2024-09-11T11:12:14.001" v="3782" actId="6264"/>
          <ac:spMkLst>
            <pc:docMk/>
            <pc:sldMk cId="3595669355" sldId="1048"/>
            <ac:spMk id="10" creationId="{361BD2BE-5B10-457D-4BC8-F2D66BC94A23}"/>
          </ac:spMkLst>
        </pc:spChg>
        <pc:spChg chg="add del mod">
          <ac:chgData name="José Antonio Ureta Santacreu" userId="e36999d1-2b92-424a-9e8c-5fde0c5fbdd2" providerId="ADAL" clId="{B441C459-42E0-4465-B296-199851FC6E31}" dt="2024-09-11T11:12:14.001" v="3782" actId="6264"/>
          <ac:spMkLst>
            <pc:docMk/>
            <pc:sldMk cId="3595669355" sldId="1048"/>
            <ac:spMk id="11" creationId="{321689EC-BF0D-6BCB-9CF7-D6EB98A28034}"/>
          </ac:spMkLst>
        </pc:spChg>
        <pc:graphicFrameChg chg="mod ord">
          <ac:chgData name="José Antonio Ureta Santacreu" userId="e36999d1-2b92-424a-9e8c-5fde0c5fbdd2" providerId="ADAL" clId="{B441C459-42E0-4465-B296-199851FC6E31}" dt="2024-09-11T11:12:14.001" v="3782" actId="6264"/>
          <ac:graphicFrameMkLst>
            <pc:docMk/>
            <pc:sldMk cId="3595669355" sldId="1048"/>
            <ac:graphicFrameMk id="4" creationId="{0DEAC999-870C-4407-8349-6681465FB7A7}"/>
          </ac:graphicFrameMkLst>
        </pc:graphicFrameChg>
      </pc:sldChg>
      <pc:sldChg chg="add">
        <pc:chgData name="José Antonio Ureta Santacreu" userId="e36999d1-2b92-424a-9e8c-5fde0c5fbdd2" providerId="ADAL" clId="{B441C459-42E0-4465-B296-199851FC6E31}" dt="2024-07-23T10:42:07.386" v="272"/>
        <pc:sldMkLst>
          <pc:docMk/>
          <pc:sldMk cId="4154179451" sldId="1048"/>
        </pc:sldMkLst>
      </pc:sldChg>
      <pc:sldChg chg="addSp delSp modSp add mod modClrScheme chgLayout">
        <pc:chgData name="José Antonio Ureta Santacreu" userId="e36999d1-2b92-424a-9e8c-5fde0c5fbdd2" providerId="ADAL" clId="{B441C459-42E0-4465-B296-199851FC6E31}" dt="2024-09-12T15:37:06.232" v="5037"/>
        <pc:sldMkLst>
          <pc:docMk/>
          <pc:sldMk cId="182238497" sldId="1050"/>
        </pc:sldMkLst>
        <pc:spChg chg="mod ord">
          <ac:chgData name="José Antonio Ureta Santacreu" userId="e36999d1-2b92-424a-9e8c-5fde0c5fbdd2" providerId="ADAL" clId="{B441C459-42E0-4465-B296-199851FC6E31}" dt="2024-09-12T15:36:35.106" v="5034" actId="700"/>
          <ac:spMkLst>
            <pc:docMk/>
            <pc:sldMk cId="182238497" sldId="1050"/>
            <ac:spMk id="2" creationId="{A572946E-683B-4B38-A082-57AEBBFD640E}"/>
          </ac:spMkLst>
        </pc:spChg>
        <pc:spChg chg="mod ord">
          <ac:chgData name="José Antonio Ureta Santacreu" userId="e36999d1-2b92-424a-9e8c-5fde0c5fbdd2" providerId="ADAL" clId="{B441C459-42E0-4465-B296-199851FC6E31}" dt="2024-09-12T15:36:35.106" v="5034" actId="700"/>
          <ac:spMkLst>
            <pc:docMk/>
            <pc:sldMk cId="182238497" sldId="1050"/>
            <ac:spMk id="3" creationId="{B9943267-0748-4259-9AFC-4E66F0D97CD4}"/>
          </ac:spMkLst>
        </pc:spChg>
        <pc:spChg chg="mod ord">
          <ac:chgData name="José Antonio Ureta Santacreu" userId="e36999d1-2b92-424a-9e8c-5fde0c5fbdd2" providerId="ADAL" clId="{B441C459-42E0-4465-B296-199851FC6E31}" dt="2024-09-12T15:36:35.106" v="5034" actId="700"/>
          <ac:spMkLst>
            <pc:docMk/>
            <pc:sldMk cId="182238497" sldId="1050"/>
            <ac:spMk id="4" creationId="{BB09EB60-4353-4272-9BC1-5D33DF454A73}"/>
          </ac:spMkLst>
        </pc:spChg>
        <pc:spChg chg="mod ord">
          <ac:chgData name="José Antonio Ureta Santacreu" userId="e36999d1-2b92-424a-9e8c-5fde0c5fbdd2" providerId="ADAL" clId="{B441C459-42E0-4465-B296-199851FC6E31}" dt="2024-09-12T15:36:35.106" v="5034" actId="700"/>
          <ac:spMkLst>
            <pc:docMk/>
            <pc:sldMk cId="182238497" sldId="1050"/>
            <ac:spMk id="5" creationId="{C3F72A59-5AA4-494F-8E8A-A8CD76D9838A}"/>
          </ac:spMkLst>
        </pc:spChg>
        <pc:spChg chg="add del mod">
          <ac:chgData name="José Antonio Ureta Santacreu" userId="e36999d1-2b92-424a-9e8c-5fde0c5fbdd2" providerId="ADAL" clId="{B441C459-42E0-4465-B296-199851FC6E31}" dt="2024-09-11T11:12:14.001" v="3782" actId="6264"/>
          <ac:spMkLst>
            <pc:docMk/>
            <pc:sldMk cId="182238497" sldId="1050"/>
            <ac:spMk id="6" creationId="{1C517C4D-A5F7-BEF4-4719-D384E6ECC8D6}"/>
          </ac:spMkLst>
        </pc:spChg>
        <pc:spChg chg="add del mod ord">
          <ac:chgData name="José Antonio Ureta Santacreu" userId="e36999d1-2b92-424a-9e8c-5fde0c5fbdd2" providerId="ADAL" clId="{B441C459-42E0-4465-B296-199851FC6E31}" dt="2024-09-12T15:36:37.424" v="5035"/>
          <ac:spMkLst>
            <pc:docMk/>
            <pc:sldMk cId="182238497" sldId="1050"/>
            <ac:spMk id="6" creationId="{BC17B1B1-84C8-ABDC-B52E-D43AC6F2EC12}"/>
          </ac:spMkLst>
        </pc:spChg>
        <pc:spChg chg="add del mod">
          <ac:chgData name="José Antonio Ureta Santacreu" userId="e36999d1-2b92-424a-9e8c-5fde0c5fbdd2" providerId="ADAL" clId="{B441C459-42E0-4465-B296-199851FC6E31}" dt="2024-09-12T15:37:06.232" v="5037"/>
          <ac:spMkLst>
            <pc:docMk/>
            <pc:sldMk cId="182238497" sldId="1050"/>
            <ac:spMk id="7" creationId="{320F4EB4-661A-CC70-2438-2770219A2B1D}"/>
          </ac:spMkLst>
        </pc:spChg>
        <pc:spChg chg="add del mod">
          <ac:chgData name="José Antonio Ureta Santacreu" userId="e36999d1-2b92-424a-9e8c-5fde0c5fbdd2" providerId="ADAL" clId="{B441C459-42E0-4465-B296-199851FC6E31}" dt="2024-09-11T11:12:14.001" v="3782" actId="6264"/>
          <ac:spMkLst>
            <pc:docMk/>
            <pc:sldMk cId="182238497" sldId="1050"/>
            <ac:spMk id="7" creationId="{648647BE-B5FD-1203-6149-B002B7F8C3D6}"/>
          </ac:spMkLst>
        </pc:spChg>
        <pc:spChg chg="add del mod">
          <ac:chgData name="José Antonio Ureta Santacreu" userId="e36999d1-2b92-424a-9e8c-5fde0c5fbdd2" providerId="ADAL" clId="{B441C459-42E0-4465-B296-199851FC6E31}" dt="2024-09-11T11:12:14.001" v="3782" actId="6264"/>
          <ac:spMkLst>
            <pc:docMk/>
            <pc:sldMk cId="182238497" sldId="1050"/>
            <ac:spMk id="8" creationId="{7B639BB1-E349-11A2-36AF-2233FB244F57}"/>
          </ac:spMkLst>
        </pc:spChg>
        <pc:spChg chg="add del mod">
          <ac:chgData name="José Antonio Ureta Santacreu" userId="e36999d1-2b92-424a-9e8c-5fde0c5fbdd2" providerId="ADAL" clId="{B441C459-42E0-4465-B296-199851FC6E31}" dt="2024-09-11T11:12:14.001" v="3782" actId="6264"/>
          <ac:spMkLst>
            <pc:docMk/>
            <pc:sldMk cId="182238497" sldId="1050"/>
            <ac:spMk id="9" creationId="{06D29F19-2DFD-2022-3D71-F45FE87A157B}"/>
          </ac:spMkLst>
        </pc:spChg>
        <pc:picChg chg="add del mod">
          <ac:chgData name="José Antonio Ureta Santacreu" userId="e36999d1-2b92-424a-9e8c-5fde0c5fbdd2" providerId="ADAL" clId="{B441C459-42E0-4465-B296-199851FC6E31}" dt="2024-09-12T15:36:43.587" v="5036" actId="478"/>
          <ac:picMkLst>
            <pc:docMk/>
            <pc:sldMk cId="182238497" sldId="1050"/>
            <ac:picMk id="4098" creationId="{74B7CFC8-4329-F1D6-4D8A-AD2515208EBD}"/>
          </ac:picMkLst>
        </pc:picChg>
        <pc:picChg chg="add mod">
          <ac:chgData name="José Antonio Ureta Santacreu" userId="e36999d1-2b92-424a-9e8c-5fde0c5fbdd2" providerId="ADAL" clId="{B441C459-42E0-4465-B296-199851FC6E31}" dt="2024-09-12T15:37:06.232" v="5037"/>
          <ac:picMkLst>
            <pc:docMk/>
            <pc:sldMk cId="182238497" sldId="1050"/>
            <ac:picMk id="4100" creationId="{A6381DF7-C1C6-7CB1-6722-C1EC7E6B8366}"/>
          </ac:picMkLst>
        </pc:picChg>
      </pc:sldChg>
      <pc:sldChg chg="del">
        <pc:chgData name="José Antonio Ureta Santacreu" userId="e36999d1-2b92-424a-9e8c-5fde0c5fbdd2" providerId="ADAL" clId="{B441C459-42E0-4465-B296-199851FC6E31}" dt="2024-07-23T10:41:54.955" v="271" actId="2696"/>
        <pc:sldMkLst>
          <pc:docMk/>
          <pc:sldMk cId="4286153770" sldId="1050"/>
        </pc:sldMkLst>
      </pc:sldChg>
      <pc:sldChg chg="addSp delSp modSp mod chgLayout">
        <pc:chgData name="José Antonio Ureta Santacreu" userId="e36999d1-2b92-424a-9e8c-5fde0c5fbdd2" providerId="ADAL" clId="{B441C459-42E0-4465-B296-199851FC6E31}" dt="2024-09-11T11:12:14.001" v="3782" actId="6264"/>
        <pc:sldMkLst>
          <pc:docMk/>
          <pc:sldMk cId="2195440747" sldId="1051"/>
        </pc:sldMkLst>
        <pc:spChg chg="mod ord">
          <ac:chgData name="José Antonio Ureta Santacreu" userId="e36999d1-2b92-424a-9e8c-5fde0c5fbdd2" providerId="ADAL" clId="{B441C459-42E0-4465-B296-199851FC6E31}" dt="2024-09-11T11:12:14.001" v="3782" actId="6264"/>
          <ac:spMkLst>
            <pc:docMk/>
            <pc:sldMk cId="2195440747" sldId="1051"/>
            <ac:spMk id="2" creationId="{81980A65-6CDE-80E0-9C72-184C8503FDA1}"/>
          </ac:spMkLst>
        </pc:spChg>
        <pc:spChg chg="mod ord">
          <ac:chgData name="José Antonio Ureta Santacreu" userId="e36999d1-2b92-424a-9e8c-5fde0c5fbdd2" providerId="ADAL" clId="{B441C459-42E0-4465-B296-199851FC6E31}" dt="2024-09-11T11:12:14.001" v="3782" actId="6264"/>
          <ac:spMkLst>
            <pc:docMk/>
            <pc:sldMk cId="2195440747" sldId="1051"/>
            <ac:spMk id="3" creationId="{DD05CC26-F594-E3EE-B093-5985E7D392C5}"/>
          </ac:spMkLst>
        </pc:spChg>
        <pc:spChg chg="mod ord">
          <ac:chgData name="José Antonio Ureta Santacreu" userId="e36999d1-2b92-424a-9e8c-5fde0c5fbdd2" providerId="ADAL" clId="{B441C459-42E0-4465-B296-199851FC6E31}" dt="2024-09-11T11:12:14.001" v="3782" actId="6264"/>
          <ac:spMkLst>
            <pc:docMk/>
            <pc:sldMk cId="2195440747" sldId="1051"/>
            <ac:spMk id="4" creationId="{DDEA2CBA-3BB2-C3A9-EC0D-564DEA8F0664}"/>
          </ac:spMkLst>
        </pc:spChg>
        <pc:spChg chg="mod ord">
          <ac:chgData name="José Antonio Ureta Santacreu" userId="e36999d1-2b92-424a-9e8c-5fde0c5fbdd2" providerId="ADAL" clId="{B441C459-42E0-4465-B296-199851FC6E31}" dt="2024-09-11T11:12:14.001" v="3782" actId="6264"/>
          <ac:spMkLst>
            <pc:docMk/>
            <pc:sldMk cId="2195440747" sldId="1051"/>
            <ac:spMk id="5" creationId="{D4D92A38-0DF4-E85D-FBCC-F80064E7F5DE}"/>
          </ac:spMkLst>
        </pc:spChg>
        <pc:spChg chg="mod">
          <ac:chgData name="José Antonio Ureta Santacreu" userId="e36999d1-2b92-424a-9e8c-5fde0c5fbdd2" providerId="ADAL" clId="{B441C459-42E0-4465-B296-199851FC6E31}" dt="2024-08-30T09:21:35.510" v="1971" actId="6549"/>
          <ac:spMkLst>
            <pc:docMk/>
            <pc:sldMk cId="2195440747" sldId="1051"/>
            <ac:spMk id="6" creationId="{E227ABA5-8A69-DBD9-21E9-C7735BE61837}"/>
          </ac:spMkLst>
        </pc:spChg>
        <pc:spChg chg="add del mod">
          <ac:chgData name="José Antonio Ureta Santacreu" userId="e36999d1-2b92-424a-9e8c-5fde0c5fbdd2" providerId="ADAL" clId="{B441C459-42E0-4465-B296-199851FC6E31}" dt="2024-09-11T11:12:14.001" v="3782" actId="6264"/>
          <ac:spMkLst>
            <pc:docMk/>
            <pc:sldMk cId="2195440747" sldId="1051"/>
            <ac:spMk id="7" creationId="{C5D9C38E-C191-4C5D-3C7A-436036FB848F}"/>
          </ac:spMkLst>
        </pc:spChg>
        <pc:spChg chg="add del mod">
          <ac:chgData name="José Antonio Ureta Santacreu" userId="e36999d1-2b92-424a-9e8c-5fde0c5fbdd2" providerId="ADAL" clId="{B441C459-42E0-4465-B296-199851FC6E31}" dt="2024-09-11T11:12:14.001" v="3782" actId="6264"/>
          <ac:spMkLst>
            <pc:docMk/>
            <pc:sldMk cId="2195440747" sldId="1051"/>
            <ac:spMk id="8" creationId="{3BBDCDE5-DB73-6D14-9408-6162428C0249}"/>
          </ac:spMkLst>
        </pc:spChg>
        <pc:spChg chg="add del mod">
          <ac:chgData name="José Antonio Ureta Santacreu" userId="e36999d1-2b92-424a-9e8c-5fde0c5fbdd2" providerId="ADAL" clId="{B441C459-42E0-4465-B296-199851FC6E31}" dt="2024-09-11T11:12:14.001" v="3782" actId="6264"/>
          <ac:spMkLst>
            <pc:docMk/>
            <pc:sldMk cId="2195440747" sldId="1051"/>
            <ac:spMk id="9" creationId="{40D3B14B-F558-D07D-B8C9-DE07093662FF}"/>
          </ac:spMkLst>
        </pc:spChg>
        <pc:spChg chg="add del mod">
          <ac:chgData name="José Antonio Ureta Santacreu" userId="e36999d1-2b92-424a-9e8c-5fde0c5fbdd2" providerId="ADAL" clId="{B441C459-42E0-4465-B296-199851FC6E31}" dt="2024-09-11T11:12:14.001" v="3782" actId="6264"/>
          <ac:spMkLst>
            <pc:docMk/>
            <pc:sldMk cId="2195440747" sldId="1051"/>
            <ac:spMk id="10" creationId="{EA81F9D7-2071-6839-5C8E-812494CC25C4}"/>
          </ac:spMkLst>
        </pc:spChg>
        <pc:spChg chg="add mod ord">
          <ac:chgData name="José Antonio Ureta Santacreu" userId="e36999d1-2b92-424a-9e8c-5fde0c5fbdd2" providerId="ADAL" clId="{B441C459-42E0-4465-B296-199851FC6E31}" dt="2024-09-11T11:12:14.001" v="3782" actId="6264"/>
          <ac:spMkLst>
            <pc:docMk/>
            <pc:sldMk cId="2195440747" sldId="1051"/>
            <ac:spMk id="11" creationId="{7B6B0C09-8CF5-07C8-25BB-8C7DB687635B}"/>
          </ac:spMkLst>
        </pc:spChg>
        <pc:spChg chg="del mod">
          <ac:chgData name="José Antonio Ureta Santacreu" userId="e36999d1-2b92-424a-9e8c-5fde0c5fbdd2" providerId="ADAL" clId="{B441C459-42E0-4465-B296-199851FC6E31}" dt="2024-09-11T11:12:14.001" v="3782" actId="6264"/>
          <ac:spMkLst>
            <pc:docMk/>
            <pc:sldMk cId="2195440747" sldId="1051"/>
            <ac:spMk id="12" creationId="{34BF3E7C-02D6-E827-460F-F5BF1AC22934}"/>
          </ac:spMkLst>
        </pc:spChg>
      </pc:sldChg>
      <pc:sldChg chg="addSp delSp modSp add mod modShow chgLayout">
        <pc:chgData name="José Antonio Ureta Santacreu" userId="e36999d1-2b92-424a-9e8c-5fde0c5fbdd2" providerId="ADAL" clId="{B441C459-42E0-4465-B296-199851FC6E31}" dt="2024-09-11T11:12:14.001" v="3782" actId="6264"/>
        <pc:sldMkLst>
          <pc:docMk/>
          <pc:sldMk cId="347114893" sldId="1052"/>
        </pc:sldMkLst>
        <pc:spChg chg="mod ord">
          <ac:chgData name="José Antonio Ureta Santacreu" userId="e36999d1-2b92-424a-9e8c-5fde0c5fbdd2" providerId="ADAL" clId="{B441C459-42E0-4465-B296-199851FC6E31}" dt="2024-09-11T11:12:14.001" v="3782" actId="6264"/>
          <ac:spMkLst>
            <pc:docMk/>
            <pc:sldMk cId="347114893" sldId="1052"/>
            <ac:spMk id="2" creationId="{226A50CE-20FB-40EC-AD76-D9A4423F1BD6}"/>
          </ac:spMkLst>
        </pc:spChg>
        <pc:spChg chg="mod ord">
          <ac:chgData name="José Antonio Ureta Santacreu" userId="e36999d1-2b92-424a-9e8c-5fde0c5fbdd2" providerId="ADAL" clId="{B441C459-42E0-4465-B296-199851FC6E31}" dt="2024-09-11T11:12:14.001" v="3782" actId="6264"/>
          <ac:spMkLst>
            <pc:docMk/>
            <pc:sldMk cId="347114893" sldId="1052"/>
            <ac:spMk id="3" creationId="{69041993-B6B5-4807-9E53-AA11617C3438}"/>
          </ac:spMkLst>
        </pc:spChg>
        <pc:spChg chg="mod ord">
          <ac:chgData name="José Antonio Ureta Santacreu" userId="e36999d1-2b92-424a-9e8c-5fde0c5fbdd2" providerId="ADAL" clId="{B441C459-42E0-4465-B296-199851FC6E31}" dt="2024-09-11T11:12:14.001" v="3782" actId="6264"/>
          <ac:spMkLst>
            <pc:docMk/>
            <pc:sldMk cId="347114893" sldId="1052"/>
            <ac:spMk id="4" creationId="{E11AB772-D5B6-4561-BCDA-010C28023E24}"/>
          </ac:spMkLst>
        </pc:spChg>
        <pc:spChg chg="mod ord">
          <ac:chgData name="José Antonio Ureta Santacreu" userId="e36999d1-2b92-424a-9e8c-5fde0c5fbdd2" providerId="ADAL" clId="{B441C459-42E0-4465-B296-199851FC6E31}" dt="2024-09-11T11:12:14.001" v="3782" actId="6264"/>
          <ac:spMkLst>
            <pc:docMk/>
            <pc:sldMk cId="347114893" sldId="1052"/>
            <ac:spMk id="5" creationId="{E31AF5BB-6EA8-48EF-968F-4BF70AF784B9}"/>
          </ac:spMkLst>
        </pc:spChg>
        <pc:spChg chg="add del mod">
          <ac:chgData name="José Antonio Ureta Santacreu" userId="e36999d1-2b92-424a-9e8c-5fde0c5fbdd2" providerId="ADAL" clId="{B441C459-42E0-4465-B296-199851FC6E31}" dt="2024-09-11T11:12:14.001" v="3782" actId="6264"/>
          <ac:spMkLst>
            <pc:docMk/>
            <pc:sldMk cId="347114893" sldId="1052"/>
            <ac:spMk id="6" creationId="{E6BCF425-B389-9545-CCFB-7639737C7D42}"/>
          </ac:spMkLst>
        </pc:spChg>
        <pc:spChg chg="add del mod">
          <ac:chgData name="José Antonio Ureta Santacreu" userId="e36999d1-2b92-424a-9e8c-5fde0c5fbdd2" providerId="ADAL" clId="{B441C459-42E0-4465-B296-199851FC6E31}" dt="2024-09-11T11:12:14.001" v="3782" actId="6264"/>
          <ac:spMkLst>
            <pc:docMk/>
            <pc:sldMk cId="347114893" sldId="1052"/>
            <ac:spMk id="7" creationId="{4F51DCA2-CB02-AC13-F231-D68A7AE982F9}"/>
          </ac:spMkLst>
        </pc:spChg>
        <pc:spChg chg="add del mod">
          <ac:chgData name="José Antonio Ureta Santacreu" userId="e36999d1-2b92-424a-9e8c-5fde0c5fbdd2" providerId="ADAL" clId="{B441C459-42E0-4465-B296-199851FC6E31}" dt="2024-09-11T11:12:14.001" v="3782" actId="6264"/>
          <ac:spMkLst>
            <pc:docMk/>
            <pc:sldMk cId="347114893" sldId="1052"/>
            <ac:spMk id="8" creationId="{484D245A-9E6A-375B-17C4-D27DB219A868}"/>
          </ac:spMkLst>
        </pc:spChg>
        <pc:spChg chg="add del mod">
          <ac:chgData name="José Antonio Ureta Santacreu" userId="e36999d1-2b92-424a-9e8c-5fde0c5fbdd2" providerId="ADAL" clId="{B441C459-42E0-4465-B296-199851FC6E31}" dt="2024-09-11T11:12:14.001" v="3782" actId="6264"/>
          <ac:spMkLst>
            <pc:docMk/>
            <pc:sldMk cId="347114893" sldId="1052"/>
            <ac:spMk id="9" creationId="{C44B6819-DAFD-3F44-8261-E2C4C2AE724D}"/>
          </ac:spMkLst>
        </pc:spChg>
      </pc:sldChg>
      <pc:sldChg chg="del">
        <pc:chgData name="José Antonio Ureta Santacreu" userId="e36999d1-2b92-424a-9e8c-5fde0c5fbdd2" providerId="ADAL" clId="{B441C459-42E0-4465-B296-199851FC6E31}" dt="2024-07-23T10:41:54.955" v="271" actId="2696"/>
        <pc:sldMkLst>
          <pc:docMk/>
          <pc:sldMk cId="4250508571" sldId="1052"/>
        </pc:sldMkLst>
      </pc:sldChg>
      <pc:sldChg chg="addSp delSp modSp add mod modShow chgLayout">
        <pc:chgData name="José Antonio Ureta Santacreu" userId="e36999d1-2b92-424a-9e8c-5fde0c5fbdd2" providerId="ADAL" clId="{B441C459-42E0-4465-B296-199851FC6E31}" dt="2024-09-11T11:12:14.001" v="3782" actId="6264"/>
        <pc:sldMkLst>
          <pc:docMk/>
          <pc:sldMk cId="807100704" sldId="1053"/>
        </pc:sldMkLst>
        <pc:spChg chg="mod ord">
          <ac:chgData name="José Antonio Ureta Santacreu" userId="e36999d1-2b92-424a-9e8c-5fde0c5fbdd2" providerId="ADAL" clId="{B441C459-42E0-4465-B296-199851FC6E31}" dt="2024-09-11T11:12:14.001" v="3782" actId="6264"/>
          <ac:spMkLst>
            <pc:docMk/>
            <pc:sldMk cId="807100704" sldId="1053"/>
            <ac:spMk id="2" creationId="{9F71859D-6924-451E-9691-C14F7024591F}"/>
          </ac:spMkLst>
        </pc:spChg>
        <pc:spChg chg="mod ord">
          <ac:chgData name="José Antonio Ureta Santacreu" userId="e36999d1-2b92-424a-9e8c-5fde0c5fbdd2" providerId="ADAL" clId="{B441C459-42E0-4465-B296-199851FC6E31}" dt="2024-09-11T11:12:14.001" v="3782" actId="6264"/>
          <ac:spMkLst>
            <pc:docMk/>
            <pc:sldMk cId="807100704" sldId="1053"/>
            <ac:spMk id="3" creationId="{D3D51F77-A8FA-442B-917D-53B43A4303BA}"/>
          </ac:spMkLst>
        </pc:spChg>
        <pc:spChg chg="mod ord">
          <ac:chgData name="José Antonio Ureta Santacreu" userId="e36999d1-2b92-424a-9e8c-5fde0c5fbdd2" providerId="ADAL" clId="{B441C459-42E0-4465-B296-199851FC6E31}" dt="2024-09-11T11:12:14.001" v="3782" actId="6264"/>
          <ac:spMkLst>
            <pc:docMk/>
            <pc:sldMk cId="807100704" sldId="1053"/>
            <ac:spMk id="4" creationId="{20B10D2D-33FD-4AAC-9453-33D8BEBA6D11}"/>
          </ac:spMkLst>
        </pc:spChg>
        <pc:spChg chg="mod ord">
          <ac:chgData name="José Antonio Ureta Santacreu" userId="e36999d1-2b92-424a-9e8c-5fde0c5fbdd2" providerId="ADAL" clId="{B441C459-42E0-4465-B296-199851FC6E31}" dt="2024-09-11T11:12:14.001" v="3782" actId="6264"/>
          <ac:spMkLst>
            <pc:docMk/>
            <pc:sldMk cId="807100704" sldId="1053"/>
            <ac:spMk id="5" creationId="{6A171D2F-4EED-49AB-B9BC-6189CEC787E5}"/>
          </ac:spMkLst>
        </pc:spChg>
        <pc:spChg chg="add del mod">
          <ac:chgData name="José Antonio Ureta Santacreu" userId="e36999d1-2b92-424a-9e8c-5fde0c5fbdd2" providerId="ADAL" clId="{B441C459-42E0-4465-B296-199851FC6E31}" dt="2024-09-11T11:12:14.001" v="3782" actId="6264"/>
          <ac:spMkLst>
            <pc:docMk/>
            <pc:sldMk cId="807100704" sldId="1053"/>
            <ac:spMk id="6" creationId="{4F966F23-2D1F-C7B6-D710-12A9DE23437B}"/>
          </ac:spMkLst>
        </pc:spChg>
        <pc:spChg chg="add del mod">
          <ac:chgData name="José Antonio Ureta Santacreu" userId="e36999d1-2b92-424a-9e8c-5fde0c5fbdd2" providerId="ADAL" clId="{B441C459-42E0-4465-B296-199851FC6E31}" dt="2024-09-11T11:12:14.001" v="3782" actId="6264"/>
          <ac:spMkLst>
            <pc:docMk/>
            <pc:sldMk cId="807100704" sldId="1053"/>
            <ac:spMk id="7" creationId="{F1DE54E2-26E0-53C6-2C4D-4B8B604D02E7}"/>
          </ac:spMkLst>
        </pc:spChg>
        <pc:spChg chg="add del mod">
          <ac:chgData name="José Antonio Ureta Santacreu" userId="e36999d1-2b92-424a-9e8c-5fde0c5fbdd2" providerId="ADAL" clId="{B441C459-42E0-4465-B296-199851FC6E31}" dt="2024-09-11T11:12:14.001" v="3782" actId="6264"/>
          <ac:spMkLst>
            <pc:docMk/>
            <pc:sldMk cId="807100704" sldId="1053"/>
            <ac:spMk id="8" creationId="{11A9ADE6-E3B3-7074-0F41-6C88F394A317}"/>
          </ac:spMkLst>
        </pc:spChg>
        <pc:spChg chg="add del mod">
          <ac:chgData name="José Antonio Ureta Santacreu" userId="e36999d1-2b92-424a-9e8c-5fde0c5fbdd2" providerId="ADAL" clId="{B441C459-42E0-4465-B296-199851FC6E31}" dt="2024-09-11T11:12:14.001" v="3782" actId="6264"/>
          <ac:spMkLst>
            <pc:docMk/>
            <pc:sldMk cId="807100704" sldId="1053"/>
            <ac:spMk id="9" creationId="{2C0F16BE-34AE-DDCD-F61C-65438839EC68}"/>
          </ac:spMkLst>
        </pc:spChg>
      </pc:sldChg>
      <pc:sldChg chg="del">
        <pc:chgData name="José Antonio Ureta Santacreu" userId="e36999d1-2b92-424a-9e8c-5fde0c5fbdd2" providerId="ADAL" clId="{B441C459-42E0-4465-B296-199851FC6E31}" dt="2024-07-23T10:41:54.955" v="271" actId="2696"/>
        <pc:sldMkLst>
          <pc:docMk/>
          <pc:sldMk cId="1056422905" sldId="1053"/>
        </pc:sldMkLst>
      </pc:sldChg>
      <pc:sldChg chg="add">
        <pc:chgData name="José Antonio Ureta Santacreu" userId="e36999d1-2b92-424a-9e8c-5fde0c5fbdd2" providerId="ADAL" clId="{B441C459-42E0-4465-B296-199851FC6E31}" dt="2024-07-23T10:42:07.386" v="272"/>
        <pc:sldMkLst>
          <pc:docMk/>
          <pc:sldMk cId="2775974042" sldId="1054"/>
        </pc:sldMkLst>
      </pc:sldChg>
      <pc:sldChg chg="del">
        <pc:chgData name="José Antonio Ureta Santacreu" userId="e36999d1-2b92-424a-9e8c-5fde0c5fbdd2" providerId="ADAL" clId="{B441C459-42E0-4465-B296-199851FC6E31}" dt="2024-07-23T10:41:54.955" v="271" actId="2696"/>
        <pc:sldMkLst>
          <pc:docMk/>
          <pc:sldMk cId="3157001016" sldId="1054"/>
        </pc:sldMkLst>
      </pc:sldChg>
      <pc:sldChg chg="addSp delSp modSp mod chgLayout">
        <pc:chgData name="José Antonio Ureta Santacreu" userId="e36999d1-2b92-424a-9e8c-5fde0c5fbdd2" providerId="ADAL" clId="{B441C459-42E0-4465-B296-199851FC6E31}" dt="2024-09-11T11:12:14.001" v="3782" actId="6264"/>
        <pc:sldMkLst>
          <pc:docMk/>
          <pc:sldMk cId="3545264990" sldId="1056"/>
        </pc:sldMkLst>
        <pc:spChg chg="mod ord">
          <ac:chgData name="José Antonio Ureta Santacreu" userId="e36999d1-2b92-424a-9e8c-5fde0c5fbdd2" providerId="ADAL" clId="{B441C459-42E0-4465-B296-199851FC6E31}" dt="2024-09-11T11:12:14.001" v="3782" actId="6264"/>
          <ac:spMkLst>
            <pc:docMk/>
            <pc:sldMk cId="3545264990" sldId="1056"/>
            <ac:spMk id="2" creationId="{8BEB4C3E-AFBF-DB8F-13C2-A566BE48A698}"/>
          </ac:spMkLst>
        </pc:spChg>
        <pc:spChg chg="mod ord">
          <ac:chgData name="José Antonio Ureta Santacreu" userId="e36999d1-2b92-424a-9e8c-5fde0c5fbdd2" providerId="ADAL" clId="{B441C459-42E0-4465-B296-199851FC6E31}" dt="2024-09-11T11:12:14.001" v="3782" actId="6264"/>
          <ac:spMkLst>
            <pc:docMk/>
            <pc:sldMk cId="3545264990" sldId="1056"/>
            <ac:spMk id="3" creationId="{63DD1CA0-105E-6F65-1058-FC14E6E2F9FC}"/>
          </ac:spMkLst>
        </pc:spChg>
        <pc:spChg chg="mod ord">
          <ac:chgData name="José Antonio Ureta Santacreu" userId="e36999d1-2b92-424a-9e8c-5fde0c5fbdd2" providerId="ADAL" clId="{B441C459-42E0-4465-B296-199851FC6E31}" dt="2024-09-11T11:12:14.001" v="3782" actId="6264"/>
          <ac:spMkLst>
            <pc:docMk/>
            <pc:sldMk cId="3545264990" sldId="1056"/>
            <ac:spMk id="4" creationId="{7F5FFFC9-1A26-37C5-D12B-F536DFFF518B}"/>
          </ac:spMkLst>
        </pc:spChg>
        <pc:spChg chg="mod ord">
          <ac:chgData name="José Antonio Ureta Santacreu" userId="e36999d1-2b92-424a-9e8c-5fde0c5fbdd2" providerId="ADAL" clId="{B441C459-42E0-4465-B296-199851FC6E31}" dt="2024-09-11T11:12:14.001" v="3782" actId="6264"/>
          <ac:spMkLst>
            <pc:docMk/>
            <pc:sldMk cId="3545264990" sldId="1056"/>
            <ac:spMk id="5" creationId="{CDD6249F-0420-AAA7-8CCD-5A35A6601F29}"/>
          </ac:spMkLst>
        </pc:spChg>
        <pc:spChg chg="add del mod">
          <ac:chgData name="José Antonio Ureta Santacreu" userId="e36999d1-2b92-424a-9e8c-5fde0c5fbdd2" providerId="ADAL" clId="{B441C459-42E0-4465-B296-199851FC6E31}" dt="2024-09-11T11:12:14.001" v="3782" actId="6264"/>
          <ac:spMkLst>
            <pc:docMk/>
            <pc:sldMk cId="3545264990" sldId="1056"/>
            <ac:spMk id="6" creationId="{DBABB0F1-15F1-0056-91CC-3BF6C56A4164}"/>
          </ac:spMkLst>
        </pc:spChg>
        <pc:spChg chg="add del mod">
          <ac:chgData name="José Antonio Ureta Santacreu" userId="e36999d1-2b92-424a-9e8c-5fde0c5fbdd2" providerId="ADAL" clId="{B441C459-42E0-4465-B296-199851FC6E31}" dt="2024-09-11T11:12:14.001" v="3782" actId="6264"/>
          <ac:spMkLst>
            <pc:docMk/>
            <pc:sldMk cId="3545264990" sldId="1056"/>
            <ac:spMk id="7" creationId="{F081517F-68BB-142F-C016-7CBE1F844431}"/>
          </ac:spMkLst>
        </pc:spChg>
        <pc:spChg chg="add del mod">
          <ac:chgData name="José Antonio Ureta Santacreu" userId="e36999d1-2b92-424a-9e8c-5fde0c5fbdd2" providerId="ADAL" clId="{B441C459-42E0-4465-B296-199851FC6E31}" dt="2024-09-11T11:12:14.001" v="3782" actId="6264"/>
          <ac:spMkLst>
            <pc:docMk/>
            <pc:sldMk cId="3545264990" sldId="1056"/>
            <ac:spMk id="8" creationId="{F9FBE27C-AF36-A98D-81D7-06555FAF03ED}"/>
          </ac:spMkLst>
        </pc:spChg>
        <pc:spChg chg="add del mod">
          <ac:chgData name="José Antonio Ureta Santacreu" userId="e36999d1-2b92-424a-9e8c-5fde0c5fbdd2" providerId="ADAL" clId="{B441C459-42E0-4465-B296-199851FC6E31}" dt="2024-09-11T11:12:14.001" v="3782" actId="6264"/>
          <ac:spMkLst>
            <pc:docMk/>
            <pc:sldMk cId="3545264990" sldId="1056"/>
            <ac:spMk id="9" creationId="{26AC573A-5E42-FABD-30F9-52D2471EAAE2}"/>
          </ac:spMkLst>
        </pc:spChg>
      </pc:sldChg>
      <pc:sldChg chg="addSp delSp modSp mod chgLayout">
        <pc:chgData name="José Antonio Ureta Santacreu" userId="e36999d1-2b92-424a-9e8c-5fde0c5fbdd2" providerId="ADAL" clId="{B441C459-42E0-4465-B296-199851FC6E31}" dt="2024-09-11T11:12:14.001" v="3782" actId="6264"/>
        <pc:sldMkLst>
          <pc:docMk/>
          <pc:sldMk cId="3660066449" sldId="1061"/>
        </pc:sldMkLst>
        <pc:spChg chg="mod ord">
          <ac:chgData name="José Antonio Ureta Santacreu" userId="e36999d1-2b92-424a-9e8c-5fde0c5fbdd2" providerId="ADAL" clId="{B441C459-42E0-4465-B296-199851FC6E31}" dt="2024-09-11T11:12:14.001" v="3782" actId="6264"/>
          <ac:spMkLst>
            <pc:docMk/>
            <pc:sldMk cId="3660066449" sldId="1061"/>
            <ac:spMk id="2" creationId="{0C325953-F52A-478B-BA3C-B3B0880E972C}"/>
          </ac:spMkLst>
        </pc:spChg>
        <pc:spChg chg="mod ord">
          <ac:chgData name="José Antonio Ureta Santacreu" userId="e36999d1-2b92-424a-9e8c-5fde0c5fbdd2" providerId="ADAL" clId="{B441C459-42E0-4465-B296-199851FC6E31}" dt="2024-09-11T11:12:14.001" v="3782" actId="6264"/>
          <ac:spMkLst>
            <pc:docMk/>
            <pc:sldMk cId="3660066449" sldId="1061"/>
            <ac:spMk id="3" creationId="{0C521B9F-C6A9-40DA-ACD8-39C61D7BC65E}"/>
          </ac:spMkLst>
        </pc:spChg>
        <pc:spChg chg="mod ord">
          <ac:chgData name="José Antonio Ureta Santacreu" userId="e36999d1-2b92-424a-9e8c-5fde0c5fbdd2" providerId="ADAL" clId="{B441C459-42E0-4465-B296-199851FC6E31}" dt="2024-09-11T11:12:14.001" v="3782" actId="6264"/>
          <ac:spMkLst>
            <pc:docMk/>
            <pc:sldMk cId="3660066449" sldId="1061"/>
            <ac:spMk id="4" creationId="{341A519F-B4EC-4FAC-AAE0-15F9C60BBBCA}"/>
          </ac:spMkLst>
        </pc:spChg>
        <pc:spChg chg="mod ord">
          <ac:chgData name="José Antonio Ureta Santacreu" userId="e36999d1-2b92-424a-9e8c-5fde0c5fbdd2" providerId="ADAL" clId="{B441C459-42E0-4465-B296-199851FC6E31}" dt="2024-09-11T11:12:14.001" v="3782" actId="6264"/>
          <ac:spMkLst>
            <pc:docMk/>
            <pc:sldMk cId="3660066449" sldId="1061"/>
            <ac:spMk id="5" creationId="{527C2BF9-B18C-41F0-949F-8A74EC588D88}"/>
          </ac:spMkLst>
        </pc:spChg>
        <pc:spChg chg="add del mod">
          <ac:chgData name="José Antonio Ureta Santacreu" userId="e36999d1-2b92-424a-9e8c-5fde0c5fbdd2" providerId="ADAL" clId="{B441C459-42E0-4465-B296-199851FC6E31}" dt="2024-09-11T11:12:14.001" v="3782" actId="6264"/>
          <ac:spMkLst>
            <pc:docMk/>
            <pc:sldMk cId="3660066449" sldId="1061"/>
            <ac:spMk id="6" creationId="{2ECE384B-23B5-F162-962E-3C28787CD2EC}"/>
          </ac:spMkLst>
        </pc:spChg>
        <pc:spChg chg="add del mod">
          <ac:chgData name="José Antonio Ureta Santacreu" userId="e36999d1-2b92-424a-9e8c-5fde0c5fbdd2" providerId="ADAL" clId="{B441C459-42E0-4465-B296-199851FC6E31}" dt="2024-09-11T11:12:14.001" v="3782" actId="6264"/>
          <ac:spMkLst>
            <pc:docMk/>
            <pc:sldMk cId="3660066449" sldId="1061"/>
            <ac:spMk id="7" creationId="{349A22D0-364C-A161-21AB-1F9949062D44}"/>
          </ac:spMkLst>
        </pc:spChg>
        <pc:spChg chg="add del mod">
          <ac:chgData name="José Antonio Ureta Santacreu" userId="e36999d1-2b92-424a-9e8c-5fde0c5fbdd2" providerId="ADAL" clId="{B441C459-42E0-4465-B296-199851FC6E31}" dt="2024-09-11T11:12:14.001" v="3782" actId="6264"/>
          <ac:spMkLst>
            <pc:docMk/>
            <pc:sldMk cId="3660066449" sldId="1061"/>
            <ac:spMk id="8" creationId="{6355FDD0-50DE-F538-9BA5-EEC2148AD1BB}"/>
          </ac:spMkLst>
        </pc:spChg>
        <pc:spChg chg="add del mod">
          <ac:chgData name="José Antonio Ureta Santacreu" userId="e36999d1-2b92-424a-9e8c-5fde0c5fbdd2" providerId="ADAL" clId="{B441C459-42E0-4465-B296-199851FC6E31}" dt="2024-09-11T11:12:14.001" v="3782" actId="6264"/>
          <ac:spMkLst>
            <pc:docMk/>
            <pc:sldMk cId="3660066449" sldId="1061"/>
            <ac:spMk id="9" creationId="{BD91F4BA-9704-FBC4-3ABF-3C386337430B}"/>
          </ac:spMkLst>
        </pc:spChg>
      </pc:sldChg>
      <pc:sldChg chg="addSp delSp modSp mod chgLayout">
        <pc:chgData name="José Antonio Ureta Santacreu" userId="e36999d1-2b92-424a-9e8c-5fde0c5fbdd2" providerId="ADAL" clId="{B441C459-42E0-4465-B296-199851FC6E31}" dt="2024-09-11T11:12:14.001" v="3782" actId="6264"/>
        <pc:sldMkLst>
          <pc:docMk/>
          <pc:sldMk cId="1548955851" sldId="1067"/>
        </pc:sldMkLst>
        <pc:spChg chg="mod ord">
          <ac:chgData name="José Antonio Ureta Santacreu" userId="e36999d1-2b92-424a-9e8c-5fde0c5fbdd2" providerId="ADAL" clId="{B441C459-42E0-4465-B296-199851FC6E31}" dt="2024-09-11T11:12:14.001" v="3782" actId="6264"/>
          <ac:spMkLst>
            <pc:docMk/>
            <pc:sldMk cId="1548955851" sldId="1067"/>
            <ac:spMk id="2" creationId="{5F8BE264-BA4D-4994-A1DF-4E119FB34C25}"/>
          </ac:spMkLst>
        </pc:spChg>
        <pc:spChg chg="mod ord">
          <ac:chgData name="José Antonio Ureta Santacreu" userId="e36999d1-2b92-424a-9e8c-5fde0c5fbdd2" providerId="ADAL" clId="{B441C459-42E0-4465-B296-199851FC6E31}" dt="2024-09-11T11:12:14.001" v="3782" actId="6264"/>
          <ac:spMkLst>
            <pc:docMk/>
            <pc:sldMk cId="1548955851" sldId="1067"/>
            <ac:spMk id="3" creationId="{D6F6F03F-1261-4E51-8CAB-BBC2A747FD6C}"/>
          </ac:spMkLst>
        </pc:spChg>
        <pc:spChg chg="mod ord">
          <ac:chgData name="José Antonio Ureta Santacreu" userId="e36999d1-2b92-424a-9e8c-5fde0c5fbdd2" providerId="ADAL" clId="{B441C459-42E0-4465-B296-199851FC6E31}" dt="2024-09-11T11:12:14.001" v="3782" actId="6264"/>
          <ac:spMkLst>
            <pc:docMk/>
            <pc:sldMk cId="1548955851" sldId="1067"/>
            <ac:spMk id="4" creationId="{1F88616D-C5A0-458F-B84D-18E28AFAAC01}"/>
          </ac:spMkLst>
        </pc:spChg>
        <pc:spChg chg="mod ord">
          <ac:chgData name="José Antonio Ureta Santacreu" userId="e36999d1-2b92-424a-9e8c-5fde0c5fbdd2" providerId="ADAL" clId="{B441C459-42E0-4465-B296-199851FC6E31}" dt="2024-09-11T11:12:14.001" v="3782" actId="6264"/>
          <ac:spMkLst>
            <pc:docMk/>
            <pc:sldMk cId="1548955851" sldId="1067"/>
            <ac:spMk id="5" creationId="{458A6E0E-FA17-4BC3-962C-012866525A9B}"/>
          </ac:spMkLst>
        </pc:spChg>
        <pc:spChg chg="add del mod">
          <ac:chgData name="José Antonio Ureta Santacreu" userId="e36999d1-2b92-424a-9e8c-5fde0c5fbdd2" providerId="ADAL" clId="{B441C459-42E0-4465-B296-199851FC6E31}" dt="2024-09-11T11:12:14.001" v="3782" actId="6264"/>
          <ac:spMkLst>
            <pc:docMk/>
            <pc:sldMk cId="1548955851" sldId="1067"/>
            <ac:spMk id="7" creationId="{ABD69570-3931-4B54-F021-A99698D8D099}"/>
          </ac:spMkLst>
        </pc:spChg>
        <pc:spChg chg="add del mod">
          <ac:chgData name="José Antonio Ureta Santacreu" userId="e36999d1-2b92-424a-9e8c-5fde0c5fbdd2" providerId="ADAL" clId="{B441C459-42E0-4465-B296-199851FC6E31}" dt="2024-09-11T11:12:14.001" v="3782" actId="6264"/>
          <ac:spMkLst>
            <pc:docMk/>
            <pc:sldMk cId="1548955851" sldId="1067"/>
            <ac:spMk id="8" creationId="{9C8A4A31-D4B1-067B-A022-4C7BED2867EC}"/>
          </ac:spMkLst>
        </pc:spChg>
        <pc:spChg chg="add del mod">
          <ac:chgData name="José Antonio Ureta Santacreu" userId="e36999d1-2b92-424a-9e8c-5fde0c5fbdd2" providerId="ADAL" clId="{B441C459-42E0-4465-B296-199851FC6E31}" dt="2024-09-11T11:12:14.001" v="3782" actId="6264"/>
          <ac:spMkLst>
            <pc:docMk/>
            <pc:sldMk cId="1548955851" sldId="1067"/>
            <ac:spMk id="9" creationId="{A707BFAC-A086-DC7F-14A3-074AF5A9BCA2}"/>
          </ac:spMkLst>
        </pc:spChg>
        <pc:spChg chg="add del mod">
          <ac:chgData name="José Antonio Ureta Santacreu" userId="e36999d1-2b92-424a-9e8c-5fde0c5fbdd2" providerId="ADAL" clId="{B441C459-42E0-4465-B296-199851FC6E31}" dt="2024-09-11T11:12:14.001" v="3782" actId="6264"/>
          <ac:spMkLst>
            <pc:docMk/>
            <pc:sldMk cId="1548955851" sldId="1067"/>
            <ac:spMk id="11" creationId="{E8A54B01-5F68-C174-9B13-749071D740F2}"/>
          </ac:spMkLst>
        </pc:spChg>
      </pc:sldChg>
      <pc:sldChg chg="del">
        <pc:chgData name="José Antonio Ureta Santacreu" userId="e36999d1-2b92-424a-9e8c-5fde0c5fbdd2" providerId="ADAL" clId="{B441C459-42E0-4465-B296-199851FC6E31}" dt="2024-07-23T10:41:54.955" v="271" actId="2696"/>
        <pc:sldMkLst>
          <pc:docMk/>
          <pc:sldMk cId="107515593" sldId="1069"/>
        </pc:sldMkLst>
      </pc:sldChg>
      <pc:sldChg chg="addSp delSp modSp mod chgLayout">
        <pc:chgData name="José Antonio Ureta Santacreu" userId="e36999d1-2b92-424a-9e8c-5fde0c5fbdd2" providerId="ADAL" clId="{B441C459-42E0-4465-B296-199851FC6E31}" dt="2024-09-11T11:12:14.001" v="3782" actId="6264"/>
        <pc:sldMkLst>
          <pc:docMk/>
          <pc:sldMk cId="2068796476" sldId="1069"/>
        </pc:sldMkLst>
        <pc:spChg chg="mod ord">
          <ac:chgData name="José Antonio Ureta Santacreu" userId="e36999d1-2b92-424a-9e8c-5fde0c5fbdd2" providerId="ADAL" clId="{B441C459-42E0-4465-B296-199851FC6E31}" dt="2024-09-11T11:12:14.001" v="3782" actId="6264"/>
          <ac:spMkLst>
            <pc:docMk/>
            <pc:sldMk cId="2068796476" sldId="1069"/>
            <ac:spMk id="2" creationId="{3B24C5D7-4297-4B1B-84F7-2A5CB725A813}"/>
          </ac:spMkLst>
        </pc:spChg>
        <pc:spChg chg="mod ord">
          <ac:chgData name="José Antonio Ureta Santacreu" userId="e36999d1-2b92-424a-9e8c-5fde0c5fbdd2" providerId="ADAL" clId="{B441C459-42E0-4465-B296-199851FC6E31}" dt="2024-09-11T11:12:14.001" v="3782" actId="6264"/>
          <ac:spMkLst>
            <pc:docMk/>
            <pc:sldMk cId="2068796476" sldId="1069"/>
            <ac:spMk id="3" creationId="{4E431116-E38B-4C4D-A2DC-E2F00B012A94}"/>
          </ac:spMkLst>
        </pc:spChg>
        <pc:spChg chg="mod ord">
          <ac:chgData name="José Antonio Ureta Santacreu" userId="e36999d1-2b92-424a-9e8c-5fde0c5fbdd2" providerId="ADAL" clId="{B441C459-42E0-4465-B296-199851FC6E31}" dt="2024-09-11T11:12:14.001" v="3782" actId="6264"/>
          <ac:spMkLst>
            <pc:docMk/>
            <pc:sldMk cId="2068796476" sldId="1069"/>
            <ac:spMk id="4" creationId="{04A1A54B-B9D9-4C85-A692-9BE9977AFD05}"/>
          </ac:spMkLst>
        </pc:spChg>
        <pc:spChg chg="mod ord">
          <ac:chgData name="José Antonio Ureta Santacreu" userId="e36999d1-2b92-424a-9e8c-5fde0c5fbdd2" providerId="ADAL" clId="{B441C459-42E0-4465-B296-199851FC6E31}" dt="2024-09-11T11:12:14.001" v="3782" actId="6264"/>
          <ac:spMkLst>
            <pc:docMk/>
            <pc:sldMk cId="2068796476" sldId="1069"/>
            <ac:spMk id="5" creationId="{2D5F6321-5D15-4B92-AC91-C46CE1C20E61}"/>
          </ac:spMkLst>
        </pc:spChg>
        <pc:spChg chg="add del mod">
          <ac:chgData name="José Antonio Ureta Santacreu" userId="e36999d1-2b92-424a-9e8c-5fde0c5fbdd2" providerId="ADAL" clId="{B441C459-42E0-4465-B296-199851FC6E31}" dt="2024-09-11T11:12:14.001" v="3782" actId="6264"/>
          <ac:spMkLst>
            <pc:docMk/>
            <pc:sldMk cId="2068796476" sldId="1069"/>
            <ac:spMk id="6" creationId="{113EC7DE-FEBE-C881-24D5-ACBA01F64100}"/>
          </ac:spMkLst>
        </pc:spChg>
        <pc:spChg chg="add del mod">
          <ac:chgData name="José Antonio Ureta Santacreu" userId="e36999d1-2b92-424a-9e8c-5fde0c5fbdd2" providerId="ADAL" clId="{B441C459-42E0-4465-B296-199851FC6E31}" dt="2024-09-11T11:12:14.001" v="3782" actId="6264"/>
          <ac:spMkLst>
            <pc:docMk/>
            <pc:sldMk cId="2068796476" sldId="1069"/>
            <ac:spMk id="8" creationId="{F302C934-A683-84C3-1839-E4B3A43E910C}"/>
          </ac:spMkLst>
        </pc:spChg>
        <pc:spChg chg="add del mod">
          <ac:chgData name="José Antonio Ureta Santacreu" userId="e36999d1-2b92-424a-9e8c-5fde0c5fbdd2" providerId="ADAL" clId="{B441C459-42E0-4465-B296-199851FC6E31}" dt="2024-09-11T11:12:14.001" v="3782" actId="6264"/>
          <ac:spMkLst>
            <pc:docMk/>
            <pc:sldMk cId="2068796476" sldId="1069"/>
            <ac:spMk id="9" creationId="{C3845935-0BFA-8287-981B-3B21566A896B}"/>
          </ac:spMkLst>
        </pc:spChg>
        <pc:spChg chg="add del mod">
          <ac:chgData name="José Antonio Ureta Santacreu" userId="e36999d1-2b92-424a-9e8c-5fde0c5fbdd2" providerId="ADAL" clId="{B441C459-42E0-4465-B296-199851FC6E31}" dt="2024-09-11T11:12:14.001" v="3782" actId="6264"/>
          <ac:spMkLst>
            <pc:docMk/>
            <pc:sldMk cId="2068796476" sldId="1069"/>
            <ac:spMk id="10" creationId="{5B7E35B5-6F05-6AC4-274D-529979039340}"/>
          </ac:spMkLst>
        </pc:spChg>
        <pc:spChg chg="add del mod">
          <ac:chgData name="José Antonio Ureta Santacreu" userId="e36999d1-2b92-424a-9e8c-5fde0c5fbdd2" providerId="ADAL" clId="{B441C459-42E0-4465-B296-199851FC6E31}" dt="2024-09-11T11:12:14.001" v="3782" actId="6264"/>
          <ac:spMkLst>
            <pc:docMk/>
            <pc:sldMk cId="2068796476" sldId="1069"/>
            <ac:spMk id="11" creationId="{2971C2B5-9FF7-A168-6089-09DF623F5054}"/>
          </ac:spMkLst>
        </pc:spChg>
        <pc:picChg chg="mod ord">
          <ac:chgData name="José Antonio Ureta Santacreu" userId="e36999d1-2b92-424a-9e8c-5fde0c5fbdd2" providerId="ADAL" clId="{B441C459-42E0-4465-B296-199851FC6E31}" dt="2024-09-11T11:12:14.001" v="3782" actId="6264"/>
          <ac:picMkLst>
            <pc:docMk/>
            <pc:sldMk cId="2068796476" sldId="1069"/>
            <ac:picMk id="7" creationId="{F744F4E7-55D9-EE71-43A2-3DF05A67017F}"/>
          </ac:picMkLst>
        </pc:picChg>
      </pc:sldChg>
      <pc:sldChg chg="add">
        <pc:chgData name="José Antonio Ureta Santacreu" userId="e36999d1-2b92-424a-9e8c-5fde0c5fbdd2" providerId="ADAL" clId="{B441C459-42E0-4465-B296-199851FC6E31}" dt="2024-07-23T10:42:07.386" v="272"/>
        <pc:sldMkLst>
          <pc:docMk/>
          <pc:sldMk cId="2956281143" sldId="1069"/>
        </pc:sldMkLst>
      </pc:sldChg>
      <pc:sldChg chg="addSp delSp modSp mod chgLayout">
        <pc:chgData name="José Antonio Ureta Santacreu" userId="e36999d1-2b92-424a-9e8c-5fde0c5fbdd2" providerId="ADAL" clId="{B441C459-42E0-4465-B296-199851FC6E31}" dt="2024-09-11T11:12:14.001" v="3782" actId="6264"/>
        <pc:sldMkLst>
          <pc:docMk/>
          <pc:sldMk cId="4084343663" sldId="1073"/>
        </pc:sldMkLst>
        <pc:spChg chg="mod ord">
          <ac:chgData name="José Antonio Ureta Santacreu" userId="e36999d1-2b92-424a-9e8c-5fde0c5fbdd2" providerId="ADAL" clId="{B441C459-42E0-4465-B296-199851FC6E31}" dt="2024-09-11T11:12:14.001" v="3782" actId="6264"/>
          <ac:spMkLst>
            <pc:docMk/>
            <pc:sldMk cId="4084343663" sldId="1073"/>
            <ac:spMk id="2" creationId="{09A99189-337B-48F5-B0E5-539519693A9C}"/>
          </ac:spMkLst>
        </pc:spChg>
        <pc:spChg chg="mod ord">
          <ac:chgData name="José Antonio Ureta Santacreu" userId="e36999d1-2b92-424a-9e8c-5fde0c5fbdd2" providerId="ADAL" clId="{B441C459-42E0-4465-B296-199851FC6E31}" dt="2024-09-11T11:12:14.001" v="3782" actId="6264"/>
          <ac:spMkLst>
            <pc:docMk/>
            <pc:sldMk cId="4084343663" sldId="1073"/>
            <ac:spMk id="3" creationId="{666E67B4-B50F-43E5-97A1-E7DC5D6C2D4F}"/>
          </ac:spMkLst>
        </pc:spChg>
        <pc:spChg chg="mod ord">
          <ac:chgData name="José Antonio Ureta Santacreu" userId="e36999d1-2b92-424a-9e8c-5fde0c5fbdd2" providerId="ADAL" clId="{B441C459-42E0-4465-B296-199851FC6E31}" dt="2024-09-11T11:12:14.001" v="3782" actId="6264"/>
          <ac:spMkLst>
            <pc:docMk/>
            <pc:sldMk cId="4084343663" sldId="1073"/>
            <ac:spMk id="4" creationId="{3D1C3BE0-A0CD-4623-B43D-778206B01401}"/>
          </ac:spMkLst>
        </pc:spChg>
        <pc:spChg chg="add del mod">
          <ac:chgData name="José Antonio Ureta Santacreu" userId="e36999d1-2b92-424a-9e8c-5fde0c5fbdd2" providerId="ADAL" clId="{B441C459-42E0-4465-B296-199851FC6E31}" dt="2024-09-11T11:12:14.001" v="3782" actId="6264"/>
          <ac:spMkLst>
            <pc:docMk/>
            <pc:sldMk cId="4084343663" sldId="1073"/>
            <ac:spMk id="9" creationId="{ED3ACE94-19BF-4D17-017B-EB51A1E73839}"/>
          </ac:spMkLst>
        </pc:spChg>
        <pc:spChg chg="add del mod">
          <ac:chgData name="José Antonio Ureta Santacreu" userId="e36999d1-2b92-424a-9e8c-5fde0c5fbdd2" providerId="ADAL" clId="{B441C459-42E0-4465-B296-199851FC6E31}" dt="2024-09-11T11:12:14.001" v="3782" actId="6264"/>
          <ac:spMkLst>
            <pc:docMk/>
            <pc:sldMk cId="4084343663" sldId="1073"/>
            <ac:spMk id="12" creationId="{1759C8D1-DCF6-21BF-FDE0-D6B5A92BA3A7}"/>
          </ac:spMkLst>
        </pc:spChg>
        <pc:spChg chg="add del mod">
          <ac:chgData name="José Antonio Ureta Santacreu" userId="e36999d1-2b92-424a-9e8c-5fde0c5fbdd2" providerId="ADAL" clId="{B441C459-42E0-4465-B296-199851FC6E31}" dt="2024-09-11T11:12:14.001" v="3782" actId="6264"/>
          <ac:spMkLst>
            <pc:docMk/>
            <pc:sldMk cId="4084343663" sldId="1073"/>
            <ac:spMk id="13" creationId="{FFC39A90-A01C-D601-72B3-A12B98239FA3}"/>
          </ac:spMkLst>
        </pc:spChg>
      </pc:sldChg>
      <pc:sldChg chg="addSp delSp modSp add mod chgLayout">
        <pc:chgData name="José Antonio Ureta Santacreu" userId="e36999d1-2b92-424a-9e8c-5fde0c5fbdd2" providerId="ADAL" clId="{B441C459-42E0-4465-B296-199851FC6E31}" dt="2024-09-11T11:12:14.001" v="3782" actId="6264"/>
        <pc:sldMkLst>
          <pc:docMk/>
          <pc:sldMk cId="747929101" sldId="1076"/>
        </pc:sldMkLst>
        <pc:spChg chg="mod ord">
          <ac:chgData name="José Antonio Ureta Santacreu" userId="e36999d1-2b92-424a-9e8c-5fde0c5fbdd2" providerId="ADAL" clId="{B441C459-42E0-4465-B296-199851FC6E31}" dt="2024-09-11T11:12:14.001" v="3782" actId="6264"/>
          <ac:spMkLst>
            <pc:docMk/>
            <pc:sldMk cId="747929101" sldId="1076"/>
            <ac:spMk id="2" creationId="{6A3CDBAC-F7AE-541F-E98B-5E3306339273}"/>
          </ac:spMkLst>
        </pc:spChg>
        <pc:spChg chg="mod ord">
          <ac:chgData name="José Antonio Ureta Santacreu" userId="e36999d1-2b92-424a-9e8c-5fde0c5fbdd2" providerId="ADAL" clId="{B441C459-42E0-4465-B296-199851FC6E31}" dt="2024-09-11T11:12:14.001" v="3782" actId="6264"/>
          <ac:spMkLst>
            <pc:docMk/>
            <pc:sldMk cId="747929101" sldId="1076"/>
            <ac:spMk id="3" creationId="{2DDA1D66-593C-B198-92F9-B129A37323B4}"/>
          </ac:spMkLst>
        </pc:spChg>
        <pc:spChg chg="mod ord">
          <ac:chgData name="José Antonio Ureta Santacreu" userId="e36999d1-2b92-424a-9e8c-5fde0c5fbdd2" providerId="ADAL" clId="{B441C459-42E0-4465-B296-199851FC6E31}" dt="2024-09-11T11:12:14.001" v="3782" actId="6264"/>
          <ac:spMkLst>
            <pc:docMk/>
            <pc:sldMk cId="747929101" sldId="1076"/>
            <ac:spMk id="4" creationId="{63BC7A88-7835-CE56-EA3F-3F274240699D}"/>
          </ac:spMkLst>
        </pc:spChg>
        <pc:spChg chg="mod ord">
          <ac:chgData name="José Antonio Ureta Santacreu" userId="e36999d1-2b92-424a-9e8c-5fde0c5fbdd2" providerId="ADAL" clId="{B441C459-42E0-4465-B296-199851FC6E31}" dt="2024-09-11T11:12:14.001" v="3782" actId="6264"/>
          <ac:spMkLst>
            <pc:docMk/>
            <pc:sldMk cId="747929101" sldId="1076"/>
            <ac:spMk id="5" creationId="{B75AE4C6-A1C6-71B7-69CD-7E8C3B3CCA24}"/>
          </ac:spMkLst>
        </pc:spChg>
        <pc:spChg chg="add del mod">
          <ac:chgData name="José Antonio Ureta Santacreu" userId="e36999d1-2b92-424a-9e8c-5fde0c5fbdd2" providerId="ADAL" clId="{B441C459-42E0-4465-B296-199851FC6E31}" dt="2024-09-11T11:12:14.001" v="3782" actId="6264"/>
          <ac:spMkLst>
            <pc:docMk/>
            <pc:sldMk cId="747929101" sldId="1076"/>
            <ac:spMk id="6" creationId="{82ADC166-3CB7-1255-D848-0AE756B8E7E3}"/>
          </ac:spMkLst>
        </pc:spChg>
        <pc:spChg chg="add del mod">
          <ac:chgData name="José Antonio Ureta Santacreu" userId="e36999d1-2b92-424a-9e8c-5fde0c5fbdd2" providerId="ADAL" clId="{B441C459-42E0-4465-B296-199851FC6E31}" dt="2024-09-11T11:12:14.001" v="3782" actId="6264"/>
          <ac:spMkLst>
            <pc:docMk/>
            <pc:sldMk cId="747929101" sldId="1076"/>
            <ac:spMk id="7" creationId="{12C7404D-33F5-FA2F-E2C8-553BA8FDED40}"/>
          </ac:spMkLst>
        </pc:spChg>
        <pc:spChg chg="add del mod">
          <ac:chgData name="José Antonio Ureta Santacreu" userId="e36999d1-2b92-424a-9e8c-5fde0c5fbdd2" providerId="ADAL" clId="{B441C459-42E0-4465-B296-199851FC6E31}" dt="2024-09-11T11:12:14.001" v="3782" actId="6264"/>
          <ac:spMkLst>
            <pc:docMk/>
            <pc:sldMk cId="747929101" sldId="1076"/>
            <ac:spMk id="8" creationId="{F793394D-2C6C-9DD4-7B8A-E4E707F6EB6F}"/>
          </ac:spMkLst>
        </pc:spChg>
        <pc:spChg chg="add del mod">
          <ac:chgData name="José Antonio Ureta Santacreu" userId="e36999d1-2b92-424a-9e8c-5fde0c5fbdd2" providerId="ADAL" clId="{B441C459-42E0-4465-B296-199851FC6E31}" dt="2024-09-11T11:12:14.001" v="3782" actId="6264"/>
          <ac:spMkLst>
            <pc:docMk/>
            <pc:sldMk cId="747929101" sldId="1076"/>
            <ac:spMk id="9" creationId="{D043C4CE-E260-8A80-DF2C-E34336D925DB}"/>
          </ac:spMkLst>
        </pc:spChg>
        <pc:spChg chg="add del mod">
          <ac:chgData name="José Antonio Ureta Santacreu" userId="e36999d1-2b92-424a-9e8c-5fde0c5fbdd2" providerId="ADAL" clId="{B441C459-42E0-4465-B296-199851FC6E31}" dt="2024-09-11T11:12:14.001" v="3782" actId="6264"/>
          <ac:spMkLst>
            <pc:docMk/>
            <pc:sldMk cId="747929101" sldId="1076"/>
            <ac:spMk id="10" creationId="{92657A61-13D9-0941-060A-84CEE0BF112F}"/>
          </ac:spMkLst>
        </pc:spChg>
        <pc:spChg chg="add del mod">
          <ac:chgData name="José Antonio Ureta Santacreu" userId="e36999d1-2b92-424a-9e8c-5fde0c5fbdd2" providerId="ADAL" clId="{B441C459-42E0-4465-B296-199851FC6E31}" dt="2024-09-11T11:12:14.001" v="3782" actId="6264"/>
          <ac:spMkLst>
            <pc:docMk/>
            <pc:sldMk cId="747929101" sldId="1076"/>
            <ac:spMk id="11" creationId="{A2349B87-8169-0F2F-E833-3DC5B5299647}"/>
          </ac:spMkLst>
        </pc:spChg>
        <pc:spChg chg="mod ord">
          <ac:chgData name="José Antonio Ureta Santacreu" userId="e36999d1-2b92-424a-9e8c-5fde0c5fbdd2" providerId="ADAL" clId="{B441C459-42E0-4465-B296-199851FC6E31}" dt="2024-09-11T11:12:14.001" v="3782" actId="6264"/>
          <ac:spMkLst>
            <pc:docMk/>
            <pc:sldMk cId="747929101" sldId="1076"/>
            <ac:spMk id="13" creationId="{AA79FC2E-1ADD-5FEF-8568-A2AB3F32AA96}"/>
          </ac:spMkLst>
        </pc:spChg>
        <pc:picChg chg="mod ord">
          <ac:chgData name="José Antonio Ureta Santacreu" userId="e36999d1-2b92-424a-9e8c-5fde0c5fbdd2" providerId="ADAL" clId="{B441C459-42E0-4465-B296-199851FC6E31}" dt="2024-09-11T11:12:14.001" v="3782" actId="6264"/>
          <ac:picMkLst>
            <pc:docMk/>
            <pc:sldMk cId="747929101" sldId="1076"/>
            <ac:picMk id="19" creationId="{6E9F70FA-A2FC-7643-34AF-90FFF4FFE449}"/>
          </ac:picMkLst>
        </pc:picChg>
      </pc:sldChg>
      <pc:sldChg chg="del">
        <pc:chgData name="José Antonio Ureta Santacreu" userId="e36999d1-2b92-424a-9e8c-5fde0c5fbdd2" providerId="ADAL" clId="{B441C459-42E0-4465-B296-199851FC6E31}" dt="2024-07-23T10:41:54.955" v="271" actId="2696"/>
        <pc:sldMkLst>
          <pc:docMk/>
          <pc:sldMk cId="2271456986" sldId="1076"/>
        </pc:sldMkLst>
      </pc:sldChg>
      <pc:sldChg chg="addSp delSp modSp mod modClrScheme delAnim modAnim chgLayout">
        <pc:chgData name="José Antonio Ureta Santacreu" userId="e36999d1-2b92-424a-9e8c-5fde0c5fbdd2" providerId="ADAL" clId="{B441C459-42E0-4465-B296-199851FC6E31}" dt="2024-09-11T11:12:14.001" v="3782" actId="6264"/>
        <pc:sldMkLst>
          <pc:docMk/>
          <pc:sldMk cId="191203139" sldId="1077"/>
        </pc:sldMkLst>
        <pc:spChg chg="mod ord">
          <ac:chgData name="José Antonio Ureta Santacreu" userId="e36999d1-2b92-424a-9e8c-5fde0c5fbdd2" providerId="ADAL" clId="{B441C459-42E0-4465-B296-199851FC6E31}" dt="2024-09-11T11:12:14.001" v="3782" actId="6264"/>
          <ac:spMkLst>
            <pc:docMk/>
            <pc:sldMk cId="191203139" sldId="1077"/>
            <ac:spMk id="2" creationId="{6834D077-9511-1201-8FA2-C39775D9B5C0}"/>
          </ac:spMkLst>
        </pc:spChg>
        <pc:spChg chg="mod ord">
          <ac:chgData name="José Antonio Ureta Santacreu" userId="e36999d1-2b92-424a-9e8c-5fde0c5fbdd2" providerId="ADAL" clId="{B441C459-42E0-4465-B296-199851FC6E31}" dt="2024-09-11T11:12:14.001" v="3782" actId="6264"/>
          <ac:spMkLst>
            <pc:docMk/>
            <pc:sldMk cId="191203139" sldId="1077"/>
            <ac:spMk id="3" creationId="{F0979871-039F-5C63-C03E-0860200136BC}"/>
          </ac:spMkLst>
        </pc:spChg>
        <pc:spChg chg="mod ord">
          <ac:chgData name="José Antonio Ureta Santacreu" userId="e36999d1-2b92-424a-9e8c-5fde0c5fbdd2" providerId="ADAL" clId="{B441C459-42E0-4465-B296-199851FC6E31}" dt="2024-09-11T11:12:14.001" v="3782" actId="6264"/>
          <ac:spMkLst>
            <pc:docMk/>
            <pc:sldMk cId="191203139" sldId="1077"/>
            <ac:spMk id="4" creationId="{6F8C0145-08B0-9CBD-A6B7-7476C2FAC08A}"/>
          </ac:spMkLst>
        </pc:spChg>
        <pc:spChg chg="mod ord">
          <ac:chgData name="José Antonio Ureta Santacreu" userId="e36999d1-2b92-424a-9e8c-5fde0c5fbdd2" providerId="ADAL" clId="{B441C459-42E0-4465-B296-199851FC6E31}" dt="2024-09-11T11:12:14.001" v="3782" actId="6264"/>
          <ac:spMkLst>
            <pc:docMk/>
            <pc:sldMk cId="191203139" sldId="1077"/>
            <ac:spMk id="5" creationId="{8682B005-B817-6F9E-E98B-BDE39FD14B39}"/>
          </ac:spMkLst>
        </pc:spChg>
        <pc:spChg chg="add del mod ord">
          <ac:chgData name="José Antonio Ureta Santacreu" userId="e36999d1-2b92-424a-9e8c-5fde0c5fbdd2" providerId="ADAL" clId="{B441C459-42E0-4465-B296-199851FC6E31}" dt="2024-09-11T11:07:49.311" v="3755"/>
          <ac:spMkLst>
            <pc:docMk/>
            <pc:sldMk cId="191203139" sldId="1077"/>
            <ac:spMk id="6" creationId="{D285D981-3053-8068-8883-D27953CB4D4F}"/>
          </ac:spMkLst>
        </pc:spChg>
        <pc:spChg chg="add mod ord">
          <ac:chgData name="José Antonio Ureta Santacreu" userId="e36999d1-2b92-424a-9e8c-5fde0c5fbdd2" providerId="ADAL" clId="{B441C459-42E0-4465-B296-199851FC6E31}" dt="2024-09-11T11:12:14.001" v="3782" actId="6264"/>
          <ac:spMkLst>
            <pc:docMk/>
            <pc:sldMk cId="191203139" sldId="1077"/>
            <ac:spMk id="8" creationId="{587DBE25-367A-B7DD-4740-0FD296BBC14B}"/>
          </ac:spMkLst>
        </pc:spChg>
        <pc:spChg chg="add del mod">
          <ac:chgData name="José Antonio Ureta Santacreu" userId="e36999d1-2b92-424a-9e8c-5fde0c5fbdd2" providerId="ADAL" clId="{B441C459-42E0-4465-B296-199851FC6E31}" dt="2024-09-11T11:12:14.001" v="3782" actId="6264"/>
          <ac:spMkLst>
            <pc:docMk/>
            <pc:sldMk cId="191203139" sldId="1077"/>
            <ac:spMk id="10" creationId="{A034C208-8343-1191-D33B-8F398D28BA44}"/>
          </ac:spMkLst>
        </pc:spChg>
        <pc:spChg chg="add del mod">
          <ac:chgData name="José Antonio Ureta Santacreu" userId="e36999d1-2b92-424a-9e8c-5fde0c5fbdd2" providerId="ADAL" clId="{B441C459-42E0-4465-B296-199851FC6E31}" dt="2024-09-11T11:12:14.001" v="3782" actId="6264"/>
          <ac:spMkLst>
            <pc:docMk/>
            <pc:sldMk cId="191203139" sldId="1077"/>
            <ac:spMk id="11" creationId="{20AD8C63-B966-F4CD-309B-317A4419ACDB}"/>
          </ac:spMkLst>
        </pc:spChg>
        <pc:spChg chg="add del mod">
          <ac:chgData name="José Antonio Ureta Santacreu" userId="e36999d1-2b92-424a-9e8c-5fde0c5fbdd2" providerId="ADAL" clId="{B441C459-42E0-4465-B296-199851FC6E31}" dt="2024-09-11T11:12:14.001" v="3782" actId="6264"/>
          <ac:spMkLst>
            <pc:docMk/>
            <pc:sldMk cId="191203139" sldId="1077"/>
            <ac:spMk id="12" creationId="{54588A35-2B33-CAEE-1176-6D9BC7957548}"/>
          </ac:spMkLst>
        </pc:spChg>
        <pc:spChg chg="add del mod">
          <ac:chgData name="José Antonio Ureta Santacreu" userId="e36999d1-2b92-424a-9e8c-5fde0c5fbdd2" providerId="ADAL" clId="{B441C459-42E0-4465-B296-199851FC6E31}" dt="2024-09-11T11:12:14.001" v="3782" actId="6264"/>
          <ac:spMkLst>
            <pc:docMk/>
            <pc:sldMk cId="191203139" sldId="1077"/>
            <ac:spMk id="13" creationId="{B985A6F4-B417-8574-5410-CEC63D63BAB6}"/>
          </ac:spMkLst>
        </pc:spChg>
        <pc:spChg chg="add del mod">
          <ac:chgData name="José Antonio Ureta Santacreu" userId="e36999d1-2b92-424a-9e8c-5fde0c5fbdd2" providerId="ADAL" clId="{B441C459-42E0-4465-B296-199851FC6E31}" dt="2024-09-11T11:12:14.001" v="3782" actId="6264"/>
          <ac:spMkLst>
            <pc:docMk/>
            <pc:sldMk cId="191203139" sldId="1077"/>
            <ac:spMk id="14" creationId="{CF842752-54C2-768F-0B9C-FA8DDBD44D3E}"/>
          </ac:spMkLst>
        </pc:spChg>
        <pc:spChg chg="add del mod">
          <ac:chgData name="José Antonio Ureta Santacreu" userId="e36999d1-2b92-424a-9e8c-5fde0c5fbdd2" providerId="ADAL" clId="{B441C459-42E0-4465-B296-199851FC6E31}" dt="2024-09-11T11:12:14.001" v="3782" actId="6264"/>
          <ac:spMkLst>
            <pc:docMk/>
            <pc:sldMk cId="191203139" sldId="1077"/>
            <ac:spMk id="15" creationId="{2B789FCA-F06E-D13A-10FE-DAA7EBFCD859}"/>
          </ac:spMkLst>
        </pc:spChg>
        <pc:picChg chg="del">
          <ac:chgData name="José Antonio Ureta Santacreu" userId="e36999d1-2b92-424a-9e8c-5fde0c5fbdd2" providerId="ADAL" clId="{B441C459-42E0-4465-B296-199851FC6E31}" dt="2024-09-11T11:07:32.088" v="3745" actId="478"/>
          <ac:picMkLst>
            <pc:docMk/>
            <pc:sldMk cId="191203139" sldId="1077"/>
            <ac:picMk id="7" creationId="{CB28A669-0A1A-0D2D-1938-2C8296D5BC8E}"/>
          </ac:picMkLst>
        </pc:picChg>
        <pc:picChg chg="add mod ord">
          <ac:chgData name="José Antonio Ureta Santacreu" userId="e36999d1-2b92-424a-9e8c-5fde0c5fbdd2" providerId="ADAL" clId="{B441C459-42E0-4465-B296-199851FC6E31}" dt="2024-09-11T11:12:14.001" v="3782" actId="6264"/>
          <ac:picMkLst>
            <pc:docMk/>
            <pc:sldMk cId="191203139" sldId="1077"/>
            <ac:picMk id="9" creationId="{0F2BA4DA-7BFC-FDDA-70AA-29BAFAAB4D17}"/>
          </ac:picMkLst>
        </pc:picChg>
        <pc:picChg chg="del">
          <ac:chgData name="José Antonio Ureta Santacreu" userId="e36999d1-2b92-424a-9e8c-5fde0c5fbdd2" providerId="ADAL" clId="{B441C459-42E0-4465-B296-199851FC6E31}" dt="2024-09-11T11:07:47.691" v="3754" actId="21"/>
          <ac:picMkLst>
            <pc:docMk/>
            <pc:sldMk cId="191203139" sldId="1077"/>
            <ac:picMk id="2050" creationId="{0F2BA4DA-7BFC-FDDA-70AA-29BAFAAB4D17}"/>
          </ac:picMkLst>
        </pc:picChg>
      </pc:sldChg>
      <pc:sldChg chg="addSp delSp modSp mod chgLayout">
        <pc:chgData name="José Antonio Ureta Santacreu" userId="e36999d1-2b92-424a-9e8c-5fde0c5fbdd2" providerId="ADAL" clId="{B441C459-42E0-4465-B296-199851FC6E31}" dt="2024-09-11T11:12:14.001" v="3782" actId="6264"/>
        <pc:sldMkLst>
          <pc:docMk/>
          <pc:sldMk cId="417804247" sldId="1078"/>
        </pc:sldMkLst>
        <pc:spChg chg="mod ord">
          <ac:chgData name="José Antonio Ureta Santacreu" userId="e36999d1-2b92-424a-9e8c-5fde0c5fbdd2" providerId="ADAL" clId="{B441C459-42E0-4465-B296-199851FC6E31}" dt="2024-09-11T11:12:14.001" v="3782" actId="6264"/>
          <ac:spMkLst>
            <pc:docMk/>
            <pc:sldMk cId="417804247" sldId="1078"/>
            <ac:spMk id="2" creationId="{B7932B33-DF8D-AEF6-C772-5C16121EC42B}"/>
          </ac:spMkLst>
        </pc:spChg>
        <pc:spChg chg="add del mod">
          <ac:chgData name="José Antonio Ureta Santacreu" userId="e36999d1-2b92-424a-9e8c-5fde0c5fbdd2" providerId="ADAL" clId="{B441C459-42E0-4465-B296-199851FC6E31}" dt="2024-09-11T11:12:14.001" v="3782" actId="6264"/>
          <ac:spMkLst>
            <pc:docMk/>
            <pc:sldMk cId="417804247" sldId="1078"/>
            <ac:spMk id="3" creationId="{5EA22C0B-6B9B-2066-E0B2-F4254A305F20}"/>
          </ac:spMkLst>
        </pc:spChg>
        <pc:spChg chg="mod ord">
          <ac:chgData name="José Antonio Ureta Santacreu" userId="e36999d1-2b92-424a-9e8c-5fde0c5fbdd2" providerId="ADAL" clId="{B441C459-42E0-4465-B296-199851FC6E31}" dt="2024-09-11T11:12:14.001" v="3782" actId="6264"/>
          <ac:spMkLst>
            <pc:docMk/>
            <pc:sldMk cId="417804247" sldId="1078"/>
            <ac:spMk id="4" creationId="{3B70399B-7051-F9C9-EA35-B85D1C7415AE}"/>
          </ac:spMkLst>
        </pc:spChg>
        <pc:spChg chg="mod ord">
          <ac:chgData name="José Antonio Ureta Santacreu" userId="e36999d1-2b92-424a-9e8c-5fde0c5fbdd2" providerId="ADAL" clId="{B441C459-42E0-4465-B296-199851FC6E31}" dt="2024-09-11T11:12:14.001" v="3782" actId="6264"/>
          <ac:spMkLst>
            <pc:docMk/>
            <pc:sldMk cId="417804247" sldId="1078"/>
            <ac:spMk id="5" creationId="{ED87757D-6325-045D-6924-593683D7BF84}"/>
          </ac:spMkLst>
        </pc:spChg>
        <pc:spChg chg="mod ord">
          <ac:chgData name="José Antonio Ureta Santacreu" userId="e36999d1-2b92-424a-9e8c-5fde0c5fbdd2" providerId="ADAL" clId="{B441C459-42E0-4465-B296-199851FC6E31}" dt="2024-09-11T11:12:14.001" v="3782" actId="6264"/>
          <ac:spMkLst>
            <pc:docMk/>
            <pc:sldMk cId="417804247" sldId="1078"/>
            <ac:spMk id="6" creationId="{2FE07006-BB6D-4B4B-B497-A878EC19B910}"/>
          </ac:spMkLst>
        </pc:spChg>
        <pc:spChg chg="add del mod">
          <ac:chgData name="José Antonio Ureta Santacreu" userId="e36999d1-2b92-424a-9e8c-5fde0c5fbdd2" providerId="ADAL" clId="{B441C459-42E0-4465-B296-199851FC6E31}" dt="2024-09-11T11:12:14.001" v="3782" actId="6264"/>
          <ac:spMkLst>
            <pc:docMk/>
            <pc:sldMk cId="417804247" sldId="1078"/>
            <ac:spMk id="8" creationId="{A3D4527F-8E08-6D68-610C-47ED794D9373}"/>
          </ac:spMkLst>
        </pc:spChg>
        <pc:spChg chg="add del mod">
          <ac:chgData name="José Antonio Ureta Santacreu" userId="e36999d1-2b92-424a-9e8c-5fde0c5fbdd2" providerId="ADAL" clId="{B441C459-42E0-4465-B296-199851FC6E31}" dt="2024-09-11T11:12:14.001" v="3782" actId="6264"/>
          <ac:spMkLst>
            <pc:docMk/>
            <pc:sldMk cId="417804247" sldId="1078"/>
            <ac:spMk id="9" creationId="{7E016F6E-F3E0-7582-2D27-88FAF0CA0C17}"/>
          </ac:spMkLst>
        </pc:spChg>
        <pc:spChg chg="add del mod">
          <ac:chgData name="José Antonio Ureta Santacreu" userId="e36999d1-2b92-424a-9e8c-5fde0c5fbdd2" providerId="ADAL" clId="{B441C459-42E0-4465-B296-199851FC6E31}" dt="2024-09-11T11:12:14.001" v="3782" actId="6264"/>
          <ac:spMkLst>
            <pc:docMk/>
            <pc:sldMk cId="417804247" sldId="1078"/>
            <ac:spMk id="10" creationId="{37092ADF-8665-6937-F167-F86A1E3F0BF5}"/>
          </ac:spMkLst>
        </pc:spChg>
        <pc:spChg chg="add del mod">
          <ac:chgData name="José Antonio Ureta Santacreu" userId="e36999d1-2b92-424a-9e8c-5fde0c5fbdd2" providerId="ADAL" clId="{B441C459-42E0-4465-B296-199851FC6E31}" dt="2024-09-11T11:12:14.001" v="3782" actId="6264"/>
          <ac:spMkLst>
            <pc:docMk/>
            <pc:sldMk cId="417804247" sldId="1078"/>
            <ac:spMk id="11" creationId="{D9E65A22-C452-FFB6-9F2A-EC1B0CB41982}"/>
          </ac:spMkLst>
        </pc:spChg>
        <pc:spChg chg="add del mod">
          <ac:chgData name="José Antonio Ureta Santacreu" userId="e36999d1-2b92-424a-9e8c-5fde0c5fbdd2" providerId="ADAL" clId="{B441C459-42E0-4465-B296-199851FC6E31}" dt="2024-09-11T11:12:14.001" v="3782" actId="6264"/>
          <ac:spMkLst>
            <pc:docMk/>
            <pc:sldMk cId="417804247" sldId="1078"/>
            <ac:spMk id="12" creationId="{85520003-A646-5D73-E06D-CC60115991B8}"/>
          </ac:spMkLst>
        </pc:spChg>
        <pc:graphicFrameChg chg="mod ord">
          <ac:chgData name="José Antonio Ureta Santacreu" userId="e36999d1-2b92-424a-9e8c-5fde0c5fbdd2" providerId="ADAL" clId="{B441C459-42E0-4465-B296-199851FC6E31}" dt="2024-09-11T11:12:14.001" v="3782" actId="6264"/>
          <ac:graphicFrameMkLst>
            <pc:docMk/>
            <pc:sldMk cId="417804247" sldId="1078"/>
            <ac:graphicFrameMk id="7" creationId="{B2AB028B-C169-1B74-328B-818E0C083C0F}"/>
          </ac:graphicFrameMkLst>
        </pc:graphicFrameChg>
        <pc:picChg chg="mod ord">
          <ac:chgData name="José Antonio Ureta Santacreu" userId="e36999d1-2b92-424a-9e8c-5fde0c5fbdd2" providerId="ADAL" clId="{B441C459-42E0-4465-B296-199851FC6E31}" dt="2024-09-11T11:12:14.001" v="3782" actId="6264"/>
          <ac:picMkLst>
            <pc:docMk/>
            <pc:sldMk cId="417804247" sldId="1078"/>
            <ac:picMk id="5122" creationId="{E63202C2-C9F3-6C30-7150-6E708082E8B6}"/>
          </ac:picMkLst>
        </pc:picChg>
      </pc:sldChg>
      <pc:sldChg chg="del">
        <pc:chgData name="José Antonio Ureta Santacreu" userId="e36999d1-2b92-424a-9e8c-5fde0c5fbdd2" providerId="ADAL" clId="{B441C459-42E0-4465-B296-199851FC6E31}" dt="2024-07-23T10:41:54.955" v="271" actId="2696"/>
        <pc:sldMkLst>
          <pc:docMk/>
          <pc:sldMk cId="506486384" sldId="1080"/>
        </pc:sldMkLst>
      </pc:sldChg>
      <pc:sldChg chg="modSp add mod">
        <pc:chgData name="José Antonio Ureta Santacreu" userId="e36999d1-2b92-424a-9e8c-5fde0c5fbdd2" providerId="ADAL" clId="{B441C459-42E0-4465-B296-199851FC6E31}" dt="2024-09-02T10:43:01.448" v="2194" actId="20577"/>
        <pc:sldMkLst>
          <pc:docMk/>
          <pc:sldMk cId="2177933492" sldId="1080"/>
        </pc:sldMkLst>
        <pc:spChg chg="mod">
          <ac:chgData name="José Antonio Ureta Santacreu" userId="e36999d1-2b92-424a-9e8c-5fde0c5fbdd2" providerId="ADAL" clId="{B441C459-42E0-4465-B296-199851FC6E31}" dt="2024-09-02T10:43:01.448" v="2194" actId="20577"/>
          <ac:spMkLst>
            <pc:docMk/>
            <pc:sldMk cId="2177933492" sldId="1080"/>
            <ac:spMk id="2" creationId="{E5EAAB33-9C71-490F-8BE6-0312A8B9F4B9}"/>
          </ac:spMkLst>
        </pc:spChg>
      </pc:sldChg>
      <pc:sldChg chg="addSp delSp modSp mod chgLayout">
        <pc:chgData name="José Antonio Ureta Santacreu" userId="e36999d1-2b92-424a-9e8c-5fde0c5fbdd2" providerId="ADAL" clId="{B441C459-42E0-4465-B296-199851FC6E31}" dt="2024-09-12T15:45:04.482" v="5156" actId="2"/>
        <pc:sldMkLst>
          <pc:docMk/>
          <pc:sldMk cId="2545005169" sldId="1080"/>
        </pc:sldMkLst>
        <pc:spChg chg="mod ord">
          <ac:chgData name="José Antonio Ureta Santacreu" userId="e36999d1-2b92-424a-9e8c-5fde0c5fbdd2" providerId="ADAL" clId="{B441C459-42E0-4465-B296-199851FC6E31}" dt="2024-09-11T11:12:14.001" v="3782" actId="6264"/>
          <ac:spMkLst>
            <pc:docMk/>
            <pc:sldMk cId="2545005169" sldId="1080"/>
            <ac:spMk id="2" creationId="{E5EAAB33-9C71-490F-8BE6-0312A8B9F4B9}"/>
          </ac:spMkLst>
        </pc:spChg>
        <pc:spChg chg="mod ord">
          <ac:chgData name="José Antonio Ureta Santacreu" userId="e36999d1-2b92-424a-9e8c-5fde0c5fbdd2" providerId="ADAL" clId="{B441C459-42E0-4465-B296-199851FC6E31}" dt="2024-09-11T11:12:14.001" v="3782" actId="6264"/>
          <ac:spMkLst>
            <pc:docMk/>
            <pc:sldMk cId="2545005169" sldId="1080"/>
            <ac:spMk id="3" creationId="{95474DAF-1263-4BE2-8E5F-A6D023BA7DE1}"/>
          </ac:spMkLst>
        </pc:spChg>
        <pc:spChg chg="mod ord">
          <ac:chgData name="José Antonio Ureta Santacreu" userId="e36999d1-2b92-424a-9e8c-5fde0c5fbdd2" providerId="ADAL" clId="{B441C459-42E0-4465-B296-199851FC6E31}" dt="2024-09-11T11:12:14.001" v="3782" actId="6264"/>
          <ac:spMkLst>
            <pc:docMk/>
            <pc:sldMk cId="2545005169" sldId="1080"/>
            <ac:spMk id="4" creationId="{95B3F99B-BF7C-4A71-B2BB-1CF590733AA0}"/>
          </ac:spMkLst>
        </pc:spChg>
        <pc:spChg chg="mod ord">
          <ac:chgData name="José Antonio Ureta Santacreu" userId="e36999d1-2b92-424a-9e8c-5fde0c5fbdd2" providerId="ADAL" clId="{B441C459-42E0-4465-B296-199851FC6E31}" dt="2024-09-11T11:12:14.001" v="3782" actId="6264"/>
          <ac:spMkLst>
            <pc:docMk/>
            <pc:sldMk cId="2545005169" sldId="1080"/>
            <ac:spMk id="5" creationId="{14A12551-9561-40D5-B2A5-ECB90FB08761}"/>
          </ac:spMkLst>
        </pc:spChg>
        <pc:spChg chg="add del mod">
          <ac:chgData name="José Antonio Ureta Santacreu" userId="e36999d1-2b92-424a-9e8c-5fde0c5fbdd2" providerId="ADAL" clId="{B441C459-42E0-4465-B296-199851FC6E31}" dt="2024-09-11T11:12:14.001" v="3782" actId="6264"/>
          <ac:spMkLst>
            <pc:docMk/>
            <pc:sldMk cId="2545005169" sldId="1080"/>
            <ac:spMk id="6" creationId="{36E0DED6-641B-B8DF-FFF3-7556FA97BFDF}"/>
          </ac:spMkLst>
        </pc:spChg>
        <pc:spChg chg="add del mod">
          <ac:chgData name="José Antonio Ureta Santacreu" userId="e36999d1-2b92-424a-9e8c-5fde0c5fbdd2" providerId="ADAL" clId="{B441C459-42E0-4465-B296-199851FC6E31}" dt="2024-09-11T11:12:14.001" v="3782" actId="6264"/>
          <ac:spMkLst>
            <pc:docMk/>
            <pc:sldMk cId="2545005169" sldId="1080"/>
            <ac:spMk id="7" creationId="{65D3B8FE-42AB-8798-11AC-FF9AF8F47A48}"/>
          </ac:spMkLst>
        </pc:spChg>
        <pc:spChg chg="add del mod">
          <ac:chgData name="José Antonio Ureta Santacreu" userId="e36999d1-2b92-424a-9e8c-5fde0c5fbdd2" providerId="ADAL" clId="{B441C459-42E0-4465-B296-199851FC6E31}" dt="2024-09-11T11:12:14.001" v="3782" actId="6264"/>
          <ac:spMkLst>
            <pc:docMk/>
            <pc:sldMk cId="2545005169" sldId="1080"/>
            <ac:spMk id="8" creationId="{64E1B012-49FE-D2B3-15CC-CB012AE4958A}"/>
          </ac:spMkLst>
        </pc:spChg>
        <pc:spChg chg="add del mod">
          <ac:chgData name="José Antonio Ureta Santacreu" userId="e36999d1-2b92-424a-9e8c-5fde0c5fbdd2" providerId="ADAL" clId="{B441C459-42E0-4465-B296-199851FC6E31}" dt="2024-09-11T11:12:14.001" v="3782" actId="6264"/>
          <ac:spMkLst>
            <pc:docMk/>
            <pc:sldMk cId="2545005169" sldId="1080"/>
            <ac:spMk id="9" creationId="{1D0DB39B-AFC9-5525-76D3-83FE9DCAF089}"/>
          </ac:spMkLst>
        </pc:spChg>
        <pc:spChg chg="add del mod">
          <ac:chgData name="José Antonio Ureta Santacreu" userId="e36999d1-2b92-424a-9e8c-5fde0c5fbdd2" providerId="ADAL" clId="{B441C459-42E0-4465-B296-199851FC6E31}" dt="2024-09-11T11:12:14.001" v="3782" actId="6264"/>
          <ac:spMkLst>
            <pc:docMk/>
            <pc:sldMk cId="2545005169" sldId="1080"/>
            <ac:spMk id="10" creationId="{D764FC34-B335-7EAE-AEC3-2B33BAC8C53A}"/>
          </ac:spMkLst>
        </pc:spChg>
        <pc:graphicFrameChg chg="mod ord">
          <ac:chgData name="José Antonio Ureta Santacreu" userId="e36999d1-2b92-424a-9e8c-5fde0c5fbdd2" providerId="ADAL" clId="{B441C459-42E0-4465-B296-199851FC6E31}" dt="2024-09-12T15:45:04.482" v="5156" actId="2"/>
          <ac:graphicFrameMkLst>
            <pc:docMk/>
            <pc:sldMk cId="2545005169" sldId="1080"/>
            <ac:graphicFrameMk id="12" creationId="{A566C179-D270-4612-87B9-FD1512028BC8}"/>
          </ac:graphicFrameMkLst>
        </pc:graphicFrameChg>
      </pc:sldChg>
      <pc:sldChg chg="addSp delSp modSp mod chgLayout">
        <pc:chgData name="José Antonio Ureta Santacreu" userId="e36999d1-2b92-424a-9e8c-5fde0c5fbdd2" providerId="ADAL" clId="{B441C459-42E0-4465-B296-199851FC6E31}" dt="2024-09-12T10:37:26.700" v="3921" actId="27636"/>
        <pc:sldMkLst>
          <pc:docMk/>
          <pc:sldMk cId="384884263" sldId="1081"/>
        </pc:sldMkLst>
        <pc:spChg chg="add del mod">
          <ac:chgData name="José Antonio Ureta Santacreu" userId="e36999d1-2b92-424a-9e8c-5fde0c5fbdd2" providerId="ADAL" clId="{B441C459-42E0-4465-B296-199851FC6E31}" dt="2024-09-11T11:12:14.001" v="3782" actId="6264"/>
          <ac:spMkLst>
            <pc:docMk/>
            <pc:sldMk cId="384884263" sldId="1081"/>
            <ac:spMk id="3" creationId="{D8711C65-A8B9-BC8F-EF4E-AF670B9CDFCE}"/>
          </ac:spMkLst>
        </pc:spChg>
        <pc:spChg chg="mod ord">
          <ac:chgData name="José Antonio Ureta Santacreu" userId="e36999d1-2b92-424a-9e8c-5fde0c5fbdd2" providerId="ADAL" clId="{B441C459-42E0-4465-B296-199851FC6E31}" dt="2024-09-11T11:12:14.001" v="3782" actId="6264"/>
          <ac:spMkLst>
            <pc:docMk/>
            <pc:sldMk cId="384884263" sldId="1081"/>
            <ac:spMk id="4" creationId="{14EF78D8-D3EA-440B-B37A-D949748F407A}"/>
          </ac:spMkLst>
        </pc:spChg>
        <pc:spChg chg="mod ord">
          <ac:chgData name="José Antonio Ureta Santacreu" userId="e36999d1-2b92-424a-9e8c-5fde0c5fbdd2" providerId="ADAL" clId="{B441C459-42E0-4465-B296-199851FC6E31}" dt="2024-09-11T11:12:14.001" v="3782" actId="6264"/>
          <ac:spMkLst>
            <pc:docMk/>
            <pc:sldMk cId="384884263" sldId="1081"/>
            <ac:spMk id="5" creationId="{59708A3C-AC00-41D0-B50C-57D91ACF889F}"/>
          </ac:spMkLst>
        </pc:spChg>
        <pc:spChg chg="mod ord">
          <ac:chgData name="José Antonio Ureta Santacreu" userId="e36999d1-2b92-424a-9e8c-5fde0c5fbdd2" providerId="ADAL" clId="{B441C459-42E0-4465-B296-199851FC6E31}" dt="2024-09-11T11:12:14.001" v="3782" actId="6264"/>
          <ac:spMkLst>
            <pc:docMk/>
            <pc:sldMk cId="384884263" sldId="1081"/>
            <ac:spMk id="6" creationId="{053F7438-F311-4A60-B8C2-100F83073966}"/>
          </ac:spMkLst>
        </pc:spChg>
        <pc:spChg chg="add del mod">
          <ac:chgData name="José Antonio Ureta Santacreu" userId="e36999d1-2b92-424a-9e8c-5fde0c5fbdd2" providerId="ADAL" clId="{B441C459-42E0-4465-B296-199851FC6E31}" dt="2024-09-11T11:12:14.001" v="3782" actId="6264"/>
          <ac:spMkLst>
            <pc:docMk/>
            <pc:sldMk cId="384884263" sldId="1081"/>
            <ac:spMk id="8" creationId="{6F1477B5-FDC4-5E12-750B-C77CF036AE2A}"/>
          </ac:spMkLst>
        </pc:spChg>
        <pc:spChg chg="add del mod">
          <ac:chgData name="José Antonio Ureta Santacreu" userId="e36999d1-2b92-424a-9e8c-5fde0c5fbdd2" providerId="ADAL" clId="{B441C459-42E0-4465-B296-199851FC6E31}" dt="2024-09-11T11:12:14.001" v="3782" actId="6264"/>
          <ac:spMkLst>
            <pc:docMk/>
            <pc:sldMk cId="384884263" sldId="1081"/>
            <ac:spMk id="9" creationId="{65F2816E-42C7-023B-4043-C545DA1C1F04}"/>
          </ac:spMkLst>
        </pc:spChg>
        <pc:spChg chg="add del mod">
          <ac:chgData name="José Antonio Ureta Santacreu" userId="e36999d1-2b92-424a-9e8c-5fde0c5fbdd2" providerId="ADAL" clId="{B441C459-42E0-4465-B296-199851FC6E31}" dt="2024-09-11T11:12:14.001" v="3782" actId="6264"/>
          <ac:spMkLst>
            <pc:docMk/>
            <pc:sldMk cId="384884263" sldId="1081"/>
            <ac:spMk id="11" creationId="{4200BFAA-6F31-3E16-6832-F9312348335E}"/>
          </ac:spMkLst>
        </pc:spChg>
        <pc:spChg chg="mod ord">
          <ac:chgData name="José Antonio Ureta Santacreu" userId="e36999d1-2b92-424a-9e8c-5fde0c5fbdd2" providerId="ADAL" clId="{B441C459-42E0-4465-B296-199851FC6E31}" dt="2024-09-12T10:37:26.700" v="3921" actId="27636"/>
          <ac:spMkLst>
            <pc:docMk/>
            <pc:sldMk cId="384884263" sldId="1081"/>
            <ac:spMk id="12" creationId="{57A86DDE-6B63-F0A4-0B0F-88D8A4E11316}"/>
          </ac:spMkLst>
        </pc:spChg>
        <pc:spChg chg="add del mod">
          <ac:chgData name="José Antonio Ureta Santacreu" userId="e36999d1-2b92-424a-9e8c-5fde0c5fbdd2" providerId="ADAL" clId="{B441C459-42E0-4465-B296-199851FC6E31}" dt="2024-09-11T11:12:14.001" v="3782" actId="6264"/>
          <ac:spMkLst>
            <pc:docMk/>
            <pc:sldMk cId="384884263" sldId="1081"/>
            <ac:spMk id="16" creationId="{CABC88BD-78D4-E1CF-9F60-E3B90BF524DE}"/>
          </ac:spMkLst>
        </pc:spChg>
        <pc:picChg chg="mod ord">
          <ac:chgData name="José Antonio Ureta Santacreu" userId="e36999d1-2b92-424a-9e8c-5fde0c5fbdd2" providerId="ADAL" clId="{B441C459-42E0-4465-B296-199851FC6E31}" dt="2024-09-11T11:12:14.001" v="3782" actId="6264"/>
          <ac:picMkLst>
            <pc:docMk/>
            <pc:sldMk cId="384884263" sldId="1081"/>
            <ac:picMk id="7" creationId="{F095F7B0-6DFE-4028-8B0B-A34E018EFEBF}"/>
          </ac:picMkLst>
        </pc:picChg>
      </pc:sldChg>
      <pc:sldChg chg="addSp delSp modSp mod chgLayout">
        <pc:chgData name="José Antonio Ureta Santacreu" userId="e36999d1-2b92-424a-9e8c-5fde0c5fbdd2" providerId="ADAL" clId="{B441C459-42E0-4465-B296-199851FC6E31}" dt="2024-09-12T15:48:14.559" v="5190" actId="2"/>
        <pc:sldMkLst>
          <pc:docMk/>
          <pc:sldMk cId="909011989" sldId="1082"/>
        </pc:sldMkLst>
        <pc:spChg chg="add del mod">
          <ac:chgData name="José Antonio Ureta Santacreu" userId="e36999d1-2b92-424a-9e8c-5fde0c5fbdd2" providerId="ADAL" clId="{B441C459-42E0-4465-B296-199851FC6E31}" dt="2024-09-11T11:12:14.001" v="3782" actId="6264"/>
          <ac:spMkLst>
            <pc:docMk/>
            <pc:sldMk cId="909011989" sldId="1082"/>
            <ac:spMk id="3" creationId="{543422CC-CA9E-D117-34BE-61D5BAD9DF84}"/>
          </ac:spMkLst>
        </pc:spChg>
        <pc:spChg chg="mod ord">
          <ac:chgData name="José Antonio Ureta Santacreu" userId="e36999d1-2b92-424a-9e8c-5fde0c5fbdd2" providerId="ADAL" clId="{B441C459-42E0-4465-B296-199851FC6E31}" dt="2024-09-11T11:12:14.001" v="3782" actId="6264"/>
          <ac:spMkLst>
            <pc:docMk/>
            <pc:sldMk cId="909011989" sldId="1082"/>
            <ac:spMk id="4" creationId="{135043A1-68D3-56DD-44C0-6E81A57EB1E4}"/>
          </ac:spMkLst>
        </pc:spChg>
        <pc:spChg chg="mod ord">
          <ac:chgData name="José Antonio Ureta Santacreu" userId="e36999d1-2b92-424a-9e8c-5fde0c5fbdd2" providerId="ADAL" clId="{B441C459-42E0-4465-B296-199851FC6E31}" dt="2024-09-11T11:12:14.001" v="3782" actId="6264"/>
          <ac:spMkLst>
            <pc:docMk/>
            <pc:sldMk cId="909011989" sldId="1082"/>
            <ac:spMk id="5" creationId="{C22C327E-ACDF-CCCD-2DCA-0E5D49E1807C}"/>
          </ac:spMkLst>
        </pc:spChg>
        <pc:spChg chg="mod ord">
          <ac:chgData name="José Antonio Ureta Santacreu" userId="e36999d1-2b92-424a-9e8c-5fde0c5fbdd2" providerId="ADAL" clId="{B441C459-42E0-4465-B296-199851FC6E31}" dt="2024-09-11T11:12:14.001" v="3782" actId="6264"/>
          <ac:spMkLst>
            <pc:docMk/>
            <pc:sldMk cId="909011989" sldId="1082"/>
            <ac:spMk id="6" creationId="{BE7A00C1-E21E-30D8-AA8D-406A1AD55504}"/>
          </ac:spMkLst>
        </pc:spChg>
        <pc:spChg chg="add del mod">
          <ac:chgData name="José Antonio Ureta Santacreu" userId="e36999d1-2b92-424a-9e8c-5fde0c5fbdd2" providerId="ADAL" clId="{B441C459-42E0-4465-B296-199851FC6E31}" dt="2024-09-11T11:12:14.001" v="3782" actId="6264"/>
          <ac:spMkLst>
            <pc:docMk/>
            <pc:sldMk cId="909011989" sldId="1082"/>
            <ac:spMk id="8" creationId="{ABA8A400-33EF-B901-B2F8-AA9C5CAFD5B6}"/>
          </ac:spMkLst>
        </pc:spChg>
        <pc:spChg chg="add del mod">
          <ac:chgData name="José Antonio Ureta Santacreu" userId="e36999d1-2b92-424a-9e8c-5fde0c5fbdd2" providerId="ADAL" clId="{B441C459-42E0-4465-B296-199851FC6E31}" dt="2024-09-11T11:12:14.001" v="3782" actId="6264"/>
          <ac:spMkLst>
            <pc:docMk/>
            <pc:sldMk cId="909011989" sldId="1082"/>
            <ac:spMk id="9" creationId="{7005AD93-68E3-5F41-7B58-F01ABF37F81F}"/>
          </ac:spMkLst>
        </pc:spChg>
        <pc:spChg chg="add del mod">
          <ac:chgData name="José Antonio Ureta Santacreu" userId="e36999d1-2b92-424a-9e8c-5fde0c5fbdd2" providerId="ADAL" clId="{B441C459-42E0-4465-B296-199851FC6E31}" dt="2024-09-11T11:12:14.001" v="3782" actId="6264"/>
          <ac:spMkLst>
            <pc:docMk/>
            <pc:sldMk cId="909011989" sldId="1082"/>
            <ac:spMk id="10" creationId="{B517438B-59FA-BF92-8B80-8CAF5F96D62C}"/>
          </ac:spMkLst>
        </pc:spChg>
        <pc:spChg chg="add del mod">
          <ac:chgData name="José Antonio Ureta Santacreu" userId="e36999d1-2b92-424a-9e8c-5fde0c5fbdd2" providerId="ADAL" clId="{B441C459-42E0-4465-B296-199851FC6E31}" dt="2024-09-11T11:12:14.001" v="3782" actId="6264"/>
          <ac:spMkLst>
            <pc:docMk/>
            <pc:sldMk cId="909011989" sldId="1082"/>
            <ac:spMk id="11" creationId="{20617D46-FA97-4859-246D-A1FACF2FCA07}"/>
          </ac:spMkLst>
        </pc:spChg>
        <pc:spChg chg="mod ord">
          <ac:chgData name="José Antonio Ureta Santacreu" userId="e36999d1-2b92-424a-9e8c-5fde0c5fbdd2" providerId="ADAL" clId="{B441C459-42E0-4465-B296-199851FC6E31}" dt="2024-09-11T11:12:14.001" v="3782" actId="6264"/>
          <ac:spMkLst>
            <pc:docMk/>
            <pc:sldMk cId="909011989" sldId="1082"/>
            <ac:spMk id="14" creationId="{4A72C21B-1283-80AE-7EBF-39BF8D98982B}"/>
          </ac:spMkLst>
        </pc:spChg>
        <pc:graphicFrameChg chg="mod ord">
          <ac:chgData name="José Antonio Ureta Santacreu" userId="e36999d1-2b92-424a-9e8c-5fde0c5fbdd2" providerId="ADAL" clId="{B441C459-42E0-4465-B296-199851FC6E31}" dt="2024-09-12T15:48:14.559" v="5190" actId="2"/>
          <ac:graphicFrameMkLst>
            <pc:docMk/>
            <pc:sldMk cId="909011989" sldId="1082"/>
            <ac:graphicFrameMk id="7" creationId="{7C9EBACB-3529-9D2E-3F8F-6757D8BFC58D}"/>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3146359626" sldId="1083"/>
        </pc:sldMkLst>
        <pc:spChg chg="mod ord">
          <ac:chgData name="José Antonio Ureta Santacreu" userId="e36999d1-2b92-424a-9e8c-5fde0c5fbdd2" providerId="ADAL" clId="{B441C459-42E0-4465-B296-199851FC6E31}" dt="2024-09-11T11:12:14.001" v="3782" actId="6264"/>
          <ac:spMkLst>
            <pc:docMk/>
            <pc:sldMk cId="3146359626" sldId="1083"/>
            <ac:spMk id="3" creationId="{CE6FC035-E329-46F4-B8F9-4940286E7A53}"/>
          </ac:spMkLst>
        </pc:spChg>
        <pc:spChg chg="mod ord">
          <ac:chgData name="José Antonio Ureta Santacreu" userId="e36999d1-2b92-424a-9e8c-5fde0c5fbdd2" providerId="ADAL" clId="{B441C459-42E0-4465-B296-199851FC6E31}" dt="2024-09-11T11:12:14.001" v="3782" actId="6264"/>
          <ac:spMkLst>
            <pc:docMk/>
            <pc:sldMk cId="3146359626" sldId="1083"/>
            <ac:spMk id="4" creationId="{5D56C2E3-A1C9-475E-9FB3-5617BD36BFEB}"/>
          </ac:spMkLst>
        </pc:spChg>
        <pc:spChg chg="mod ord">
          <ac:chgData name="José Antonio Ureta Santacreu" userId="e36999d1-2b92-424a-9e8c-5fde0c5fbdd2" providerId="ADAL" clId="{B441C459-42E0-4465-B296-199851FC6E31}" dt="2024-09-11T11:12:14.001" v="3782" actId="6264"/>
          <ac:spMkLst>
            <pc:docMk/>
            <pc:sldMk cId="3146359626" sldId="1083"/>
            <ac:spMk id="5" creationId="{D68A7C3E-6018-44DB-919E-EC8910DA7F2A}"/>
          </ac:spMkLst>
        </pc:spChg>
        <pc:spChg chg="mod ord">
          <ac:chgData name="José Antonio Ureta Santacreu" userId="e36999d1-2b92-424a-9e8c-5fde0c5fbdd2" providerId="ADAL" clId="{B441C459-42E0-4465-B296-199851FC6E31}" dt="2024-09-11T11:12:14.001" v="3782" actId="6264"/>
          <ac:spMkLst>
            <pc:docMk/>
            <pc:sldMk cId="3146359626" sldId="1083"/>
            <ac:spMk id="6" creationId="{D8036441-D3E4-46BA-8E39-2AD670F72861}"/>
          </ac:spMkLst>
        </pc:spChg>
        <pc:spChg chg="add del mod">
          <ac:chgData name="José Antonio Ureta Santacreu" userId="e36999d1-2b92-424a-9e8c-5fde0c5fbdd2" providerId="ADAL" clId="{B441C459-42E0-4465-B296-199851FC6E31}" dt="2024-09-11T11:12:14.001" v="3782" actId="6264"/>
          <ac:spMkLst>
            <pc:docMk/>
            <pc:sldMk cId="3146359626" sldId="1083"/>
            <ac:spMk id="7" creationId="{DE141777-555C-36A0-07EA-7284A67AB941}"/>
          </ac:spMkLst>
        </pc:spChg>
        <pc:spChg chg="add del mod">
          <ac:chgData name="José Antonio Ureta Santacreu" userId="e36999d1-2b92-424a-9e8c-5fde0c5fbdd2" providerId="ADAL" clId="{B441C459-42E0-4465-B296-199851FC6E31}" dt="2024-09-11T11:12:14.001" v="3782" actId="6264"/>
          <ac:spMkLst>
            <pc:docMk/>
            <pc:sldMk cId="3146359626" sldId="1083"/>
            <ac:spMk id="9" creationId="{17903C28-E067-78AC-1006-350BA6220CE7}"/>
          </ac:spMkLst>
        </pc:spChg>
        <pc:spChg chg="add del mod">
          <ac:chgData name="José Antonio Ureta Santacreu" userId="e36999d1-2b92-424a-9e8c-5fde0c5fbdd2" providerId="ADAL" clId="{B441C459-42E0-4465-B296-199851FC6E31}" dt="2024-09-11T11:12:14.001" v="3782" actId="6264"/>
          <ac:spMkLst>
            <pc:docMk/>
            <pc:sldMk cId="3146359626" sldId="1083"/>
            <ac:spMk id="10" creationId="{FCB6E66B-D700-5955-3A63-6135804D3034}"/>
          </ac:spMkLst>
        </pc:spChg>
        <pc:spChg chg="add del mod">
          <ac:chgData name="José Antonio Ureta Santacreu" userId="e36999d1-2b92-424a-9e8c-5fde0c5fbdd2" providerId="ADAL" clId="{B441C459-42E0-4465-B296-199851FC6E31}" dt="2024-09-11T11:12:14.001" v="3782" actId="6264"/>
          <ac:spMkLst>
            <pc:docMk/>
            <pc:sldMk cId="3146359626" sldId="1083"/>
            <ac:spMk id="11" creationId="{8FC14B83-AABD-6B1E-6E39-FE0D5EE10080}"/>
          </ac:spMkLst>
        </pc:spChg>
        <pc:spChg chg="add del mod">
          <ac:chgData name="José Antonio Ureta Santacreu" userId="e36999d1-2b92-424a-9e8c-5fde0c5fbdd2" providerId="ADAL" clId="{B441C459-42E0-4465-B296-199851FC6E31}" dt="2024-09-11T11:12:14.001" v="3782" actId="6264"/>
          <ac:spMkLst>
            <pc:docMk/>
            <pc:sldMk cId="3146359626" sldId="1083"/>
            <ac:spMk id="12" creationId="{81DD6060-779D-769B-F842-BE857D559E82}"/>
          </ac:spMkLst>
        </pc:spChg>
        <pc:spChg chg="add del mod">
          <ac:chgData name="José Antonio Ureta Santacreu" userId="e36999d1-2b92-424a-9e8c-5fde0c5fbdd2" providerId="ADAL" clId="{B441C459-42E0-4465-B296-199851FC6E31}" dt="2024-09-11T11:12:14.001" v="3782" actId="6264"/>
          <ac:spMkLst>
            <pc:docMk/>
            <pc:sldMk cId="3146359626" sldId="1083"/>
            <ac:spMk id="13" creationId="{A633CBC8-FFC3-9EB2-A0D0-E2AB2F6A3876}"/>
          </ac:spMkLst>
        </pc:spChg>
        <pc:spChg chg="mod ord">
          <ac:chgData name="José Antonio Ureta Santacreu" userId="e36999d1-2b92-424a-9e8c-5fde0c5fbdd2" providerId="ADAL" clId="{B441C459-42E0-4465-B296-199851FC6E31}" dt="2024-09-11T11:12:14.001" v="3782" actId="6264"/>
          <ac:spMkLst>
            <pc:docMk/>
            <pc:sldMk cId="3146359626" sldId="1083"/>
            <ac:spMk id="14" creationId="{FB9AA937-1246-45C4-9DE5-DEDA08A3D7C6}"/>
          </ac:spMkLst>
        </pc:spChg>
        <pc:picChg chg="mod ord">
          <ac:chgData name="José Antonio Ureta Santacreu" userId="e36999d1-2b92-424a-9e8c-5fde0c5fbdd2" providerId="ADAL" clId="{B441C459-42E0-4465-B296-199851FC6E31}" dt="2024-09-11T11:12:14.001" v="3782" actId="6264"/>
          <ac:picMkLst>
            <pc:docMk/>
            <pc:sldMk cId="3146359626" sldId="1083"/>
            <ac:picMk id="8" creationId="{6FEE1782-A049-495C-B8BA-2B6EE6FBDAF3}"/>
          </ac:picMkLst>
        </pc:picChg>
      </pc:sldChg>
      <pc:sldChg chg="addSp delSp modSp mod chgLayout">
        <pc:chgData name="José Antonio Ureta Santacreu" userId="e36999d1-2b92-424a-9e8c-5fde0c5fbdd2" providerId="ADAL" clId="{B441C459-42E0-4465-B296-199851FC6E31}" dt="2024-09-11T11:12:14.001" v="3782" actId="6264"/>
        <pc:sldMkLst>
          <pc:docMk/>
          <pc:sldMk cId="539108912" sldId="1086"/>
        </pc:sldMkLst>
        <pc:spChg chg="mod ord">
          <ac:chgData name="José Antonio Ureta Santacreu" userId="e36999d1-2b92-424a-9e8c-5fde0c5fbdd2" providerId="ADAL" clId="{B441C459-42E0-4465-B296-199851FC6E31}" dt="2024-09-11T11:12:14.001" v="3782" actId="6264"/>
          <ac:spMkLst>
            <pc:docMk/>
            <pc:sldMk cId="539108912" sldId="1086"/>
            <ac:spMk id="2" creationId="{4CEC6BEC-4BBB-4020-B43D-EE17206F1884}"/>
          </ac:spMkLst>
        </pc:spChg>
        <pc:spChg chg="mod ord">
          <ac:chgData name="José Antonio Ureta Santacreu" userId="e36999d1-2b92-424a-9e8c-5fde0c5fbdd2" providerId="ADAL" clId="{B441C459-42E0-4465-B296-199851FC6E31}" dt="2024-09-11T11:12:14.001" v="3782" actId="6264"/>
          <ac:spMkLst>
            <pc:docMk/>
            <pc:sldMk cId="539108912" sldId="1086"/>
            <ac:spMk id="3" creationId="{9397BAD9-0603-49D0-A83F-AD3680C68533}"/>
          </ac:spMkLst>
        </pc:spChg>
        <pc:spChg chg="mod ord">
          <ac:chgData name="José Antonio Ureta Santacreu" userId="e36999d1-2b92-424a-9e8c-5fde0c5fbdd2" providerId="ADAL" clId="{B441C459-42E0-4465-B296-199851FC6E31}" dt="2024-09-11T11:12:14.001" v="3782" actId="6264"/>
          <ac:spMkLst>
            <pc:docMk/>
            <pc:sldMk cId="539108912" sldId="1086"/>
            <ac:spMk id="4" creationId="{8BEDB5AF-E88B-4D02-8F5E-CB233994E321}"/>
          </ac:spMkLst>
        </pc:spChg>
        <pc:spChg chg="mod ord">
          <ac:chgData name="José Antonio Ureta Santacreu" userId="e36999d1-2b92-424a-9e8c-5fde0c5fbdd2" providerId="ADAL" clId="{B441C459-42E0-4465-B296-199851FC6E31}" dt="2024-09-11T11:12:14.001" v="3782" actId="6264"/>
          <ac:spMkLst>
            <pc:docMk/>
            <pc:sldMk cId="539108912" sldId="1086"/>
            <ac:spMk id="5" creationId="{CA8D2402-94A1-49E3-9921-C10456527035}"/>
          </ac:spMkLst>
        </pc:spChg>
        <pc:spChg chg="add del mod">
          <ac:chgData name="José Antonio Ureta Santacreu" userId="e36999d1-2b92-424a-9e8c-5fde0c5fbdd2" providerId="ADAL" clId="{B441C459-42E0-4465-B296-199851FC6E31}" dt="2024-09-11T11:12:14.001" v="3782" actId="6264"/>
          <ac:spMkLst>
            <pc:docMk/>
            <pc:sldMk cId="539108912" sldId="1086"/>
            <ac:spMk id="14" creationId="{8DC9F867-BFAF-EE60-B334-CBA609D1F32F}"/>
          </ac:spMkLst>
        </pc:spChg>
        <pc:spChg chg="add del mod">
          <ac:chgData name="José Antonio Ureta Santacreu" userId="e36999d1-2b92-424a-9e8c-5fde0c5fbdd2" providerId="ADAL" clId="{B441C459-42E0-4465-B296-199851FC6E31}" dt="2024-09-11T11:12:14.001" v="3782" actId="6264"/>
          <ac:spMkLst>
            <pc:docMk/>
            <pc:sldMk cId="539108912" sldId="1086"/>
            <ac:spMk id="15" creationId="{FBEDB0FE-BDC8-DE52-3623-18DB282A60BF}"/>
          </ac:spMkLst>
        </pc:spChg>
        <pc:spChg chg="add del mod">
          <ac:chgData name="José Antonio Ureta Santacreu" userId="e36999d1-2b92-424a-9e8c-5fde0c5fbdd2" providerId="ADAL" clId="{B441C459-42E0-4465-B296-199851FC6E31}" dt="2024-09-11T11:12:14.001" v="3782" actId="6264"/>
          <ac:spMkLst>
            <pc:docMk/>
            <pc:sldMk cId="539108912" sldId="1086"/>
            <ac:spMk id="16" creationId="{CA5AB977-1D6F-71EF-FFEB-8CBB62677B4D}"/>
          </ac:spMkLst>
        </pc:spChg>
        <pc:spChg chg="add del mod">
          <ac:chgData name="José Antonio Ureta Santacreu" userId="e36999d1-2b92-424a-9e8c-5fde0c5fbdd2" providerId="ADAL" clId="{B441C459-42E0-4465-B296-199851FC6E31}" dt="2024-09-11T11:12:14.001" v="3782" actId="6264"/>
          <ac:spMkLst>
            <pc:docMk/>
            <pc:sldMk cId="539108912" sldId="1086"/>
            <ac:spMk id="17" creationId="{C81EAAD3-4E8A-5A3B-31F7-875A0818956E}"/>
          </ac:spMkLst>
        </pc:spChg>
      </pc:sldChg>
      <pc:sldChg chg="addSp delSp modSp mod chgLayout">
        <pc:chgData name="José Antonio Ureta Santacreu" userId="e36999d1-2b92-424a-9e8c-5fde0c5fbdd2" providerId="ADAL" clId="{B441C459-42E0-4465-B296-199851FC6E31}" dt="2024-09-12T11:09:01.161" v="4361" actId="1035"/>
        <pc:sldMkLst>
          <pc:docMk/>
          <pc:sldMk cId="4178650897" sldId="1087"/>
        </pc:sldMkLst>
        <pc:spChg chg="mod ord">
          <ac:chgData name="José Antonio Ureta Santacreu" userId="e36999d1-2b92-424a-9e8c-5fde0c5fbdd2" providerId="ADAL" clId="{B441C459-42E0-4465-B296-199851FC6E31}" dt="2024-09-11T11:12:14.001" v="3782" actId="6264"/>
          <ac:spMkLst>
            <pc:docMk/>
            <pc:sldMk cId="4178650897" sldId="1087"/>
            <ac:spMk id="2" creationId="{5131DA66-FCCA-4EDE-AB81-EBB3ABFEC5F0}"/>
          </ac:spMkLst>
        </pc:spChg>
        <pc:spChg chg="mod ord">
          <ac:chgData name="José Antonio Ureta Santacreu" userId="e36999d1-2b92-424a-9e8c-5fde0c5fbdd2" providerId="ADAL" clId="{B441C459-42E0-4465-B296-199851FC6E31}" dt="2024-09-11T11:12:14.001" v="3782" actId="6264"/>
          <ac:spMkLst>
            <pc:docMk/>
            <pc:sldMk cId="4178650897" sldId="1087"/>
            <ac:spMk id="4" creationId="{3D461084-E8CC-453C-9ABE-BF6F3D7BE23C}"/>
          </ac:spMkLst>
        </pc:spChg>
        <pc:spChg chg="mod ord">
          <ac:chgData name="José Antonio Ureta Santacreu" userId="e36999d1-2b92-424a-9e8c-5fde0c5fbdd2" providerId="ADAL" clId="{B441C459-42E0-4465-B296-199851FC6E31}" dt="2024-09-11T11:12:14.001" v="3782" actId="6264"/>
          <ac:spMkLst>
            <pc:docMk/>
            <pc:sldMk cId="4178650897" sldId="1087"/>
            <ac:spMk id="5" creationId="{1FF8B5FD-DCCC-4C41-BB63-4B7928859832}"/>
          </ac:spMkLst>
        </pc:spChg>
        <pc:spChg chg="mod ord">
          <ac:chgData name="José Antonio Ureta Santacreu" userId="e36999d1-2b92-424a-9e8c-5fde0c5fbdd2" providerId="ADAL" clId="{B441C459-42E0-4465-B296-199851FC6E31}" dt="2024-09-11T11:12:14.001" v="3782" actId="6264"/>
          <ac:spMkLst>
            <pc:docMk/>
            <pc:sldMk cId="4178650897" sldId="1087"/>
            <ac:spMk id="6" creationId="{E7687920-C09A-4FE4-952E-1AAD69FAACCB}"/>
          </ac:spMkLst>
        </pc:spChg>
        <pc:spChg chg="mod">
          <ac:chgData name="José Antonio Ureta Santacreu" userId="e36999d1-2b92-424a-9e8c-5fde0c5fbdd2" providerId="ADAL" clId="{B441C459-42E0-4465-B296-199851FC6E31}" dt="2024-09-12T11:09:01.161" v="4361" actId="1035"/>
          <ac:spMkLst>
            <pc:docMk/>
            <pc:sldMk cId="4178650897" sldId="1087"/>
            <ac:spMk id="9" creationId="{778896DE-91D8-48F6-A14F-A67706288F05}"/>
          </ac:spMkLst>
        </pc:spChg>
        <pc:spChg chg="mod">
          <ac:chgData name="José Antonio Ureta Santacreu" userId="e36999d1-2b92-424a-9e8c-5fde0c5fbdd2" providerId="ADAL" clId="{B441C459-42E0-4465-B296-199851FC6E31}" dt="2024-09-12T11:09:01.161" v="4361" actId="1035"/>
          <ac:spMkLst>
            <pc:docMk/>
            <pc:sldMk cId="4178650897" sldId="1087"/>
            <ac:spMk id="15" creationId="{CF903381-D90F-4B28-A702-0B0B7EDAF60D}"/>
          </ac:spMkLst>
        </pc:spChg>
        <pc:spChg chg="add del mod">
          <ac:chgData name="José Antonio Ureta Santacreu" userId="e36999d1-2b92-424a-9e8c-5fde0c5fbdd2" providerId="ADAL" clId="{B441C459-42E0-4465-B296-199851FC6E31}" dt="2024-09-11T11:12:14.001" v="3782" actId="6264"/>
          <ac:spMkLst>
            <pc:docMk/>
            <pc:sldMk cId="4178650897" sldId="1087"/>
            <ac:spMk id="17" creationId="{09F570EE-2B16-90ED-16A1-A542A135BC62}"/>
          </ac:spMkLst>
        </pc:spChg>
        <pc:spChg chg="add del mod">
          <ac:chgData name="José Antonio Ureta Santacreu" userId="e36999d1-2b92-424a-9e8c-5fde0c5fbdd2" providerId="ADAL" clId="{B441C459-42E0-4465-B296-199851FC6E31}" dt="2024-09-11T11:12:14.001" v="3782" actId="6264"/>
          <ac:spMkLst>
            <pc:docMk/>
            <pc:sldMk cId="4178650897" sldId="1087"/>
            <ac:spMk id="18" creationId="{7CF9DEA2-054B-D089-65D9-381DAC614FE0}"/>
          </ac:spMkLst>
        </pc:spChg>
        <pc:spChg chg="add del mod">
          <ac:chgData name="José Antonio Ureta Santacreu" userId="e36999d1-2b92-424a-9e8c-5fde0c5fbdd2" providerId="ADAL" clId="{B441C459-42E0-4465-B296-199851FC6E31}" dt="2024-09-11T11:12:14.001" v="3782" actId="6264"/>
          <ac:spMkLst>
            <pc:docMk/>
            <pc:sldMk cId="4178650897" sldId="1087"/>
            <ac:spMk id="19" creationId="{993B4F45-6F22-D7AE-7C07-EAF77281D58D}"/>
          </ac:spMkLst>
        </pc:spChg>
        <pc:spChg chg="add del mod">
          <ac:chgData name="José Antonio Ureta Santacreu" userId="e36999d1-2b92-424a-9e8c-5fde0c5fbdd2" providerId="ADAL" clId="{B441C459-42E0-4465-B296-199851FC6E31}" dt="2024-09-11T11:12:14.001" v="3782" actId="6264"/>
          <ac:spMkLst>
            <pc:docMk/>
            <pc:sldMk cId="4178650897" sldId="1087"/>
            <ac:spMk id="20" creationId="{AF5AC10C-0B42-0CF5-4B60-D7E8AA43AA4D}"/>
          </ac:spMkLst>
        </pc:spChg>
        <pc:spChg chg="add del mod">
          <ac:chgData name="José Antonio Ureta Santacreu" userId="e36999d1-2b92-424a-9e8c-5fde0c5fbdd2" providerId="ADAL" clId="{B441C459-42E0-4465-B296-199851FC6E31}" dt="2024-09-11T11:12:14.001" v="3782" actId="6264"/>
          <ac:spMkLst>
            <pc:docMk/>
            <pc:sldMk cId="4178650897" sldId="1087"/>
            <ac:spMk id="21" creationId="{64C0872B-00A3-FDBD-D0CE-A420AFF918F0}"/>
          </ac:spMkLst>
        </pc:spChg>
        <pc:grpChg chg="mod">
          <ac:chgData name="José Antonio Ureta Santacreu" userId="e36999d1-2b92-424a-9e8c-5fde0c5fbdd2" providerId="ADAL" clId="{B441C459-42E0-4465-B296-199851FC6E31}" dt="2024-09-12T11:09:01.161" v="4361" actId="1035"/>
          <ac:grpSpMkLst>
            <pc:docMk/>
            <pc:sldMk cId="4178650897" sldId="1087"/>
            <ac:grpSpMk id="8" creationId="{C6B51753-FFF3-477E-B85D-441DCACBDDDC}"/>
          </ac:grpSpMkLst>
        </pc:grpChg>
        <pc:grpChg chg="mod">
          <ac:chgData name="José Antonio Ureta Santacreu" userId="e36999d1-2b92-424a-9e8c-5fde0c5fbdd2" providerId="ADAL" clId="{B441C459-42E0-4465-B296-199851FC6E31}" dt="2024-09-12T11:09:01.161" v="4361" actId="1035"/>
          <ac:grpSpMkLst>
            <pc:docMk/>
            <pc:sldMk cId="4178650897" sldId="1087"/>
            <ac:grpSpMk id="14" creationId="{719A5838-167B-4E08-8F1D-D6CF4892268D}"/>
          </ac:grpSpMkLst>
        </pc:grpChg>
        <pc:graphicFrameChg chg="mod ord">
          <ac:chgData name="José Antonio Ureta Santacreu" userId="e36999d1-2b92-424a-9e8c-5fde0c5fbdd2" providerId="ADAL" clId="{B441C459-42E0-4465-B296-199851FC6E31}" dt="2024-09-11T11:12:14.001" v="3782" actId="6264"/>
          <ac:graphicFrameMkLst>
            <pc:docMk/>
            <pc:sldMk cId="4178650897" sldId="1087"/>
            <ac:graphicFrameMk id="7" creationId="{285F203E-7CDB-4BC6-B4BC-B85AEA1DBC81}"/>
          </ac:graphicFrameMkLst>
        </pc:graphicFrameChg>
        <pc:picChg chg="mod">
          <ac:chgData name="José Antonio Ureta Santacreu" userId="e36999d1-2b92-424a-9e8c-5fde0c5fbdd2" providerId="ADAL" clId="{B441C459-42E0-4465-B296-199851FC6E31}" dt="2024-09-12T11:09:01.161" v="4361" actId="1035"/>
          <ac:picMkLst>
            <pc:docMk/>
            <pc:sldMk cId="4178650897" sldId="1087"/>
            <ac:picMk id="10" creationId="{6382F2B8-BDCD-43F1-83A8-B26740FD713C}"/>
          </ac:picMkLst>
        </pc:picChg>
        <pc:picChg chg="mod">
          <ac:chgData name="José Antonio Ureta Santacreu" userId="e36999d1-2b92-424a-9e8c-5fde0c5fbdd2" providerId="ADAL" clId="{B441C459-42E0-4465-B296-199851FC6E31}" dt="2024-09-12T11:09:01.161" v="4361" actId="1035"/>
          <ac:picMkLst>
            <pc:docMk/>
            <pc:sldMk cId="4178650897" sldId="1087"/>
            <ac:picMk id="16" creationId="{37966CB4-5241-45BA-A1FF-8F09AC2019F5}"/>
          </ac:picMkLst>
        </pc:picChg>
      </pc:sldChg>
      <pc:sldChg chg="addSp delSp modSp mod modShow chgLayout">
        <pc:chgData name="José Antonio Ureta Santacreu" userId="e36999d1-2b92-424a-9e8c-5fde0c5fbdd2" providerId="ADAL" clId="{B441C459-42E0-4465-B296-199851FC6E31}" dt="2024-09-11T11:12:14.001" v="3782" actId="6264"/>
        <pc:sldMkLst>
          <pc:docMk/>
          <pc:sldMk cId="1727637905" sldId="1092"/>
        </pc:sldMkLst>
        <pc:spChg chg="add del mod">
          <ac:chgData name="José Antonio Ureta Santacreu" userId="e36999d1-2b92-424a-9e8c-5fde0c5fbdd2" providerId="ADAL" clId="{B441C459-42E0-4465-B296-199851FC6E31}" dt="2024-09-11T11:12:14.001" v="3782" actId="6264"/>
          <ac:spMkLst>
            <pc:docMk/>
            <pc:sldMk cId="1727637905" sldId="1092"/>
            <ac:spMk id="2" creationId="{58EB39B5-71BE-4E29-4486-39DDAC8FBCFF}"/>
          </ac:spMkLst>
        </pc:spChg>
        <pc:spChg chg="mod ord">
          <ac:chgData name="José Antonio Ureta Santacreu" userId="e36999d1-2b92-424a-9e8c-5fde0c5fbdd2" providerId="ADAL" clId="{B441C459-42E0-4465-B296-199851FC6E31}" dt="2024-09-11T11:12:14.001" v="3782" actId="6264"/>
          <ac:spMkLst>
            <pc:docMk/>
            <pc:sldMk cId="1727637905" sldId="1092"/>
            <ac:spMk id="3" creationId="{6E478017-7D24-4C68-9952-A9AE93714743}"/>
          </ac:spMkLst>
        </pc:spChg>
        <pc:spChg chg="mod ord">
          <ac:chgData name="José Antonio Ureta Santacreu" userId="e36999d1-2b92-424a-9e8c-5fde0c5fbdd2" providerId="ADAL" clId="{B441C459-42E0-4465-B296-199851FC6E31}" dt="2024-09-11T11:12:14.001" v="3782" actId="6264"/>
          <ac:spMkLst>
            <pc:docMk/>
            <pc:sldMk cId="1727637905" sldId="1092"/>
            <ac:spMk id="4" creationId="{37F5D82D-3006-4FDB-A274-60CB76856CEE}"/>
          </ac:spMkLst>
        </pc:spChg>
        <pc:spChg chg="mod ord">
          <ac:chgData name="José Antonio Ureta Santacreu" userId="e36999d1-2b92-424a-9e8c-5fde0c5fbdd2" providerId="ADAL" clId="{B441C459-42E0-4465-B296-199851FC6E31}" dt="2024-09-11T11:12:14.001" v="3782" actId="6264"/>
          <ac:spMkLst>
            <pc:docMk/>
            <pc:sldMk cId="1727637905" sldId="1092"/>
            <ac:spMk id="5" creationId="{39177F0D-78EB-4295-B4A9-233F0F2BF7C6}"/>
          </ac:spMkLst>
        </pc:spChg>
        <pc:spChg chg="mod ord">
          <ac:chgData name="José Antonio Ureta Santacreu" userId="e36999d1-2b92-424a-9e8c-5fde0c5fbdd2" providerId="ADAL" clId="{B441C459-42E0-4465-B296-199851FC6E31}" dt="2024-09-11T11:12:14.001" v="3782" actId="6264"/>
          <ac:spMkLst>
            <pc:docMk/>
            <pc:sldMk cId="1727637905" sldId="1092"/>
            <ac:spMk id="6" creationId="{9753A64F-3FFB-4C82-BA4B-FAEEE494755C}"/>
          </ac:spMkLst>
        </pc:spChg>
        <pc:spChg chg="add del mod">
          <ac:chgData name="José Antonio Ureta Santacreu" userId="e36999d1-2b92-424a-9e8c-5fde0c5fbdd2" providerId="ADAL" clId="{B441C459-42E0-4465-B296-199851FC6E31}" dt="2024-09-11T11:12:14.001" v="3782" actId="6264"/>
          <ac:spMkLst>
            <pc:docMk/>
            <pc:sldMk cId="1727637905" sldId="1092"/>
            <ac:spMk id="7" creationId="{10C0B0D5-AD0A-8641-EB83-19D488FF2EFE}"/>
          </ac:spMkLst>
        </pc:spChg>
        <pc:spChg chg="add del mod">
          <ac:chgData name="José Antonio Ureta Santacreu" userId="e36999d1-2b92-424a-9e8c-5fde0c5fbdd2" providerId="ADAL" clId="{B441C459-42E0-4465-B296-199851FC6E31}" dt="2024-09-11T11:12:14.001" v="3782" actId="6264"/>
          <ac:spMkLst>
            <pc:docMk/>
            <pc:sldMk cId="1727637905" sldId="1092"/>
            <ac:spMk id="8" creationId="{E03AD564-66C2-2B77-2531-98D9803D3D2B}"/>
          </ac:spMkLst>
        </pc:spChg>
        <pc:spChg chg="add del mod">
          <ac:chgData name="José Antonio Ureta Santacreu" userId="e36999d1-2b92-424a-9e8c-5fde0c5fbdd2" providerId="ADAL" clId="{B441C459-42E0-4465-B296-199851FC6E31}" dt="2024-09-11T11:12:14.001" v="3782" actId="6264"/>
          <ac:spMkLst>
            <pc:docMk/>
            <pc:sldMk cId="1727637905" sldId="1092"/>
            <ac:spMk id="9" creationId="{FF3110CA-8A4E-8C32-77F1-2693732BAB31}"/>
          </ac:spMkLst>
        </pc:spChg>
      </pc:sldChg>
      <pc:sldChg chg="addSp delSp modSp mod chgLayout">
        <pc:chgData name="José Antonio Ureta Santacreu" userId="e36999d1-2b92-424a-9e8c-5fde0c5fbdd2" providerId="ADAL" clId="{B441C459-42E0-4465-B296-199851FC6E31}" dt="2024-09-12T15:43:24.767" v="5147"/>
        <pc:sldMkLst>
          <pc:docMk/>
          <pc:sldMk cId="3731521364" sldId="1100"/>
        </pc:sldMkLst>
        <pc:spChg chg="mod ord">
          <ac:chgData name="José Antonio Ureta Santacreu" userId="e36999d1-2b92-424a-9e8c-5fde0c5fbdd2" providerId="ADAL" clId="{B441C459-42E0-4465-B296-199851FC6E31}" dt="2024-09-12T15:43:24.767" v="5147"/>
          <ac:spMkLst>
            <pc:docMk/>
            <pc:sldMk cId="3731521364" sldId="1100"/>
            <ac:spMk id="2" creationId="{DF438FF1-D61F-48EB-AA81-A879D3D12FD6}"/>
          </ac:spMkLst>
        </pc:spChg>
        <pc:spChg chg="mod ord">
          <ac:chgData name="José Antonio Ureta Santacreu" userId="e36999d1-2b92-424a-9e8c-5fde0c5fbdd2" providerId="ADAL" clId="{B441C459-42E0-4465-B296-199851FC6E31}" dt="2024-09-11T11:12:14.001" v="3782" actId="6264"/>
          <ac:spMkLst>
            <pc:docMk/>
            <pc:sldMk cId="3731521364" sldId="1100"/>
            <ac:spMk id="3" creationId="{02DE1532-73F5-4405-8AA0-D10DEB9003C7}"/>
          </ac:spMkLst>
        </pc:spChg>
        <pc:spChg chg="mod ord">
          <ac:chgData name="José Antonio Ureta Santacreu" userId="e36999d1-2b92-424a-9e8c-5fde0c5fbdd2" providerId="ADAL" clId="{B441C459-42E0-4465-B296-199851FC6E31}" dt="2024-09-11T11:12:14.001" v="3782" actId="6264"/>
          <ac:spMkLst>
            <pc:docMk/>
            <pc:sldMk cId="3731521364" sldId="1100"/>
            <ac:spMk id="4" creationId="{C46BD4DE-740A-4F38-A44D-B94ABA23E209}"/>
          </ac:spMkLst>
        </pc:spChg>
        <pc:spChg chg="mod ord">
          <ac:chgData name="José Antonio Ureta Santacreu" userId="e36999d1-2b92-424a-9e8c-5fde0c5fbdd2" providerId="ADAL" clId="{B441C459-42E0-4465-B296-199851FC6E31}" dt="2024-09-11T11:12:14.001" v="3782" actId="6264"/>
          <ac:spMkLst>
            <pc:docMk/>
            <pc:sldMk cId="3731521364" sldId="1100"/>
            <ac:spMk id="5" creationId="{D9A49090-6967-4D73-9F5A-9B3D792983D7}"/>
          </ac:spMkLst>
        </pc:spChg>
        <pc:spChg chg="add del mod">
          <ac:chgData name="José Antonio Ureta Santacreu" userId="e36999d1-2b92-424a-9e8c-5fde0c5fbdd2" providerId="ADAL" clId="{B441C459-42E0-4465-B296-199851FC6E31}" dt="2024-09-11T11:12:14.001" v="3782" actId="6264"/>
          <ac:spMkLst>
            <pc:docMk/>
            <pc:sldMk cId="3731521364" sldId="1100"/>
            <ac:spMk id="7" creationId="{30A2A2BE-CA6B-516D-9128-E81FCC5BADAA}"/>
          </ac:spMkLst>
        </pc:spChg>
        <pc:spChg chg="add del mod">
          <ac:chgData name="José Antonio Ureta Santacreu" userId="e36999d1-2b92-424a-9e8c-5fde0c5fbdd2" providerId="ADAL" clId="{B441C459-42E0-4465-B296-199851FC6E31}" dt="2024-09-11T11:12:14.001" v="3782" actId="6264"/>
          <ac:spMkLst>
            <pc:docMk/>
            <pc:sldMk cId="3731521364" sldId="1100"/>
            <ac:spMk id="8" creationId="{2CD0A777-A025-E268-5720-E23D97A80D56}"/>
          </ac:spMkLst>
        </pc:spChg>
        <pc:spChg chg="add del mod">
          <ac:chgData name="José Antonio Ureta Santacreu" userId="e36999d1-2b92-424a-9e8c-5fde0c5fbdd2" providerId="ADAL" clId="{B441C459-42E0-4465-B296-199851FC6E31}" dt="2024-09-11T11:12:14.001" v="3782" actId="6264"/>
          <ac:spMkLst>
            <pc:docMk/>
            <pc:sldMk cId="3731521364" sldId="1100"/>
            <ac:spMk id="9" creationId="{9FEB5778-1F40-21F3-0247-3929C7501254}"/>
          </ac:spMkLst>
        </pc:spChg>
        <pc:spChg chg="add del mod">
          <ac:chgData name="José Antonio Ureta Santacreu" userId="e36999d1-2b92-424a-9e8c-5fde0c5fbdd2" providerId="ADAL" clId="{B441C459-42E0-4465-B296-199851FC6E31}" dt="2024-09-11T11:12:14.001" v="3782" actId="6264"/>
          <ac:spMkLst>
            <pc:docMk/>
            <pc:sldMk cId="3731521364" sldId="1100"/>
            <ac:spMk id="10" creationId="{D0935971-4CAB-748A-2C01-F107E4D912EC}"/>
          </ac:spMkLst>
        </pc:spChg>
      </pc:sldChg>
      <pc:sldChg chg="add">
        <pc:chgData name="José Antonio Ureta Santacreu" userId="e36999d1-2b92-424a-9e8c-5fde0c5fbdd2" providerId="ADAL" clId="{B441C459-42E0-4465-B296-199851FC6E31}" dt="2024-07-23T10:42:07.386" v="272"/>
        <pc:sldMkLst>
          <pc:docMk/>
          <pc:sldMk cId="325644288" sldId="1101"/>
        </pc:sldMkLst>
      </pc:sldChg>
      <pc:sldChg chg="del">
        <pc:chgData name="José Antonio Ureta Santacreu" userId="e36999d1-2b92-424a-9e8c-5fde0c5fbdd2" providerId="ADAL" clId="{B441C459-42E0-4465-B296-199851FC6E31}" dt="2024-07-23T10:41:54.955" v="271" actId="2696"/>
        <pc:sldMkLst>
          <pc:docMk/>
          <pc:sldMk cId="3450393869" sldId="1101"/>
        </pc:sldMkLst>
      </pc:sldChg>
      <pc:sldChg chg="addSp delSp modSp mod chgLayout">
        <pc:chgData name="José Antonio Ureta Santacreu" userId="e36999d1-2b92-424a-9e8c-5fde0c5fbdd2" providerId="ADAL" clId="{B441C459-42E0-4465-B296-199851FC6E31}" dt="2024-09-11T11:12:14.001" v="3782" actId="6264"/>
        <pc:sldMkLst>
          <pc:docMk/>
          <pc:sldMk cId="4022603001" sldId="1101"/>
        </pc:sldMkLst>
        <pc:spChg chg="mod ord">
          <ac:chgData name="José Antonio Ureta Santacreu" userId="e36999d1-2b92-424a-9e8c-5fde0c5fbdd2" providerId="ADAL" clId="{B441C459-42E0-4465-B296-199851FC6E31}" dt="2024-09-11T11:12:14.001" v="3782" actId="6264"/>
          <ac:spMkLst>
            <pc:docMk/>
            <pc:sldMk cId="4022603001" sldId="1101"/>
            <ac:spMk id="2" creationId="{25219C85-F5D7-4210-978F-8BE3EE44AD75}"/>
          </ac:spMkLst>
        </pc:spChg>
        <pc:spChg chg="mod ord">
          <ac:chgData name="José Antonio Ureta Santacreu" userId="e36999d1-2b92-424a-9e8c-5fde0c5fbdd2" providerId="ADAL" clId="{B441C459-42E0-4465-B296-199851FC6E31}" dt="2024-09-11T11:12:14.001" v="3782" actId="6264"/>
          <ac:spMkLst>
            <pc:docMk/>
            <pc:sldMk cId="4022603001" sldId="1101"/>
            <ac:spMk id="3" creationId="{A023C3D0-8418-43D2-ACCC-17BC1F301A1B}"/>
          </ac:spMkLst>
        </pc:spChg>
        <pc:spChg chg="mod ord">
          <ac:chgData name="José Antonio Ureta Santacreu" userId="e36999d1-2b92-424a-9e8c-5fde0c5fbdd2" providerId="ADAL" clId="{B441C459-42E0-4465-B296-199851FC6E31}" dt="2024-09-11T11:12:14.001" v="3782" actId="6264"/>
          <ac:spMkLst>
            <pc:docMk/>
            <pc:sldMk cId="4022603001" sldId="1101"/>
            <ac:spMk id="4" creationId="{EF19F366-07EF-4E13-9B82-4979CD1D058F}"/>
          </ac:spMkLst>
        </pc:spChg>
        <pc:spChg chg="mod ord">
          <ac:chgData name="José Antonio Ureta Santacreu" userId="e36999d1-2b92-424a-9e8c-5fde0c5fbdd2" providerId="ADAL" clId="{B441C459-42E0-4465-B296-199851FC6E31}" dt="2024-09-11T11:12:14.001" v="3782" actId="6264"/>
          <ac:spMkLst>
            <pc:docMk/>
            <pc:sldMk cId="4022603001" sldId="1101"/>
            <ac:spMk id="5" creationId="{328CDD3D-9666-4188-956E-E374E1AB292B}"/>
          </ac:spMkLst>
        </pc:spChg>
        <pc:spChg chg="add del mod">
          <ac:chgData name="José Antonio Ureta Santacreu" userId="e36999d1-2b92-424a-9e8c-5fde0c5fbdd2" providerId="ADAL" clId="{B441C459-42E0-4465-B296-199851FC6E31}" dt="2024-09-11T11:12:14.001" v="3782" actId="6264"/>
          <ac:spMkLst>
            <pc:docMk/>
            <pc:sldMk cId="4022603001" sldId="1101"/>
            <ac:spMk id="7" creationId="{D73F1619-57D9-0D63-3AFB-1EE3FA67EEBF}"/>
          </ac:spMkLst>
        </pc:spChg>
        <pc:spChg chg="add del mod">
          <ac:chgData name="José Antonio Ureta Santacreu" userId="e36999d1-2b92-424a-9e8c-5fde0c5fbdd2" providerId="ADAL" clId="{B441C459-42E0-4465-B296-199851FC6E31}" dt="2024-09-11T11:12:14.001" v="3782" actId="6264"/>
          <ac:spMkLst>
            <pc:docMk/>
            <pc:sldMk cId="4022603001" sldId="1101"/>
            <ac:spMk id="10" creationId="{EB794D13-A8DA-5124-DF2C-344BAD170A24}"/>
          </ac:spMkLst>
        </pc:spChg>
        <pc:spChg chg="add del mod">
          <ac:chgData name="José Antonio Ureta Santacreu" userId="e36999d1-2b92-424a-9e8c-5fde0c5fbdd2" providerId="ADAL" clId="{B441C459-42E0-4465-B296-199851FC6E31}" dt="2024-09-11T11:12:14.001" v="3782" actId="6264"/>
          <ac:spMkLst>
            <pc:docMk/>
            <pc:sldMk cId="4022603001" sldId="1101"/>
            <ac:spMk id="11" creationId="{7739321F-B8D7-7320-4F3F-7480A43B6EC2}"/>
          </ac:spMkLst>
        </pc:spChg>
        <pc:spChg chg="add del mod">
          <ac:chgData name="José Antonio Ureta Santacreu" userId="e36999d1-2b92-424a-9e8c-5fde0c5fbdd2" providerId="ADAL" clId="{B441C459-42E0-4465-B296-199851FC6E31}" dt="2024-09-11T11:12:14.001" v="3782" actId="6264"/>
          <ac:spMkLst>
            <pc:docMk/>
            <pc:sldMk cId="4022603001" sldId="1101"/>
            <ac:spMk id="12" creationId="{2BC9946C-2387-DE3E-2CBA-429759785280}"/>
          </ac:spMkLst>
        </pc:spChg>
      </pc:sldChg>
      <pc:sldChg chg="addSp delSp modSp mod modClrScheme chgLayout">
        <pc:chgData name="José Antonio Ureta Santacreu" userId="e36999d1-2b92-424a-9e8c-5fde0c5fbdd2" providerId="ADAL" clId="{B441C459-42E0-4465-B296-199851FC6E31}" dt="2024-09-11T11:12:14.001" v="3782" actId="6264"/>
        <pc:sldMkLst>
          <pc:docMk/>
          <pc:sldMk cId="2622088938" sldId="1104"/>
        </pc:sldMkLst>
        <pc:spChg chg="mod ord">
          <ac:chgData name="José Antonio Ureta Santacreu" userId="e36999d1-2b92-424a-9e8c-5fde0c5fbdd2" providerId="ADAL" clId="{B441C459-42E0-4465-B296-199851FC6E31}" dt="2024-09-11T11:12:14.001" v="3782" actId="6264"/>
          <ac:spMkLst>
            <pc:docMk/>
            <pc:sldMk cId="2622088938" sldId="1104"/>
            <ac:spMk id="2" creationId="{FBE9D430-DCDD-417D-9004-3D817185DDC4}"/>
          </ac:spMkLst>
        </pc:spChg>
        <pc:spChg chg="mod ord">
          <ac:chgData name="José Antonio Ureta Santacreu" userId="e36999d1-2b92-424a-9e8c-5fde0c5fbdd2" providerId="ADAL" clId="{B441C459-42E0-4465-B296-199851FC6E31}" dt="2024-09-11T11:12:14.001" v="3782" actId="6264"/>
          <ac:spMkLst>
            <pc:docMk/>
            <pc:sldMk cId="2622088938" sldId="1104"/>
            <ac:spMk id="3" creationId="{8644C537-15DF-4732-BEB5-0C9AB91EBE20}"/>
          </ac:spMkLst>
        </pc:spChg>
        <pc:spChg chg="mod ord">
          <ac:chgData name="José Antonio Ureta Santacreu" userId="e36999d1-2b92-424a-9e8c-5fde0c5fbdd2" providerId="ADAL" clId="{B441C459-42E0-4465-B296-199851FC6E31}" dt="2024-09-11T11:12:14.001" v="3782" actId="6264"/>
          <ac:spMkLst>
            <pc:docMk/>
            <pc:sldMk cId="2622088938" sldId="1104"/>
            <ac:spMk id="4" creationId="{80BD643E-32D2-40EA-AE79-8FB620324E33}"/>
          </ac:spMkLst>
        </pc:spChg>
        <pc:spChg chg="mod ord">
          <ac:chgData name="José Antonio Ureta Santacreu" userId="e36999d1-2b92-424a-9e8c-5fde0c5fbdd2" providerId="ADAL" clId="{B441C459-42E0-4465-B296-199851FC6E31}" dt="2024-09-11T11:12:14.001" v="3782" actId="6264"/>
          <ac:spMkLst>
            <pc:docMk/>
            <pc:sldMk cId="2622088938" sldId="1104"/>
            <ac:spMk id="5" creationId="{7D80090C-BA69-4300-A588-98B8FCBC41E2}"/>
          </ac:spMkLst>
        </pc:spChg>
        <pc:spChg chg="add del mod">
          <ac:chgData name="José Antonio Ureta Santacreu" userId="e36999d1-2b92-424a-9e8c-5fde0c5fbdd2" providerId="ADAL" clId="{B441C459-42E0-4465-B296-199851FC6E31}" dt="2024-09-11T11:12:14.001" v="3782" actId="6264"/>
          <ac:spMkLst>
            <pc:docMk/>
            <pc:sldMk cId="2622088938" sldId="1104"/>
            <ac:spMk id="6" creationId="{195A8739-02E6-1432-4013-5DBB59C9F069}"/>
          </ac:spMkLst>
        </pc:spChg>
        <pc:spChg chg="add del mod ord">
          <ac:chgData name="José Antonio Ureta Santacreu" userId="e36999d1-2b92-424a-9e8c-5fde0c5fbdd2" providerId="ADAL" clId="{B441C459-42E0-4465-B296-199851FC6E31}" dt="2024-07-31T10:39:08.620" v="886"/>
          <ac:spMkLst>
            <pc:docMk/>
            <pc:sldMk cId="2622088938" sldId="1104"/>
            <ac:spMk id="6" creationId="{BC09059B-9936-311B-F877-B66F6B69727B}"/>
          </ac:spMkLst>
        </pc:spChg>
        <pc:spChg chg="add del mod">
          <ac:chgData name="José Antonio Ureta Santacreu" userId="e36999d1-2b92-424a-9e8c-5fde0c5fbdd2" providerId="ADAL" clId="{B441C459-42E0-4465-B296-199851FC6E31}" dt="2024-09-11T11:12:14.001" v="3782" actId="6264"/>
          <ac:spMkLst>
            <pc:docMk/>
            <pc:sldMk cId="2622088938" sldId="1104"/>
            <ac:spMk id="7" creationId="{8D58FF3E-1315-FA20-43BB-F0A62FEA5EC6}"/>
          </ac:spMkLst>
        </pc:spChg>
        <pc:spChg chg="add del mod">
          <ac:chgData name="José Antonio Ureta Santacreu" userId="e36999d1-2b92-424a-9e8c-5fde0c5fbdd2" providerId="ADAL" clId="{B441C459-42E0-4465-B296-199851FC6E31}" dt="2024-09-11T11:12:14.001" v="3782" actId="6264"/>
          <ac:spMkLst>
            <pc:docMk/>
            <pc:sldMk cId="2622088938" sldId="1104"/>
            <ac:spMk id="8" creationId="{97318A2C-354A-A842-7DB3-BBCF4D272444}"/>
          </ac:spMkLst>
        </pc:spChg>
        <pc:spChg chg="add del mod">
          <ac:chgData name="José Antonio Ureta Santacreu" userId="e36999d1-2b92-424a-9e8c-5fde0c5fbdd2" providerId="ADAL" clId="{B441C459-42E0-4465-B296-199851FC6E31}" dt="2024-09-11T11:12:14.001" v="3782" actId="6264"/>
          <ac:spMkLst>
            <pc:docMk/>
            <pc:sldMk cId="2622088938" sldId="1104"/>
            <ac:spMk id="9" creationId="{D85053D8-4A6D-20BD-5CD4-1DB92DF7EB88}"/>
          </ac:spMkLst>
        </pc:spChg>
        <pc:spChg chg="add del mod">
          <ac:chgData name="José Antonio Ureta Santacreu" userId="e36999d1-2b92-424a-9e8c-5fde0c5fbdd2" providerId="ADAL" clId="{B441C459-42E0-4465-B296-199851FC6E31}" dt="2024-09-11T11:12:14.001" v="3782" actId="6264"/>
          <ac:spMkLst>
            <pc:docMk/>
            <pc:sldMk cId="2622088938" sldId="1104"/>
            <ac:spMk id="10" creationId="{DE2266BA-550D-B695-4BFB-ECB4D68DEB16}"/>
          </ac:spMkLst>
        </pc:spChg>
        <pc:picChg chg="add mod ord">
          <ac:chgData name="José Antonio Ureta Santacreu" userId="e36999d1-2b92-424a-9e8c-5fde0c5fbdd2" providerId="ADAL" clId="{B441C459-42E0-4465-B296-199851FC6E31}" dt="2024-09-11T11:12:14.001" v="3782" actId="6264"/>
          <ac:picMkLst>
            <pc:docMk/>
            <pc:sldMk cId="2622088938" sldId="1104"/>
            <ac:picMk id="2050" creationId="{0F64B6A8-EC69-28F5-55C2-6E8A5388940E}"/>
          </ac:picMkLst>
        </pc:picChg>
      </pc:sldChg>
      <pc:sldChg chg="addSp delSp modSp mod chgLayout">
        <pc:chgData name="José Antonio Ureta Santacreu" userId="e36999d1-2b92-424a-9e8c-5fde0c5fbdd2" providerId="ADAL" clId="{B441C459-42E0-4465-B296-199851FC6E31}" dt="2024-09-11T11:12:14.001" v="3782" actId="6264"/>
        <pc:sldMkLst>
          <pc:docMk/>
          <pc:sldMk cId="392383596" sldId="1105"/>
        </pc:sldMkLst>
        <pc:spChg chg="mod ord">
          <ac:chgData name="José Antonio Ureta Santacreu" userId="e36999d1-2b92-424a-9e8c-5fde0c5fbdd2" providerId="ADAL" clId="{B441C459-42E0-4465-B296-199851FC6E31}" dt="2024-09-11T11:12:14.001" v="3782" actId="6264"/>
          <ac:spMkLst>
            <pc:docMk/>
            <pc:sldMk cId="392383596" sldId="1105"/>
            <ac:spMk id="2" creationId="{54F95B47-1B48-4005-A9B3-586D5D3EA8ED}"/>
          </ac:spMkLst>
        </pc:spChg>
        <pc:spChg chg="mod ord">
          <ac:chgData name="José Antonio Ureta Santacreu" userId="e36999d1-2b92-424a-9e8c-5fde0c5fbdd2" providerId="ADAL" clId="{B441C459-42E0-4465-B296-199851FC6E31}" dt="2024-09-11T11:12:14.001" v="3782" actId="6264"/>
          <ac:spMkLst>
            <pc:docMk/>
            <pc:sldMk cId="392383596" sldId="1105"/>
            <ac:spMk id="3" creationId="{639EE4C0-6A70-402A-8A1C-D12437FB1FCE}"/>
          </ac:spMkLst>
        </pc:spChg>
        <pc:spChg chg="mod ord">
          <ac:chgData name="José Antonio Ureta Santacreu" userId="e36999d1-2b92-424a-9e8c-5fde0c5fbdd2" providerId="ADAL" clId="{B441C459-42E0-4465-B296-199851FC6E31}" dt="2024-09-11T11:12:14.001" v="3782" actId="6264"/>
          <ac:spMkLst>
            <pc:docMk/>
            <pc:sldMk cId="392383596" sldId="1105"/>
            <ac:spMk id="4" creationId="{C29C553E-E44E-4B31-85CB-D297AAE0A3C8}"/>
          </ac:spMkLst>
        </pc:spChg>
        <pc:spChg chg="mod ord">
          <ac:chgData name="José Antonio Ureta Santacreu" userId="e36999d1-2b92-424a-9e8c-5fde0c5fbdd2" providerId="ADAL" clId="{B441C459-42E0-4465-B296-199851FC6E31}" dt="2024-09-11T11:12:14.001" v="3782" actId="6264"/>
          <ac:spMkLst>
            <pc:docMk/>
            <pc:sldMk cId="392383596" sldId="1105"/>
            <ac:spMk id="5" creationId="{DC2936C6-8196-4891-A070-C8FEEC72DC30}"/>
          </ac:spMkLst>
        </pc:spChg>
        <pc:spChg chg="add del mod">
          <ac:chgData name="José Antonio Ureta Santacreu" userId="e36999d1-2b92-424a-9e8c-5fde0c5fbdd2" providerId="ADAL" clId="{B441C459-42E0-4465-B296-199851FC6E31}" dt="2024-09-11T11:12:14.001" v="3782" actId="6264"/>
          <ac:spMkLst>
            <pc:docMk/>
            <pc:sldMk cId="392383596" sldId="1105"/>
            <ac:spMk id="7" creationId="{A0F9D7AB-2D7B-4E8C-0738-685C46791146}"/>
          </ac:spMkLst>
        </pc:spChg>
        <pc:spChg chg="add del mod">
          <ac:chgData name="José Antonio Ureta Santacreu" userId="e36999d1-2b92-424a-9e8c-5fde0c5fbdd2" providerId="ADAL" clId="{B441C459-42E0-4465-B296-199851FC6E31}" dt="2024-09-11T11:12:14.001" v="3782" actId="6264"/>
          <ac:spMkLst>
            <pc:docMk/>
            <pc:sldMk cId="392383596" sldId="1105"/>
            <ac:spMk id="8" creationId="{60979294-C10B-400B-429B-7220C9D02823}"/>
          </ac:spMkLst>
        </pc:spChg>
        <pc:spChg chg="add del mod">
          <ac:chgData name="José Antonio Ureta Santacreu" userId="e36999d1-2b92-424a-9e8c-5fde0c5fbdd2" providerId="ADAL" clId="{B441C459-42E0-4465-B296-199851FC6E31}" dt="2024-09-11T11:12:14.001" v="3782" actId="6264"/>
          <ac:spMkLst>
            <pc:docMk/>
            <pc:sldMk cId="392383596" sldId="1105"/>
            <ac:spMk id="9" creationId="{144CEE97-16AD-68E5-6818-818C0A9BABA4}"/>
          </ac:spMkLst>
        </pc:spChg>
        <pc:spChg chg="add del mod">
          <ac:chgData name="José Antonio Ureta Santacreu" userId="e36999d1-2b92-424a-9e8c-5fde0c5fbdd2" providerId="ADAL" clId="{B441C459-42E0-4465-B296-199851FC6E31}" dt="2024-09-11T11:12:14.001" v="3782" actId="6264"/>
          <ac:spMkLst>
            <pc:docMk/>
            <pc:sldMk cId="392383596" sldId="1105"/>
            <ac:spMk id="10" creationId="{0BAADF7D-7D61-823E-229D-018479E538B0}"/>
          </ac:spMkLst>
        </pc:spChg>
      </pc:sldChg>
      <pc:sldChg chg="addSp delSp modSp mod chgLayout modNotesTx">
        <pc:chgData name="José Antonio Ureta Santacreu" userId="e36999d1-2b92-424a-9e8c-5fde0c5fbdd2" providerId="ADAL" clId="{B441C459-42E0-4465-B296-199851FC6E31}" dt="2024-09-12T15:43:07.064" v="5146" actId="6549"/>
        <pc:sldMkLst>
          <pc:docMk/>
          <pc:sldMk cId="673770301" sldId="1107"/>
        </pc:sldMkLst>
        <pc:spChg chg="mod ord">
          <ac:chgData name="José Antonio Ureta Santacreu" userId="e36999d1-2b92-424a-9e8c-5fde0c5fbdd2" providerId="ADAL" clId="{B441C459-42E0-4465-B296-199851FC6E31}" dt="2024-09-11T11:12:14.001" v="3782" actId="6264"/>
          <ac:spMkLst>
            <pc:docMk/>
            <pc:sldMk cId="673770301" sldId="1107"/>
            <ac:spMk id="2" creationId="{66ABA298-1947-1E3E-4928-6EC4953EC6F8}"/>
          </ac:spMkLst>
        </pc:spChg>
        <pc:spChg chg="mod ord">
          <ac:chgData name="José Antonio Ureta Santacreu" userId="e36999d1-2b92-424a-9e8c-5fde0c5fbdd2" providerId="ADAL" clId="{B441C459-42E0-4465-B296-199851FC6E31}" dt="2024-09-11T11:12:14.001" v="3782" actId="6264"/>
          <ac:spMkLst>
            <pc:docMk/>
            <pc:sldMk cId="673770301" sldId="1107"/>
            <ac:spMk id="3" creationId="{2C4B5288-ABFF-3287-7796-40DD24697FA3}"/>
          </ac:spMkLst>
        </pc:spChg>
        <pc:spChg chg="mod ord">
          <ac:chgData name="José Antonio Ureta Santacreu" userId="e36999d1-2b92-424a-9e8c-5fde0c5fbdd2" providerId="ADAL" clId="{B441C459-42E0-4465-B296-199851FC6E31}" dt="2024-09-11T11:12:14.001" v="3782" actId="6264"/>
          <ac:spMkLst>
            <pc:docMk/>
            <pc:sldMk cId="673770301" sldId="1107"/>
            <ac:spMk id="4" creationId="{A22C39B1-3CB6-842D-A9A2-12A0FFE9037E}"/>
          </ac:spMkLst>
        </pc:spChg>
        <pc:spChg chg="mod ord">
          <ac:chgData name="José Antonio Ureta Santacreu" userId="e36999d1-2b92-424a-9e8c-5fde0c5fbdd2" providerId="ADAL" clId="{B441C459-42E0-4465-B296-199851FC6E31}" dt="2024-09-11T11:12:14.001" v="3782" actId="6264"/>
          <ac:spMkLst>
            <pc:docMk/>
            <pc:sldMk cId="673770301" sldId="1107"/>
            <ac:spMk id="5" creationId="{ECEF470C-2F61-2CA2-A7D4-3AE1CBAC87DC}"/>
          </ac:spMkLst>
        </pc:spChg>
        <pc:spChg chg="add del mod">
          <ac:chgData name="José Antonio Ureta Santacreu" userId="e36999d1-2b92-424a-9e8c-5fde0c5fbdd2" providerId="ADAL" clId="{B441C459-42E0-4465-B296-199851FC6E31}" dt="2024-09-11T11:12:14.001" v="3782" actId="6264"/>
          <ac:spMkLst>
            <pc:docMk/>
            <pc:sldMk cId="673770301" sldId="1107"/>
            <ac:spMk id="6" creationId="{E0847E77-200C-34BE-B590-27EBDA9DC6E4}"/>
          </ac:spMkLst>
        </pc:spChg>
        <pc:spChg chg="add del mod">
          <ac:chgData name="José Antonio Ureta Santacreu" userId="e36999d1-2b92-424a-9e8c-5fde0c5fbdd2" providerId="ADAL" clId="{B441C459-42E0-4465-B296-199851FC6E31}" dt="2024-09-11T11:12:14.001" v="3782" actId="6264"/>
          <ac:spMkLst>
            <pc:docMk/>
            <pc:sldMk cId="673770301" sldId="1107"/>
            <ac:spMk id="7" creationId="{B892B63B-70A2-F370-CB71-C325F480431B}"/>
          </ac:spMkLst>
        </pc:spChg>
        <pc:spChg chg="add del mod">
          <ac:chgData name="José Antonio Ureta Santacreu" userId="e36999d1-2b92-424a-9e8c-5fde0c5fbdd2" providerId="ADAL" clId="{B441C459-42E0-4465-B296-199851FC6E31}" dt="2024-09-11T11:12:14.001" v="3782" actId="6264"/>
          <ac:spMkLst>
            <pc:docMk/>
            <pc:sldMk cId="673770301" sldId="1107"/>
            <ac:spMk id="8" creationId="{07A00318-CEB5-3AFA-FCE4-766472CB1EE4}"/>
          </ac:spMkLst>
        </pc:spChg>
        <pc:spChg chg="add del mod">
          <ac:chgData name="José Antonio Ureta Santacreu" userId="e36999d1-2b92-424a-9e8c-5fde0c5fbdd2" providerId="ADAL" clId="{B441C459-42E0-4465-B296-199851FC6E31}" dt="2024-09-11T11:12:14.001" v="3782" actId="6264"/>
          <ac:spMkLst>
            <pc:docMk/>
            <pc:sldMk cId="673770301" sldId="1107"/>
            <ac:spMk id="9" creationId="{18A69B34-72DE-3FE3-7FB8-835F52149EAA}"/>
          </ac:spMkLst>
        </pc:spChg>
      </pc:sldChg>
      <pc:sldChg chg="addSp delSp modSp mod chgLayout">
        <pc:chgData name="José Antonio Ureta Santacreu" userId="e36999d1-2b92-424a-9e8c-5fde0c5fbdd2" providerId="ADAL" clId="{B441C459-42E0-4465-B296-199851FC6E31}" dt="2024-09-12T10:33:27.051" v="3785" actId="1076"/>
        <pc:sldMkLst>
          <pc:docMk/>
          <pc:sldMk cId="3702160311" sldId="1111"/>
        </pc:sldMkLst>
        <pc:spChg chg="mod ord">
          <ac:chgData name="José Antonio Ureta Santacreu" userId="e36999d1-2b92-424a-9e8c-5fde0c5fbdd2" providerId="ADAL" clId="{B441C459-42E0-4465-B296-199851FC6E31}" dt="2024-09-12T10:33:27.051" v="3785" actId="1076"/>
          <ac:spMkLst>
            <pc:docMk/>
            <pc:sldMk cId="3702160311" sldId="1111"/>
            <ac:spMk id="2" creationId="{C5EAE1DF-AFDB-FF53-63FB-C3E56B3E4CC3}"/>
          </ac:spMkLst>
        </pc:spChg>
        <pc:spChg chg="mod ord">
          <ac:chgData name="José Antonio Ureta Santacreu" userId="e36999d1-2b92-424a-9e8c-5fde0c5fbdd2" providerId="ADAL" clId="{B441C459-42E0-4465-B296-199851FC6E31}" dt="2024-09-11T11:12:14.001" v="3782" actId="6264"/>
          <ac:spMkLst>
            <pc:docMk/>
            <pc:sldMk cId="3702160311" sldId="1111"/>
            <ac:spMk id="3" creationId="{EDCF44C9-7D6D-E7BA-3637-E816C19FFA97}"/>
          </ac:spMkLst>
        </pc:spChg>
        <pc:spChg chg="mod ord">
          <ac:chgData name="José Antonio Ureta Santacreu" userId="e36999d1-2b92-424a-9e8c-5fde0c5fbdd2" providerId="ADAL" clId="{B441C459-42E0-4465-B296-199851FC6E31}" dt="2024-09-11T11:12:14.001" v="3782" actId="6264"/>
          <ac:spMkLst>
            <pc:docMk/>
            <pc:sldMk cId="3702160311" sldId="1111"/>
            <ac:spMk id="4" creationId="{A3F9443F-1E23-0D71-4CB5-7BD562875D5C}"/>
          </ac:spMkLst>
        </pc:spChg>
        <pc:spChg chg="mod ord">
          <ac:chgData name="José Antonio Ureta Santacreu" userId="e36999d1-2b92-424a-9e8c-5fde0c5fbdd2" providerId="ADAL" clId="{B441C459-42E0-4465-B296-199851FC6E31}" dt="2024-09-11T11:12:14.001" v="3782" actId="6264"/>
          <ac:spMkLst>
            <pc:docMk/>
            <pc:sldMk cId="3702160311" sldId="1111"/>
            <ac:spMk id="5" creationId="{96501DF1-9D9E-30D9-94CF-F7F9D3E4388F}"/>
          </ac:spMkLst>
        </pc:spChg>
        <pc:spChg chg="add del mod">
          <ac:chgData name="José Antonio Ureta Santacreu" userId="e36999d1-2b92-424a-9e8c-5fde0c5fbdd2" providerId="ADAL" clId="{B441C459-42E0-4465-B296-199851FC6E31}" dt="2024-09-11T11:12:14.001" v="3782" actId="6264"/>
          <ac:spMkLst>
            <pc:docMk/>
            <pc:sldMk cId="3702160311" sldId="1111"/>
            <ac:spMk id="6" creationId="{70BB4923-B158-3B5D-D54C-570B99E8FAE3}"/>
          </ac:spMkLst>
        </pc:spChg>
        <pc:spChg chg="add del mod">
          <ac:chgData name="José Antonio Ureta Santacreu" userId="e36999d1-2b92-424a-9e8c-5fde0c5fbdd2" providerId="ADAL" clId="{B441C459-42E0-4465-B296-199851FC6E31}" dt="2024-09-11T11:12:14.001" v="3782" actId="6264"/>
          <ac:spMkLst>
            <pc:docMk/>
            <pc:sldMk cId="3702160311" sldId="1111"/>
            <ac:spMk id="8" creationId="{66D36D30-97D2-3241-7DCD-6C116B167247}"/>
          </ac:spMkLst>
        </pc:spChg>
        <pc:spChg chg="add del mod">
          <ac:chgData name="José Antonio Ureta Santacreu" userId="e36999d1-2b92-424a-9e8c-5fde0c5fbdd2" providerId="ADAL" clId="{B441C459-42E0-4465-B296-199851FC6E31}" dt="2024-09-11T11:12:14.001" v="3782" actId="6264"/>
          <ac:spMkLst>
            <pc:docMk/>
            <pc:sldMk cId="3702160311" sldId="1111"/>
            <ac:spMk id="9" creationId="{F1A4FFF1-8AD3-5EA8-E80A-14A27F092F64}"/>
          </ac:spMkLst>
        </pc:spChg>
        <pc:spChg chg="add del mod">
          <ac:chgData name="José Antonio Ureta Santacreu" userId="e36999d1-2b92-424a-9e8c-5fde0c5fbdd2" providerId="ADAL" clId="{B441C459-42E0-4465-B296-199851FC6E31}" dt="2024-09-11T11:12:14.001" v="3782" actId="6264"/>
          <ac:spMkLst>
            <pc:docMk/>
            <pc:sldMk cId="3702160311" sldId="1111"/>
            <ac:spMk id="10" creationId="{DA95ABD9-65F2-F81C-2B05-F37753595673}"/>
          </ac:spMkLst>
        </pc:spChg>
      </pc:sldChg>
      <pc:sldChg chg="addSp delSp modSp mod chgLayout">
        <pc:chgData name="José Antonio Ureta Santacreu" userId="e36999d1-2b92-424a-9e8c-5fde0c5fbdd2" providerId="ADAL" clId="{B441C459-42E0-4465-B296-199851FC6E31}" dt="2024-09-12T10:33:41.239" v="3806" actId="1036"/>
        <pc:sldMkLst>
          <pc:docMk/>
          <pc:sldMk cId="2511687810" sldId="1112"/>
        </pc:sldMkLst>
        <pc:spChg chg="mod ord">
          <ac:chgData name="José Antonio Ureta Santacreu" userId="e36999d1-2b92-424a-9e8c-5fde0c5fbdd2" providerId="ADAL" clId="{B441C459-42E0-4465-B296-199851FC6E31}" dt="2024-09-12T10:33:41.239" v="3806" actId="1036"/>
          <ac:spMkLst>
            <pc:docMk/>
            <pc:sldMk cId="2511687810" sldId="1112"/>
            <ac:spMk id="2" creationId="{8CA974BE-BEAE-3E38-FF6E-C9D59D1EBBAB}"/>
          </ac:spMkLst>
        </pc:spChg>
        <pc:spChg chg="mod ord">
          <ac:chgData name="José Antonio Ureta Santacreu" userId="e36999d1-2b92-424a-9e8c-5fde0c5fbdd2" providerId="ADAL" clId="{B441C459-42E0-4465-B296-199851FC6E31}" dt="2024-09-11T11:12:14.001" v="3782" actId="6264"/>
          <ac:spMkLst>
            <pc:docMk/>
            <pc:sldMk cId="2511687810" sldId="1112"/>
            <ac:spMk id="3" creationId="{50F06BF3-B60F-0C4C-B56D-A307BF11F7AE}"/>
          </ac:spMkLst>
        </pc:spChg>
        <pc:spChg chg="mod ord">
          <ac:chgData name="José Antonio Ureta Santacreu" userId="e36999d1-2b92-424a-9e8c-5fde0c5fbdd2" providerId="ADAL" clId="{B441C459-42E0-4465-B296-199851FC6E31}" dt="2024-09-11T11:12:14.001" v="3782" actId="6264"/>
          <ac:spMkLst>
            <pc:docMk/>
            <pc:sldMk cId="2511687810" sldId="1112"/>
            <ac:spMk id="4" creationId="{D0695F20-F5F1-C920-BC6A-4D220C6ED222}"/>
          </ac:spMkLst>
        </pc:spChg>
        <pc:spChg chg="mod ord">
          <ac:chgData name="José Antonio Ureta Santacreu" userId="e36999d1-2b92-424a-9e8c-5fde0c5fbdd2" providerId="ADAL" clId="{B441C459-42E0-4465-B296-199851FC6E31}" dt="2024-09-11T11:12:14.001" v="3782" actId="6264"/>
          <ac:spMkLst>
            <pc:docMk/>
            <pc:sldMk cId="2511687810" sldId="1112"/>
            <ac:spMk id="5" creationId="{2EF7FD9B-C230-998A-0068-A65ADA9B52A6}"/>
          </ac:spMkLst>
        </pc:spChg>
        <pc:spChg chg="add del mod">
          <ac:chgData name="José Antonio Ureta Santacreu" userId="e36999d1-2b92-424a-9e8c-5fde0c5fbdd2" providerId="ADAL" clId="{B441C459-42E0-4465-B296-199851FC6E31}" dt="2024-09-11T11:12:14.001" v="3782" actId="6264"/>
          <ac:spMkLst>
            <pc:docMk/>
            <pc:sldMk cId="2511687810" sldId="1112"/>
            <ac:spMk id="6" creationId="{34829737-4B00-446C-58D8-1797F095DFCB}"/>
          </ac:spMkLst>
        </pc:spChg>
        <pc:spChg chg="add del mod">
          <ac:chgData name="José Antonio Ureta Santacreu" userId="e36999d1-2b92-424a-9e8c-5fde0c5fbdd2" providerId="ADAL" clId="{B441C459-42E0-4465-B296-199851FC6E31}" dt="2024-09-11T11:12:14.001" v="3782" actId="6264"/>
          <ac:spMkLst>
            <pc:docMk/>
            <pc:sldMk cId="2511687810" sldId="1112"/>
            <ac:spMk id="8" creationId="{B2AF7DFA-1AC8-0EE6-A7D2-1902BBD27A90}"/>
          </ac:spMkLst>
        </pc:spChg>
        <pc:spChg chg="add del mod">
          <ac:chgData name="José Antonio Ureta Santacreu" userId="e36999d1-2b92-424a-9e8c-5fde0c5fbdd2" providerId="ADAL" clId="{B441C459-42E0-4465-B296-199851FC6E31}" dt="2024-09-11T11:12:14.001" v="3782" actId="6264"/>
          <ac:spMkLst>
            <pc:docMk/>
            <pc:sldMk cId="2511687810" sldId="1112"/>
            <ac:spMk id="9" creationId="{866F5B19-9239-67DC-FF34-B0D1773D530D}"/>
          </ac:spMkLst>
        </pc:spChg>
        <pc:spChg chg="add del mod">
          <ac:chgData name="José Antonio Ureta Santacreu" userId="e36999d1-2b92-424a-9e8c-5fde0c5fbdd2" providerId="ADAL" clId="{B441C459-42E0-4465-B296-199851FC6E31}" dt="2024-09-11T11:12:14.001" v="3782" actId="6264"/>
          <ac:spMkLst>
            <pc:docMk/>
            <pc:sldMk cId="2511687810" sldId="1112"/>
            <ac:spMk id="10" creationId="{C1D86C72-6802-6279-D427-C665F4FFDB55}"/>
          </ac:spMkLst>
        </pc:spChg>
      </pc:sldChg>
      <pc:sldChg chg="addSp delSp modSp mod chgLayout">
        <pc:chgData name="José Antonio Ureta Santacreu" userId="e36999d1-2b92-424a-9e8c-5fde0c5fbdd2" providerId="ADAL" clId="{B441C459-42E0-4465-B296-199851FC6E31}" dt="2024-09-12T10:33:53.878" v="3809" actId="1035"/>
        <pc:sldMkLst>
          <pc:docMk/>
          <pc:sldMk cId="1110792222" sldId="1113"/>
        </pc:sldMkLst>
        <pc:spChg chg="mod ord">
          <ac:chgData name="José Antonio Ureta Santacreu" userId="e36999d1-2b92-424a-9e8c-5fde0c5fbdd2" providerId="ADAL" clId="{B441C459-42E0-4465-B296-199851FC6E31}" dt="2024-09-11T11:12:14.001" v="3782" actId="6264"/>
          <ac:spMkLst>
            <pc:docMk/>
            <pc:sldMk cId="1110792222" sldId="1113"/>
            <ac:spMk id="2" creationId="{AD9E7AE8-E236-C8CA-A7A1-87F8E2C4F51F}"/>
          </ac:spMkLst>
        </pc:spChg>
        <pc:spChg chg="mod ord">
          <ac:chgData name="José Antonio Ureta Santacreu" userId="e36999d1-2b92-424a-9e8c-5fde0c5fbdd2" providerId="ADAL" clId="{B441C459-42E0-4465-B296-199851FC6E31}" dt="2024-09-11T11:12:14.001" v="3782" actId="6264"/>
          <ac:spMkLst>
            <pc:docMk/>
            <pc:sldMk cId="1110792222" sldId="1113"/>
            <ac:spMk id="3" creationId="{10604D01-C2F6-F605-3D99-3B8581F4C145}"/>
          </ac:spMkLst>
        </pc:spChg>
        <pc:spChg chg="mod ord">
          <ac:chgData name="José Antonio Ureta Santacreu" userId="e36999d1-2b92-424a-9e8c-5fde0c5fbdd2" providerId="ADAL" clId="{B441C459-42E0-4465-B296-199851FC6E31}" dt="2024-09-11T11:12:14.001" v="3782" actId="6264"/>
          <ac:spMkLst>
            <pc:docMk/>
            <pc:sldMk cId="1110792222" sldId="1113"/>
            <ac:spMk id="4" creationId="{E89B14A8-B4B0-D1DB-A5E8-1A2E313AC879}"/>
          </ac:spMkLst>
        </pc:spChg>
        <pc:spChg chg="mod ord">
          <ac:chgData name="José Antonio Ureta Santacreu" userId="e36999d1-2b92-424a-9e8c-5fde0c5fbdd2" providerId="ADAL" clId="{B441C459-42E0-4465-B296-199851FC6E31}" dt="2024-09-11T11:12:14.001" v="3782" actId="6264"/>
          <ac:spMkLst>
            <pc:docMk/>
            <pc:sldMk cId="1110792222" sldId="1113"/>
            <ac:spMk id="5" creationId="{17916B4F-6B12-700E-9593-C9195843A82B}"/>
          </ac:spMkLst>
        </pc:spChg>
        <pc:spChg chg="mod">
          <ac:chgData name="José Antonio Ureta Santacreu" userId="e36999d1-2b92-424a-9e8c-5fde0c5fbdd2" providerId="ADAL" clId="{B441C459-42E0-4465-B296-199851FC6E31}" dt="2024-09-12T10:33:53.878" v="3809" actId="1035"/>
          <ac:spMkLst>
            <pc:docMk/>
            <pc:sldMk cId="1110792222" sldId="1113"/>
            <ac:spMk id="6" creationId="{8B0C2FE7-F5D3-13E9-8CCC-A512B3DA97C6}"/>
          </ac:spMkLst>
        </pc:spChg>
        <pc:spChg chg="add del mod">
          <ac:chgData name="José Antonio Ureta Santacreu" userId="e36999d1-2b92-424a-9e8c-5fde0c5fbdd2" providerId="ADAL" clId="{B441C459-42E0-4465-B296-199851FC6E31}" dt="2024-09-11T11:12:14.001" v="3782" actId="6264"/>
          <ac:spMkLst>
            <pc:docMk/>
            <pc:sldMk cId="1110792222" sldId="1113"/>
            <ac:spMk id="7" creationId="{6A058B83-B381-7423-C57C-322D403E612A}"/>
          </ac:spMkLst>
        </pc:spChg>
        <pc:spChg chg="add del mod">
          <ac:chgData name="José Antonio Ureta Santacreu" userId="e36999d1-2b92-424a-9e8c-5fde0c5fbdd2" providerId="ADAL" clId="{B441C459-42E0-4465-B296-199851FC6E31}" dt="2024-09-11T11:12:14.001" v="3782" actId="6264"/>
          <ac:spMkLst>
            <pc:docMk/>
            <pc:sldMk cId="1110792222" sldId="1113"/>
            <ac:spMk id="8" creationId="{BE4B0BB7-F705-815F-B196-AF5E0FE539E4}"/>
          </ac:spMkLst>
        </pc:spChg>
        <pc:spChg chg="add del mod">
          <ac:chgData name="José Antonio Ureta Santacreu" userId="e36999d1-2b92-424a-9e8c-5fde0c5fbdd2" providerId="ADAL" clId="{B441C459-42E0-4465-B296-199851FC6E31}" dt="2024-09-11T11:12:14.001" v="3782" actId="6264"/>
          <ac:spMkLst>
            <pc:docMk/>
            <pc:sldMk cId="1110792222" sldId="1113"/>
            <ac:spMk id="9" creationId="{261E17DC-4C0F-4E86-C7D2-D60FF475AA4C}"/>
          </ac:spMkLst>
        </pc:spChg>
        <pc:spChg chg="mod ord">
          <ac:chgData name="José Antonio Ureta Santacreu" userId="e36999d1-2b92-424a-9e8c-5fde0c5fbdd2" providerId="ADAL" clId="{B441C459-42E0-4465-B296-199851FC6E31}" dt="2024-09-11T11:12:14.001" v="3782" actId="6264"/>
          <ac:spMkLst>
            <pc:docMk/>
            <pc:sldMk cId="1110792222" sldId="1113"/>
            <ac:spMk id="10" creationId="{7E30D908-480C-8A71-FB8A-A9E1B03046A4}"/>
          </ac:spMkLst>
        </pc:spChg>
        <pc:spChg chg="add del mod">
          <ac:chgData name="José Antonio Ureta Santacreu" userId="e36999d1-2b92-424a-9e8c-5fde0c5fbdd2" providerId="ADAL" clId="{B441C459-42E0-4465-B296-199851FC6E31}" dt="2024-09-11T11:12:14.001" v="3782" actId="6264"/>
          <ac:spMkLst>
            <pc:docMk/>
            <pc:sldMk cId="1110792222" sldId="1113"/>
            <ac:spMk id="12" creationId="{56A45947-A801-9D27-3E47-6D0DE5304256}"/>
          </ac:spMkLst>
        </pc:spChg>
        <pc:spChg chg="add del mod">
          <ac:chgData name="José Antonio Ureta Santacreu" userId="e36999d1-2b92-424a-9e8c-5fde0c5fbdd2" providerId="ADAL" clId="{B441C459-42E0-4465-B296-199851FC6E31}" dt="2024-09-11T11:12:14.001" v="3782" actId="6264"/>
          <ac:spMkLst>
            <pc:docMk/>
            <pc:sldMk cId="1110792222" sldId="1113"/>
            <ac:spMk id="13" creationId="{3517E874-81DC-B2CF-AD22-3F939F13FA65}"/>
          </ac:spMkLst>
        </pc:spChg>
        <pc:spChg chg="add del mod">
          <ac:chgData name="José Antonio Ureta Santacreu" userId="e36999d1-2b92-424a-9e8c-5fde0c5fbdd2" providerId="ADAL" clId="{B441C459-42E0-4465-B296-199851FC6E31}" dt="2024-09-11T11:12:14.001" v="3782" actId="6264"/>
          <ac:spMkLst>
            <pc:docMk/>
            <pc:sldMk cId="1110792222" sldId="1113"/>
            <ac:spMk id="14" creationId="{83327245-7548-51A8-B792-6EAC54CD171A}"/>
          </ac:spMkLst>
        </pc:spChg>
        <pc:picChg chg="mod ord">
          <ac:chgData name="José Antonio Ureta Santacreu" userId="e36999d1-2b92-424a-9e8c-5fde0c5fbdd2" providerId="ADAL" clId="{B441C459-42E0-4465-B296-199851FC6E31}" dt="2024-09-11T11:12:14.001" v="3782" actId="6264"/>
          <ac:picMkLst>
            <pc:docMk/>
            <pc:sldMk cId="1110792222" sldId="1113"/>
            <ac:picMk id="11" creationId="{8222B57A-7864-DC3E-C49B-8E20A127BC92}"/>
          </ac:picMkLst>
        </pc:picChg>
      </pc:sldChg>
      <pc:sldChg chg="modSp mod ord">
        <pc:chgData name="José Antonio Ureta Santacreu" userId="e36999d1-2b92-424a-9e8c-5fde0c5fbdd2" providerId="ADAL" clId="{B441C459-42E0-4465-B296-199851FC6E31}" dt="2024-07-31T10:17:36.961" v="697"/>
        <pc:sldMkLst>
          <pc:docMk/>
          <pc:sldMk cId="1063931643" sldId="1114"/>
        </pc:sldMkLst>
        <pc:spChg chg="mod">
          <ac:chgData name="José Antonio Ureta Santacreu" userId="e36999d1-2b92-424a-9e8c-5fde0c5fbdd2" providerId="ADAL" clId="{B441C459-42E0-4465-B296-199851FC6E31}" dt="2024-07-31T10:16:58.404" v="695" actId="20577"/>
          <ac:spMkLst>
            <pc:docMk/>
            <pc:sldMk cId="1063931643" sldId="1114"/>
            <ac:spMk id="2" creationId="{83CFFD9C-887E-D9AF-809D-8BF5D080409A}"/>
          </ac:spMkLst>
        </pc:spChg>
        <pc:graphicFrameChg chg="mod">
          <ac:chgData name="José Antonio Ureta Santacreu" userId="e36999d1-2b92-424a-9e8c-5fde0c5fbdd2" providerId="ADAL" clId="{B441C459-42E0-4465-B296-199851FC6E31}" dt="2024-07-31T10:16:14.965" v="676" actId="12100"/>
          <ac:graphicFrameMkLst>
            <pc:docMk/>
            <pc:sldMk cId="1063931643" sldId="1114"/>
            <ac:graphicFrameMk id="11" creationId="{CC9D21DB-13A7-28D7-B60D-B60396D8948A}"/>
          </ac:graphicFrameMkLst>
        </pc:graphicFrameChg>
      </pc:sldChg>
      <pc:sldChg chg="del">
        <pc:chgData name="José Antonio Ureta Santacreu" userId="e36999d1-2b92-424a-9e8c-5fde0c5fbdd2" providerId="ADAL" clId="{B441C459-42E0-4465-B296-199851FC6E31}" dt="2024-07-23T10:41:54.955" v="271" actId="2696"/>
        <pc:sldMkLst>
          <pc:docMk/>
          <pc:sldMk cId="1675329798" sldId="1115"/>
        </pc:sldMkLst>
      </pc:sldChg>
      <pc:sldChg chg="addSp delSp modSp add mod modShow chgLayout">
        <pc:chgData name="José Antonio Ureta Santacreu" userId="e36999d1-2b92-424a-9e8c-5fde0c5fbdd2" providerId="ADAL" clId="{B441C459-42E0-4465-B296-199851FC6E31}" dt="2024-09-12T11:27:39.218" v="4655" actId="729"/>
        <pc:sldMkLst>
          <pc:docMk/>
          <pc:sldMk cId="2938065926" sldId="1115"/>
        </pc:sldMkLst>
        <pc:spChg chg="mod ord">
          <ac:chgData name="José Antonio Ureta Santacreu" userId="e36999d1-2b92-424a-9e8c-5fde0c5fbdd2" providerId="ADAL" clId="{B441C459-42E0-4465-B296-199851FC6E31}" dt="2024-09-11T11:12:14.001" v="3782" actId="6264"/>
          <ac:spMkLst>
            <pc:docMk/>
            <pc:sldMk cId="2938065926" sldId="1115"/>
            <ac:spMk id="2" creationId="{561DF8BA-5282-68F4-7078-C5AEBBD1B410}"/>
          </ac:spMkLst>
        </pc:spChg>
        <pc:spChg chg="add del mod">
          <ac:chgData name="José Antonio Ureta Santacreu" userId="e36999d1-2b92-424a-9e8c-5fde0c5fbdd2" providerId="ADAL" clId="{B441C459-42E0-4465-B296-199851FC6E31}" dt="2024-09-11T11:12:14.001" v="3782" actId="6264"/>
          <ac:spMkLst>
            <pc:docMk/>
            <pc:sldMk cId="2938065926" sldId="1115"/>
            <ac:spMk id="3" creationId="{B6314B5B-D350-D00B-FEC0-8800D7B81CA2}"/>
          </ac:spMkLst>
        </pc:spChg>
        <pc:spChg chg="mod ord">
          <ac:chgData name="José Antonio Ureta Santacreu" userId="e36999d1-2b92-424a-9e8c-5fde0c5fbdd2" providerId="ADAL" clId="{B441C459-42E0-4465-B296-199851FC6E31}" dt="2024-09-11T11:12:14.001" v="3782" actId="6264"/>
          <ac:spMkLst>
            <pc:docMk/>
            <pc:sldMk cId="2938065926" sldId="1115"/>
            <ac:spMk id="4" creationId="{4017E09F-366D-E23D-A249-9D1EF4ECFA37}"/>
          </ac:spMkLst>
        </pc:spChg>
        <pc:spChg chg="mod ord">
          <ac:chgData name="José Antonio Ureta Santacreu" userId="e36999d1-2b92-424a-9e8c-5fde0c5fbdd2" providerId="ADAL" clId="{B441C459-42E0-4465-B296-199851FC6E31}" dt="2024-09-11T11:12:14.001" v="3782" actId="6264"/>
          <ac:spMkLst>
            <pc:docMk/>
            <pc:sldMk cId="2938065926" sldId="1115"/>
            <ac:spMk id="5" creationId="{1E2A9CDD-C13F-741B-E7A9-9FB9A1BDD330}"/>
          </ac:spMkLst>
        </pc:spChg>
        <pc:spChg chg="mod ord">
          <ac:chgData name="José Antonio Ureta Santacreu" userId="e36999d1-2b92-424a-9e8c-5fde0c5fbdd2" providerId="ADAL" clId="{B441C459-42E0-4465-B296-199851FC6E31}" dt="2024-09-11T11:12:14.001" v="3782" actId="6264"/>
          <ac:spMkLst>
            <pc:docMk/>
            <pc:sldMk cId="2938065926" sldId="1115"/>
            <ac:spMk id="6" creationId="{6BF3D0E4-73A4-9D32-D71C-B2B6BAD30712}"/>
          </ac:spMkLst>
        </pc:spChg>
        <pc:spChg chg="add del mod">
          <ac:chgData name="José Antonio Ureta Santacreu" userId="e36999d1-2b92-424a-9e8c-5fde0c5fbdd2" providerId="ADAL" clId="{B441C459-42E0-4465-B296-199851FC6E31}" dt="2024-09-11T11:12:14.001" v="3782" actId="6264"/>
          <ac:spMkLst>
            <pc:docMk/>
            <pc:sldMk cId="2938065926" sldId="1115"/>
            <ac:spMk id="7" creationId="{CC564817-A143-D4DC-B962-FC4F6CA65481}"/>
          </ac:spMkLst>
        </pc:spChg>
        <pc:spChg chg="add del mod">
          <ac:chgData name="José Antonio Ureta Santacreu" userId="e36999d1-2b92-424a-9e8c-5fde0c5fbdd2" providerId="ADAL" clId="{B441C459-42E0-4465-B296-199851FC6E31}" dt="2024-09-11T11:12:14.001" v="3782" actId="6264"/>
          <ac:spMkLst>
            <pc:docMk/>
            <pc:sldMk cId="2938065926" sldId="1115"/>
            <ac:spMk id="8" creationId="{DD7CAFAD-B91D-C5BC-5E15-E455983B6960}"/>
          </ac:spMkLst>
        </pc:spChg>
        <pc:spChg chg="add del mod">
          <ac:chgData name="José Antonio Ureta Santacreu" userId="e36999d1-2b92-424a-9e8c-5fde0c5fbdd2" providerId="ADAL" clId="{B441C459-42E0-4465-B296-199851FC6E31}" dt="2024-09-11T11:12:14.001" v="3782" actId="6264"/>
          <ac:spMkLst>
            <pc:docMk/>
            <pc:sldMk cId="2938065926" sldId="1115"/>
            <ac:spMk id="9" creationId="{C8FBC1E6-7CCB-154E-FF14-250D7D4EEB28}"/>
          </ac:spMkLst>
        </pc:spChg>
        <pc:spChg chg="add del mod">
          <ac:chgData name="José Antonio Ureta Santacreu" userId="e36999d1-2b92-424a-9e8c-5fde0c5fbdd2" providerId="ADAL" clId="{B441C459-42E0-4465-B296-199851FC6E31}" dt="2024-09-11T11:12:14.001" v="3782" actId="6264"/>
          <ac:spMkLst>
            <pc:docMk/>
            <pc:sldMk cId="2938065926" sldId="1115"/>
            <ac:spMk id="10" creationId="{DBB84062-2A25-E046-6583-C068EA971351}"/>
          </ac:spMkLst>
        </pc:spChg>
        <pc:graphicFrameChg chg="mod ord">
          <ac:chgData name="José Antonio Ureta Santacreu" userId="e36999d1-2b92-424a-9e8c-5fde0c5fbdd2" providerId="ADAL" clId="{B441C459-42E0-4465-B296-199851FC6E31}" dt="2024-09-11T11:12:14.001" v="3782" actId="6264"/>
          <ac:graphicFrameMkLst>
            <pc:docMk/>
            <pc:sldMk cId="2938065926" sldId="1115"/>
            <ac:graphicFrameMk id="27" creationId="{5C49F41F-578E-DFBC-EB21-B6A2EDC40B25}"/>
          </ac:graphicFrameMkLst>
        </pc:graphicFrameChg>
      </pc:sldChg>
      <pc:sldChg chg="addSp delSp modSp add mod chgLayout">
        <pc:chgData name="José Antonio Ureta Santacreu" userId="e36999d1-2b92-424a-9e8c-5fde0c5fbdd2" providerId="ADAL" clId="{B441C459-42E0-4465-B296-199851FC6E31}" dt="2024-09-11T11:12:14.001" v="3782" actId="6264"/>
        <pc:sldMkLst>
          <pc:docMk/>
          <pc:sldMk cId="3224567045" sldId="1116"/>
        </pc:sldMkLst>
        <pc:spChg chg="mod ord">
          <ac:chgData name="José Antonio Ureta Santacreu" userId="e36999d1-2b92-424a-9e8c-5fde0c5fbdd2" providerId="ADAL" clId="{B441C459-42E0-4465-B296-199851FC6E31}" dt="2024-09-11T11:12:14.001" v="3782" actId="6264"/>
          <ac:spMkLst>
            <pc:docMk/>
            <pc:sldMk cId="3224567045" sldId="1116"/>
            <ac:spMk id="2" creationId="{07AC2A57-59E3-EE06-7D42-4319B5BC6613}"/>
          </ac:spMkLst>
        </pc:spChg>
        <pc:spChg chg="mod ord">
          <ac:chgData name="José Antonio Ureta Santacreu" userId="e36999d1-2b92-424a-9e8c-5fde0c5fbdd2" providerId="ADAL" clId="{B441C459-42E0-4465-B296-199851FC6E31}" dt="2024-09-11T11:12:14.001" v="3782" actId="6264"/>
          <ac:spMkLst>
            <pc:docMk/>
            <pc:sldMk cId="3224567045" sldId="1116"/>
            <ac:spMk id="3" creationId="{8A2E668F-FE79-B05A-92DA-60965AB10282}"/>
          </ac:spMkLst>
        </pc:spChg>
        <pc:spChg chg="mod ord">
          <ac:chgData name="José Antonio Ureta Santacreu" userId="e36999d1-2b92-424a-9e8c-5fde0c5fbdd2" providerId="ADAL" clId="{B441C459-42E0-4465-B296-199851FC6E31}" dt="2024-09-11T11:12:14.001" v="3782" actId="6264"/>
          <ac:spMkLst>
            <pc:docMk/>
            <pc:sldMk cId="3224567045" sldId="1116"/>
            <ac:spMk id="5" creationId="{B9D1B809-E3D1-5B38-F4F5-C863F42EB848}"/>
          </ac:spMkLst>
        </pc:spChg>
        <pc:spChg chg="add del mod">
          <ac:chgData name="José Antonio Ureta Santacreu" userId="e36999d1-2b92-424a-9e8c-5fde0c5fbdd2" providerId="ADAL" clId="{B441C459-42E0-4465-B296-199851FC6E31}" dt="2024-09-11T11:12:14.001" v="3782" actId="6264"/>
          <ac:spMkLst>
            <pc:docMk/>
            <pc:sldMk cId="3224567045" sldId="1116"/>
            <ac:spMk id="6" creationId="{4C6450CD-367F-6C4F-0086-0A4A331177DE}"/>
          </ac:spMkLst>
        </pc:spChg>
        <pc:spChg chg="add del mod">
          <ac:chgData name="José Antonio Ureta Santacreu" userId="e36999d1-2b92-424a-9e8c-5fde0c5fbdd2" providerId="ADAL" clId="{B441C459-42E0-4465-B296-199851FC6E31}" dt="2024-09-11T11:12:14.001" v="3782" actId="6264"/>
          <ac:spMkLst>
            <pc:docMk/>
            <pc:sldMk cId="3224567045" sldId="1116"/>
            <ac:spMk id="7" creationId="{F79FE12B-2437-2DEF-4137-D7DA1DD3E5C1}"/>
          </ac:spMkLst>
        </pc:spChg>
        <pc:spChg chg="add del mod">
          <ac:chgData name="José Antonio Ureta Santacreu" userId="e36999d1-2b92-424a-9e8c-5fde0c5fbdd2" providerId="ADAL" clId="{B441C459-42E0-4465-B296-199851FC6E31}" dt="2024-09-11T11:12:14.001" v="3782" actId="6264"/>
          <ac:spMkLst>
            <pc:docMk/>
            <pc:sldMk cId="3224567045" sldId="1116"/>
            <ac:spMk id="8" creationId="{0D6C63A5-9BDB-E665-2F6C-298800156C0D}"/>
          </ac:spMkLst>
        </pc:spChg>
        <pc:spChg chg="add del mod">
          <ac:chgData name="José Antonio Ureta Santacreu" userId="e36999d1-2b92-424a-9e8c-5fde0c5fbdd2" providerId="ADAL" clId="{B441C459-42E0-4465-B296-199851FC6E31}" dt="2024-09-11T11:12:14.001" v="3782" actId="6264"/>
          <ac:spMkLst>
            <pc:docMk/>
            <pc:sldMk cId="3224567045" sldId="1116"/>
            <ac:spMk id="9" creationId="{C94832B5-4D7F-568A-079A-EA5FBDD82BAE}"/>
          </ac:spMkLst>
        </pc:spChg>
        <pc:graphicFrameChg chg="mod ord">
          <ac:chgData name="José Antonio Ureta Santacreu" userId="e36999d1-2b92-424a-9e8c-5fde0c5fbdd2" providerId="ADAL" clId="{B441C459-42E0-4465-B296-199851FC6E31}" dt="2024-09-11T11:12:14.001" v="3782" actId="6264"/>
          <ac:graphicFrameMkLst>
            <pc:docMk/>
            <pc:sldMk cId="3224567045" sldId="1116"/>
            <ac:graphicFrameMk id="4" creationId="{84C605A7-D759-26EF-EA9B-FA2C27A5A26E}"/>
          </ac:graphicFrameMkLst>
        </pc:graphicFrameChg>
      </pc:sldChg>
      <pc:sldChg chg="addSp delSp modSp add mod chgLayout">
        <pc:chgData name="José Antonio Ureta Santacreu" userId="e36999d1-2b92-424a-9e8c-5fde0c5fbdd2" providerId="ADAL" clId="{B441C459-42E0-4465-B296-199851FC6E31}" dt="2024-09-11T11:12:14.001" v="3782" actId="6264"/>
        <pc:sldMkLst>
          <pc:docMk/>
          <pc:sldMk cId="1464873145" sldId="1117"/>
        </pc:sldMkLst>
        <pc:spChg chg="mod ord">
          <ac:chgData name="José Antonio Ureta Santacreu" userId="e36999d1-2b92-424a-9e8c-5fde0c5fbdd2" providerId="ADAL" clId="{B441C459-42E0-4465-B296-199851FC6E31}" dt="2024-09-11T11:12:14.001" v="3782" actId="6264"/>
          <ac:spMkLst>
            <pc:docMk/>
            <pc:sldMk cId="1464873145" sldId="1117"/>
            <ac:spMk id="2" creationId="{4D4A67F1-B69B-3929-CDB3-FEB8D0191B18}"/>
          </ac:spMkLst>
        </pc:spChg>
        <pc:spChg chg="mod ord">
          <ac:chgData name="José Antonio Ureta Santacreu" userId="e36999d1-2b92-424a-9e8c-5fde0c5fbdd2" providerId="ADAL" clId="{B441C459-42E0-4465-B296-199851FC6E31}" dt="2024-09-11T11:12:14.001" v="3782" actId="6264"/>
          <ac:spMkLst>
            <pc:docMk/>
            <pc:sldMk cId="1464873145" sldId="1117"/>
            <ac:spMk id="3" creationId="{245DEE50-8F60-84A0-0A0B-A8BFC4E4B1EF}"/>
          </ac:spMkLst>
        </pc:spChg>
        <pc:spChg chg="mod ord">
          <ac:chgData name="José Antonio Ureta Santacreu" userId="e36999d1-2b92-424a-9e8c-5fde0c5fbdd2" providerId="ADAL" clId="{B441C459-42E0-4465-B296-199851FC6E31}" dt="2024-09-11T11:12:14.001" v="3782" actId="6264"/>
          <ac:spMkLst>
            <pc:docMk/>
            <pc:sldMk cId="1464873145" sldId="1117"/>
            <ac:spMk id="4" creationId="{5E10FE98-F04B-6CCC-CC37-2C3417EC8873}"/>
          </ac:spMkLst>
        </pc:spChg>
        <pc:spChg chg="mod ord">
          <ac:chgData name="José Antonio Ureta Santacreu" userId="e36999d1-2b92-424a-9e8c-5fde0c5fbdd2" providerId="ADAL" clId="{B441C459-42E0-4465-B296-199851FC6E31}" dt="2024-09-11T11:12:14.001" v="3782" actId="6264"/>
          <ac:spMkLst>
            <pc:docMk/>
            <pc:sldMk cId="1464873145" sldId="1117"/>
            <ac:spMk id="5" creationId="{EA7C1A06-1092-FB73-A1F0-88722F41A39F}"/>
          </ac:spMkLst>
        </pc:spChg>
        <pc:spChg chg="add del mod">
          <ac:chgData name="José Antonio Ureta Santacreu" userId="e36999d1-2b92-424a-9e8c-5fde0c5fbdd2" providerId="ADAL" clId="{B441C459-42E0-4465-B296-199851FC6E31}" dt="2024-09-11T11:12:14.001" v="3782" actId="6264"/>
          <ac:spMkLst>
            <pc:docMk/>
            <pc:sldMk cId="1464873145" sldId="1117"/>
            <ac:spMk id="7" creationId="{EB4D72E4-2029-688F-4FA6-38C8AB560486}"/>
          </ac:spMkLst>
        </pc:spChg>
        <pc:spChg chg="add del mod">
          <ac:chgData name="José Antonio Ureta Santacreu" userId="e36999d1-2b92-424a-9e8c-5fde0c5fbdd2" providerId="ADAL" clId="{B441C459-42E0-4465-B296-199851FC6E31}" dt="2024-09-11T11:12:14.001" v="3782" actId="6264"/>
          <ac:spMkLst>
            <pc:docMk/>
            <pc:sldMk cId="1464873145" sldId="1117"/>
            <ac:spMk id="8" creationId="{F81BC2B2-0A2A-0739-9AA0-5C1187BC7121}"/>
          </ac:spMkLst>
        </pc:spChg>
        <pc:spChg chg="add del mod">
          <ac:chgData name="José Antonio Ureta Santacreu" userId="e36999d1-2b92-424a-9e8c-5fde0c5fbdd2" providerId="ADAL" clId="{B441C459-42E0-4465-B296-199851FC6E31}" dt="2024-09-11T11:12:14.001" v="3782" actId="6264"/>
          <ac:spMkLst>
            <pc:docMk/>
            <pc:sldMk cId="1464873145" sldId="1117"/>
            <ac:spMk id="9" creationId="{C9B531DF-5E48-7124-CB98-1EB1E2647438}"/>
          </ac:spMkLst>
        </pc:spChg>
        <pc:spChg chg="add del mod">
          <ac:chgData name="José Antonio Ureta Santacreu" userId="e36999d1-2b92-424a-9e8c-5fde0c5fbdd2" providerId="ADAL" clId="{B441C459-42E0-4465-B296-199851FC6E31}" dt="2024-09-11T11:12:14.001" v="3782" actId="6264"/>
          <ac:spMkLst>
            <pc:docMk/>
            <pc:sldMk cId="1464873145" sldId="1117"/>
            <ac:spMk id="10" creationId="{E823F128-5318-E6D5-A769-212D8DE2A1C9}"/>
          </ac:spMkLst>
        </pc:spChg>
      </pc:sldChg>
      <pc:sldChg chg="del">
        <pc:chgData name="José Antonio Ureta Santacreu" userId="e36999d1-2b92-424a-9e8c-5fde0c5fbdd2" providerId="ADAL" clId="{B441C459-42E0-4465-B296-199851FC6E31}" dt="2024-07-23T10:41:54.955" v="271" actId="2696"/>
        <pc:sldMkLst>
          <pc:docMk/>
          <pc:sldMk cId="3953311106" sldId="1117"/>
        </pc:sldMkLst>
      </pc:sldChg>
      <pc:sldChg chg="addSp delSp modSp mod chgLayout">
        <pc:chgData name="José Antonio Ureta Santacreu" userId="e36999d1-2b92-424a-9e8c-5fde0c5fbdd2" providerId="ADAL" clId="{B441C459-42E0-4465-B296-199851FC6E31}" dt="2024-09-11T11:12:14.001" v="3782" actId="6264"/>
        <pc:sldMkLst>
          <pc:docMk/>
          <pc:sldMk cId="4114449761" sldId="1119"/>
        </pc:sldMkLst>
        <pc:spChg chg="mod ord">
          <ac:chgData name="José Antonio Ureta Santacreu" userId="e36999d1-2b92-424a-9e8c-5fde0c5fbdd2" providerId="ADAL" clId="{B441C459-42E0-4465-B296-199851FC6E31}" dt="2024-09-11T11:12:14.001" v="3782" actId="6264"/>
          <ac:spMkLst>
            <pc:docMk/>
            <pc:sldMk cId="4114449761" sldId="1119"/>
            <ac:spMk id="2" creationId="{4978C844-4C59-D9A0-543A-A257D68A073B}"/>
          </ac:spMkLst>
        </pc:spChg>
        <pc:spChg chg="mod ord">
          <ac:chgData name="José Antonio Ureta Santacreu" userId="e36999d1-2b92-424a-9e8c-5fde0c5fbdd2" providerId="ADAL" clId="{B441C459-42E0-4465-B296-199851FC6E31}" dt="2024-09-11T11:12:14.001" v="3782" actId="6264"/>
          <ac:spMkLst>
            <pc:docMk/>
            <pc:sldMk cId="4114449761" sldId="1119"/>
            <ac:spMk id="4" creationId="{5516082F-5247-3D12-F41F-115E61D00C48}"/>
          </ac:spMkLst>
        </pc:spChg>
        <pc:spChg chg="mod ord">
          <ac:chgData name="José Antonio Ureta Santacreu" userId="e36999d1-2b92-424a-9e8c-5fde0c5fbdd2" providerId="ADAL" clId="{B441C459-42E0-4465-B296-199851FC6E31}" dt="2024-09-11T11:12:14.001" v="3782" actId="6264"/>
          <ac:spMkLst>
            <pc:docMk/>
            <pc:sldMk cId="4114449761" sldId="1119"/>
            <ac:spMk id="5" creationId="{F0951752-6B1D-29DE-64E1-BB79EB1AFF34}"/>
          </ac:spMkLst>
        </pc:spChg>
        <pc:spChg chg="mod ord">
          <ac:chgData name="José Antonio Ureta Santacreu" userId="e36999d1-2b92-424a-9e8c-5fde0c5fbdd2" providerId="ADAL" clId="{B441C459-42E0-4465-B296-199851FC6E31}" dt="2024-09-11T11:12:14.001" v="3782" actId="6264"/>
          <ac:spMkLst>
            <pc:docMk/>
            <pc:sldMk cId="4114449761" sldId="1119"/>
            <ac:spMk id="6" creationId="{FFDA63CF-F049-777E-D9FC-C78B1E058A51}"/>
          </ac:spMkLst>
        </pc:spChg>
        <pc:spChg chg="add del mod">
          <ac:chgData name="José Antonio Ureta Santacreu" userId="e36999d1-2b92-424a-9e8c-5fde0c5fbdd2" providerId="ADAL" clId="{B441C459-42E0-4465-B296-199851FC6E31}" dt="2024-09-11T11:12:14.001" v="3782" actId="6264"/>
          <ac:spMkLst>
            <pc:docMk/>
            <pc:sldMk cId="4114449761" sldId="1119"/>
            <ac:spMk id="7" creationId="{A1025118-5F70-F513-2BC5-B4869EFED235}"/>
          </ac:spMkLst>
        </pc:spChg>
        <pc:spChg chg="add del mod">
          <ac:chgData name="José Antonio Ureta Santacreu" userId="e36999d1-2b92-424a-9e8c-5fde0c5fbdd2" providerId="ADAL" clId="{B441C459-42E0-4465-B296-199851FC6E31}" dt="2024-09-11T11:12:14.001" v="3782" actId="6264"/>
          <ac:spMkLst>
            <pc:docMk/>
            <pc:sldMk cId="4114449761" sldId="1119"/>
            <ac:spMk id="10" creationId="{0F1AB8A5-7B3D-1D6D-26BB-BE5DAF9C355B}"/>
          </ac:spMkLst>
        </pc:spChg>
        <pc:spChg chg="add del mod">
          <ac:chgData name="José Antonio Ureta Santacreu" userId="e36999d1-2b92-424a-9e8c-5fde0c5fbdd2" providerId="ADAL" clId="{B441C459-42E0-4465-B296-199851FC6E31}" dt="2024-09-11T11:12:14.001" v="3782" actId="6264"/>
          <ac:spMkLst>
            <pc:docMk/>
            <pc:sldMk cId="4114449761" sldId="1119"/>
            <ac:spMk id="11" creationId="{412AE0EC-C859-778F-F787-1067041AA582}"/>
          </ac:spMkLst>
        </pc:spChg>
        <pc:spChg chg="add del mod">
          <ac:chgData name="José Antonio Ureta Santacreu" userId="e36999d1-2b92-424a-9e8c-5fde0c5fbdd2" providerId="ADAL" clId="{B441C459-42E0-4465-B296-199851FC6E31}" dt="2024-09-11T11:12:14.001" v="3782" actId="6264"/>
          <ac:spMkLst>
            <pc:docMk/>
            <pc:sldMk cId="4114449761" sldId="1119"/>
            <ac:spMk id="12" creationId="{AFC4191D-7C20-588C-2EC0-6A5FB7108774}"/>
          </ac:spMkLst>
        </pc:spChg>
        <pc:spChg chg="add del mod">
          <ac:chgData name="José Antonio Ureta Santacreu" userId="e36999d1-2b92-424a-9e8c-5fde0c5fbdd2" providerId="ADAL" clId="{B441C459-42E0-4465-B296-199851FC6E31}" dt="2024-09-11T11:12:14.001" v="3782" actId="6264"/>
          <ac:spMkLst>
            <pc:docMk/>
            <pc:sldMk cId="4114449761" sldId="1119"/>
            <ac:spMk id="13" creationId="{35492E80-2AD1-DEF3-8F8E-C8E326142D58}"/>
          </ac:spMkLst>
        </pc:spChg>
        <pc:spChg chg="add del mod">
          <ac:chgData name="José Antonio Ureta Santacreu" userId="e36999d1-2b92-424a-9e8c-5fde0c5fbdd2" providerId="ADAL" clId="{B441C459-42E0-4465-B296-199851FC6E31}" dt="2024-09-11T11:12:14.001" v="3782" actId="6264"/>
          <ac:spMkLst>
            <pc:docMk/>
            <pc:sldMk cId="4114449761" sldId="1119"/>
            <ac:spMk id="14" creationId="{95B30182-5558-C714-1278-4B053E87D639}"/>
          </ac:spMkLst>
        </pc:spChg>
        <pc:graphicFrameChg chg="mod ord">
          <ac:chgData name="José Antonio Ureta Santacreu" userId="e36999d1-2b92-424a-9e8c-5fde0c5fbdd2" providerId="ADAL" clId="{B441C459-42E0-4465-B296-199851FC6E31}" dt="2024-09-11T11:12:14.001" v="3782" actId="6264"/>
          <ac:graphicFrameMkLst>
            <pc:docMk/>
            <pc:sldMk cId="4114449761" sldId="1119"/>
            <ac:graphicFrameMk id="8" creationId="{8E0B28FF-2EED-A8DE-AA77-3F36E1FCA5BE}"/>
          </ac:graphicFrameMkLst>
        </pc:graphicFrameChg>
        <pc:picChg chg="mod ord">
          <ac:chgData name="José Antonio Ureta Santacreu" userId="e36999d1-2b92-424a-9e8c-5fde0c5fbdd2" providerId="ADAL" clId="{B441C459-42E0-4465-B296-199851FC6E31}" dt="2024-09-11T11:12:14.001" v="3782" actId="6264"/>
          <ac:picMkLst>
            <pc:docMk/>
            <pc:sldMk cId="4114449761" sldId="1119"/>
            <ac:picMk id="9" creationId="{46903C20-AFB6-1E63-A36A-25202018F5DA}"/>
          </ac:picMkLst>
        </pc:picChg>
      </pc:sldChg>
      <pc:sldChg chg="addSp delSp modSp mod chgLayout">
        <pc:chgData name="José Antonio Ureta Santacreu" userId="e36999d1-2b92-424a-9e8c-5fde0c5fbdd2" providerId="ADAL" clId="{B441C459-42E0-4465-B296-199851FC6E31}" dt="2024-09-12T15:48:42.860" v="5192"/>
        <pc:sldMkLst>
          <pc:docMk/>
          <pc:sldMk cId="3746148614" sldId="1120"/>
        </pc:sldMkLst>
        <pc:spChg chg="mod ord">
          <ac:chgData name="José Antonio Ureta Santacreu" userId="e36999d1-2b92-424a-9e8c-5fde0c5fbdd2" providerId="ADAL" clId="{B441C459-42E0-4465-B296-199851FC6E31}" dt="2024-09-12T15:48:42.860" v="5192"/>
          <ac:spMkLst>
            <pc:docMk/>
            <pc:sldMk cId="3746148614" sldId="1120"/>
            <ac:spMk id="2" creationId="{393BF595-1909-C3C8-8F64-EE45C96596ED}"/>
          </ac:spMkLst>
        </pc:spChg>
        <pc:spChg chg="add del mod">
          <ac:chgData name="José Antonio Ureta Santacreu" userId="e36999d1-2b92-424a-9e8c-5fde0c5fbdd2" providerId="ADAL" clId="{B441C459-42E0-4465-B296-199851FC6E31}" dt="2024-09-11T11:12:14.001" v="3782" actId="6264"/>
          <ac:spMkLst>
            <pc:docMk/>
            <pc:sldMk cId="3746148614" sldId="1120"/>
            <ac:spMk id="3" creationId="{9CDA535F-C770-B465-4BBA-755A4F8E3AA9}"/>
          </ac:spMkLst>
        </pc:spChg>
        <pc:spChg chg="mod ord">
          <ac:chgData name="José Antonio Ureta Santacreu" userId="e36999d1-2b92-424a-9e8c-5fde0c5fbdd2" providerId="ADAL" clId="{B441C459-42E0-4465-B296-199851FC6E31}" dt="2024-09-11T11:12:14.001" v="3782" actId="6264"/>
          <ac:spMkLst>
            <pc:docMk/>
            <pc:sldMk cId="3746148614" sldId="1120"/>
            <ac:spMk id="4" creationId="{5BB05F78-69D9-59F5-4B6E-460A81BA14C2}"/>
          </ac:spMkLst>
        </pc:spChg>
        <pc:spChg chg="mod ord">
          <ac:chgData name="José Antonio Ureta Santacreu" userId="e36999d1-2b92-424a-9e8c-5fde0c5fbdd2" providerId="ADAL" clId="{B441C459-42E0-4465-B296-199851FC6E31}" dt="2024-09-11T11:12:14.001" v="3782" actId="6264"/>
          <ac:spMkLst>
            <pc:docMk/>
            <pc:sldMk cId="3746148614" sldId="1120"/>
            <ac:spMk id="5" creationId="{7E6EE505-74DB-F9AD-B41A-16254E27BFDD}"/>
          </ac:spMkLst>
        </pc:spChg>
        <pc:spChg chg="mod ord">
          <ac:chgData name="José Antonio Ureta Santacreu" userId="e36999d1-2b92-424a-9e8c-5fde0c5fbdd2" providerId="ADAL" clId="{B441C459-42E0-4465-B296-199851FC6E31}" dt="2024-09-11T11:12:14.001" v="3782" actId="6264"/>
          <ac:spMkLst>
            <pc:docMk/>
            <pc:sldMk cId="3746148614" sldId="1120"/>
            <ac:spMk id="6" creationId="{6B620D95-181F-2C5C-21D6-DE3B97892754}"/>
          </ac:spMkLst>
        </pc:spChg>
        <pc:spChg chg="add del mod">
          <ac:chgData name="José Antonio Ureta Santacreu" userId="e36999d1-2b92-424a-9e8c-5fde0c5fbdd2" providerId="ADAL" clId="{B441C459-42E0-4465-B296-199851FC6E31}" dt="2024-09-11T11:12:14.001" v="3782" actId="6264"/>
          <ac:spMkLst>
            <pc:docMk/>
            <pc:sldMk cId="3746148614" sldId="1120"/>
            <ac:spMk id="9" creationId="{E0EF5ADC-77F8-CD74-93A4-4093CB79611F}"/>
          </ac:spMkLst>
        </pc:spChg>
        <pc:spChg chg="add del mod">
          <ac:chgData name="José Antonio Ureta Santacreu" userId="e36999d1-2b92-424a-9e8c-5fde0c5fbdd2" providerId="ADAL" clId="{B441C459-42E0-4465-B296-199851FC6E31}" dt="2024-09-11T11:12:14.001" v="3782" actId="6264"/>
          <ac:spMkLst>
            <pc:docMk/>
            <pc:sldMk cId="3746148614" sldId="1120"/>
            <ac:spMk id="10" creationId="{0C17ACE7-078A-C147-F5D7-9B3842130222}"/>
          </ac:spMkLst>
        </pc:spChg>
        <pc:spChg chg="add del mod">
          <ac:chgData name="José Antonio Ureta Santacreu" userId="e36999d1-2b92-424a-9e8c-5fde0c5fbdd2" providerId="ADAL" clId="{B441C459-42E0-4465-B296-199851FC6E31}" dt="2024-09-11T11:12:14.001" v="3782" actId="6264"/>
          <ac:spMkLst>
            <pc:docMk/>
            <pc:sldMk cId="3746148614" sldId="1120"/>
            <ac:spMk id="11" creationId="{D3C2F735-FF9F-15D2-091D-6CE499EB47F7}"/>
          </ac:spMkLst>
        </pc:spChg>
        <pc:spChg chg="add del mod">
          <ac:chgData name="José Antonio Ureta Santacreu" userId="e36999d1-2b92-424a-9e8c-5fde0c5fbdd2" providerId="ADAL" clId="{B441C459-42E0-4465-B296-199851FC6E31}" dt="2024-09-11T11:12:14.001" v="3782" actId="6264"/>
          <ac:spMkLst>
            <pc:docMk/>
            <pc:sldMk cId="3746148614" sldId="1120"/>
            <ac:spMk id="12" creationId="{C1C4C621-0071-56D0-E7E9-9294D231B12A}"/>
          </ac:spMkLst>
        </pc:spChg>
        <pc:spChg chg="add del mod">
          <ac:chgData name="José Antonio Ureta Santacreu" userId="e36999d1-2b92-424a-9e8c-5fde0c5fbdd2" providerId="ADAL" clId="{B441C459-42E0-4465-B296-199851FC6E31}" dt="2024-09-11T11:12:14.001" v="3782" actId="6264"/>
          <ac:spMkLst>
            <pc:docMk/>
            <pc:sldMk cId="3746148614" sldId="1120"/>
            <ac:spMk id="13" creationId="{FA1C2D1D-1992-E379-4B6D-62CF082C3688}"/>
          </ac:spMkLst>
        </pc:spChg>
        <pc:graphicFrameChg chg="mod ord">
          <ac:chgData name="José Antonio Ureta Santacreu" userId="e36999d1-2b92-424a-9e8c-5fde0c5fbdd2" providerId="ADAL" clId="{B441C459-42E0-4465-B296-199851FC6E31}" dt="2024-09-11T11:12:14.001" v="3782" actId="6264"/>
          <ac:graphicFrameMkLst>
            <pc:docMk/>
            <pc:sldMk cId="3746148614" sldId="1120"/>
            <ac:graphicFrameMk id="7" creationId="{79CC8CA1-74D6-3AF6-A569-674CDF1C6902}"/>
          </ac:graphicFrameMkLst>
        </pc:graphicFrameChg>
        <pc:picChg chg="mod ord">
          <ac:chgData name="José Antonio Ureta Santacreu" userId="e36999d1-2b92-424a-9e8c-5fde0c5fbdd2" providerId="ADAL" clId="{B441C459-42E0-4465-B296-199851FC6E31}" dt="2024-09-11T11:12:14.001" v="3782" actId="6264"/>
          <ac:picMkLst>
            <pc:docMk/>
            <pc:sldMk cId="3746148614" sldId="1120"/>
            <ac:picMk id="5122" creationId="{F24C919C-4DE0-8DA2-808E-17B633D87085}"/>
          </ac:picMkLst>
        </pc:picChg>
      </pc:sldChg>
      <pc:sldChg chg="addSp delSp modSp mod chgLayout">
        <pc:chgData name="José Antonio Ureta Santacreu" userId="e36999d1-2b92-424a-9e8c-5fde0c5fbdd2" providerId="ADAL" clId="{B441C459-42E0-4465-B296-199851FC6E31}" dt="2024-09-11T11:12:14.001" v="3782" actId="6264"/>
        <pc:sldMkLst>
          <pc:docMk/>
          <pc:sldMk cId="805016784" sldId="1121"/>
        </pc:sldMkLst>
        <pc:spChg chg="add del mod">
          <ac:chgData name="José Antonio Ureta Santacreu" userId="e36999d1-2b92-424a-9e8c-5fde0c5fbdd2" providerId="ADAL" clId="{B441C459-42E0-4465-B296-199851FC6E31}" dt="2024-09-11T11:12:14.001" v="3782" actId="6264"/>
          <ac:spMkLst>
            <pc:docMk/>
            <pc:sldMk cId="805016784" sldId="1121"/>
            <ac:spMk id="3" creationId="{A78C795E-FF65-D75E-93B8-3BEFD422221E}"/>
          </ac:spMkLst>
        </pc:spChg>
        <pc:spChg chg="mod ord">
          <ac:chgData name="José Antonio Ureta Santacreu" userId="e36999d1-2b92-424a-9e8c-5fde0c5fbdd2" providerId="ADAL" clId="{B441C459-42E0-4465-B296-199851FC6E31}" dt="2024-09-11T11:12:14.001" v="3782" actId="6264"/>
          <ac:spMkLst>
            <pc:docMk/>
            <pc:sldMk cId="805016784" sldId="1121"/>
            <ac:spMk id="4" creationId="{D38CF4BF-028F-196C-7077-D687703D5489}"/>
          </ac:spMkLst>
        </pc:spChg>
        <pc:spChg chg="mod ord">
          <ac:chgData name="José Antonio Ureta Santacreu" userId="e36999d1-2b92-424a-9e8c-5fde0c5fbdd2" providerId="ADAL" clId="{B441C459-42E0-4465-B296-199851FC6E31}" dt="2024-09-11T11:12:14.001" v="3782" actId="6264"/>
          <ac:spMkLst>
            <pc:docMk/>
            <pc:sldMk cId="805016784" sldId="1121"/>
            <ac:spMk id="5" creationId="{A53A03EB-9CAC-5046-D0E1-477284FEA3BF}"/>
          </ac:spMkLst>
        </pc:spChg>
        <pc:spChg chg="mod ord">
          <ac:chgData name="José Antonio Ureta Santacreu" userId="e36999d1-2b92-424a-9e8c-5fde0c5fbdd2" providerId="ADAL" clId="{B441C459-42E0-4465-B296-199851FC6E31}" dt="2024-09-11T11:12:14.001" v="3782" actId="6264"/>
          <ac:spMkLst>
            <pc:docMk/>
            <pc:sldMk cId="805016784" sldId="1121"/>
            <ac:spMk id="6" creationId="{5F7FC6CD-F83A-A715-4A82-325C0859C077}"/>
          </ac:spMkLst>
        </pc:spChg>
        <pc:spChg chg="add del mod">
          <ac:chgData name="José Antonio Ureta Santacreu" userId="e36999d1-2b92-424a-9e8c-5fde0c5fbdd2" providerId="ADAL" clId="{B441C459-42E0-4465-B296-199851FC6E31}" dt="2024-09-11T11:12:14.001" v="3782" actId="6264"/>
          <ac:spMkLst>
            <pc:docMk/>
            <pc:sldMk cId="805016784" sldId="1121"/>
            <ac:spMk id="7" creationId="{76AF81B3-4FCE-F596-8098-EABA6BE57F27}"/>
          </ac:spMkLst>
        </pc:spChg>
        <pc:spChg chg="add del mod">
          <ac:chgData name="José Antonio Ureta Santacreu" userId="e36999d1-2b92-424a-9e8c-5fde0c5fbdd2" providerId="ADAL" clId="{B441C459-42E0-4465-B296-199851FC6E31}" dt="2024-09-11T11:12:14.001" v="3782" actId="6264"/>
          <ac:spMkLst>
            <pc:docMk/>
            <pc:sldMk cId="805016784" sldId="1121"/>
            <ac:spMk id="8" creationId="{38EFCDB7-4714-3CFD-D11B-69DBBC643A13}"/>
          </ac:spMkLst>
        </pc:spChg>
        <pc:spChg chg="add del mod">
          <ac:chgData name="José Antonio Ureta Santacreu" userId="e36999d1-2b92-424a-9e8c-5fde0c5fbdd2" providerId="ADAL" clId="{B441C459-42E0-4465-B296-199851FC6E31}" dt="2024-09-11T11:12:14.001" v="3782" actId="6264"/>
          <ac:spMkLst>
            <pc:docMk/>
            <pc:sldMk cId="805016784" sldId="1121"/>
            <ac:spMk id="9" creationId="{2A1E8418-73C4-E2D0-9004-7F1DA0EDC1C3}"/>
          </ac:spMkLst>
        </pc:spChg>
        <pc:spChg chg="add del mod">
          <ac:chgData name="José Antonio Ureta Santacreu" userId="e36999d1-2b92-424a-9e8c-5fde0c5fbdd2" providerId="ADAL" clId="{B441C459-42E0-4465-B296-199851FC6E31}" dt="2024-09-11T11:12:14.001" v="3782" actId="6264"/>
          <ac:spMkLst>
            <pc:docMk/>
            <pc:sldMk cId="805016784" sldId="1121"/>
            <ac:spMk id="10" creationId="{28B0630B-4114-FFCC-EA8A-E361D943A11C}"/>
          </ac:spMkLst>
        </pc:spChg>
        <pc:spChg chg="mod ord">
          <ac:chgData name="José Antonio Ureta Santacreu" userId="e36999d1-2b92-424a-9e8c-5fde0c5fbdd2" providerId="ADAL" clId="{B441C459-42E0-4465-B296-199851FC6E31}" dt="2024-09-11T11:12:14.001" v="3782" actId="6264"/>
          <ac:spMkLst>
            <pc:docMk/>
            <pc:sldMk cId="805016784" sldId="1121"/>
            <ac:spMk id="11" creationId="{3D303603-CAC6-33F1-248D-70C8F2CB65C2}"/>
          </ac:spMkLst>
        </pc:spChg>
        <pc:spChg chg="add del mod">
          <ac:chgData name="José Antonio Ureta Santacreu" userId="e36999d1-2b92-424a-9e8c-5fde0c5fbdd2" providerId="ADAL" clId="{B441C459-42E0-4465-B296-199851FC6E31}" dt="2024-09-11T11:12:14.001" v="3782" actId="6264"/>
          <ac:spMkLst>
            <pc:docMk/>
            <pc:sldMk cId="805016784" sldId="1121"/>
            <ac:spMk id="12" creationId="{DDF4BD9A-322B-831C-C728-3B6811AACAB7}"/>
          </ac:spMkLst>
        </pc:spChg>
        <pc:graphicFrameChg chg="mod ord">
          <ac:chgData name="José Antonio Ureta Santacreu" userId="e36999d1-2b92-424a-9e8c-5fde0c5fbdd2" providerId="ADAL" clId="{B441C459-42E0-4465-B296-199851FC6E31}" dt="2024-09-11T11:12:14.001" v="3782" actId="6264"/>
          <ac:graphicFrameMkLst>
            <pc:docMk/>
            <pc:sldMk cId="805016784" sldId="1121"/>
            <ac:graphicFrameMk id="2" creationId="{8DAF12A7-A97E-C514-3486-BE6C0A0AB210}"/>
          </ac:graphicFrameMkLst>
        </pc:graphicFrameChg>
        <pc:picChg chg="mod ord">
          <ac:chgData name="José Antonio Ureta Santacreu" userId="e36999d1-2b92-424a-9e8c-5fde0c5fbdd2" providerId="ADAL" clId="{B441C459-42E0-4465-B296-199851FC6E31}" dt="2024-09-11T11:12:14.001" v="3782" actId="6264"/>
          <ac:picMkLst>
            <pc:docMk/>
            <pc:sldMk cId="805016784" sldId="1121"/>
            <ac:picMk id="2050" creationId="{763C81B9-3F18-48C4-2611-AC26EE34AB01}"/>
          </ac:picMkLst>
        </pc:picChg>
      </pc:sldChg>
      <pc:sldChg chg="addSp delSp modSp mod chgLayout">
        <pc:chgData name="José Antonio Ureta Santacreu" userId="e36999d1-2b92-424a-9e8c-5fde0c5fbdd2" providerId="ADAL" clId="{B441C459-42E0-4465-B296-199851FC6E31}" dt="2024-09-11T11:12:14.001" v="3782" actId="6264"/>
        <pc:sldMkLst>
          <pc:docMk/>
          <pc:sldMk cId="3859403986" sldId="1124"/>
        </pc:sldMkLst>
        <pc:spChg chg="mod ord">
          <ac:chgData name="José Antonio Ureta Santacreu" userId="e36999d1-2b92-424a-9e8c-5fde0c5fbdd2" providerId="ADAL" clId="{B441C459-42E0-4465-B296-199851FC6E31}" dt="2024-09-11T11:12:14.001" v="3782" actId="6264"/>
          <ac:spMkLst>
            <pc:docMk/>
            <pc:sldMk cId="3859403986" sldId="1124"/>
            <ac:spMk id="2" creationId="{78793EEA-450B-E0C9-A6EC-2C5104D1A026}"/>
          </ac:spMkLst>
        </pc:spChg>
        <pc:spChg chg="mod ord">
          <ac:chgData name="José Antonio Ureta Santacreu" userId="e36999d1-2b92-424a-9e8c-5fde0c5fbdd2" providerId="ADAL" clId="{B441C459-42E0-4465-B296-199851FC6E31}" dt="2024-09-11T11:12:14.001" v="3782" actId="6264"/>
          <ac:spMkLst>
            <pc:docMk/>
            <pc:sldMk cId="3859403986" sldId="1124"/>
            <ac:spMk id="4" creationId="{5DC69A97-9132-9FA9-C25F-D911C02BDADF}"/>
          </ac:spMkLst>
        </pc:spChg>
        <pc:spChg chg="mod ord">
          <ac:chgData name="José Antonio Ureta Santacreu" userId="e36999d1-2b92-424a-9e8c-5fde0c5fbdd2" providerId="ADAL" clId="{B441C459-42E0-4465-B296-199851FC6E31}" dt="2024-09-11T11:12:14.001" v="3782" actId="6264"/>
          <ac:spMkLst>
            <pc:docMk/>
            <pc:sldMk cId="3859403986" sldId="1124"/>
            <ac:spMk id="5" creationId="{FA3E2635-8D46-6952-26C4-EB7D68E68CBC}"/>
          </ac:spMkLst>
        </pc:spChg>
        <pc:spChg chg="mod ord">
          <ac:chgData name="José Antonio Ureta Santacreu" userId="e36999d1-2b92-424a-9e8c-5fde0c5fbdd2" providerId="ADAL" clId="{B441C459-42E0-4465-B296-199851FC6E31}" dt="2024-09-11T11:12:14.001" v="3782" actId="6264"/>
          <ac:spMkLst>
            <pc:docMk/>
            <pc:sldMk cId="3859403986" sldId="1124"/>
            <ac:spMk id="6" creationId="{35267CC7-561D-19A0-E4FA-033BD879ACAD}"/>
          </ac:spMkLst>
        </pc:spChg>
        <pc:spChg chg="add del mod">
          <ac:chgData name="José Antonio Ureta Santacreu" userId="e36999d1-2b92-424a-9e8c-5fde0c5fbdd2" providerId="ADAL" clId="{B441C459-42E0-4465-B296-199851FC6E31}" dt="2024-09-11T11:12:14.001" v="3782" actId="6264"/>
          <ac:spMkLst>
            <pc:docMk/>
            <pc:sldMk cId="3859403986" sldId="1124"/>
            <ac:spMk id="7" creationId="{BD67ED1C-CDE1-AA11-65A9-DF01E99CDBCA}"/>
          </ac:spMkLst>
        </pc:spChg>
        <pc:spChg chg="add del mod">
          <ac:chgData name="José Antonio Ureta Santacreu" userId="e36999d1-2b92-424a-9e8c-5fde0c5fbdd2" providerId="ADAL" clId="{B441C459-42E0-4465-B296-199851FC6E31}" dt="2024-09-11T11:12:14.001" v="3782" actId="6264"/>
          <ac:spMkLst>
            <pc:docMk/>
            <pc:sldMk cId="3859403986" sldId="1124"/>
            <ac:spMk id="9" creationId="{B3626E8C-673D-7E7A-B7A4-0154D2DDBFEA}"/>
          </ac:spMkLst>
        </pc:spChg>
        <pc:spChg chg="add del mod">
          <ac:chgData name="José Antonio Ureta Santacreu" userId="e36999d1-2b92-424a-9e8c-5fde0c5fbdd2" providerId="ADAL" clId="{B441C459-42E0-4465-B296-199851FC6E31}" dt="2024-09-11T11:12:14.001" v="3782" actId="6264"/>
          <ac:spMkLst>
            <pc:docMk/>
            <pc:sldMk cId="3859403986" sldId="1124"/>
            <ac:spMk id="10" creationId="{7E490F90-66FB-508B-C261-522E12377E30}"/>
          </ac:spMkLst>
        </pc:spChg>
        <pc:spChg chg="add del mod">
          <ac:chgData name="José Antonio Ureta Santacreu" userId="e36999d1-2b92-424a-9e8c-5fde0c5fbdd2" providerId="ADAL" clId="{B441C459-42E0-4465-B296-199851FC6E31}" dt="2024-09-11T11:12:14.001" v="3782" actId="6264"/>
          <ac:spMkLst>
            <pc:docMk/>
            <pc:sldMk cId="3859403986" sldId="1124"/>
            <ac:spMk id="11" creationId="{56C90210-A575-D5AE-3264-F483EEA2CD17}"/>
          </ac:spMkLst>
        </pc:spChg>
        <pc:spChg chg="add del mod">
          <ac:chgData name="José Antonio Ureta Santacreu" userId="e36999d1-2b92-424a-9e8c-5fde0c5fbdd2" providerId="ADAL" clId="{B441C459-42E0-4465-B296-199851FC6E31}" dt="2024-09-11T11:12:14.001" v="3782" actId="6264"/>
          <ac:spMkLst>
            <pc:docMk/>
            <pc:sldMk cId="3859403986" sldId="1124"/>
            <ac:spMk id="12" creationId="{A38A5633-07D7-0A21-E147-7BD3D2CEC774}"/>
          </ac:spMkLst>
        </pc:spChg>
        <pc:spChg chg="add del mod">
          <ac:chgData name="José Antonio Ureta Santacreu" userId="e36999d1-2b92-424a-9e8c-5fde0c5fbdd2" providerId="ADAL" clId="{B441C459-42E0-4465-B296-199851FC6E31}" dt="2024-09-11T11:12:14.001" v="3782" actId="6264"/>
          <ac:spMkLst>
            <pc:docMk/>
            <pc:sldMk cId="3859403986" sldId="1124"/>
            <ac:spMk id="13" creationId="{CEA20191-0B40-63D6-6121-9C399E2ADE14}"/>
          </ac:spMkLst>
        </pc:spChg>
        <pc:graphicFrameChg chg="mod ord">
          <ac:chgData name="José Antonio Ureta Santacreu" userId="e36999d1-2b92-424a-9e8c-5fde0c5fbdd2" providerId="ADAL" clId="{B441C459-42E0-4465-B296-199851FC6E31}" dt="2024-09-11T11:12:14.001" v="3782" actId="6264"/>
          <ac:graphicFrameMkLst>
            <pc:docMk/>
            <pc:sldMk cId="3859403986" sldId="1124"/>
            <ac:graphicFrameMk id="8" creationId="{9CCDFB0A-96A2-855F-F7C0-639EB88779A3}"/>
          </ac:graphicFrameMkLst>
        </pc:graphicFrameChg>
        <pc:picChg chg="mod ord">
          <ac:chgData name="José Antonio Ureta Santacreu" userId="e36999d1-2b92-424a-9e8c-5fde0c5fbdd2" providerId="ADAL" clId="{B441C459-42E0-4465-B296-199851FC6E31}" dt="2024-09-11T11:12:14.001" v="3782" actId="6264"/>
          <ac:picMkLst>
            <pc:docMk/>
            <pc:sldMk cId="3859403986" sldId="1124"/>
            <ac:picMk id="21" creationId="{2EF29347-7118-6C54-DAE5-1CEE19601B70}"/>
          </ac:picMkLst>
        </pc:picChg>
      </pc:sldChg>
      <pc:sldChg chg="addSp delSp modSp mod chgLayout">
        <pc:chgData name="José Antonio Ureta Santacreu" userId="e36999d1-2b92-424a-9e8c-5fde0c5fbdd2" providerId="ADAL" clId="{B441C459-42E0-4465-B296-199851FC6E31}" dt="2024-09-12T15:49:01.378" v="5194"/>
        <pc:sldMkLst>
          <pc:docMk/>
          <pc:sldMk cId="2740318764" sldId="1126"/>
        </pc:sldMkLst>
        <pc:spChg chg="mod ord">
          <ac:chgData name="José Antonio Ureta Santacreu" userId="e36999d1-2b92-424a-9e8c-5fde0c5fbdd2" providerId="ADAL" clId="{B441C459-42E0-4465-B296-199851FC6E31}" dt="2024-09-11T11:12:14.001" v="3782" actId="6264"/>
          <ac:spMkLst>
            <pc:docMk/>
            <pc:sldMk cId="2740318764" sldId="1126"/>
            <ac:spMk id="2" creationId="{CCE9B02F-DB07-22BF-48C7-680BF7D91062}"/>
          </ac:spMkLst>
        </pc:spChg>
        <pc:spChg chg="mod ord">
          <ac:chgData name="José Antonio Ureta Santacreu" userId="e36999d1-2b92-424a-9e8c-5fde0c5fbdd2" providerId="ADAL" clId="{B441C459-42E0-4465-B296-199851FC6E31}" dt="2024-09-11T11:12:14.001" v="3782" actId="6264"/>
          <ac:spMkLst>
            <pc:docMk/>
            <pc:sldMk cId="2740318764" sldId="1126"/>
            <ac:spMk id="3" creationId="{FC587048-1E4C-CF7D-6DB9-83E5AB5796C1}"/>
          </ac:spMkLst>
        </pc:spChg>
        <pc:spChg chg="mod ord">
          <ac:chgData name="José Antonio Ureta Santacreu" userId="e36999d1-2b92-424a-9e8c-5fde0c5fbdd2" providerId="ADAL" clId="{B441C459-42E0-4465-B296-199851FC6E31}" dt="2024-09-11T11:12:14.001" v="3782" actId="6264"/>
          <ac:spMkLst>
            <pc:docMk/>
            <pc:sldMk cId="2740318764" sldId="1126"/>
            <ac:spMk id="4" creationId="{07744DF6-A1F5-EA4A-307C-29EF49815DF1}"/>
          </ac:spMkLst>
        </pc:spChg>
        <pc:spChg chg="mod ord">
          <ac:chgData name="José Antonio Ureta Santacreu" userId="e36999d1-2b92-424a-9e8c-5fde0c5fbdd2" providerId="ADAL" clId="{B441C459-42E0-4465-B296-199851FC6E31}" dt="2024-09-11T11:12:14.001" v="3782" actId="6264"/>
          <ac:spMkLst>
            <pc:docMk/>
            <pc:sldMk cId="2740318764" sldId="1126"/>
            <ac:spMk id="5" creationId="{CEDBF282-51B5-73D2-E6EF-2A3B2035E7C6}"/>
          </ac:spMkLst>
        </pc:spChg>
        <pc:spChg chg="mod ord">
          <ac:chgData name="José Antonio Ureta Santacreu" userId="e36999d1-2b92-424a-9e8c-5fde0c5fbdd2" providerId="ADAL" clId="{B441C459-42E0-4465-B296-199851FC6E31}" dt="2024-09-11T11:12:14.001" v="3782" actId="6264"/>
          <ac:spMkLst>
            <pc:docMk/>
            <pc:sldMk cId="2740318764" sldId="1126"/>
            <ac:spMk id="6" creationId="{9A0A471E-25CB-A1FA-61C8-72BD715E7B22}"/>
          </ac:spMkLst>
        </pc:spChg>
        <pc:spChg chg="add del mod">
          <ac:chgData name="José Antonio Ureta Santacreu" userId="e36999d1-2b92-424a-9e8c-5fde0c5fbdd2" providerId="ADAL" clId="{B441C459-42E0-4465-B296-199851FC6E31}" dt="2024-09-11T11:12:14.001" v="3782" actId="6264"/>
          <ac:spMkLst>
            <pc:docMk/>
            <pc:sldMk cId="2740318764" sldId="1126"/>
            <ac:spMk id="8" creationId="{6F3B55DA-01F1-D20B-7D68-8ED9C9C0F5A2}"/>
          </ac:spMkLst>
        </pc:spChg>
        <pc:spChg chg="add del mod">
          <ac:chgData name="José Antonio Ureta Santacreu" userId="e36999d1-2b92-424a-9e8c-5fde0c5fbdd2" providerId="ADAL" clId="{B441C459-42E0-4465-B296-199851FC6E31}" dt="2024-09-11T11:12:14.001" v="3782" actId="6264"/>
          <ac:spMkLst>
            <pc:docMk/>
            <pc:sldMk cId="2740318764" sldId="1126"/>
            <ac:spMk id="10" creationId="{759B16DC-4F18-95F9-1B72-8260274F5DB3}"/>
          </ac:spMkLst>
        </pc:spChg>
        <pc:spChg chg="add del mod">
          <ac:chgData name="José Antonio Ureta Santacreu" userId="e36999d1-2b92-424a-9e8c-5fde0c5fbdd2" providerId="ADAL" clId="{B441C459-42E0-4465-B296-199851FC6E31}" dt="2024-09-11T11:12:14.001" v="3782" actId="6264"/>
          <ac:spMkLst>
            <pc:docMk/>
            <pc:sldMk cId="2740318764" sldId="1126"/>
            <ac:spMk id="11" creationId="{4DD614CB-D5FF-EDA2-B434-BB678AD24423}"/>
          </ac:spMkLst>
        </pc:spChg>
        <pc:spChg chg="add del mod">
          <ac:chgData name="José Antonio Ureta Santacreu" userId="e36999d1-2b92-424a-9e8c-5fde0c5fbdd2" providerId="ADAL" clId="{B441C459-42E0-4465-B296-199851FC6E31}" dt="2024-09-11T11:12:14.001" v="3782" actId="6264"/>
          <ac:spMkLst>
            <pc:docMk/>
            <pc:sldMk cId="2740318764" sldId="1126"/>
            <ac:spMk id="12" creationId="{51700EB6-A51B-DABA-3554-A851FCC7F01D}"/>
          </ac:spMkLst>
        </pc:spChg>
        <pc:spChg chg="add del mod">
          <ac:chgData name="José Antonio Ureta Santacreu" userId="e36999d1-2b92-424a-9e8c-5fde0c5fbdd2" providerId="ADAL" clId="{B441C459-42E0-4465-B296-199851FC6E31}" dt="2024-09-11T11:12:14.001" v="3782" actId="6264"/>
          <ac:spMkLst>
            <pc:docMk/>
            <pc:sldMk cId="2740318764" sldId="1126"/>
            <ac:spMk id="13" creationId="{CCF24C3E-6E35-EEE8-DE58-C39BF81D2202}"/>
          </ac:spMkLst>
        </pc:spChg>
        <pc:spChg chg="add del mod">
          <ac:chgData name="José Antonio Ureta Santacreu" userId="e36999d1-2b92-424a-9e8c-5fde0c5fbdd2" providerId="ADAL" clId="{B441C459-42E0-4465-B296-199851FC6E31}" dt="2024-09-11T11:12:14.001" v="3782" actId="6264"/>
          <ac:spMkLst>
            <pc:docMk/>
            <pc:sldMk cId="2740318764" sldId="1126"/>
            <ac:spMk id="14" creationId="{1B0E8AFD-5189-0FC4-39E9-2385ABF4A9D0}"/>
          </ac:spMkLst>
        </pc:spChg>
        <pc:graphicFrameChg chg="mod modGraphic">
          <ac:chgData name="José Antonio Ureta Santacreu" userId="e36999d1-2b92-424a-9e8c-5fde0c5fbdd2" providerId="ADAL" clId="{B441C459-42E0-4465-B296-199851FC6E31}" dt="2024-09-12T15:49:01.378" v="5194"/>
          <ac:graphicFrameMkLst>
            <pc:docMk/>
            <pc:sldMk cId="2740318764" sldId="1126"/>
            <ac:graphicFrameMk id="16" creationId="{1655DAB9-B7CF-09AB-6FB3-0551CF43265F}"/>
          </ac:graphicFrameMkLst>
        </pc:graphicFrameChg>
        <pc:picChg chg="mod ord">
          <ac:chgData name="José Antonio Ureta Santacreu" userId="e36999d1-2b92-424a-9e8c-5fde0c5fbdd2" providerId="ADAL" clId="{B441C459-42E0-4465-B296-199851FC6E31}" dt="2024-09-11T11:12:14.001" v="3782" actId="6264"/>
          <ac:picMkLst>
            <pc:docMk/>
            <pc:sldMk cId="2740318764" sldId="1126"/>
            <ac:picMk id="5122" creationId="{F6EF689C-7BA9-4EAA-0DED-02B1630B10B9}"/>
          </ac:picMkLst>
        </pc:picChg>
      </pc:sldChg>
      <pc:sldChg chg="addSp delSp modSp mod chgLayout">
        <pc:chgData name="José Antonio Ureta Santacreu" userId="e36999d1-2b92-424a-9e8c-5fde0c5fbdd2" providerId="ADAL" clId="{B441C459-42E0-4465-B296-199851FC6E31}" dt="2024-09-11T11:12:14.001" v="3782" actId="6264"/>
        <pc:sldMkLst>
          <pc:docMk/>
          <pc:sldMk cId="147576837" sldId="1132"/>
        </pc:sldMkLst>
        <pc:spChg chg="mod ord">
          <ac:chgData name="José Antonio Ureta Santacreu" userId="e36999d1-2b92-424a-9e8c-5fde0c5fbdd2" providerId="ADAL" clId="{B441C459-42E0-4465-B296-199851FC6E31}" dt="2024-09-11T11:12:14.001" v="3782" actId="6264"/>
          <ac:spMkLst>
            <pc:docMk/>
            <pc:sldMk cId="147576837" sldId="1132"/>
            <ac:spMk id="2" creationId="{253D3892-9A30-AFCA-EDBA-E06B2E0C8244}"/>
          </ac:spMkLst>
        </pc:spChg>
        <pc:spChg chg="mod ord">
          <ac:chgData name="José Antonio Ureta Santacreu" userId="e36999d1-2b92-424a-9e8c-5fde0c5fbdd2" providerId="ADAL" clId="{B441C459-42E0-4465-B296-199851FC6E31}" dt="2024-09-11T11:12:14.001" v="3782" actId="6264"/>
          <ac:spMkLst>
            <pc:docMk/>
            <pc:sldMk cId="147576837" sldId="1132"/>
            <ac:spMk id="3" creationId="{60217718-2344-D301-6E28-AA15E8D6BFE7}"/>
          </ac:spMkLst>
        </pc:spChg>
        <pc:spChg chg="mod ord">
          <ac:chgData name="José Antonio Ureta Santacreu" userId="e36999d1-2b92-424a-9e8c-5fde0c5fbdd2" providerId="ADAL" clId="{B441C459-42E0-4465-B296-199851FC6E31}" dt="2024-09-11T11:12:14.001" v="3782" actId="6264"/>
          <ac:spMkLst>
            <pc:docMk/>
            <pc:sldMk cId="147576837" sldId="1132"/>
            <ac:spMk id="4" creationId="{1EB0CD7D-C372-93B7-260C-69D067EBF1D0}"/>
          </ac:spMkLst>
        </pc:spChg>
        <pc:spChg chg="mod ord">
          <ac:chgData name="José Antonio Ureta Santacreu" userId="e36999d1-2b92-424a-9e8c-5fde0c5fbdd2" providerId="ADAL" clId="{B441C459-42E0-4465-B296-199851FC6E31}" dt="2024-09-11T11:12:14.001" v="3782" actId="6264"/>
          <ac:spMkLst>
            <pc:docMk/>
            <pc:sldMk cId="147576837" sldId="1132"/>
            <ac:spMk id="5" creationId="{015166B4-9682-ED7F-BFF7-AA50E95EC94A}"/>
          </ac:spMkLst>
        </pc:spChg>
        <pc:spChg chg="add del mod">
          <ac:chgData name="José Antonio Ureta Santacreu" userId="e36999d1-2b92-424a-9e8c-5fde0c5fbdd2" providerId="ADAL" clId="{B441C459-42E0-4465-B296-199851FC6E31}" dt="2024-09-11T11:12:14.001" v="3782" actId="6264"/>
          <ac:spMkLst>
            <pc:docMk/>
            <pc:sldMk cId="147576837" sldId="1132"/>
            <ac:spMk id="6" creationId="{43D16D6E-9CAD-C473-CCFD-B648413E0BFA}"/>
          </ac:spMkLst>
        </pc:spChg>
        <pc:spChg chg="add del mod">
          <ac:chgData name="José Antonio Ureta Santacreu" userId="e36999d1-2b92-424a-9e8c-5fde0c5fbdd2" providerId="ADAL" clId="{B441C459-42E0-4465-B296-199851FC6E31}" dt="2024-09-11T11:12:14.001" v="3782" actId="6264"/>
          <ac:spMkLst>
            <pc:docMk/>
            <pc:sldMk cId="147576837" sldId="1132"/>
            <ac:spMk id="7" creationId="{8F7370B8-BE15-6569-C79B-49E541924428}"/>
          </ac:spMkLst>
        </pc:spChg>
        <pc:spChg chg="add del mod">
          <ac:chgData name="José Antonio Ureta Santacreu" userId="e36999d1-2b92-424a-9e8c-5fde0c5fbdd2" providerId="ADAL" clId="{B441C459-42E0-4465-B296-199851FC6E31}" dt="2024-09-11T11:12:14.001" v="3782" actId="6264"/>
          <ac:spMkLst>
            <pc:docMk/>
            <pc:sldMk cId="147576837" sldId="1132"/>
            <ac:spMk id="8" creationId="{35AD84DC-D1F0-37BA-AD66-D17D037DCA6A}"/>
          </ac:spMkLst>
        </pc:spChg>
        <pc:spChg chg="add del mod">
          <ac:chgData name="José Antonio Ureta Santacreu" userId="e36999d1-2b92-424a-9e8c-5fde0c5fbdd2" providerId="ADAL" clId="{B441C459-42E0-4465-B296-199851FC6E31}" dt="2024-09-11T11:12:14.001" v="3782" actId="6264"/>
          <ac:spMkLst>
            <pc:docMk/>
            <pc:sldMk cId="147576837" sldId="1132"/>
            <ac:spMk id="9" creationId="{72132204-9349-98A9-8FEB-184AFCB50345}"/>
          </ac:spMkLst>
        </pc:spChg>
        <pc:spChg chg="add del mod">
          <ac:chgData name="José Antonio Ureta Santacreu" userId="e36999d1-2b92-424a-9e8c-5fde0c5fbdd2" providerId="ADAL" clId="{B441C459-42E0-4465-B296-199851FC6E31}" dt="2024-09-11T11:12:14.001" v="3782" actId="6264"/>
          <ac:spMkLst>
            <pc:docMk/>
            <pc:sldMk cId="147576837" sldId="1132"/>
            <ac:spMk id="10" creationId="{6E49EBCF-B74F-7379-EB9D-A245D22DC59D}"/>
          </ac:spMkLst>
        </pc:spChg>
        <pc:picChg chg="mod ord">
          <ac:chgData name="José Antonio Ureta Santacreu" userId="e36999d1-2b92-424a-9e8c-5fde0c5fbdd2" providerId="ADAL" clId="{B441C459-42E0-4465-B296-199851FC6E31}" dt="2024-09-11T11:12:14.001" v="3782" actId="6264"/>
          <ac:picMkLst>
            <pc:docMk/>
            <pc:sldMk cId="147576837" sldId="1132"/>
            <ac:picMk id="12" creationId="{2A9C92E5-8099-6D23-A946-58BEBD5CFFA3}"/>
          </ac:picMkLst>
        </pc:picChg>
      </pc:sldChg>
      <pc:sldChg chg="add">
        <pc:chgData name="José Antonio Ureta Santacreu" userId="e36999d1-2b92-424a-9e8c-5fde0c5fbdd2" providerId="ADAL" clId="{B441C459-42E0-4465-B296-199851FC6E31}" dt="2024-07-23T10:42:07.386" v="272"/>
        <pc:sldMkLst>
          <pc:docMk/>
          <pc:sldMk cId="294503091" sldId="1133"/>
        </pc:sldMkLst>
      </pc:sldChg>
      <pc:sldChg chg="addSp delSp modSp mod chgLayout">
        <pc:chgData name="José Antonio Ureta Santacreu" userId="e36999d1-2b92-424a-9e8c-5fde0c5fbdd2" providerId="ADAL" clId="{B441C459-42E0-4465-B296-199851FC6E31}" dt="2024-09-11T11:12:14.001" v="3782" actId="6264"/>
        <pc:sldMkLst>
          <pc:docMk/>
          <pc:sldMk cId="1412934674" sldId="1133"/>
        </pc:sldMkLst>
        <pc:spChg chg="mod ord">
          <ac:chgData name="José Antonio Ureta Santacreu" userId="e36999d1-2b92-424a-9e8c-5fde0c5fbdd2" providerId="ADAL" clId="{B441C459-42E0-4465-B296-199851FC6E31}" dt="2024-09-11T11:12:14.001" v="3782" actId="6264"/>
          <ac:spMkLst>
            <pc:docMk/>
            <pc:sldMk cId="1412934674" sldId="1133"/>
            <ac:spMk id="2" creationId="{5528C364-1EE5-D4F1-FE69-8874C25CEB6B}"/>
          </ac:spMkLst>
        </pc:spChg>
        <pc:spChg chg="mod ord">
          <ac:chgData name="José Antonio Ureta Santacreu" userId="e36999d1-2b92-424a-9e8c-5fde0c5fbdd2" providerId="ADAL" clId="{B441C459-42E0-4465-B296-199851FC6E31}" dt="2024-09-11T11:12:14.001" v="3782" actId="6264"/>
          <ac:spMkLst>
            <pc:docMk/>
            <pc:sldMk cId="1412934674" sldId="1133"/>
            <ac:spMk id="3" creationId="{70559AF7-BCD6-5B09-27B5-C3E798CFCD57}"/>
          </ac:spMkLst>
        </pc:spChg>
        <pc:spChg chg="mod ord">
          <ac:chgData name="José Antonio Ureta Santacreu" userId="e36999d1-2b92-424a-9e8c-5fde0c5fbdd2" providerId="ADAL" clId="{B441C459-42E0-4465-B296-199851FC6E31}" dt="2024-09-11T11:12:14.001" v="3782" actId="6264"/>
          <ac:spMkLst>
            <pc:docMk/>
            <pc:sldMk cId="1412934674" sldId="1133"/>
            <ac:spMk id="4" creationId="{D2704750-A7DC-B206-01FE-FEC9BE82EF5F}"/>
          </ac:spMkLst>
        </pc:spChg>
        <pc:spChg chg="mod ord">
          <ac:chgData name="José Antonio Ureta Santacreu" userId="e36999d1-2b92-424a-9e8c-5fde0c5fbdd2" providerId="ADAL" clId="{B441C459-42E0-4465-B296-199851FC6E31}" dt="2024-09-11T11:12:14.001" v="3782" actId="6264"/>
          <ac:spMkLst>
            <pc:docMk/>
            <pc:sldMk cId="1412934674" sldId="1133"/>
            <ac:spMk id="5" creationId="{7B769C5D-5518-4995-64D9-A5AF8FF39733}"/>
          </ac:spMkLst>
        </pc:spChg>
        <pc:spChg chg="mod ord">
          <ac:chgData name="José Antonio Ureta Santacreu" userId="e36999d1-2b92-424a-9e8c-5fde0c5fbdd2" providerId="ADAL" clId="{B441C459-42E0-4465-B296-199851FC6E31}" dt="2024-09-11T11:12:14.001" v="3782" actId="6264"/>
          <ac:spMkLst>
            <pc:docMk/>
            <pc:sldMk cId="1412934674" sldId="1133"/>
            <ac:spMk id="6" creationId="{A0D1E53E-58AE-C6DB-BAEE-A1C57E55DF7E}"/>
          </ac:spMkLst>
        </pc:spChg>
        <pc:spChg chg="mod ord">
          <ac:chgData name="José Antonio Ureta Santacreu" userId="e36999d1-2b92-424a-9e8c-5fde0c5fbdd2" providerId="ADAL" clId="{B441C459-42E0-4465-B296-199851FC6E31}" dt="2024-09-11T11:12:14.001" v="3782" actId="6264"/>
          <ac:spMkLst>
            <pc:docMk/>
            <pc:sldMk cId="1412934674" sldId="1133"/>
            <ac:spMk id="7" creationId="{EB8D70EC-BDBA-B544-823B-65447549355F}"/>
          </ac:spMkLst>
        </pc:spChg>
        <pc:spChg chg="add del mod">
          <ac:chgData name="José Antonio Ureta Santacreu" userId="e36999d1-2b92-424a-9e8c-5fde0c5fbdd2" providerId="ADAL" clId="{B441C459-42E0-4465-B296-199851FC6E31}" dt="2024-09-11T11:12:14.001" v="3782" actId="6264"/>
          <ac:spMkLst>
            <pc:docMk/>
            <pc:sldMk cId="1412934674" sldId="1133"/>
            <ac:spMk id="10" creationId="{C2375A8D-2F12-AD59-3FA2-FB8AF1C72548}"/>
          </ac:spMkLst>
        </pc:spChg>
        <pc:spChg chg="add del mod">
          <ac:chgData name="José Antonio Ureta Santacreu" userId="e36999d1-2b92-424a-9e8c-5fde0c5fbdd2" providerId="ADAL" clId="{B441C459-42E0-4465-B296-199851FC6E31}" dt="2024-09-11T11:12:14.001" v="3782" actId="6264"/>
          <ac:spMkLst>
            <pc:docMk/>
            <pc:sldMk cId="1412934674" sldId="1133"/>
            <ac:spMk id="11" creationId="{3FDDC12A-DBC8-C59E-DB6D-C989E2413733}"/>
          </ac:spMkLst>
        </pc:spChg>
        <pc:spChg chg="add del mod">
          <ac:chgData name="José Antonio Ureta Santacreu" userId="e36999d1-2b92-424a-9e8c-5fde0c5fbdd2" providerId="ADAL" clId="{B441C459-42E0-4465-B296-199851FC6E31}" dt="2024-09-11T11:12:14.001" v="3782" actId="6264"/>
          <ac:spMkLst>
            <pc:docMk/>
            <pc:sldMk cId="1412934674" sldId="1133"/>
            <ac:spMk id="12" creationId="{5EBAEACB-A1B4-3B22-8CBE-4DBB50F6E81D}"/>
          </ac:spMkLst>
        </pc:spChg>
        <pc:spChg chg="add del mod">
          <ac:chgData name="José Antonio Ureta Santacreu" userId="e36999d1-2b92-424a-9e8c-5fde0c5fbdd2" providerId="ADAL" clId="{B441C459-42E0-4465-B296-199851FC6E31}" dt="2024-09-11T11:12:14.001" v="3782" actId="6264"/>
          <ac:spMkLst>
            <pc:docMk/>
            <pc:sldMk cId="1412934674" sldId="1133"/>
            <ac:spMk id="13" creationId="{10EE26E5-45BC-CC4F-AA11-7810E20AD686}"/>
          </ac:spMkLst>
        </pc:spChg>
        <pc:spChg chg="add del mod">
          <ac:chgData name="José Antonio Ureta Santacreu" userId="e36999d1-2b92-424a-9e8c-5fde0c5fbdd2" providerId="ADAL" clId="{B441C459-42E0-4465-B296-199851FC6E31}" dt="2024-09-11T11:12:14.001" v="3782" actId="6264"/>
          <ac:spMkLst>
            <pc:docMk/>
            <pc:sldMk cId="1412934674" sldId="1133"/>
            <ac:spMk id="14" creationId="{C48BF39A-E707-E890-501C-CB3BEA9AE383}"/>
          </ac:spMkLst>
        </pc:spChg>
        <pc:spChg chg="add del mod">
          <ac:chgData name="José Antonio Ureta Santacreu" userId="e36999d1-2b92-424a-9e8c-5fde0c5fbdd2" providerId="ADAL" clId="{B441C459-42E0-4465-B296-199851FC6E31}" dt="2024-09-11T11:12:14.001" v="3782" actId="6264"/>
          <ac:spMkLst>
            <pc:docMk/>
            <pc:sldMk cId="1412934674" sldId="1133"/>
            <ac:spMk id="15" creationId="{CC20B0EA-03AC-0B3F-29ED-5FF0E5C7A314}"/>
          </ac:spMkLst>
        </pc:spChg>
        <pc:spChg chg="add del mod">
          <ac:chgData name="José Antonio Ureta Santacreu" userId="e36999d1-2b92-424a-9e8c-5fde0c5fbdd2" providerId="ADAL" clId="{B441C459-42E0-4465-B296-199851FC6E31}" dt="2024-09-11T11:12:14.001" v="3782" actId="6264"/>
          <ac:spMkLst>
            <pc:docMk/>
            <pc:sldMk cId="1412934674" sldId="1133"/>
            <ac:spMk id="16" creationId="{E157F88E-459F-2EFB-B598-2B3C17148B2B}"/>
          </ac:spMkLst>
        </pc:spChg>
        <pc:spChg chg="add del mod">
          <ac:chgData name="José Antonio Ureta Santacreu" userId="e36999d1-2b92-424a-9e8c-5fde0c5fbdd2" providerId="ADAL" clId="{B441C459-42E0-4465-B296-199851FC6E31}" dt="2024-09-11T11:12:14.001" v="3782" actId="6264"/>
          <ac:spMkLst>
            <pc:docMk/>
            <pc:sldMk cId="1412934674" sldId="1133"/>
            <ac:spMk id="17" creationId="{B994E443-62D0-ABD1-006D-D30CD1DB4A76}"/>
          </ac:spMkLst>
        </pc:spChg>
        <pc:picChg chg="mod ord">
          <ac:chgData name="José Antonio Ureta Santacreu" userId="e36999d1-2b92-424a-9e8c-5fde0c5fbdd2" providerId="ADAL" clId="{B441C459-42E0-4465-B296-199851FC6E31}" dt="2024-09-11T11:12:14.001" v="3782" actId="6264"/>
          <ac:picMkLst>
            <pc:docMk/>
            <pc:sldMk cId="1412934674" sldId="1133"/>
            <ac:picMk id="8" creationId="{F0B74D6D-0BD8-5678-E15B-8127A6A2C4B2}"/>
          </ac:picMkLst>
        </pc:picChg>
        <pc:picChg chg="mod ord">
          <ac:chgData name="José Antonio Ureta Santacreu" userId="e36999d1-2b92-424a-9e8c-5fde0c5fbdd2" providerId="ADAL" clId="{B441C459-42E0-4465-B296-199851FC6E31}" dt="2024-09-11T11:12:14.001" v="3782" actId="6264"/>
          <ac:picMkLst>
            <pc:docMk/>
            <pc:sldMk cId="1412934674" sldId="1133"/>
            <ac:picMk id="9" creationId="{C90E6AEF-16E7-FEFC-E022-0361358CEDF2}"/>
          </ac:picMkLst>
        </pc:picChg>
      </pc:sldChg>
      <pc:sldChg chg="del">
        <pc:chgData name="José Antonio Ureta Santacreu" userId="e36999d1-2b92-424a-9e8c-5fde0c5fbdd2" providerId="ADAL" clId="{B441C459-42E0-4465-B296-199851FC6E31}" dt="2024-07-23T10:41:54.955" v="271" actId="2696"/>
        <pc:sldMkLst>
          <pc:docMk/>
          <pc:sldMk cId="3369214864" sldId="1133"/>
        </pc:sldMkLst>
      </pc:sldChg>
      <pc:sldChg chg="addSp delSp modSp add mod chgLayout">
        <pc:chgData name="José Antonio Ureta Santacreu" userId="e36999d1-2b92-424a-9e8c-5fde0c5fbdd2" providerId="ADAL" clId="{B441C459-42E0-4465-B296-199851FC6E31}" dt="2024-09-11T11:12:14.001" v="3782" actId="6264"/>
        <pc:sldMkLst>
          <pc:docMk/>
          <pc:sldMk cId="468617633" sldId="1134"/>
        </pc:sldMkLst>
        <pc:spChg chg="mod ord">
          <ac:chgData name="José Antonio Ureta Santacreu" userId="e36999d1-2b92-424a-9e8c-5fde0c5fbdd2" providerId="ADAL" clId="{B441C459-42E0-4465-B296-199851FC6E31}" dt="2024-09-11T11:12:14.001" v="3782" actId="6264"/>
          <ac:spMkLst>
            <pc:docMk/>
            <pc:sldMk cId="468617633" sldId="1134"/>
            <ac:spMk id="2" creationId="{3ACC140C-5B4D-85B4-BED1-135CB0451475}"/>
          </ac:spMkLst>
        </pc:spChg>
        <pc:spChg chg="mod ord">
          <ac:chgData name="José Antonio Ureta Santacreu" userId="e36999d1-2b92-424a-9e8c-5fde0c5fbdd2" providerId="ADAL" clId="{B441C459-42E0-4465-B296-199851FC6E31}" dt="2024-09-11T11:12:14.001" v="3782" actId="6264"/>
          <ac:spMkLst>
            <pc:docMk/>
            <pc:sldMk cId="468617633" sldId="1134"/>
            <ac:spMk id="3" creationId="{6AD22723-537F-7BBA-EAD2-D68EDFF4B821}"/>
          </ac:spMkLst>
        </pc:spChg>
        <pc:spChg chg="mod ord">
          <ac:chgData name="José Antonio Ureta Santacreu" userId="e36999d1-2b92-424a-9e8c-5fde0c5fbdd2" providerId="ADAL" clId="{B441C459-42E0-4465-B296-199851FC6E31}" dt="2024-09-11T11:12:14.001" v="3782" actId="6264"/>
          <ac:spMkLst>
            <pc:docMk/>
            <pc:sldMk cId="468617633" sldId="1134"/>
            <ac:spMk id="4" creationId="{8CEFE0F5-1AAD-514E-0602-4D54B39844D9}"/>
          </ac:spMkLst>
        </pc:spChg>
        <pc:spChg chg="add del mod">
          <ac:chgData name="José Antonio Ureta Santacreu" userId="e36999d1-2b92-424a-9e8c-5fde0c5fbdd2" providerId="ADAL" clId="{B441C459-42E0-4465-B296-199851FC6E31}" dt="2024-09-11T11:12:14.001" v="3782" actId="6264"/>
          <ac:spMkLst>
            <pc:docMk/>
            <pc:sldMk cId="468617633" sldId="1134"/>
            <ac:spMk id="6" creationId="{26293FA7-1F63-AD71-D305-2CC5FCD14083}"/>
          </ac:spMkLst>
        </pc:spChg>
        <pc:spChg chg="add del mod">
          <ac:chgData name="José Antonio Ureta Santacreu" userId="e36999d1-2b92-424a-9e8c-5fde0c5fbdd2" providerId="ADAL" clId="{B441C459-42E0-4465-B296-199851FC6E31}" dt="2024-09-11T11:12:14.001" v="3782" actId="6264"/>
          <ac:spMkLst>
            <pc:docMk/>
            <pc:sldMk cId="468617633" sldId="1134"/>
            <ac:spMk id="7" creationId="{202FD53B-E487-5E90-642D-F5F9603C2411}"/>
          </ac:spMkLst>
        </pc:spChg>
        <pc:spChg chg="add del mod">
          <ac:chgData name="José Antonio Ureta Santacreu" userId="e36999d1-2b92-424a-9e8c-5fde0c5fbdd2" providerId="ADAL" clId="{B441C459-42E0-4465-B296-199851FC6E31}" dt="2024-09-11T11:12:14.001" v="3782" actId="6264"/>
          <ac:spMkLst>
            <pc:docMk/>
            <pc:sldMk cId="468617633" sldId="1134"/>
            <ac:spMk id="9" creationId="{64D1F755-EB52-F0E3-17E7-9AAA15CDAC17}"/>
          </ac:spMkLst>
        </pc:spChg>
        <pc:spChg chg="add del mod">
          <ac:chgData name="José Antonio Ureta Santacreu" userId="e36999d1-2b92-424a-9e8c-5fde0c5fbdd2" providerId="ADAL" clId="{B441C459-42E0-4465-B296-199851FC6E31}" dt="2024-09-11T11:12:14.001" v="3782" actId="6264"/>
          <ac:spMkLst>
            <pc:docMk/>
            <pc:sldMk cId="468617633" sldId="1134"/>
            <ac:spMk id="10" creationId="{6763B82C-10F2-5E9C-D965-D8A9A09DD7B0}"/>
          </ac:spMkLst>
        </pc:spChg>
        <pc:graphicFrameChg chg="mod ord">
          <ac:chgData name="José Antonio Ureta Santacreu" userId="e36999d1-2b92-424a-9e8c-5fde0c5fbdd2" providerId="ADAL" clId="{B441C459-42E0-4465-B296-199851FC6E31}" dt="2024-09-11T11:12:14.001" v="3782" actId="6264"/>
          <ac:graphicFrameMkLst>
            <pc:docMk/>
            <pc:sldMk cId="468617633" sldId="1134"/>
            <ac:graphicFrameMk id="5" creationId="{75B8E763-E6E7-5540-1AFC-8898F67E3AE9}"/>
          </ac:graphicFrameMkLst>
        </pc:graphicFrameChg>
      </pc:sldChg>
      <pc:sldChg chg="addSp delSp modSp mod chgLayout">
        <pc:chgData name="José Antonio Ureta Santacreu" userId="e36999d1-2b92-424a-9e8c-5fde0c5fbdd2" providerId="ADAL" clId="{B441C459-42E0-4465-B296-199851FC6E31}" dt="2024-09-12T15:28:30.772" v="4750"/>
        <pc:sldMkLst>
          <pc:docMk/>
          <pc:sldMk cId="382757136" sldId="1136"/>
        </pc:sldMkLst>
        <pc:spChg chg="add del mod">
          <ac:chgData name="José Antonio Ureta Santacreu" userId="e36999d1-2b92-424a-9e8c-5fde0c5fbdd2" providerId="ADAL" clId="{B441C459-42E0-4465-B296-199851FC6E31}" dt="2024-07-31T11:29:49.047" v="1437"/>
          <ac:spMkLst>
            <pc:docMk/>
            <pc:sldMk cId="382757136" sldId="1136"/>
            <ac:spMk id="2" creationId="{D5CA629D-475A-2038-9013-FEFB5F254299}"/>
          </ac:spMkLst>
        </pc:spChg>
        <pc:spChg chg="add del mod">
          <ac:chgData name="José Antonio Ureta Santacreu" userId="e36999d1-2b92-424a-9e8c-5fde0c5fbdd2" providerId="ADAL" clId="{B441C459-42E0-4465-B296-199851FC6E31}" dt="2024-09-11T11:12:14.001" v="3782" actId="6264"/>
          <ac:spMkLst>
            <pc:docMk/>
            <pc:sldMk cId="382757136" sldId="1136"/>
            <ac:spMk id="2" creationId="{FEC77892-DB3F-3EC4-86C5-FB1C4C1E8E07}"/>
          </ac:spMkLst>
        </pc:spChg>
        <pc:spChg chg="mod ord">
          <ac:chgData name="José Antonio Ureta Santacreu" userId="e36999d1-2b92-424a-9e8c-5fde0c5fbdd2" providerId="ADAL" clId="{B441C459-42E0-4465-B296-199851FC6E31}" dt="2024-09-11T11:12:14.001" v="3782" actId="6264"/>
          <ac:spMkLst>
            <pc:docMk/>
            <pc:sldMk cId="382757136" sldId="1136"/>
            <ac:spMk id="3" creationId="{4231153E-1B29-6B7D-F5AF-D062F912C2C6}"/>
          </ac:spMkLst>
        </pc:spChg>
        <pc:spChg chg="add del mod">
          <ac:chgData name="José Antonio Ureta Santacreu" userId="e36999d1-2b92-424a-9e8c-5fde0c5fbdd2" providerId="ADAL" clId="{B441C459-42E0-4465-B296-199851FC6E31}" dt="2024-09-12T15:28:30.772" v="4750"/>
          <ac:spMkLst>
            <pc:docMk/>
            <pc:sldMk cId="382757136" sldId="1136"/>
            <ac:spMk id="5" creationId="{71AAB610-1A4B-28CA-AFA8-FED4D159EEA4}"/>
          </ac:spMkLst>
        </pc:spChg>
        <pc:spChg chg="add del mod">
          <ac:chgData name="José Antonio Ureta Santacreu" userId="e36999d1-2b92-424a-9e8c-5fde0c5fbdd2" providerId="ADAL" clId="{B441C459-42E0-4465-B296-199851FC6E31}" dt="2024-09-11T11:12:14.001" v="3782" actId="6264"/>
          <ac:spMkLst>
            <pc:docMk/>
            <pc:sldMk cId="382757136" sldId="1136"/>
            <ac:spMk id="5" creationId="{9130E65F-896F-2788-F781-257DAF9D6197}"/>
          </ac:spMkLst>
        </pc:spChg>
        <pc:spChg chg="add del mod">
          <ac:chgData name="José Antonio Ureta Santacreu" userId="e36999d1-2b92-424a-9e8c-5fde0c5fbdd2" providerId="ADAL" clId="{B441C459-42E0-4465-B296-199851FC6E31}" dt="2024-09-11T11:12:14.001" v="3782" actId="6264"/>
          <ac:spMkLst>
            <pc:docMk/>
            <pc:sldMk cId="382757136" sldId="1136"/>
            <ac:spMk id="6" creationId="{E09CC25E-6071-823D-7E8E-B1CC1C79C27F}"/>
          </ac:spMkLst>
        </pc:spChg>
        <pc:spChg chg="add del mod">
          <ac:chgData name="José Antonio Ureta Santacreu" userId="e36999d1-2b92-424a-9e8c-5fde0c5fbdd2" providerId="ADAL" clId="{B441C459-42E0-4465-B296-199851FC6E31}" dt="2024-09-11T11:12:14.001" v="3782" actId="6264"/>
          <ac:spMkLst>
            <pc:docMk/>
            <pc:sldMk cId="382757136" sldId="1136"/>
            <ac:spMk id="7" creationId="{134C3924-2EE6-8E2F-7612-77808AA3A2A6}"/>
          </ac:spMkLst>
        </pc:spChg>
        <pc:spChg chg="mod ord">
          <ac:chgData name="José Antonio Ureta Santacreu" userId="e36999d1-2b92-424a-9e8c-5fde0c5fbdd2" providerId="ADAL" clId="{B441C459-42E0-4465-B296-199851FC6E31}" dt="2024-09-11T11:12:14.001" v="3782" actId="6264"/>
          <ac:spMkLst>
            <pc:docMk/>
            <pc:sldMk cId="382757136" sldId="1136"/>
            <ac:spMk id="8" creationId="{69242178-44DB-B26A-CE37-2B8051119080}"/>
          </ac:spMkLst>
        </pc:spChg>
        <pc:spChg chg="add del mod">
          <ac:chgData name="José Antonio Ureta Santacreu" userId="e36999d1-2b92-424a-9e8c-5fde0c5fbdd2" providerId="ADAL" clId="{B441C459-42E0-4465-B296-199851FC6E31}" dt="2024-09-11T11:12:14.001" v="3782" actId="6264"/>
          <ac:spMkLst>
            <pc:docMk/>
            <pc:sldMk cId="382757136" sldId="1136"/>
            <ac:spMk id="9" creationId="{CFA7721F-179B-044C-B80D-3C9DF8D0E909}"/>
          </ac:spMkLst>
        </pc:spChg>
        <pc:spChg chg="add del mod">
          <ac:chgData name="José Antonio Ureta Santacreu" userId="e36999d1-2b92-424a-9e8c-5fde0c5fbdd2" providerId="ADAL" clId="{B441C459-42E0-4465-B296-199851FC6E31}" dt="2024-09-11T11:12:14.001" v="3782" actId="6264"/>
          <ac:spMkLst>
            <pc:docMk/>
            <pc:sldMk cId="382757136" sldId="1136"/>
            <ac:spMk id="10" creationId="{40640630-4C40-A793-1514-65D6478589F5}"/>
          </ac:spMkLst>
        </pc:spChg>
        <pc:spChg chg="mod ord">
          <ac:chgData name="José Antonio Ureta Santacreu" userId="e36999d1-2b92-424a-9e8c-5fde0c5fbdd2" providerId="ADAL" clId="{B441C459-42E0-4465-B296-199851FC6E31}" dt="2024-09-11T11:12:14.001" v="3782" actId="6264"/>
          <ac:spMkLst>
            <pc:docMk/>
            <pc:sldMk cId="382757136" sldId="1136"/>
            <ac:spMk id="19" creationId="{3A9ED0CA-370D-62E5-6BBC-331BDF9C4E67}"/>
          </ac:spMkLst>
        </pc:spChg>
        <pc:spChg chg="mod ord">
          <ac:chgData name="José Antonio Ureta Santacreu" userId="e36999d1-2b92-424a-9e8c-5fde0c5fbdd2" providerId="ADAL" clId="{B441C459-42E0-4465-B296-199851FC6E31}" dt="2024-09-11T11:12:14.001" v="3782" actId="6264"/>
          <ac:spMkLst>
            <pc:docMk/>
            <pc:sldMk cId="382757136" sldId="1136"/>
            <ac:spMk id="21" creationId="{5589372F-6495-9CF3-ECEF-6987CBAC1BC1}"/>
          </ac:spMkLst>
        </pc:spChg>
        <pc:spChg chg="mod ord">
          <ac:chgData name="José Antonio Ureta Santacreu" userId="e36999d1-2b92-424a-9e8c-5fde0c5fbdd2" providerId="ADAL" clId="{B441C459-42E0-4465-B296-199851FC6E31}" dt="2024-09-11T11:12:14.001" v="3782" actId="6264"/>
          <ac:spMkLst>
            <pc:docMk/>
            <pc:sldMk cId="382757136" sldId="1136"/>
            <ac:spMk id="23" creationId="{B647C031-2AEA-BE91-989C-B33F4017E54C}"/>
          </ac:spMkLst>
        </pc:spChg>
        <pc:picChg chg="add del mod ord">
          <ac:chgData name="José Antonio Ureta Santacreu" userId="e36999d1-2b92-424a-9e8c-5fde0c5fbdd2" providerId="ADAL" clId="{B441C459-42E0-4465-B296-199851FC6E31}" dt="2024-09-12T15:28:28.443" v="4749" actId="478"/>
          <ac:picMkLst>
            <pc:docMk/>
            <pc:sldMk cId="382757136" sldId="1136"/>
            <ac:picMk id="4" creationId="{58F502C8-A8EA-6CBF-DCA4-84E68A7BF05C}"/>
          </ac:picMkLst>
        </pc:picChg>
        <pc:picChg chg="del">
          <ac:chgData name="José Antonio Ureta Santacreu" userId="e36999d1-2b92-424a-9e8c-5fde0c5fbdd2" providerId="ADAL" clId="{B441C459-42E0-4465-B296-199851FC6E31}" dt="2024-07-31T11:28:47.438" v="1436" actId="478"/>
          <ac:picMkLst>
            <pc:docMk/>
            <pc:sldMk cId="382757136" sldId="1136"/>
            <ac:picMk id="1026" creationId="{301BE4E6-3498-CAB0-FBF3-38EBAD8B6DDB}"/>
          </ac:picMkLst>
        </pc:picChg>
        <pc:picChg chg="add mod">
          <ac:chgData name="José Antonio Ureta Santacreu" userId="e36999d1-2b92-424a-9e8c-5fde0c5fbdd2" providerId="ADAL" clId="{B441C459-42E0-4465-B296-199851FC6E31}" dt="2024-09-12T15:28:30.772" v="4750"/>
          <ac:picMkLst>
            <pc:docMk/>
            <pc:sldMk cId="382757136" sldId="1136"/>
            <ac:picMk id="2050" creationId="{FC3865DE-D55E-DAB6-DECC-F12AD104FDF9}"/>
          </ac:picMkLst>
        </pc:picChg>
      </pc:sldChg>
      <pc:sldChg chg="addSp delSp modSp mod ord chgLayout">
        <pc:chgData name="José Antonio Ureta Santacreu" userId="e36999d1-2b92-424a-9e8c-5fde0c5fbdd2" providerId="ADAL" clId="{B441C459-42E0-4465-B296-199851FC6E31}" dt="2024-09-12T10:37:26.902" v="3928" actId="27636"/>
        <pc:sldMkLst>
          <pc:docMk/>
          <pc:sldMk cId="3714723522" sldId="1137"/>
        </pc:sldMkLst>
        <pc:spChg chg="mod ord">
          <ac:chgData name="José Antonio Ureta Santacreu" userId="e36999d1-2b92-424a-9e8c-5fde0c5fbdd2" providerId="ADAL" clId="{B441C459-42E0-4465-B296-199851FC6E31}" dt="2024-09-11T11:12:14.001" v="3782" actId="6264"/>
          <ac:spMkLst>
            <pc:docMk/>
            <pc:sldMk cId="3714723522" sldId="1137"/>
            <ac:spMk id="2" creationId="{CF612010-313F-42D3-859F-CC56842E27EE}"/>
          </ac:spMkLst>
        </pc:spChg>
        <pc:spChg chg="mod ord">
          <ac:chgData name="José Antonio Ureta Santacreu" userId="e36999d1-2b92-424a-9e8c-5fde0c5fbdd2" providerId="ADAL" clId="{B441C459-42E0-4465-B296-199851FC6E31}" dt="2024-09-11T11:12:14.001" v="3782" actId="6264"/>
          <ac:spMkLst>
            <pc:docMk/>
            <pc:sldMk cId="3714723522" sldId="1137"/>
            <ac:spMk id="3" creationId="{315F8354-FF08-4424-98D5-CBB4DF1BDA97}"/>
          </ac:spMkLst>
        </pc:spChg>
        <pc:spChg chg="mod ord">
          <ac:chgData name="José Antonio Ureta Santacreu" userId="e36999d1-2b92-424a-9e8c-5fde0c5fbdd2" providerId="ADAL" clId="{B441C459-42E0-4465-B296-199851FC6E31}" dt="2024-09-11T11:12:14.001" v="3782" actId="6264"/>
          <ac:spMkLst>
            <pc:docMk/>
            <pc:sldMk cId="3714723522" sldId="1137"/>
            <ac:spMk id="4" creationId="{6239C096-3252-41EF-A8D2-655618AAD697}"/>
          </ac:spMkLst>
        </pc:spChg>
        <pc:spChg chg="add del mod">
          <ac:chgData name="José Antonio Ureta Santacreu" userId="e36999d1-2b92-424a-9e8c-5fde0c5fbdd2" providerId="ADAL" clId="{B441C459-42E0-4465-B296-199851FC6E31}" dt="2024-09-11T11:12:14.001" v="3782" actId="6264"/>
          <ac:spMkLst>
            <pc:docMk/>
            <pc:sldMk cId="3714723522" sldId="1137"/>
            <ac:spMk id="5" creationId="{DA750F81-327A-4410-ACEC-3E6C9F1B3FAF}"/>
          </ac:spMkLst>
        </pc:spChg>
        <pc:spChg chg="mod ord">
          <ac:chgData name="José Antonio Ureta Santacreu" userId="e36999d1-2b92-424a-9e8c-5fde0c5fbdd2" providerId="ADAL" clId="{B441C459-42E0-4465-B296-199851FC6E31}" dt="2024-09-12T10:37:26.902" v="3928" actId="27636"/>
          <ac:spMkLst>
            <pc:docMk/>
            <pc:sldMk cId="3714723522" sldId="1137"/>
            <ac:spMk id="6" creationId="{108E3126-1A1B-40BB-B2C8-5366C9DA7B1A}"/>
          </ac:spMkLst>
        </pc:spChg>
        <pc:spChg chg="add del mod">
          <ac:chgData name="José Antonio Ureta Santacreu" userId="e36999d1-2b92-424a-9e8c-5fde0c5fbdd2" providerId="ADAL" clId="{B441C459-42E0-4465-B296-199851FC6E31}" dt="2024-09-11T11:12:14.001" v="3782" actId="6264"/>
          <ac:spMkLst>
            <pc:docMk/>
            <pc:sldMk cId="3714723522" sldId="1137"/>
            <ac:spMk id="7" creationId="{DE5AFBD6-CBB8-6F21-7CF8-C26ACF9F04CE}"/>
          </ac:spMkLst>
        </pc:spChg>
        <pc:spChg chg="add del mod">
          <ac:chgData name="José Antonio Ureta Santacreu" userId="e36999d1-2b92-424a-9e8c-5fde0c5fbdd2" providerId="ADAL" clId="{B441C459-42E0-4465-B296-199851FC6E31}" dt="2024-09-11T11:12:14.001" v="3782" actId="6264"/>
          <ac:spMkLst>
            <pc:docMk/>
            <pc:sldMk cId="3714723522" sldId="1137"/>
            <ac:spMk id="8" creationId="{B5D56688-70BA-2124-5765-8818C973E653}"/>
          </ac:spMkLst>
        </pc:spChg>
        <pc:spChg chg="add del mod">
          <ac:chgData name="José Antonio Ureta Santacreu" userId="e36999d1-2b92-424a-9e8c-5fde0c5fbdd2" providerId="ADAL" clId="{B441C459-42E0-4465-B296-199851FC6E31}" dt="2024-09-11T11:12:14.001" v="3782" actId="6264"/>
          <ac:spMkLst>
            <pc:docMk/>
            <pc:sldMk cId="3714723522" sldId="1137"/>
            <ac:spMk id="9" creationId="{67121C74-7D8D-2D70-FE6B-248080002C23}"/>
          </ac:spMkLst>
        </pc:spChg>
        <pc:spChg chg="add del mod">
          <ac:chgData name="José Antonio Ureta Santacreu" userId="e36999d1-2b92-424a-9e8c-5fde0c5fbdd2" providerId="ADAL" clId="{B441C459-42E0-4465-B296-199851FC6E31}" dt="2024-09-11T11:12:14.001" v="3782" actId="6264"/>
          <ac:spMkLst>
            <pc:docMk/>
            <pc:sldMk cId="3714723522" sldId="1137"/>
            <ac:spMk id="10" creationId="{39DF3E98-D6E5-5C72-6FB8-B77BE7F01383}"/>
          </ac:spMkLst>
        </pc:spChg>
        <pc:graphicFrameChg chg="mod ord">
          <ac:chgData name="José Antonio Ureta Santacreu" userId="e36999d1-2b92-424a-9e8c-5fde0c5fbdd2" providerId="ADAL" clId="{B441C459-42E0-4465-B296-199851FC6E31}" dt="2024-09-11T11:12:14.001" v="3782" actId="6264"/>
          <ac:graphicFrameMkLst>
            <pc:docMk/>
            <pc:sldMk cId="3714723522" sldId="1137"/>
            <ac:graphicFrameMk id="11" creationId="{00ADEC5C-A7FA-4591-8554-691F502F2DD4}"/>
          </ac:graphicFrameMkLst>
        </pc:graphicFrameChg>
      </pc:sldChg>
      <pc:sldChg chg="addSp delSp modSp mod chgLayout">
        <pc:chgData name="José Antonio Ureta Santacreu" userId="e36999d1-2b92-424a-9e8c-5fde0c5fbdd2" providerId="ADAL" clId="{B441C459-42E0-4465-B296-199851FC6E31}" dt="2024-09-12T11:10:20.261" v="4372" actId="207"/>
        <pc:sldMkLst>
          <pc:docMk/>
          <pc:sldMk cId="1888233810" sldId="1146"/>
        </pc:sldMkLst>
        <pc:spChg chg="mod ord">
          <ac:chgData name="José Antonio Ureta Santacreu" userId="e36999d1-2b92-424a-9e8c-5fde0c5fbdd2" providerId="ADAL" clId="{B441C459-42E0-4465-B296-199851FC6E31}" dt="2024-09-11T11:12:14.001" v="3782" actId="6264"/>
          <ac:spMkLst>
            <pc:docMk/>
            <pc:sldMk cId="1888233810" sldId="1146"/>
            <ac:spMk id="2" creationId="{C6C70B8E-32E6-9C69-C83D-4FB8F6FA848E}"/>
          </ac:spMkLst>
        </pc:spChg>
        <pc:spChg chg="mod ord">
          <ac:chgData name="José Antonio Ureta Santacreu" userId="e36999d1-2b92-424a-9e8c-5fde0c5fbdd2" providerId="ADAL" clId="{B441C459-42E0-4465-B296-199851FC6E31}" dt="2024-09-12T11:10:20.261" v="4372" actId="207"/>
          <ac:spMkLst>
            <pc:docMk/>
            <pc:sldMk cId="1888233810" sldId="1146"/>
            <ac:spMk id="3" creationId="{B607938A-2038-A25A-11D6-E6C4018CFFB9}"/>
          </ac:spMkLst>
        </pc:spChg>
        <pc:spChg chg="del mod">
          <ac:chgData name="José Antonio Ureta Santacreu" userId="e36999d1-2b92-424a-9e8c-5fde0c5fbdd2" providerId="ADAL" clId="{B441C459-42E0-4465-B296-199851FC6E31}" dt="2024-09-11T11:12:14.001" v="3782" actId="6264"/>
          <ac:spMkLst>
            <pc:docMk/>
            <pc:sldMk cId="1888233810" sldId="1146"/>
            <ac:spMk id="4" creationId="{55C7127F-84F7-9FA8-B8BA-5F7ABA537596}"/>
          </ac:spMkLst>
        </pc:spChg>
        <pc:spChg chg="mod">
          <ac:chgData name="José Antonio Ureta Santacreu" userId="e36999d1-2b92-424a-9e8c-5fde0c5fbdd2" providerId="ADAL" clId="{B441C459-42E0-4465-B296-199851FC6E31}" dt="2024-09-11T10:59:56.310" v="3714" actId="27636"/>
          <ac:spMkLst>
            <pc:docMk/>
            <pc:sldMk cId="1888233810" sldId="1146"/>
            <ac:spMk id="5" creationId="{E5D38486-23BF-0CA5-D4A4-DF49ED76D868}"/>
          </ac:spMkLst>
        </pc:spChg>
        <pc:spChg chg="mod ord">
          <ac:chgData name="José Antonio Ureta Santacreu" userId="e36999d1-2b92-424a-9e8c-5fde0c5fbdd2" providerId="ADAL" clId="{B441C459-42E0-4465-B296-199851FC6E31}" dt="2024-09-11T11:12:14.001" v="3782" actId="6264"/>
          <ac:spMkLst>
            <pc:docMk/>
            <pc:sldMk cId="1888233810" sldId="1146"/>
            <ac:spMk id="9" creationId="{A81A3511-3B90-E774-E076-3CD35C6F3F72}"/>
          </ac:spMkLst>
        </pc:spChg>
        <pc:spChg chg="mod ord">
          <ac:chgData name="José Antonio Ureta Santacreu" userId="e36999d1-2b92-424a-9e8c-5fde0c5fbdd2" providerId="ADAL" clId="{B441C459-42E0-4465-B296-199851FC6E31}" dt="2024-09-11T11:12:14.001" v="3782" actId="6264"/>
          <ac:spMkLst>
            <pc:docMk/>
            <pc:sldMk cId="1888233810" sldId="1146"/>
            <ac:spMk id="10" creationId="{72225B4C-2A21-89ED-D2E3-4790B7AC3ED9}"/>
          </ac:spMkLst>
        </pc:spChg>
        <pc:spChg chg="mod ord">
          <ac:chgData name="José Antonio Ureta Santacreu" userId="e36999d1-2b92-424a-9e8c-5fde0c5fbdd2" providerId="ADAL" clId="{B441C459-42E0-4465-B296-199851FC6E31}" dt="2024-09-11T11:12:14.001" v="3782" actId="6264"/>
          <ac:spMkLst>
            <pc:docMk/>
            <pc:sldMk cId="1888233810" sldId="1146"/>
            <ac:spMk id="11" creationId="{8C5BBC61-0F64-C70D-CCDB-8F109A030D20}"/>
          </ac:spMkLst>
        </pc:spChg>
        <pc:spChg chg="add del mod">
          <ac:chgData name="José Antonio Ureta Santacreu" userId="e36999d1-2b92-424a-9e8c-5fde0c5fbdd2" providerId="ADAL" clId="{B441C459-42E0-4465-B296-199851FC6E31}" dt="2024-09-11T11:12:14.001" v="3782" actId="6264"/>
          <ac:spMkLst>
            <pc:docMk/>
            <pc:sldMk cId="1888233810" sldId="1146"/>
            <ac:spMk id="13" creationId="{C19F8C1B-898C-3BA5-4AEE-695F6A1009D2}"/>
          </ac:spMkLst>
        </pc:spChg>
        <pc:spChg chg="add del mod">
          <ac:chgData name="José Antonio Ureta Santacreu" userId="e36999d1-2b92-424a-9e8c-5fde0c5fbdd2" providerId="ADAL" clId="{B441C459-42E0-4465-B296-199851FC6E31}" dt="2024-09-11T11:12:14.001" v="3782" actId="6264"/>
          <ac:spMkLst>
            <pc:docMk/>
            <pc:sldMk cId="1888233810" sldId="1146"/>
            <ac:spMk id="14" creationId="{EE3A27CE-87E9-3E44-4830-D55E365AE3B5}"/>
          </ac:spMkLst>
        </pc:spChg>
        <pc:spChg chg="add del mod">
          <ac:chgData name="José Antonio Ureta Santacreu" userId="e36999d1-2b92-424a-9e8c-5fde0c5fbdd2" providerId="ADAL" clId="{B441C459-42E0-4465-B296-199851FC6E31}" dt="2024-09-11T11:12:14.001" v="3782" actId="6264"/>
          <ac:spMkLst>
            <pc:docMk/>
            <pc:sldMk cId="1888233810" sldId="1146"/>
            <ac:spMk id="15" creationId="{2E3DF046-34F6-6963-F733-47C733BCC67F}"/>
          </ac:spMkLst>
        </pc:spChg>
        <pc:spChg chg="add del mod">
          <ac:chgData name="José Antonio Ureta Santacreu" userId="e36999d1-2b92-424a-9e8c-5fde0c5fbdd2" providerId="ADAL" clId="{B441C459-42E0-4465-B296-199851FC6E31}" dt="2024-09-11T11:12:14.001" v="3782" actId="6264"/>
          <ac:spMkLst>
            <pc:docMk/>
            <pc:sldMk cId="1888233810" sldId="1146"/>
            <ac:spMk id="16" creationId="{47BAF887-D697-F7BD-4F25-C591A6672089}"/>
          </ac:spMkLst>
        </pc:spChg>
        <pc:spChg chg="add del mod">
          <ac:chgData name="José Antonio Ureta Santacreu" userId="e36999d1-2b92-424a-9e8c-5fde0c5fbdd2" providerId="ADAL" clId="{B441C459-42E0-4465-B296-199851FC6E31}" dt="2024-09-11T11:12:14.001" v="3782" actId="6264"/>
          <ac:spMkLst>
            <pc:docMk/>
            <pc:sldMk cId="1888233810" sldId="1146"/>
            <ac:spMk id="17" creationId="{06F84956-BC23-23F1-60FE-06219609EEE5}"/>
          </ac:spMkLst>
        </pc:spChg>
        <pc:spChg chg="add mod ord">
          <ac:chgData name="José Antonio Ureta Santacreu" userId="e36999d1-2b92-424a-9e8c-5fde0c5fbdd2" providerId="ADAL" clId="{B441C459-42E0-4465-B296-199851FC6E31}" dt="2024-09-11T11:12:14.001" v="3782" actId="6264"/>
          <ac:spMkLst>
            <pc:docMk/>
            <pc:sldMk cId="1888233810" sldId="1146"/>
            <ac:spMk id="18" creationId="{F5573AE4-5417-2631-73A5-D832732A04CD}"/>
          </ac:spMkLst>
        </pc:spChg>
      </pc:sldChg>
      <pc:sldChg chg="addSp delSp modSp mod chgLayout">
        <pc:chgData name="José Antonio Ureta Santacreu" userId="e36999d1-2b92-424a-9e8c-5fde0c5fbdd2" providerId="ADAL" clId="{B441C459-42E0-4465-B296-199851FC6E31}" dt="2024-09-11T11:12:14.001" v="3782" actId="6264"/>
        <pc:sldMkLst>
          <pc:docMk/>
          <pc:sldMk cId="307772620" sldId="1147"/>
        </pc:sldMkLst>
        <pc:spChg chg="mod ord">
          <ac:chgData name="José Antonio Ureta Santacreu" userId="e36999d1-2b92-424a-9e8c-5fde0c5fbdd2" providerId="ADAL" clId="{B441C459-42E0-4465-B296-199851FC6E31}" dt="2024-09-11T11:12:14.001" v="3782" actId="6264"/>
          <ac:spMkLst>
            <pc:docMk/>
            <pc:sldMk cId="307772620" sldId="1147"/>
            <ac:spMk id="2" creationId="{80CD90C6-657A-F336-9BC4-6B5C23988BAC}"/>
          </ac:spMkLst>
        </pc:spChg>
        <pc:spChg chg="mod ord">
          <ac:chgData name="José Antonio Ureta Santacreu" userId="e36999d1-2b92-424a-9e8c-5fde0c5fbdd2" providerId="ADAL" clId="{B441C459-42E0-4465-B296-199851FC6E31}" dt="2024-09-11T11:12:14.001" v="3782" actId="6264"/>
          <ac:spMkLst>
            <pc:docMk/>
            <pc:sldMk cId="307772620" sldId="1147"/>
            <ac:spMk id="4" creationId="{D63F0A7D-CE73-F927-E347-781B280D5563}"/>
          </ac:spMkLst>
        </pc:spChg>
        <pc:spChg chg="mod ord">
          <ac:chgData name="José Antonio Ureta Santacreu" userId="e36999d1-2b92-424a-9e8c-5fde0c5fbdd2" providerId="ADAL" clId="{B441C459-42E0-4465-B296-199851FC6E31}" dt="2024-09-11T11:12:14.001" v="3782" actId="6264"/>
          <ac:spMkLst>
            <pc:docMk/>
            <pc:sldMk cId="307772620" sldId="1147"/>
            <ac:spMk id="5" creationId="{33DED40D-89D1-D72C-76F8-049FEC6646DE}"/>
          </ac:spMkLst>
        </pc:spChg>
        <pc:spChg chg="mod ord">
          <ac:chgData name="José Antonio Ureta Santacreu" userId="e36999d1-2b92-424a-9e8c-5fde0c5fbdd2" providerId="ADAL" clId="{B441C459-42E0-4465-B296-199851FC6E31}" dt="2024-09-11T11:12:14.001" v="3782" actId="6264"/>
          <ac:spMkLst>
            <pc:docMk/>
            <pc:sldMk cId="307772620" sldId="1147"/>
            <ac:spMk id="6" creationId="{6F6CAA1C-D5DB-9B3F-0D71-B37E0B96360A}"/>
          </ac:spMkLst>
        </pc:spChg>
        <pc:spChg chg="add del mod">
          <ac:chgData name="José Antonio Ureta Santacreu" userId="e36999d1-2b92-424a-9e8c-5fde0c5fbdd2" providerId="ADAL" clId="{B441C459-42E0-4465-B296-199851FC6E31}" dt="2024-09-11T11:12:14.001" v="3782" actId="6264"/>
          <ac:spMkLst>
            <pc:docMk/>
            <pc:sldMk cId="307772620" sldId="1147"/>
            <ac:spMk id="8" creationId="{CE678401-2138-6FEC-4247-A24BB88D55F5}"/>
          </ac:spMkLst>
        </pc:spChg>
        <pc:spChg chg="add del mod">
          <ac:chgData name="José Antonio Ureta Santacreu" userId="e36999d1-2b92-424a-9e8c-5fde0c5fbdd2" providerId="ADAL" clId="{B441C459-42E0-4465-B296-199851FC6E31}" dt="2024-09-11T11:12:14.001" v="3782" actId="6264"/>
          <ac:spMkLst>
            <pc:docMk/>
            <pc:sldMk cId="307772620" sldId="1147"/>
            <ac:spMk id="9" creationId="{7E5F9E7C-441E-99FF-B410-DF6232031604}"/>
          </ac:spMkLst>
        </pc:spChg>
        <pc:spChg chg="add del mod">
          <ac:chgData name="José Antonio Ureta Santacreu" userId="e36999d1-2b92-424a-9e8c-5fde0c5fbdd2" providerId="ADAL" clId="{B441C459-42E0-4465-B296-199851FC6E31}" dt="2024-09-11T11:12:14.001" v="3782" actId="6264"/>
          <ac:spMkLst>
            <pc:docMk/>
            <pc:sldMk cId="307772620" sldId="1147"/>
            <ac:spMk id="10" creationId="{3F1F30CE-F8A2-D3F1-61E8-C72D4BB87E89}"/>
          </ac:spMkLst>
        </pc:spChg>
        <pc:spChg chg="add del mod">
          <ac:chgData name="José Antonio Ureta Santacreu" userId="e36999d1-2b92-424a-9e8c-5fde0c5fbdd2" providerId="ADAL" clId="{B441C459-42E0-4465-B296-199851FC6E31}" dt="2024-09-11T11:12:14.001" v="3782" actId="6264"/>
          <ac:spMkLst>
            <pc:docMk/>
            <pc:sldMk cId="307772620" sldId="1147"/>
            <ac:spMk id="12" creationId="{3E1BD41A-086A-2650-6B25-8EADA09BD4F3}"/>
          </ac:spMkLst>
        </pc:spChg>
      </pc:sldChg>
      <pc:sldChg chg="addSp delSp modSp mod chgLayout">
        <pc:chgData name="José Antonio Ureta Santacreu" userId="e36999d1-2b92-424a-9e8c-5fde0c5fbdd2" providerId="ADAL" clId="{B441C459-42E0-4465-B296-199851FC6E31}" dt="2024-09-11T11:12:14.001" v="3782" actId="6264"/>
        <pc:sldMkLst>
          <pc:docMk/>
          <pc:sldMk cId="1896172152" sldId="1148"/>
        </pc:sldMkLst>
        <pc:spChg chg="mod ord">
          <ac:chgData name="José Antonio Ureta Santacreu" userId="e36999d1-2b92-424a-9e8c-5fde0c5fbdd2" providerId="ADAL" clId="{B441C459-42E0-4465-B296-199851FC6E31}" dt="2024-09-11T11:12:14.001" v="3782" actId="6264"/>
          <ac:spMkLst>
            <pc:docMk/>
            <pc:sldMk cId="1896172152" sldId="1148"/>
            <ac:spMk id="2" creationId="{7A1B4613-2CAA-F67B-33E5-5C45B1CBBBC5}"/>
          </ac:spMkLst>
        </pc:spChg>
        <pc:spChg chg="mod ord">
          <ac:chgData name="José Antonio Ureta Santacreu" userId="e36999d1-2b92-424a-9e8c-5fde0c5fbdd2" providerId="ADAL" clId="{B441C459-42E0-4465-B296-199851FC6E31}" dt="2024-09-11T11:12:14.001" v="3782" actId="6264"/>
          <ac:spMkLst>
            <pc:docMk/>
            <pc:sldMk cId="1896172152" sldId="1148"/>
            <ac:spMk id="3" creationId="{E75B5FC9-6E97-85A2-93DF-A512083D8290}"/>
          </ac:spMkLst>
        </pc:spChg>
        <pc:spChg chg="mod ord">
          <ac:chgData name="José Antonio Ureta Santacreu" userId="e36999d1-2b92-424a-9e8c-5fde0c5fbdd2" providerId="ADAL" clId="{B441C459-42E0-4465-B296-199851FC6E31}" dt="2024-09-11T11:12:14.001" v="3782" actId="6264"/>
          <ac:spMkLst>
            <pc:docMk/>
            <pc:sldMk cId="1896172152" sldId="1148"/>
            <ac:spMk id="4" creationId="{27AFD5F4-1BCD-0559-C4DA-449671D2F898}"/>
          </ac:spMkLst>
        </pc:spChg>
        <pc:spChg chg="mod ord">
          <ac:chgData name="José Antonio Ureta Santacreu" userId="e36999d1-2b92-424a-9e8c-5fde0c5fbdd2" providerId="ADAL" clId="{B441C459-42E0-4465-B296-199851FC6E31}" dt="2024-09-11T11:12:14.001" v="3782" actId="6264"/>
          <ac:spMkLst>
            <pc:docMk/>
            <pc:sldMk cId="1896172152" sldId="1148"/>
            <ac:spMk id="7" creationId="{66EBF8DF-AC89-E187-2B88-2DA3A86C4000}"/>
          </ac:spMkLst>
        </pc:spChg>
        <pc:spChg chg="add del mod">
          <ac:chgData name="José Antonio Ureta Santacreu" userId="e36999d1-2b92-424a-9e8c-5fde0c5fbdd2" providerId="ADAL" clId="{B441C459-42E0-4465-B296-199851FC6E31}" dt="2024-09-11T11:12:14.001" v="3782" actId="6264"/>
          <ac:spMkLst>
            <pc:docMk/>
            <pc:sldMk cId="1896172152" sldId="1148"/>
            <ac:spMk id="9" creationId="{176E9795-F491-4B20-2BC0-5EC577C5559E}"/>
          </ac:spMkLst>
        </pc:spChg>
        <pc:spChg chg="add del mod">
          <ac:chgData name="José Antonio Ureta Santacreu" userId="e36999d1-2b92-424a-9e8c-5fde0c5fbdd2" providerId="ADAL" clId="{B441C459-42E0-4465-B296-199851FC6E31}" dt="2024-09-11T11:12:14.001" v="3782" actId="6264"/>
          <ac:spMkLst>
            <pc:docMk/>
            <pc:sldMk cId="1896172152" sldId="1148"/>
            <ac:spMk id="10" creationId="{AA4D0F07-2D1A-47F6-3F48-25038B4FE119}"/>
          </ac:spMkLst>
        </pc:spChg>
        <pc:spChg chg="add del mod">
          <ac:chgData name="José Antonio Ureta Santacreu" userId="e36999d1-2b92-424a-9e8c-5fde0c5fbdd2" providerId="ADAL" clId="{B441C459-42E0-4465-B296-199851FC6E31}" dt="2024-09-11T11:12:14.001" v="3782" actId="6264"/>
          <ac:spMkLst>
            <pc:docMk/>
            <pc:sldMk cId="1896172152" sldId="1148"/>
            <ac:spMk id="11" creationId="{53929AD2-917E-E109-C0B6-58583A09E244}"/>
          </ac:spMkLst>
        </pc:spChg>
        <pc:spChg chg="add del mod">
          <ac:chgData name="José Antonio Ureta Santacreu" userId="e36999d1-2b92-424a-9e8c-5fde0c5fbdd2" providerId="ADAL" clId="{B441C459-42E0-4465-B296-199851FC6E31}" dt="2024-09-11T11:12:14.001" v="3782" actId="6264"/>
          <ac:spMkLst>
            <pc:docMk/>
            <pc:sldMk cId="1896172152" sldId="1148"/>
            <ac:spMk id="12" creationId="{A955A0C9-0371-4B4A-372D-9809087858E0}"/>
          </ac:spMkLst>
        </pc:spChg>
        <pc:spChg chg="add del mod">
          <ac:chgData name="José Antonio Ureta Santacreu" userId="e36999d1-2b92-424a-9e8c-5fde0c5fbdd2" providerId="ADAL" clId="{B441C459-42E0-4465-B296-199851FC6E31}" dt="2024-09-11T11:12:14.001" v="3782" actId="6264"/>
          <ac:spMkLst>
            <pc:docMk/>
            <pc:sldMk cId="1896172152" sldId="1148"/>
            <ac:spMk id="13" creationId="{378F464E-FE11-82F8-A50E-670FF64BFBD5}"/>
          </ac:spMkLst>
        </pc:spChg>
        <pc:spChg chg="add del mod">
          <ac:chgData name="José Antonio Ureta Santacreu" userId="e36999d1-2b92-424a-9e8c-5fde0c5fbdd2" providerId="ADAL" clId="{B441C459-42E0-4465-B296-199851FC6E31}" dt="2024-09-11T11:12:14.001" v="3782" actId="6264"/>
          <ac:spMkLst>
            <pc:docMk/>
            <pc:sldMk cId="1896172152" sldId="1148"/>
            <ac:spMk id="14" creationId="{D5270378-A382-0E10-D091-823FBB0C872B}"/>
          </ac:spMkLst>
        </pc:spChg>
        <pc:graphicFrameChg chg="mod ord">
          <ac:chgData name="José Antonio Ureta Santacreu" userId="e36999d1-2b92-424a-9e8c-5fde0c5fbdd2" providerId="ADAL" clId="{B441C459-42E0-4465-B296-199851FC6E31}" dt="2024-09-11T11:12:14.001" v="3782" actId="6264"/>
          <ac:graphicFrameMkLst>
            <pc:docMk/>
            <pc:sldMk cId="1896172152" sldId="1148"/>
            <ac:graphicFrameMk id="5" creationId="{9716D0AF-9987-AFB4-C61F-89FA1E6224C5}"/>
          </ac:graphicFrameMkLst>
        </pc:graphicFrameChg>
        <pc:picChg chg="mod ord">
          <ac:chgData name="José Antonio Ureta Santacreu" userId="e36999d1-2b92-424a-9e8c-5fde0c5fbdd2" providerId="ADAL" clId="{B441C459-42E0-4465-B296-199851FC6E31}" dt="2024-09-11T11:12:14.001" v="3782" actId="6264"/>
          <ac:picMkLst>
            <pc:docMk/>
            <pc:sldMk cId="1896172152" sldId="1148"/>
            <ac:picMk id="6" creationId="{0CC0662C-A2AA-6BA9-5397-02E1BEEDE32D}"/>
          </ac:picMkLst>
        </pc:picChg>
      </pc:sldChg>
      <pc:sldChg chg="addSp delSp modSp mod chgLayout">
        <pc:chgData name="José Antonio Ureta Santacreu" userId="e36999d1-2b92-424a-9e8c-5fde0c5fbdd2" providerId="ADAL" clId="{B441C459-42E0-4465-B296-199851FC6E31}" dt="2024-09-12T10:34:40.680" v="3817" actId="1076"/>
        <pc:sldMkLst>
          <pc:docMk/>
          <pc:sldMk cId="914379010" sldId="1163"/>
        </pc:sldMkLst>
        <pc:spChg chg="mod ord">
          <ac:chgData name="José Antonio Ureta Santacreu" userId="e36999d1-2b92-424a-9e8c-5fde0c5fbdd2" providerId="ADAL" clId="{B441C459-42E0-4465-B296-199851FC6E31}" dt="2024-09-11T11:12:14.001" v="3782" actId="6264"/>
          <ac:spMkLst>
            <pc:docMk/>
            <pc:sldMk cId="914379010" sldId="1163"/>
            <ac:spMk id="2" creationId="{34597ACB-E9CE-746D-4332-1DE69E2F8856}"/>
          </ac:spMkLst>
        </pc:spChg>
        <pc:spChg chg="add del mod">
          <ac:chgData name="José Antonio Ureta Santacreu" userId="e36999d1-2b92-424a-9e8c-5fde0c5fbdd2" providerId="ADAL" clId="{B441C459-42E0-4465-B296-199851FC6E31}" dt="2024-09-11T11:12:14.001" v="3782" actId="6264"/>
          <ac:spMkLst>
            <pc:docMk/>
            <pc:sldMk cId="914379010" sldId="1163"/>
            <ac:spMk id="3" creationId="{81CE6EAC-2718-30D6-BC43-A1A2B2A07DF2}"/>
          </ac:spMkLst>
        </pc:spChg>
        <pc:spChg chg="mod ord">
          <ac:chgData name="José Antonio Ureta Santacreu" userId="e36999d1-2b92-424a-9e8c-5fde0c5fbdd2" providerId="ADAL" clId="{B441C459-42E0-4465-B296-199851FC6E31}" dt="2024-09-11T11:12:14.001" v="3782" actId="6264"/>
          <ac:spMkLst>
            <pc:docMk/>
            <pc:sldMk cId="914379010" sldId="1163"/>
            <ac:spMk id="4" creationId="{2A476A54-AD37-BA4D-0687-8691CA2C9C36}"/>
          </ac:spMkLst>
        </pc:spChg>
        <pc:spChg chg="mod ord">
          <ac:chgData name="José Antonio Ureta Santacreu" userId="e36999d1-2b92-424a-9e8c-5fde0c5fbdd2" providerId="ADAL" clId="{B441C459-42E0-4465-B296-199851FC6E31}" dt="2024-09-11T11:12:14.001" v="3782" actId="6264"/>
          <ac:spMkLst>
            <pc:docMk/>
            <pc:sldMk cId="914379010" sldId="1163"/>
            <ac:spMk id="5" creationId="{B28AC2A2-19DD-344D-79A7-3E6AA37840AE}"/>
          </ac:spMkLst>
        </pc:spChg>
        <pc:spChg chg="mod ord">
          <ac:chgData name="José Antonio Ureta Santacreu" userId="e36999d1-2b92-424a-9e8c-5fde0c5fbdd2" providerId="ADAL" clId="{B441C459-42E0-4465-B296-199851FC6E31}" dt="2024-09-11T11:12:14.001" v="3782" actId="6264"/>
          <ac:spMkLst>
            <pc:docMk/>
            <pc:sldMk cId="914379010" sldId="1163"/>
            <ac:spMk id="6" creationId="{FB9D322D-1BA8-3980-BDAF-9079B3D23F26}"/>
          </ac:spMkLst>
        </pc:spChg>
        <pc:spChg chg="add del mod">
          <ac:chgData name="José Antonio Ureta Santacreu" userId="e36999d1-2b92-424a-9e8c-5fde0c5fbdd2" providerId="ADAL" clId="{B441C459-42E0-4465-B296-199851FC6E31}" dt="2024-09-11T11:12:14.001" v="3782" actId="6264"/>
          <ac:spMkLst>
            <pc:docMk/>
            <pc:sldMk cId="914379010" sldId="1163"/>
            <ac:spMk id="7" creationId="{895EA078-AFE6-BE27-08F6-D328BFC6E571}"/>
          </ac:spMkLst>
        </pc:spChg>
        <pc:spChg chg="mod">
          <ac:chgData name="José Antonio Ureta Santacreu" userId="e36999d1-2b92-424a-9e8c-5fde0c5fbdd2" providerId="ADAL" clId="{B441C459-42E0-4465-B296-199851FC6E31}" dt="2024-09-12T10:34:40.680" v="3817" actId="1076"/>
          <ac:spMkLst>
            <pc:docMk/>
            <pc:sldMk cId="914379010" sldId="1163"/>
            <ac:spMk id="9" creationId="{F498A187-C805-2BE6-4C6C-37DA1929A4A7}"/>
          </ac:spMkLst>
        </pc:spChg>
        <pc:spChg chg="mod">
          <ac:chgData name="José Antonio Ureta Santacreu" userId="e36999d1-2b92-424a-9e8c-5fde0c5fbdd2" providerId="ADAL" clId="{B441C459-42E0-4465-B296-199851FC6E31}" dt="2024-09-12T10:34:38.636" v="3816" actId="1076"/>
          <ac:spMkLst>
            <pc:docMk/>
            <pc:sldMk cId="914379010" sldId="1163"/>
            <ac:spMk id="10" creationId="{2167DB51-7DB9-291B-1E90-D99D3D383C5C}"/>
          </ac:spMkLst>
        </pc:spChg>
        <pc:spChg chg="add del mod">
          <ac:chgData name="José Antonio Ureta Santacreu" userId="e36999d1-2b92-424a-9e8c-5fde0c5fbdd2" providerId="ADAL" clId="{B441C459-42E0-4465-B296-199851FC6E31}" dt="2024-09-11T11:12:14.001" v="3782" actId="6264"/>
          <ac:spMkLst>
            <pc:docMk/>
            <pc:sldMk cId="914379010" sldId="1163"/>
            <ac:spMk id="11" creationId="{F60AA923-4572-486D-E96D-DA0A535CC60E}"/>
          </ac:spMkLst>
        </pc:spChg>
        <pc:spChg chg="add del mod">
          <ac:chgData name="José Antonio Ureta Santacreu" userId="e36999d1-2b92-424a-9e8c-5fde0c5fbdd2" providerId="ADAL" clId="{B441C459-42E0-4465-B296-199851FC6E31}" dt="2024-09-11T11:12:14.001" v="3782" actId="6264"/>
          <ac:spMkLst>
            <pc:docMk/>
            <pc:sldMk cId="914379010" sldId="1163"/>
            <ac:spMk id="12" creationId="{9C82AA3D-8A90-E4AA-8937-941EA145F21E}"/>
          </ac:spMkLst>
        </pc:spChg>
        <pc:spChg chg="add del mod">
          <ac:chgData name="José Antonio Ureta Santacreu" userId="e36999d1-2b92-424a-9e8c-5fde0c5fbdd2" providerId="ADAL" clId="{B441C459-42E0-4465-B296-199851FC6E31}" dt="2024-09-11T11:12:14.001" v="3782" actId="6264"/>
          <ac:spMkLst>
            <pc:docMk/>
            <pc:sldMk cId="914379010" sldId="1163"/>
            <ac:spMk id="13" creationId="{8BAD4BF1-EF75-F46E-1267-EC7F8113AA47}"/>
          </ac:spMkLst>
        </pc:spChg>
        <pc:spChg chg="add del mod">
          <ac:chgData name="José Antonio Ureta Santacreu" userId="e36999d1-2b92-424a-9e8c-5fde0c5fbdd2" providerId="ADAL" clId="{B441C459-42E0-4465-B296-199851FC6E31}" dt="2024-09-11T11:12:14.001" v="3782" actId="6264"/>
          <ac:spMkLst>
            <pc:docMk/>
            <pc:sldMk cId="914379010" sldId="1163"/>
            <ac:spMk id="14" creationId="{D763AF65-6EB5-6F39-6B97-89D8FE7E3A93}"/>
          </ac:spMkLst>
        </pc:spChg>
        <pc:spChg chg="mod ord">
          <ac:chgData name="José Antonio Ureta Santacreu" userId="e36999d1-2b92-424a-9e8c-5fde0c5fbdd2" providerId="ADAL" clId="{B441C459-42E0-4465-B296-199851FC6E31}" dt="2024-09-11T11:12:14.001" v="3782" actId="6264"/>
          <ac:spMkLst>
            <pc:docMk/>
            <pc:sldMk cId="914379010" sldId="1163"/>
            <ac:spMk id="19" creationId="{CB801CC6-2692-E3B6-1073-B91274176FBA}"/>
          </ac:spMkLst>
        </pc:spChg>
        <pc:graphicFrameChg chg="mod ord modGraphic">
          <ac:chgData name="José Antonio Ureta Santacreu" userId="e36999d1-2b92-424a-9e8c-5fde0c5fbdd2" providerId="ADAL" clId="{B441C459-42E0-4465-B296-199851FC6E31}" dt="2024-09-12T10:34:32.355" v="3814" actId="1076"/>
          <ac:graphicFrameMkLst>
            <pc:docMk/>
            <pc:sldMk cId="914379010" sldId="1163"/>
            <ac:graphicFrameMk id="8" creationId="{CACB117D-979C-0948-43E2-7DEE0B15A4FF}"/>
          </ac:graphicFrameMkLst>
        </pc:graphicFrameChg>
      </pc:sldChg>
      <pc:sldChg chg="del">
        <pc:chgData name="José Antonio Ureta Santacreu" userId="e36999d1-2b92-424a-9e8c-5fde0c5fbdd2" providerId="ADAL" clId="{B441C459-42E0-4465-B296-199851FC6E31}" dt="2024-07-31T10:09:23.692" v="542" actId="47"/>
        <pc:sldMkLst>
          <pc:docMk/>
          <pc:sldMk cId="3988735322" sldId="1164"/>
        </pc:sldMkLst>
      </pc:sldChg>
      <pc:sldChg chg="del">
        <pc:chgData name="José Antonio Ureta Santacreu" userId="e36999d1-2b92-424a-9e8c-5fde0c5fbdd2" providerId="ADAL" clId="{B441C459-42E0-4465-B296-199851FC6E31}" dt="2024-07-31T10:09:23.692" v="542" actId="47"/>
        <pc:sldMkLst>
          <pc:docMk/>
          <pc:sldMk cId="1372983798" sldId="1165"/>
        </pc:sldMkLst>
      </pc:sldChg>
      <pc:sldChg chg="del">
        <pc:chgData name="José Antonio Ureta Santacreu" userId="e36999d1-2b92-424a-9e8c-5fde0c5fbdd2" providerId="ADAL" clId="{B441C459-42E0-4465-B296-199851FC6E31}" dt="2024-07-31T10:09:23.692" v="542" actId="47"/>
        <pc:sldMkLst>
          <pc:docMk/>
          <pc:sldMk cId="511309104" sldId="1166"/>
        </pc:sldMkLst>
      </pc:sldChg>
      <pc:sldChg chg="addSp delSp modSp add mod chgLayout">
        <pc:chgData name="José Antonio Ureta Santacreu" userId="e36999d1-2b92-424a-9e8c-5fde0c5fbdd2" providerId="ADAL" clId="{B441C459-42E0-4465-B296-199851FC6E31}" dt="2024-09-11T11:12:14.001" v="3782" actId="6264"/>
        <pc:sldMkLst>
          <pc:docMk/>
          <pc:sldMk cId="938262475" sldId="1167"/>
        </pc:sldMkLst>
        <pc:spChg chg="mod ord">
          <ac:chgData name="José Antonio Ureta Santacreu" userId="e36999d1-2b92-424a-9e8c-5fde0c5fbdd2" providerId="ADAL" clId="{B441C459-42E0-4465-B296-199851FC6E31}" dt="2024-09-11T11:12:14.001" v="3782" actId="6264"/>
          <ac:spMkLst>
            <pc:docMk/>
            <pc:sldMk cId="938262475" sldId="1167"/>
            <ac:spMk id="2" creationId="{390FE10C-C971-98FB-77D6-F913D4A72749}"/>
          </ac:spMkLst>
        </pc:spChg>
        <pc:spChg chg="mod ord">
          <ac:chgData name="José Antonio Ureta Santacreu" userId="e36999d1-2b92-424a-9e8c-5fde0c5fbdd2" providerId="ADAL" clId="{B441C459-42E0-4465-B296-199851FC6E31}" dt="2024-09-11T11:12:14.001" v="3782" actId="6264"/>
          <ac:spMkLst>
            <pc:docMk/>
            <pc:sldMk cId="938262475" sldId="1167"/>
            <ac:spMk id="3" creationId="{2F546D9E-FCE3-0830-F732-023D88293FA0}"/>
          </ac:spMkLst>
        </pc:spChg>
        <pc:spChg chg="mod ord">
          <ac:chgData name="José Antonio Ureta Santacreu" userId="e36999d1-2b92-424a-9e8c-5fde0c5fbdd2" providerId="ADAL" clId="{B441C459-42E0-4465-B296-199851FC6E31}" dt="2024-09-11T11:12:14.001" v="3782" actId="6264"/>
          <ac:spMkLst>
            <pc:docMk/>
            <pc:sldMk cId="938262475" sldId="1167"/>
            <ac:spMk id="4" creationId="{A5CC570B-5158-79BC-D936-B53DB8F9CFCF}"/>
          </ac:spMkLst>
        </pc:spChg>
        <pc:spChg chg="mod ord">
          <ac:chgData name="José Antonio Ureta Santacreu" userId="e36999d1-2b92-424a-9e8c-5fde0c5fbdd2" providerId="ADAL" clId="{B441C459-42E0-4465-B296-199851FC6E31}" dt="2024-09-11T11:12:14.001" v="3782" actId="6264"/>
          <ac:spMkLst>
            <pc:docMk/>
            <pc:sldMk cId="938262475" sldId="1167"/>
            <ac:spMk id="5" creationId="{DA2D4444-E79F-5AE0-38B1-37F4F79DF188}"/>
          </ac:spMkLst>
        </pc:spChg>
        <pc:spChg chg="add del mod">
          <ac:chgData name="José Antonio Ureta Santacreu" userId="e36999d1-2b92-424a-9e8c-5fde0c5fbdd2" providerId="ADAL" clId="{B441C459-42E0-4465-B296-199851FC6E31}" dt="2024-09-11T11:12:14.001" v="3782" actId="6264"/>
          <ac:spMkLst>
            <pc:docMk/>
            <pc:sldMk cId="938262475" sldId="1167"/>
            <ac:spMk id="6" creationId="{9BFD35F2-FB53-EC7D-E08D-82D8558A74D9}"/>
          </ac:spMkLst>
        </pc:spChg>
        <pc:spChg chg="add del mod">
          <ac:chgData name="José Antonio Ureta Santacreu" userId="e36999d1-2b92-424a-9e8c-5fde0c5fbdd2" providerId="ADAL" clId="{B441C459-42E0-4465-B296-199851FC6E31}" dt="2024-09-11T11:12:14.001" v="3782" actId="6264"/>
          <ac:spMkLst>
            <pc:docMk/>
            <pc:sldMk cId="938262475" sldId="1167"/>
            <ac:spMk id="7" creationId="{C6AF7789-C590-148D-A374-9D9AAD2F0840}"/>
          </ac:spMkLst>
        </pc:spChg>
        <pc:spChg chg="add del mod">
          <ac:chgData name="José Antonio Ureta Santacreu" userId="e36999d1-2b92-424a-9e8c-5fde0c5fbdd2" providerId="ADAL" clId="{B441C459-42E0-4465-B296-199851FC6E31}" dt="2024-09-11T11:12:14.001" v="3782" actId="6264"/>
          <ac:spMkLst>
            <pc:docMk/>
            <pc:sldMk cId="938262475" sldId="1167"/>
            <ac:spMk id="8" creationId="{519A9276-0CAD-97FE-C0E6-DF86BD06575B}"/>
          </ac:spMkLst>
        </pc:spChg>
        <pc:spChg chg="add del mod">
          <ac:chgData name="José Antonio Ureta Santacreu" userId="e36999d1-2b92-424a-9e8c-5fde0c5fbdd2" providerId="ADAL" clId="{B441C459-42E0-4465-B296-199851FC6E31}" dt="2024-09-11T11:12:14.001" v="3782" actId="6264"/>
          <ac:spMkLst>
            <pc:docMk/>
            <pc:sldMk cId="938262475" sldId="1167"/>
            <ac:spMk id="9" creationId="{6456F063-51BF-848A-8BEC-8D8BA4D11C61}"/>
          </ac:spMkLst>
        </pc:spChg>
      </pc:sldChg>
      <pc:sldChg chg="del">
        <pc:chgData name="José Antonio Ureta Santacreu" userId="e36999d1-2b92-424a-9e8c-5fde0c5fbdd2" providerId="ADAL" clId="{B441C459-42E0-4465-B296-199851FC6E31}" dt="2024-07-23T10:41:54.955" v="271" actId="2696"/>
        <pc:sldMkLst>
          <pc:docMk/>
          <pc:sldMk cId="4284332025" sldId="1167"/>
        </pc:sldMkLst>
      </pc:sldChg>
      <pc:sldChg chg="addSp delSp modSp mod chgLayout">
        <pc:chgData name="José Antonio Ureta Santacreu" userId="e36999d1-2b92-424a-9e8c-5fde0c5fbdd2" providerId="ADAL" clId="{B441C459-42E0-4465-B296-199851FC6E31}" dt="2024-09-11T11:12:14.001" v="3782" actId="6264"/>
        <pc:sldMkLst>
          <pc:docMk/>
          <pc:sldMk cId="878909551" sldId="1168"/>
        </pc:sldMkLst>
        <pc:spChg chg="mod ord">
          <ac:chgData name="José Antonio Ureta Santacreu" userId="e36999d1-2b92-424a-9e8c-5fde0c5fbdd2" providerId="ADAL" clId="{B441C459-42E0-4465-B296-199851FC6E31}" dt="2024-09-11T11:12:14.001" v="3782" actId="6264"/>
          <ac:spMkLst>
            <pc:docMk/>
            <pc:sldMk cId="878909551" sldId="1168"/>
            <ac:spMk id="2" creationId="{635F645A-19D2-CDD7-5E49-FA5AFF625476}"/>
          </ac:spMkLst>
        </pc:spChg>
        <pc:spChg chg="mod ord">
          <ac:chgData name="José Antonio Ureta Santacreu" userId="e36999d1-2b92-424a-9e8c-5fde0c5fbdd2" providerId="ADAL" clId="{B441C459-42E0-4465-B296-199851FC6E31}" dt="2024-09-11T11:12:14.001" v="3782" actId="6264"/>
          <ac:spMkLst>
            <pc:docMk/>
            <pc:sldMk cId="878909551" sldId="1168"/>
            <ac:spMk id="3" creationId="{F96F4AD1-E521-08EB-2657-428B8412F671}"/>
          </ac:spMkLst>
        </pc:spChg>
        <pc:spChg chg="mod ord">
          <ac:chgData name="José Antonio Ureta Santacreu" userId="e36999d1-2b92-424a-9e8c-5fde0c5fbdd2" providerId="ADAL" clId="{B441C459-42E0-4465-B296-199851FC6E31}" dt="2024-09-11T11:12:14.001" v="3782" actId="6264"/>
          <ac:spMkLst>
            <pc:docMk/>
            <pc:sldMk cId="878909551" sldId="1168"/>
            <ac:spMk id="4" creationId="{41A434BD-52FE-0461-67BA-DB66CD3F3C7E}"/>
          </ac:spMkLst>
        </pc:spChg>
        <pc:spChg chg="mod ord">
          <ac:chgData name="José Antonio Ureta Santacreu" userId="e36999d1-2b92-424a-9e8c-5fde0c5fbdd2" providerId="ADAL" clId="{B441C459-42E0-4465-B296-199851FC6E31}" dt="2024-09-11T11:12:14.001" v="3782" actId="6264"/>
          <ac:spMkLst>
            <pc:docMk/>
            <pc:sldMk cId="878909551" sldId="1168"/>
            <ac:spMk id="5" creationId="{70C9576D-585A-806E-568A-8FA0FE1C9376}"/>
          </ac:spMkLst>
        </pc:spChg>
        <pc:spChg chg="add del mod">
          <ac:chgData name="José Antonio Ureta Santacreu" userId="e36999d1-2b92-424a-9e8c-5fde0c5fbdd2" providerId="ADAL" clId="{B441C459-42E0-4465-B296-199851FC6E31}" dt="2024-09-11T11:12:14.001" v="3782" actId="6264"/>
          <ac:spMkLst>
            <pc:docMk/>
            <pc:sldMk cId="878909551" sldId="1168"/>
            <ac:spMk id="6" creationId="{189B8D25-3D1E-8E57-C32E-BEF2DE928AA4}"/>
          </ac:spMkLst>
        </pc:spChg>
        <pc:spChg chg="add del mod">
          <ac:chgData name="José Antonio Ureta Santacreu" userId="e36999d1-2b92-424a-9e8c-5fde0c5fbdd2" providerId="ADAL" clId="{B441C459-42E0-4465-B296-199851FC6E31}" dt="2024-09-11T11:12:14.001" v="3782" actId="6264"/>
          <ac:spMkLst>
            <pc:docMk/>
            <pc:sldMk cId="878909551" sldId="1168"/>
            <ac:spMk id="7" creationId="{62EFAA82-4654-72DE-3AB8-6A75E6EF6345}"/>
          </ac:spMkLst>
        </pc:spChg>
        <pc:spChg chg="add del mod">
          <ac:chgData name="José Antonio Ureta Santacreu" userId="e36999d1-2b92-424a-9e8c-5fde0c5fbdd2" providerId="ADAL" clId="{B441C459-42E0-4465-B296-199851FC6E31}" dt="2024-09-11T11:12:14.001" v="3782" actId="6264"/>
          <ac:spMkLst>
            <pc:docMk/>
            <pc:sldMk cId="878909551" sldId="1168"/>
            <ac:spMk id="8" creationId="{C34EA8A3-6E82-8304-30BF-603FE8178631}"/>
          </ac:spMkLst>
        </pc:spChg>
        <pc:spChg chg="add del mod">
          <ac:chgData name="José Antonio Ureta Santacreu" userId="e36999d1-2b92-424a-9e8c-5fde0c5fbdd2" providerId="ADAL" clId="{B441C459-42E0-4465-B296-199851FC6E31}" dt="2024-09-11T11:12:14.001" v="3782" actId="6264"/>
          <ac:spMkLst>
            <pc:docMk/>
            <pc:sldMk cId="878909551" sldId="1168"/>
            <ac:spMk id="9" creationId="{0DA91277-9380-B20C-2B99-DC9AF7975B37}"/>
          </ac:spMkLst>
        </pc:spChg>
      </pc:sldChg>
      <pc:sldChg chg="del">
        <pc:chgData name="José Antonio Ureta Santacreu" userId="e36999d1-2b92-424a-9e8c-5fde0c5fbdd2" providerId="ADAL" clId="{B441C459-42E0-4465-B296-199851FC6E31}" dt="2024-07-23T10:41:54.955" v="271" actId="2696"/>
        <pc:sldMkLst>
          <pc:docMk/>
          <pc:sldMk cId="891381203" sldId="1171"/>
        </pc:sldMkLst>
      </pc:sldChg>
      <pc:sldChg chg="addSp delSp modSp add mod chgLayout">
        <pc:chgData name="José Antonio Ureta Santacreu" userId="e36999d1-2b92-424a-9e8c-5fde0c5fbdd2" providerId="ADAL" clId="{B441C459-42E0-4465-B296-199851FC6E31}" dt="2024-09-11T11:12:14.001" v="3782" actId="6264"/>
        <pc:sldMkLst>
          <pc:docMk/>
          <pc:sldMk cId="2021865458" sldId="1171"/>
        </pc:sldMkLst>
        <pc:spChg chg="mod ord">
          <ac:chgData name="José Antonio Ureta Santacreu" userId="e36999d1-2b92-424a-9e8c-5fde0c5fbdd2" providerId="ADAL" clId="{B441C459-42E0-4465-B296-199851FC6E31}" dt="2024-09-11T11:12:14.001" v="3782" actId="6264"/>
          <ac:spMkLst>
            <pc:docMk/>
            <pc:sldMk cId="2021865458" sldId="1171"/>
            <ac:spMk id="2" creationId="{112FCEE1-F48F-9A16-8756-2B80745CF114}"/>
          </ac:spMkLst>
        </pc:spChg>
        <pc:spChg chg="mod ord">
          <ac:chgData name="José Antonio Ureta Santacreu" userId="e36999d1-2b92-424a-9e8c-5fde0c5fbdd2" providerId="ADAL" clId="{B441C459-42E0-4465-B296-199851FC6E31}" dt="2024-09-11T11:12:14.001" v="3782" actId="6264"/>
          <ac:spMkLst>
            <pc:docMk/>
            <pc:sldMk cId="2021865458" sldId="1171"/>
            <ac:spMk id="3" creationId="{B597FD88-C4B6-BC4C-361B-E352A2944232}"/>
          </ac:spMkLst>
        </pc:spChg>
        <pc:spChg chg="mod ord">
          <ac:chgData name="José Antonio Ureta Santacreu" userId="e36999d1-2b92-424a-9e8c-5fde0c5fbdd2" providerId="ADAL" clId="{B441C459-42E0-4465-B296-199851FC6E31}" dt="2024-09-11T11:12:14.001" v="3782" actId="6264"/>
          <ac:spMkLst>
            <pc:docMk/>
            <pc:sldMk cId="2021865458" sldId="1171"/>
            <ac:spMk id="4" creationId="{6E62D121-B238-0860-084C-9871C41B406E}"/>
          </ac:spMkLst>
        </pc:spChg>
        <pc:spChg chg="mod ord">
          <ac:chgData name="José Antonio Ureta Santacreu" userId="e36999d1-2b92-424a-9e8c-5fde0c5fbdd2" providerId="ADAL" clId="{B441C459-42E0-4465-B296-199851FC6E31}" dt="2024-09-11T11:12:14.001" v="3782" actId="6264"/>
          <ac:spMkLst>
            <pc:docMk/>
            <pc:sldMk cId="2021865458" sldId="1171"/>
            <ac:spMk id="5" creationId="{64E224A4-4FC7-DD91-FF6D-C2F8D7F49FA9}"/>
          </ac:spMkLst>
        </pc:spChg>
        <pc:spChg chg="add del mod">
          <ac:chgData name="José Antonio Ureta Santacreu" userId="e36999d1-2b92-424a-9e8c-5fde0c5fbdd2" providerId="ADAL" clId="{B441C459-42E0-4465-B296-199851FC6E31}" dt="2024-09-11T11:12:14.001" v="3782" actId="6264"/>
          <ac:spMkLst>
            <pc:docMk/>
            <pc:sldMk cId="2021865458" sldId="1171"/>
            <ac:spMk id="6" creationId="{5E849243-2086-56BE-8D39-DDD2AE99AEB9}"/>
          </ac:spMkLst>
        </pc:spChg>
        <pc:spChg chg="add del mod">
          <ac:chgData name="José Antonio Ureta Santacreu" userId="e36999d1-2b92-424a-9e8c-5fde0c5fbdd2" providerId="ADAL" clId="{B441C459-42E0-4465-B296-199851FC6E31}" dt="2024-09-11T11:12:14.001" v="3782" actId="6264"/>
          <ac:spMkLst>
            <pc:docMk/>
            <pc:sldMk cId="2021865458" sldId="1171"/>
            <ac:spMk id="8" creationId="{F8CB90F8-F783-67B0-61FD-10A699A55D22}"/>
          </ac:spMkLst>
        </pc:spChg>
        <pc:spChg chg="add del mod">
          <ac:chgData name="José Antonio Ureta Santacreu" userId="e36999d1-2b92-424a-9e8c-5fde0c5fbdd2" providerId="ADAL" clId="{B441C459-42E0-4465-B296-199851FC6E31}" dt="2024-09-11T11:12:14.001" v="3782" actId="6264"/>
          <ac:spMkLst>
            <pc:docMk/>
            <pc:sldMk cId="2021865458" sldId="1171"/>
            <ac:spMk id="9" creationId="{A1CFC594-B1B4-53C4-240F-D4C552B9AA84}"/>
          </ac:spMkLst>
        </pc:spChg>
        <pc:spChg chg="add del mod">
          <ac:chgData name="José Antonio Ureta Santacreu" userId="e36999d1-2b92-424a-9e8c-5fde0c5fbdd2" providerId="ADAL" clId="{B441C459-42E0-4465-B296-199851FC6E31}" dt="2024-09-11T11:12:14.001" v="3782" actId="6264"/>
          <ac:spMkLst>
            <pc:docMk/>
            <pc:sldMk cId="2021865458" sldId="1171"/>
            <ac:spMk id="10" creationId="{8AE88874-E90A-074D-C6C3-4A5357237761}"/>
          </ac:spMkLst>
        </pc:spChg>
        <pc:spChg chg="add del mod">
          <ac:chgData name="José Antonio Ureta Santacreu" userId="e36999d1-2b92-424a-9e8c-5fde0c5fbdd2" providerId="ADAL" clId="{B441C459-42E0-4465-B296-199851FC6E31}" dt="2024-09-11T11:12:14.001" v="3782" actId="6264"/>
          <ac:spMkLst>
            <pc:docMk/>
            <pc:sldMk cId="2021865458" sldId="1171"/>
            <ac:spMk id="11" creationId="{7812EC14-2DEB-38FA-7B17-95F0891417F5}"/>
          </ac:spMkLst>
        </pc:spChg>
        <pc:picChg chg="mod ord">
          <ac:chgData name="José Antonio Ureta Santacreu" userId="e36999d1-2b92-424a-9e8c-5fde0c5fbdd2" providerId="ADAL" clId="{B441C459-42E0-4465-B296-199851FC6E31}" dt="2024-09-11T11:12:14.001" v="3782" actId="6264"/>
          <ac:picMkLst>
            <pc:docMk/>
            <pc:sldMk cId="2021865458" sldId="1171"/>
            <ac:picMk id="7" creationId="{38E57C9E-BAC4-4C9C-4162-40D2E8980A66}"/>
          </ac:picMkLst>
        </pc:picChg>
      </pc:sldChg>
      <pc:sldChg chg="del">
        <pc:chgData name="José Antonio Ureta Santacreu" userId="e36999d1-2b92-424a-9e8c-5fde0c5fbdd2" providerId="ADAL" clId="{B441C459-42E0-4465-B296-199851FC6E31}" dt="2024-07-23T10:41:54.955" v="271" actId="2696"/>
        <pc:sldMkLst>
          <pc:docMk/>
          <pc:sldMk cId="1475674366" sldId="1172"/>
        </pc:sldMkLst>
      </pc:sldChg>
      <pc:sldChg chg="add">
        <pc:chgData name="José Antonio Ureta Santacreu" userId="e36999d1-2b92-424a-9e8c-5fde0c5fbdd2" providerId="ADAL" clId="{B441C459-42E0-4465-B296-199851FC6E31}" dt="2024-07-23T10:42:07.386" v="272"/>
        <pc:sldMkLst>
          <pc:docMk/>
          <pc:sldMk cId="2050754144" sldId="1172"/>
        </pc:sldMkLst>
      </pc:sldChg>
      <pc:sldChg chg="addSp delSp modSp mod chgLayout">
        <pc:chgData name="José Antonio Ureta Santacreu" userId="e36999d1-2b92-424a-9e8c-5fde0c5fbdd2" providerId="ADAL" clId="{B441C459-42E0-4465-B296-199851FC6E31}" dt="2024-09-12T15:46:59.564" v="5175" actId="2"/>
        <pc:sldMkLst>
          <pc:docMk/>
          <pc:sldMk cId="483946857" sldId="1173"/>
        </pc:sldMkLst>
        <pc:spChg chg="mod ord">
          <ac:chgData name="José Antonio Ureta Santacreu" userId="e36999d1-2b92-424a-9e8c-5fde0c5fbdd2" providerId="ADAL" clId="{B441C459-42E0-4465-B296-199851FC6E31}" dt="2024-09-11T11:12:14.001" v="3782" actId="6264"/>
          <ac:spMkLst>
            <pc:docMk/>
            <pc:sldMk cId="483946857" sldId="1173"/>
            <ac:spMk id="2" creationId="{98D2893D-F2DB-D70B-0078-91A1D3E55F15}"/>
          </ac:spMkLst>
        </pc:spChg>
        <pc:spChg chg="mod ord">
          <ac:chgData name="José Antonio Ureta Santacreu" userId="e36999d1-2b92-424a-9e8c-5fde0c5fbdd2" providerId="ADAL" clId="{B441C459-42E0-4465-B296-199851FC6E31}" dt="2024-09-11T11:12:14.001" v="3782" actId="6264"/>
          <ac:spMkLst>
            <pc:docMk/>
            <pc:sldMk cId="483946857" sldId="1173"/>
            <ac:spMk id="3" creationId="{D155F9EB-387E-790A-783C-1E2E92B45633}"/>
          </ac:spMkLst>
        </pc:spChg>
        <pc:spChg chg="mod ord">
          <ac:chgData name="José Antonio Ureta Santacreu" userId="e36999d1-2b92-424a-9e8c-5fde0c5fbdd2" providerId="ADAL" clId="{B441C459-42E0-4465-B296-199851FC6E31}" dt="2024-09-11T11:12:14.001" v="3782" actId="6264"/>
          <ac:spMkLst>
            <pc:docMk/>
            <pc:sldMk cId="483946857" sldId="1173"/>
            <ac:spMk id="4" creationId="{37F5D82D-3006-4FDB-A274-60CB76856CEE}"/>
          </ac:spMkLst>
        </pc:spChg>
        <pc:spChg chg="add del mod">
          <ac:chgData name="José Antonio Ureta Santacreu" userId="e36999d1-2b92-424a-9e8c-5fde0c5fbdd2" providerId="ADAL" clId="{B441C459-42E0-4465-B296-199851FC6E31}" dt="2024-09-11T11:12:14.001" v="3782" actId="6264"/>
          <ac:spMkLst>
            <pc:docMk/>
            <pc:sldMk cId="483946857" sldId="1173"/>
            <ac:spMk id="5" creationId="{AC1FB279-4482-566B-52AF-3440E9F2C8F5}"/>
          </ac:spMkLst>
        </pc:spChg>
        <pc:spChg chg="mod ord">
          <ac:chgData name="José Antonio Ureta Santacreu" userId="e36999d1-2b92-424a-9e8c-5fde0c5fbdd2" providerId="ADAL" clId="{B441C459-42E0-4465-B296-199851FC6E31}" dt="2024-09-12T15:46:59.564" v="5175" actId="2"/>
          <ac:spMkLst>
            <pc:docMk/>
            <pc:sldMk cId="483946857" sldId="1173"/>
            <ac:spMk id="6" creationId="{9753A64F-3FFB-4C82-BA4B-FAEEE494755C}"/>
          </ac:spMkLst>
        </pc:spChg>
        <pc:spChg chg="add del mod">
          <ac:chgData name="José Antonio Ureta Santacreu" userId="e36999d1-2b92-424a-9e8c-5fde0c5fbdd2" providerId="ADAL" clId="{B441C459-42E0-4465-B296-199851FC6E31}" dt="2024-09-11T11:12:14.001" v="3782" actId="6264"/>
          <ac:spMkLst>
            <pc:docMk/>
            <pc:sldMk cId="483946857" sldId="1173"/>
            <ac:spMk id="7" creationId="{A7FA7801-D160-7645-E79F-6B58E0DA8486}"/>
          </ac:spMkLst>
        </pc:spChg>
        <pc:spChg chg="add del mod">
          <ac:chgData name="José Antonio Ureta Santacreu" userId="e36999d1-2b92-424a-9e8c-5fde0c5fbdd2" providerId="ADAL" clId="{B441C459-42E0-4465-B296-199851FC6E31}" dt="2024-09-11T11:12:14.001" v="3782" actId="6264"/>
          <ac:spMkLst>
            <pc:docMk/>
            <pc:sldMk cId="483946857" sldId="1173"/>
            <ac:spMk id="8" creationId="{72FF27D4-417C-CBD2-E80B-1FE07293EC9C}"/>
          </ac:spMkLst>
        </pc:spChg>
        <pc:spChg chg="add del mod">
          <ac:chgData name="José Antonio Ureta Santacreu" userId="e36999d1-2b92-424a-9e8c-5fde0c5fbdd2" providerId="ADAL" clId="{B441C459-42E0-4465-B296-199851FC6E31}" dt="2024-09-11T11:12:14.001" v="3782" actId="6264"/>
          <ac:spMkLst>
            <pc:docMk/>
            <pc:sldMk cId="483946857" sldId="1173"/>
            <ac:spMk id="9" creationId="{319C4299-1C50-2D3C-9D03-5981926E3B0F}"/>
          </ac:spMkLst>
        </pc:spChg>
        <pc:spChg chg="mod">
          <ac:chgData name="José Antonio Ureta Santacreu" userId="e36999d1-2b92-424a-9e8c-5fde0c5fbdd2" providerId="ADAL" clId="{B441C459-42E0-4465-B296-199851FC6E31}" dt="2024-09-02T10:36:02.631" v="2079" actId="207"/>
          <ac:spMkLst>
            <pc:docMk/>
            <pc:sldMk cId="483946857" sldId="1173"/>
            <ac:spMk id="18" creationId="{924A8168-BD99-4BE9-8611-A37CB0ABD34D}"/>
          </ac:spMkLst>
        </pc:spChg>
        <pc:spChg chg="mod">
          <ac:chgData name="José Antonio Ureta Santacreu" userId="e36999d1-2b92-424a-9e8c-5fde0c5fbdd2" providerId="ADAL" clId="{B441C459-42E0-4465-B296-199851FC6E31}" dt="2024-09-02T10:36:02.631" v="2079" actId="207"/>
          <ac:spMkLst>
            <pc:docMk/>
            <pc:sldMk cId="483946857" sldId="1173"/>
            <ac:spMk id="20" creationId="{474C96A1-FC2E-4A80-962B-665B876B9ECE}"/>
          </ac:spMkLst>
        </pc:spChg>
        <pc:spChg chg="mod">
          <ac:chgData name="José Antonio Ureta Santacreu" userId="e36999d1-2b92-424a-9e8c-5fde0c5fbdd2" providerId="ADAL" clId="{B441C459-42E0-4465-B296-199851FC6E31}" dt="2024-09-02T10:36:02.631" v="2079" actId="207"/>
          <ac:spMkLst>
            <pc:docMk/>
            <pc:sldMk cId="483946857" sldId="1173"/>
            <ac:spMk id="22" creationId="{62292D4E-22F7-441C-89AA-E313165DFDE7}"/>
          </ac:spMkLst>
        </pc:spChg>
        <pc:spChg chg="mod">
          <ac:chgData name="José Antonio Ureta Santacreu" userId="e36999d1-2b92-424a-9e8c-5fde0c5fbdd2" providerId="ADAL" clId="{B441C459-42E0-4465-B296-199851FC6E31}" dt="2024-09-02T10:36:02.631" v="2079" actId="207"/>
          <ac:spMkLst>
            <pc:docMk/>
            <pc:sldMk cId="483946857" sldId="1173"/>
            <ac:spMk id="24" creationId="{1A5A5FAA-C9DC-4C0A-A464-4C384C56427B}"/>
          </ac:spMkLst>
        </pc:spChg>
        <pc:graphicFrameChg chg="mod">
          <ac:chgData name="José Antonio Ureta Santacreu" userId="e36999d1-2b92-424a-9e8c-5fde0c5fbdd2" providerId="ADAL" clId="{B441C459-42E0-4465-B296-199851FC6E31}" dt="2024-09-02T10:35:04.963" v="2077" actId="20577"/>
          <ac:graphicFrameMkLst>
            <pc:docMk/>
            <pc:sldMk cId="483946857" sldId="1173"/>
            <ac:graphicFrameMk id="14" creationId="{3DEA0588-025A-4CDC-A763-7760A86490C4}"/>
          </ac:graphicFrameMkLst>
        </pc:graphicFrameChg>
      </pc:sldChg>
      <pc:sldChg chg="del mod modShow">
        <pc:chgData name="José Antonio Ureta Santacreu" userId="e36999d1-2b92-424a-9e8c-5fde0c5fbdd2" providerId="ADAL" clId="{B441C459-42E0-4465-B296-199851FC6E31}" dt="2024-09-10T13:56:32.982" v="3358" actId="47"/>
        <pc:sldMkLst>
          <pc:docMk/>
          <pc:sldMk cId="573847709" sldId="1174"/>
        </pc:sldMkLst>
      </pc:sldChg>
      <pc:sldChg chg="addSp delSp modSp add mod ord chgLayout">
        <pc:chgData name="José Antonio Ureta Santacreu" userId="e36999d1-2b92-424a-9e8c-5fde0c5fbdd2" providerId="ADAL" clId="{B441C459-42E0-4465-B296-199851FC6E31}" dt="2024-09-11T11:12:14.001" v="3782" actId="6264"/>
        <pc:sldMkLst>
          <pc:docMk/>
          <pc:sldMk cId="560604206" sldId="1175"/>
        </pc:sldMkLst>
        <pc:spChg chg="add del mod">
          <ac:chgData name="José Antonio Ureta Santacreu" userId="e36999d1-2b92-424a-9e8c-5fde0c5fbdd2" providerId="ADAL" clId="{B441C459-42E0-4465-B296-199851FC6E31}" dt="2024-09-11T11:12:14.001" v="3782" actId="6264"/>
          <ac:spMkLst>
            <pc:docMk/>
            <pc:sldMk cId="560604206" sldId="1175"/>
            <ac:spMk id="2" creationId="{6B68926A-AD21-2A48-8F96-7969E5A8E3A1}"/>
          </ac:spMkLst>
        </pc:spChg>
        <pc:spChg chg="add del mod">
          <ac:chgData name="José Antonio Ureta Santacreu" userId="e36999d1-2b92-424a-9e8c-5fde0c5fbdd2" providerId="ADAL" clId="{B441C459-42E0-4465-B296-199851FC6E31}" dt="2024-09-11T11:12:14.001" v="3782" actId="6264"/>
          <ac:spMkLst>
            <pc:docMk/>
            <pc:sldMk cId="560604206" sldId="1175"/>
            <ac:spMk id="3" creationId="{BF835525-D218-870A-134C-CC8BDE0588DF}"/>
          </ac:spMkLst>
        </pc:spChg>
        <pc:spChg chg="add del mod">
          <ac:chgData name="José Antonio Ureta Santacreu" userId="e36999d1-2b92-424a-9e8c-5fde0c5fbdd2" providerId="ADAL" clId="{B441C459-42E0-4465-B296-199851FC6E31}" dt="2024-09-11T11:12:14.001" v="3782" actId="6264"/>
          <ac:spMkLst>
            <pc:docMk/>
            <pc:sldMk cId="560604206" sldId="1175"/>
            <ac:spMk id="4" creationId="{A506973E-8DA4-3BB4-2BC0-89704E9AB9A5}"/>
          </ac:spMkLst>
        </pc:spChg>
        <pc:spChg chg="add del mod">
          <ac:chgData name="José Antonio Ureta Santacreu" userId="e36999d1-2b92-424a-9e8c-5fde0c5fbdd2" providerId="ADAL" clId="{B441C459-42E0-4465-B296-199851FC6E31}" dt="2024-09-11T11:12:14.001" v="3782" actId="6264"/>
          <ac:spMkLst>
            <pc:docMk/>
            <pc:sldMk cId="560604206" sldId="1175"/>
            <ac:spMk id="5" creationId="{57759EF2-50CC-6F5D-5C7A-7ECC3116BAC1}"/>
          </ac:spMkLst>
        </pc:spChg>
        <pc:spChg chg="mod ord">
          <ac:chgData name="José Antonio Ureta Santacreu" userId="e36999d1-2b92-424a-9e8c-5fde0c5fbdd2" providerId="ADAL" clId="{B441C459-42E0-4465-B296-199851FC6E31}" dt="2024-09-11T11:12:14.001" v="3782" actId="6264"/>
          <ac:spMkLst>
            <pc:docMk/>
            <pc:sldMk cId="560604206" sldId="1175"/>
            <ac:spMk id="6" creationId="{2E550C35-3685-DD88-5DED-05C736FFC871}"/>
          </ac:spMkLst>
        </pc:spChg>
        <pc:spChg chg="mod ord">
          <ac:chgData name="José Antonio Ureta Santacreu" userId="e36999d1-2b92-424a-9e8c-5fde0c5fbdd2" providerId="ADAL" clId="{B441C459-42E0-4465-B296-199851FC6E31}" dt="2024-09-11T11:12:14.001" v="3782" actId="6264"/>
          <ac:spMkLst>
            <pc:docMk/>
            <pc:sldMk cId="560604206" sldId="1175"/>
            <ac:spMk id="7" creationId="{B3CC0596-2685-48E6-8BF5-46CAB7151AAF}"/>
          </ac:spMkLst>
        </pc:spChg>
        <pc:spChg chg="mod ord">
          <ac:chgData name="José Antonio Ureta Santacreu" userId="e36999d1-2b92-424a-9e8c-5fde0c5fbdd2" providerId="ADAL" clId="{B441C459-42E0-4465-B296-199851FC6E31}" dt="2024-09-11T11:12:14.001" v="3782" actId="6264"/>
          <ac:spMkLst>
            <pc:docMk/>
            <pc:sldMk cId="560604206" sldId="1175"/>
            <ac:spMk id="8" creationId="{B752FD4C-CA56-F364-E913-80352D659F2B}"/>
          </ac:spMkLst>
        </pc:spChg>
        <pc:spChg chg="mod ord">
          <ac:chgData name="José Antonio Ureta Santacreu" userId="e36999d1-2b92-424a-9e8c-5fde0c5fbdd2" providerId="ADAL" clId="{B441C459-42E0-4465-B296-199851FC6E31}" dt="2024-09-11T11:12:14.001" v="3782" actId="6264"/>
          <ac:spMkLst>
            <pc:docMk/>
            <pc:sldMk cId="560604206" sldId="1175"/>
            <ac:spMk id="9" creationId="{D76035A1-C131-EC76-EF2E-4AA864BDDCD6}"/>
          </ac:spMkLst>
        </pc:spChg>
        <pc:spChg chg="add del mod">
          <ac:chgData name="José Antonio Ureta Santacreu" userId="e36999d1-2b92-424a-9e8c-5fde0c5fbdd2" providerId="ADAL" clId="{B441C459-42E0-4465-B296-199851FC6E31}" dt="2024-09-11T11:12:14.001" v="3782" actId="6264"/>
          <ac:spMkLst>
            <pc:docMk/>
            <pc:sldMk cId="560604206" sldId="1175"/>
            <ac:spMk id="11" creationId="{C2EC5853-4C27-04DF-6405-366E71F24BD3}"/>
          </ac:spMkLst>
        </pc:spChg>
        <pc:graphicFrameChg chg="mod ord">
          <ac:chgData name="José Antonio Ureta Santacreu" userId="e36999d1-2b92-424a-9e8c-5fde0c5fbdd2" providerId="ADAL" clId="{B441C459-42E0-4465-B296-199851FC6E31}" dt="2024-09-11T11:12:14.001" v="3782" actId="6264"/>
          <ac:graphicFrameMkLst>
            <pc:docMk/>
            <pc:sldMk cId="560604206" sldId="1175"/>
            <ac:graphicFrameMk id="10" creationId="{B826708F-FD6C-8E13-1A96-E7FFED669932}"/>
          </ac:graphicFrameMkLst>
        </pc:graphicFrameChg>
      </pc:sldChg>
      <pc:sldChg chg="del">
        <pc:chgData name="José Antonio Ureta Santacreu" userId="e36999d1-2b92-424a-9e8c-5fde0c5fbdd2" providerId="ADAL" clId="{B441C459-42E0-4465-B296-199851FC6E31}" dt="2024-07-23T10:39:24.780" v="195" actId="2696"/>
        <pc:sldMkLst>
          <pc:docMk/>
          <pc:sldMk cId="1997208476" sldId="1175"/>
        </pc:sldMkLst>
      </pc:sldChg>
      <pc:sldChg chg="addSp delSp modSp mod chgLayout">
        <pc:chgData name="José Antonio Ureta Santacreu" userId="e36999d1-2b92-424a-9e8c-5fde0c5fbdd2" providerId="ADAL" clId="{B441C459-42E0-4465-B296-199851FC6E31}" dt="2024-09-12T10:37:26.603" v="3918" actId="27636"/>
        <pc:sldMkLst>
          <pc:docMk/>
          <pc:sldMk cId="470263772" sldId="1176"/>
        </pc:sldMkLst>
        <pc:spChg chg="mod ord">
          <ac:chgData name="José Antonio Ureta Santacreu" userId="e36999d1-2b92-424a-9e8c-5fde0c5fbdd2" providerId="ADAL" clId="{B441C459-42E0-4465-B296-199851FC6E31}" dt="2024-09-12T10:37:26.603" v="3918" actId="27636"/>
          <ac:spMkLst>
            <pc:docMk/>
            <pc:sldMk cId="470263772" sldId="1176"/>
            <ac:spMk id="2" creationId="{FA1B319E-E2F8-077D-05B7-538B21647B5C}"/>
          </ac:spMkLst>
        </pc:spChg>
        <pc:spChg chg="add del mod">
          <ac:chgData name="José Antonio Ureta Santacreu" userId="e36999d1-2b92-424a-9e8c-5fde0c5fbdd2" providerId="ADAL" clId="{B441C459-42E0-4465-B296-199851FC6E31}" dt="2024-09-11T11:12:14.001" v="3782" actId="6264"/>
          <ac:spMkLst>
            <pc:docMk/>
            <pc:sldMk cId="470263772" sldId="1176"/>
            <ac:spMk id="3" creationId="{1DEE81E5-6F6F-DF30-8D19-B53BCA1C4F06}"/>
          </ac:spMkLst>
        </pc:spChg>
        <pc:spChg chg="mod ord">
          <ac:chgData name="José Antonio Ureta Santacreu" userId="e36999d1-2b92-424a-9e8c-5fde0c5fbdd2" providerId="ADAL" clId="{B441C459-42E0-4465-B296-199851FC6E31}" dt="2024-09-11T11:12:14.001" v="3782" actId="6264"/>
          <ac:spMkLst>
            <pc:docMk/>
            <pc:sldMk cId="470263772" sldId="1176"/>
            <ac:spMk id="4" creationId="{2E71A483-6E28-5B18-D31D-8938CFE220B4}"/>
          </ac:spMkLst>
        </pc:spChg>
        <pc:spChg chg="mod ord">
          <ac:chgData name="José Antonio Ureta Santacreu" userId="e36999d1-2b92-424a-9e8c-5fde0c5fbdd2" providerId="ADAL" clId="{B441C459-42E0-4465-B296-199851FC6E31}" dt="2024-09-11T11:12:14.001" v="3782" actId="6264"/>
          <ac:spMkLst>
            <pc:docMk/>
            <pc:sldMk cId="470263772" sldId="1176"/>
            <ac:spMk id="5" creationId="{9EED9796-0555-E7AE-8E4D-CC0330F15B10}"/>
          </ac:spMkLst>
        </pc:spChg>
        <pc:spChg chg="mod ord">
          <ac:chgData name="José Antonio Ureta Santacreu" userId="e36999d1-2b92-424a-9e8c-5fde0c5fbdd2" providerId="ADAL" clId="{B441C459-42E0-4465-B296-199851FC6E31}" dt="2024-09-11T11:12:14.001" v="3782" actId="6264"/>
          <ac:spMkLst>
            <pc:docMk/>
            <pc:sldMk cId="470263772" sldId="1176"/>
            <ac:spMk id="6" creationId="{6B95B113-A91E-4F0B-5FBC-FC0858AAEB37}"/>
          </ac:spMkLst>
        </pc:spChg>
        <pc:spChg chg="add del mod">
          <ac:chgData name="José Antonio Ureta Santacreu" userId="e36999d1-2b92-424a-9e8c-5fde0c5fbdd2" providerId="ADAL" clId="{B441C459-42E0-4465-B296-199851FC6E31}" dt="2024-09-11T11:12:14.001" v="3782" actId="6264"/>
          <ac:spMkLst>
            <pc:docMk/>
            <pc:sldMk cId="470263772" sldId="1176"/>
            <ac:spMk id="7" creationId="{329C3184-263F-BAA5-44DB-BBAAF35543C0}"/>
          </ac:spMkLst>
        </pc:spChg>
        <pc:spChg chg="add del mod">
          <ac:chgData name="José Antonio Ureta Santacreu" userId="e36999d1-2b92-424a-9e8c-5fde0c5fbdd2" providerId="ADAL" clId="{B441C459-42E0-4465-B296-199851FC6E31}" dt="2024-09-11T11:12:14.001" v="3782" actId="6264"/>
          <ac:spMkLst>
            <pc:docMk/>
            <pc:sldMk cId="470263772" sldId="1176"/>
            <ac:spMk id="8" creationId="{FBA6AA45-3614-CED9-30D3-E079BC59E543}"/>
          </ac:spMkLst>
        </pc:spChg>
        <pc:spChg chg="add del mod">
          <ac:chgData name="José Antonio Ureta Santacreu" userId="e36999d1-2b92-424a-9e8c-5fde0c5fbdd2" providerId="ADAL" clId="{B441C459-42E0-4465-B296-199851FC6E31}" dt="2024-09-11T11:12:14.001" v="3782" actId="6264"/>
          <ac:spMkLst>
            <pc:docMk/>
            <pc:sldMk cId="470263772" sldId="1176"/>
            <ac:spMk id="9" creationId="{A7AAD0F3-375F-AA0F-F321-4287AC1E25DA}"/>
          </ac:spMkLst>
        </pc:spChg>
        <pc:spChg chg="add del mod">
          <ac:chgData name="José Antonio Ureta Santacreu" userId="e36999d1-2b92-424a-9e8c-5fde0c5fbdd2" providerId="ADAL" clId="{B441C459-42E0-4465-B296-199851FC6E31}" dt="2024-09-11T11:12:14.001" v="3782" actId="6264"/>
          <ac:spMkLst>
            <pc:docMk/>
            <pc:sldMk cId="470263772" sldId="1176"/>
            <ac:spMk id="10" creationId="{EE3AEA30-E65C-B3CC-5BB0-E7BC98F546DA}"/>
          </ac:spMkLst>
        </pc:spChg>
        <pc:picChg chg="mod ord">
          <ac:chgData name="José Antonio Ureta Santacreu" userId="e36999d1-2b92-424a-9e8c-5fde0c5fbdd2" providerId="ADAL" clId="{B441C459-42E0-4465-B296-199851FC6E31}" dt="2024-09-11T11:12:14.001" v="3782" actId="6264"/>
          <ac:picMkLst>
            <pc:docMk/>
            <pc:sldMk cId="470263772" sldId="1176"/>
            <ac:picMk id="2050" creationId="{10A4A6F8-12B6-48C2-023D-D0FAE9A41FD7}"/>
          </ac:picMkLst>
        </pc:picChg>
      </pc:sldChg>
      <pc:sldChg chg="addSp delSp modSp mod chgLayout">
        <pc:chgData name="José Antonio Ureta Santacreu" userId="e36999d1-2b92-424a-9e8c-5fde0c5fbdd2" providerId="ADAL" clId="{B441C459-42E0-4465-B296-199851FC6E31}" dt="2024-09-11T11:12:14.001" v="3782" actId="6264"/>
        <pc:sldMkLst>
          <pc:docMk/>
          <pc:sldMk cId="3661719855" sldId="1177"/>
        </pc:sldMkLst>
        <pc:spChg chg="mod ord">
          <ac:chgData name="José Antonio Ureta Santacreu" userId="e36999d1-2b92-424a-9e8c-5fde0c5fbdd2" providerId="ADAL" clId="{B441C459-42E0-4465-B296-199851FC6E31}" dt="2024-09-11T11:12:14.001" v="3782" actId="6264"/>
          <ac:spMkLst>
            <pc:docMk/>
            <pc:sldMk cId="3661719855" sldId="1177"/>
            <ac:spMk id="2" creationId="{0D5296A2-0297-CCA4-926C-CD89349DFDFB}"/>
          </ac:spMkLst>
        </pc:spChg>
        <pc:spChg chg="add del mod">
          <ac:chgData name="José Antonio Ureta Santacreu" userId="e36999d1-2b92-424a-9e8c-5fde0c5fbdd2" providerId="ADAL" clId="{B441C459-42E0-4465-B296-199851FC6E31}" dt="2024-09-11T11:12:14.001" v="3782" actId="6264"/>
          <ac:spMkLst>
            <pc:docMk/>
            <pc:sldMk cId="3661719855" sldId="1177"/>
            <ac:spMk id="3" creationId="{805DC314-48B7-BEBD-C501-42A0AAE7A114}"/>
          </ac:spMkLst>
        </pc:spChg>
        <pc:spChg chg="mod ord">
          <ac:chgData name="José Antonio Ureta Santacreu" userId="e36999d1-2b92-424a-9e8c-5fde0c5fbdd2" providerId="ADAL" clId="{B441C459-42E0-4465-B296-199851FC6E31}" dt="2024-09-11T11:12:14.001" v="3782" actId="6264"/>
          <ac:spMkLst>
            <pc:docMk/>
            <pc:sldMk cId="3661719855" sldId="1177"/>
            <ac:spMk id="4" creationId="{FE116FAD-0F9E-F184-1B06-76D83C5C20FE}"/>
          </ac:spMkLst>
        </pc:spChg>
        <pc:spChg chg="mod ord">
          <ac:chgData name="José Antonio Ureta Santacreu" userId="e36999d1-2b92-424a-9e8c-5fde0c5fbdd2" providerId="ADAL" clId="{B441C459-42E0-4465-B296-199851FC6E31}" dt="2024-09-11T11:12:14.001" v="3782" actId="6264"/>
          <ac:spMkLst>
            <pc:docMk/>
            <pc:sldMk cId="3661719855" sldId="1177"/>
            <ac:spMk id="5" creationId="{85789108-AD7F-92EB-4AD7-3B49AB2610C7}"/>
          </ac:spMkLst>
        </pc:spChg>
        <pc:spChg chg="mod ord">
          <ac:chgData name="José Antonio Ureta Santacreu" userId="e36999d1-2b92-424a-9e8c-5fde0c5fbdd2" providerId="ADAL" clId="{B441C459-42E0-4465-B296-199851FC6E31}" dt="2024-09-11T11:12:14.001" v="3782" actId="6264"/>
          <ac:spMkLst>
            <pc:docMk/>
            <pc:sldMk cId="3661719855" sldId="1177"/>
            <ac:spMk id="6" creationId="{672E823F-FCAF-0BE0-2B63-0E464F6F3F87}"/>
          </ac:spMkLst>
        </pc:spChg>
        <pc:spChg chg="add del mod">
          <ac:chgData name="José Antonio Ureta Santacreu" userId="e36999d1-2b92-424a-9e8c-5fde0c5fbdd2" providerId="ADAL" clId="{B441C459-42E0-4465-B296-199851FC6E31}" dt="2024-09-11T11:12:14.001" v="3782" actId="6264"/>
          <ac:spMkLst>
            <pc:docMk/>
            <pc:sldMk cId="3661719855" sldId="1177"/>
            <ac:spMk id="7" creationId="{74A9A93B-150B-EB7F-3E9A-2CDD5435AC56}"/>
          </ac:spMkLst>
        </pc:spChg>
        <pc:spChg chg="add del mod">
          <ac:chgData name="José Antonio Ureta Santacreu" userId="e36999d1-2b92-424a-9e8c-5fde0c5fbdd2" providerId="ADAL" clId="{B441C459-42E0-4465-B296-199851FC6E31}" dt="2024-09-11T11:12:14.001" v="3782" actId="6264"/>
          <ac:spMkLst>
            <pc:docMk/>
            <pc:sldMk cId="3661719855" sldId="1177"/>
            <ac:spMk id="10" creationId="{2208A192-2314-F810-2CE9-148DD7563CFF}"/>
          </ac:spMkLst>
        </pc:spChg>
        <pc:spChg chg="add del mod">
          <ac:chgData name="José Antonio Ureta Santacreu" userId="e36999d1-2b92-424a-9e8c-5fde0c5fbdd2" providerId="ADAL" clId="{B441C459-42E0-4465-B296-199851FC6E31}" dt="2024-09-11T11:12:14.001" v="3782" actId="6264"/>
          <ac:spMkLst>
            <pc:docMk/>
            <pc:sldMk cId="3661719855" sldId="1177"/>
            <ac:spMk id="11" creationId="{0BF56C51-0029-1222-034A-C9D33CAE18A3}"/>
          </ac:spMkLst>
        </pc:spChg>
        <pc:spChg chg="add del mod">
          <ac:chgData name="José Antonio Ureta Santacreu" userId="e36999d1-2b92-424a-9e8c-5fde0c5fbdd2" providerId="ADAL" clId="{B441C459-42E0-4465-B296-199851FC6E31}" dt="2024-09-11T11:12:14.001" v="3782" actId="6264"/>
          <ac:spMkLst>
            <pc:docMk/>
            <pc:sldMk cId="3661719855" sldId="1177"/>
            <ac:spMk id="12" creationId="{AD5A3303-D8C0-96C4-8D5F-6C62353E5CB6}"/>
          </ac:spMkLst>
        </pc:spChg>
        <pc:spChg chg="add del mod">
          <ac:chgData name="José Antonio Ureta Santacreu" userId="e36999d1-2b92-424a-9e8c-5fde0c5fbdd2" providerId="ADAL" clId="{B441C459-42E0-4465-B296-199851FC6E31}" dt="2024-09-11T11:12:14.001" v="3782" actId="6264"/>
          <ac:spMkLst>
            <pc:docMk/>
            <pc:sldMk cId="3661719855" sldId="1177"/>
            <ac:spMk id="13" creationId="{1DB55C72-3FA7-8DE0-5B89-F670758D7C2C}"/>
          </ac:spMkLst>
        </pc:spChg>
        <pc:graphicFrameChg chg="mod ord">
          <ac:chgData name="José Antonio Ureta Santacreu" userId="e36999d1-2b92-424a-9e8c-5fde0c5fbdd2" providerId="ADAL" clId="{B441C459-42E0-4465-B296-199851FC6E31}" dt="2024-09-11T11:12:14.001" v="3782" actId="6264"/>
          <ac:graphicFrameMkLst>
            <pc:docMk/>
            <pc:sldMk cId="3661719855" sldId="1177"/>
            <ac:graphicFrameMk id="9" creationId="{FA04101E-4B89-8FAF-4C80-94FA737BBC46}"/>
          </ac:graphicFrameMkLst>
        </pc:graphicFrameChg>
        <pc:picChg chg="mod ord">
          <ac:chgData name="José Antonio Ureta Santacreu" userId="e36999d1-2b92-424a-9e8c-5fde0c5fbdd2" providerId="ADAL" clId="{B441C459-42E0-4465-B296-199851FC6E31}" dt="2024-09-11T11:12:14.001" v="3782" actId="6264"/>
          <ac:picMkLst>
            <pc:docMk/>
            <pc:sldMk cId="3661719855" sldId="1177"/>
            <ac:picMk id="8" creationId="{2FDFD4A1-7160-574B-3610-A29D0D2E969A}"/>
          </ac:picMkLst>
        </pc:picChg>
      </pc:sldChg>
      <pc:sldChg chg="addSp delSp modSp add mod ord chgLayout">
        <pc:chgData name="José Antonio Ureta Santacreu" userId="e36999d1-2b92-424a-9e8c-5fde0c5fbdd2" providerId="ADAL" clId="{B441C459-42E0-4465-B296-199851FC6E31}" dt="2024-09-12T15:46:55.023" v="5173" actId="2"/>
        <pc:sldMkLst>
          <pc:docMk/>
          <pc:sldMk cId="863139779" sldId="1178"/>
        </pc:sldMkLst>
        <pc:spChg chg="mod ord">
          <ac:chgData name="José Antonio Ureta Santacreu" userId="e36999d1-2b92-424a-9e8c-5fde0c5fbdd2" providerId="ADAL" clId="{B441C459-42E0-4465-B296-199851FC6E31}" dt="2024-09-11T11:12:14.001" v="3782" actId="6264"/>
          <ac:spMkLst>
            <pc:docMk/>
            <pc:sldMk cId="863139779" sldId="1178"/>
            <ac:spMk id="2" creationId="{5EAD4719-0FC9-AD8B-BF2E-D534B9FF6FC4}"/>
          </ac:spMkLst>
        </pc:spChg>
        <pc:spChg chg="add del mod">
          <ac:chgData name="José Antonio Ureta Santacreu" userId="e36999d1-2b92-424a-9e8c-5fde0c5fbdd2" providerId="ADAL" clId="{B441C459-42E0-4465-B296-199851FC6E31}" dt="2024-09-11T11:12:14.001" v="3782" actId="6264"/>
          <ac:spMkLst>
            <pc:docMk/>
            <pc:sldMk cId="863139779" sldId="1178"/>
            <ac:spMk id="3" creationId="{E626FF7C-047A-63D4-2A0A-D45A30502728}"/>
          </ac:spMkLst>
        </pc:spChg>
        <pc:spChg chg="add del mod">
          <ac:chgData name="José Antonio Ureta Santacreu" userId="e36999d1-2b92-424a-9e8c-5fde0c5fbdd2" providerId="ADAL" clId="{B441C459-42E0-4465-B296-199851FC6E31}" dt="2024-09-11T11:12:14.001" v="3782" actId="6264"/>
          <ac:spMkLst>
            <pc:docMk/>
            <pc:sldMk cId="863139779" sldId="1178"/>
            <ac:spMk id="4" creationId="{69A8AA30-9E19-FAA8-9371-FE88DA603AFA}"/>
          </ac:spMkLst>
        </pc:spChg>
        <pc:spChg chg="mod ord">
          <ac:chgData name="José Antonio Ureta Santacreu" userId="e36999d1-2b92-424a-9e8c-5fde0c5fbdd2" providerId="ADAL" clId="{B441C459-42E0-4465-B296-199851FC6E31}" dt="2024-09-11T11:12:14.001" v="3782" actId="6264"/>
          <ac:spMkLst>
            <pc:docMk/>
            <pc:sldMk cId="863139779" sldId="1178"/>
            <ac:spMk id="5" creationId="{DAC00557-3119-151C-935A-FF40D4E6A6E8}"/>
          </ac:spMkLst>
        </pc:spChg>
        <pc:spChg chg="mod ord">
          <ac:chgData name="José Antonio Ureta Santacreu" userId="e36999d1-2b92-424a-9e8c-5fde0c5fbdd2" providerId="ADAL" clId="{B441C459-42E0-4465-B296-199851FC6E31}" dt="2024-09-11T11:12:14.001" v="3782" actId="6264"/>
          <ac:spMkLst>
            <pc:docMk/>
            <pc:sldMk cId="863139779" sldId="1178"/>
            <ac:spMk id="6" creationId="{7A584D76-4F32-B706-8584-80D81BBDF46C}"/>
          </ac:spMkLst>
        </pc:spChg>
        <pc:spChg chg="mod ord">
          <ac:chgData name="José Antonio Ureta Santacreu" userId="e36999d1-2b92-424a-9e8c-5fde0c5fbdd2" providerId="ADAL" clId="{B441C459-42E0-4465-B296-199851FC6E31}" dt="2024-09-11T11:12:14.001" v="3782" actId="6264"/>
          <ac:spMkLst>
            <pc:docMk/>
            <pc:sldMk cId="863139779" sldId="1178"/>
            <ac:spMk id="7" creationId="{2E087F13-DFDC-D05F-2279-64C1B6F06733}"/>
          </ac:spMkLst>
        </pc:spChg>
        <pc:spChg chg="add del mod">
          <ac:chgData name="José Antonio Ureta Santacreu" userId="e36999d1-2b92-424a-9e8c-5fde0c5fbdd2" providerId="ADAL" clId="{B441C459-42E0-4465-B296-199851FC6E31}" dt="2024-09-11T11:12:14.001" v="3782" actId="6264"/>
          <ac:spMkLst>
            <pc:docMk/>
            <pc:sldMk cId="863139779" sldId="1178"/>
            <ac:spMk id="8" creationId="{41E54E75-5A81-1FB1-4423-4CB97D57BE05}"/>
          </ac:spMkLst>
        </pc:spChg>
        <pc:spChg chg="add del mod">
          <ac:chgData name="José Antonio Ureta Santacreu" userId="e36999d1-2b92-424a-9e8c-5fde0c5fbdd2" providerId="ADAL" clId="{B441C459-42E0-4465-B296-199851FC6E31}" dt="2024-09-11T11:12:14.001" v="3782" actId="6264"/>
          <ac:spMkLst>
            <pc:docMk/>
            <pc:sldMk cId="863139779" sldId="1178"/>
            <ac:spMk id="9" creationId="{EF887F47-BCBA-E002-0DD2-23E89711F864}"/>
          </ac:spMkLst>
        </pc:spChg>
        <pc:spChg chg="add del mod">
          <ac:chgData name="José Antonio Ureta Santacreu" userId="e36999d1-2b92-424a-9e8c-5fde0c5fbdd2" providerId="ADAL" clId="{B441C459-42E0-4465-B296-199851FC6E31}" dt="2024-09-11T11:12:14.001" v="3782" actId="6264"/>
          <ac:spMkLst>
            <pc:docMk/>
            <pc:sldMk cId="863139779" sldId="1178"/>
            <ac:spMk id="11" creationId="{5DCEE5BA-6837-D7FE-6223-ED7F8703C4C5}"/>
          </ac:spMkLst>
        </pc:spChg>
        <pc:graphicFrameChg chg="mod ord modGraphic">
          <ac:chgData name="José Antonio Ureta Santacreu" userId="e36999d1-2b92-424a-9e8c-5fde0c5fbdd2" providerId="ADAL" clId="{B441C459-42E0-4465-B296-199851FC6E31}" dt="2024-09-12T15:46:55.023" v="5173" actId="2"/>
          <ac:graphicFrameMkLst>
            <pc:docMk/>
            <pc:sldMk cId="863139779" sldId="1178"/>
            <ac:graphicFrameMk id="10" creationId="{824437E9-B0CB-B88E-778F-38182F257320}"/>
          </ac:graphicFrameMkLst>
        </pc:graphicFrameChg>
        <pc:picChg chg="mod">
          <ac:chgData name="José Antonio Ureta Santacreu" userId="e36999d1-2b92-424a-9e8c-5fde0c5fbdd2" providerId="ADAL" clId="{B441C459-42E0-4465-B296-199851FC6E31}" dt="2024-09-12T10:42:38.840" v="4146" actId="1035"/>
          <ac:picMkLst>
            <pc:docMk/>
            <pc:sldMk cId="863139779" sldId="1178"/>
            <ac:picMk id="14" creationId="{BBC196EA-9138-B778-C2D0-7716C2152993}"/>
          </ac:picMkLst>
        </pc:picChg>
        <pc:picChg chg="mod">
          <ac:chgData name="José Antonio Ureta Santacreu" userId="e36999d1-2b92-424a-9e8c-5fde0c5fbdd2" providerId="ADAL" clId="{B441C459-42E0-4465-B296-199851FC6E31}" dt="2024-09-12T10:42:38.840" v="4146" actId="1035"/>
          <ac:picMkLst>
            <pc:docMk/>
            <pc:sldMk cId="863139779" sldId="1178"/>
            <ac:picMk id="16" creationId="{01A9A062-F361-CB26-0C5F-5D87F62DC59E}"/>
          </ac:picMkLst>
        </pc:picChg>
      </pc:sldChg>
      <pc:sldChg chg="del">
        <pc:chgData name="José Antonio Ureta Santacreu" userId="e36999d1-2b92-424a-9e8c-5fde0c5fbdd2" providerId="ADAL" clId="{B441C459-42E0-4465-B296-199851FC6E31}" dt="2024-07-23T10:39:24.780" v="195" actId="2696"/>
        <pc:sldMkLst>
          <pc:docMk/>
          <pc:sldMk cId="3607409308" sldId="1178"/>
        </pc:sldMkLst>
      </pc:sldChg>
      <pc:sldChg chg="addSp delSp modSp mod chgLayout">
        <pc:chgData name="José Antonio Ureta Santacreu" userId="e36999d1-2b92-424a-9e8c-5fde0c5fbdd2" providerId="ADAL" clId="{B441C459-42E0-4465-B296-199851FC6E31}" dt="2024-09-12T15:49:28.221" v="5197"/>
        <pc:sldMkLst>
          <pc:docMk/>
          <pc:sldMk cId="1870649539" sldId="1179"/>
        </pc:sldMkLst>
        <pc:spChg chg="mod ord">
          <ac:chgData name="José Antonio Ureta Santacreu" userId="e36999d1-2b92-424a-9e8c-5fde0c5fbdd2" providerId="ADAL" clId="{B441C459-42E0-4465-B296-199851FC6E31}" dt="2024-09-12T15:49:18.665" v="5196"/>
          <ac:spMkLst>
            <pc:docMk/>
            <pc:sldMk cId="1870649539" sldId="1179"/>
            <ac:spMk id="2" creationId="{81DB5B5E-A76F-E365-3872-3124864435ED}"/>
          </ac:spMkLst>
        </pc:spChg>
        <pc:spChg chg="mod ord">
          <ac:chgData name="José Antonio Ureta Santacreu" userId="e36999d1-2b92-424a-9e8c-5fde0c5fbdd2" providerId="ADAL" clId="{B441C459-42E0-4465-B296-199851FC6E31}" dt="2024-09-11T11:12:14.001" v="3782" actId="6264"/>
          <ac:spMkLst>
            <pc:docMk/>
            <pc:sldMk cId="1870649539" sldId="1179"/>
            <ac:spMk id="5" creationId="{3B501AC2-F841-465B-FB79-7CB0163DD6D0}"/>
          </ac:spMkLst>
        </pc:spChg>
        <pc:spChg chg="mod ord">
          <ac:chgData name="José Antonio Ureta Santacreu" userId="e36999d1-2b92-424a-9e8c-5fde0c5fbdd2" providerId="ADAL" clId="{B441C459-42E0-4465-B296-199851FC6E31}" dt="2024-09-11T11:12:14.001" v="3782" actId="6264"/>
          <ac:spMkLst>
            <pc:docMk/>
            <pc:sldMk cId="1870649539" sldId="1179"/>
            <ac:spMk id="6" creationId="{8F4FE48B-E514-9F2F-0DD7-4485952786FA}"/>
          </ac:spMkLst>
        </pc:spChg>
        <pc:spChg chg="mod ord">
          <ac:chgData name="José Antonio Ureta Santacreu" userId="e36999d1-2b92-424a-9e8c-5fde0c5fbdd2" providerId="ADAL" clId="{B441C459-42E0-4465-B296-199851FC6E31}" dt="2024-09-11T11:12:14.001" v="3782" actId="6264"/>
          <ac:spMkLst>
            <pc:docMk/>
            <pc:sldMk cId="1870649539" sldId="1179"/>
            <ac:spMk id="7" creationId="{C0DEA432-32AE-FCD8-D204-C4AD21D2BD1D}"/>
          </ac:spMkLst>
        </pc:spChg>
        <pc:spChg chg="add del mod">
          <ac:chgData name="José Antonio Ureta Santacreu" userId="e36999d1-2b92-424a-9e8c-5fde0c5fbdd2" providerId="ADAL" clId="{B441C459-42E0-4465-B296-199851FC6E31}" dt="2024-09-11T11:12:14.001" v="3782" actId="6264"/>
          <ac:spMkLst>
            <pc:docMk/>
            <pc:sldMk cId="1870649539" sldId="1179"/>
            <ac:spMk id="8" creationId="{4AEC9D8C-D871-F62F-5999-B9A591F0BD81}"/>
          </ac:spMkLst>
        </pc:spChg>
        <pc:spChg chg="add del mod">
          <ac:chgData name="José Antonio Ureta Santacreu" userId="e36999d1-2b92-424a-9e8c-5fde0c5fbdd2" providerId="ADAL" clId="{B441C459-42E0-4465-B296-199851FC6E31}" dt="2024-09-11T11:12:14.001" v="3782" actId="6264"/>
          <ac:spMkLst>
            <pc:docMk/>
            <pc:sldMk cId="1870649539" sldId="1179"/>
            <ac:spMk id="9" creationId="{825BF965-67E9-F5AF-84B0-EF4309E49EB5}"/>
          </ac:spMkLst>
        </pc:spChg>
        <pc:spChg chg="add del mod">
          <ac:chgData name="José Antonio Ureta Santacreu" userId="e36999d1-2b92-424a-9e8c-5fde0c5fbdd2" providerId="ADAL" clId="{B441C459-42E0-4465-B296-199851FC6E31}" dt="2024-09-11T11:12:14.001" v="3782" actId="6264"/>
          <ac:spMkLst>
            <pc:docMk/>
            <pc:sldMk cId="1870649539" sldId="1179"/>
            <ac:spMk id="11" creationId="{AAF10A17-600E-4C5A-647C-AC83401C2D65}"/>
          </ac:spMkLst>
        </pc:spChg>
        <pc:spChg chg="add del mod">
          <ac:chgData name="José Antonio Ureta Santacreu" userId="e36999d1-2b92-424a-9e8c-5fde0c5fbdd2" providerId="ADAL" clId="{B441C459-42E0-4465-B296-199851FC6E31}" dt="2024-09-11T11:12:14.001" v="3782" actId="6264"/>
          <ac:spMkLst>
            <pc:docMk/>
            <pc:sldMk cId="1870649539" sldId="1179"/>
            <ac:spMk id="12" creationId="{FEEDB984-6E36-F673-E268-C3CF5D648FB0}"/>
          </ac:spMkLst>
        </pc:spChg>
        <pc:spChg chg="add del mod">
          <ac:chgData name="José Antonio Ureta Santacreu" userId="e36999d1-2b92-424a-9e8c-5fde0c5fbdd2" providerId="ADAL" clId="{B441C459-42E0-4465-B296-199851FC6E31}" dt="2024-09-11T11:12:14.001" v="3782" actId="6264"/>
          <ac:spMkLst>
            <pc:docMk/>
            <pc:sldMk cId="1870649539" sldId="1179"/>
            <ac:spMk id="13" creationId="{7BDA181A-B7DE-E4D5-CCEC-E68E4E72BA1A}"/>
          </ac:spMkLst>
        </pc:spChg>
        <pc:spChg chg="add del mod">
          <ac:chgData name="José Antonio Ureta Santacreu" userId="e36999d1-2b92-424a-9e8c-5fde0c5fbdd2" providerId="ADAL" clId="{B441C459-42E0-4465-B296-199851FC6E31}" dt="2024-09-11T11:12:14.001" v="3782" actId="6264"/>
          <ac:spMkLst>
            <pc:docMk/>
            <pc:sldMk cId="1870649539" sldId="1179"/>
            <ac:spMk id="14" creationId="{683EAB78-614A-252B-4902-76B5D0E1B211}"/>
          </ac:spMkLst>
        </pc:spChg>
        <pc:graphicFrameChg chg="mod ord">
          <ac:chgData name="José Antonio Ureta Santacreu" userId="e36999d1-2b92-424a-9e8c-5fde0c5fbdd2" providerId="ADAL" clId="{B441C459-42E0-4465-B296-199851FC6E31}" dt="2024-09-11T11:12:14.001" v="3782" actId="6264"/>
          <ac:graphicFrameMkLst>
            <pc:docMk/>
            <pc:sldMk cId="1870649539" sldId="1179"/>
            <ac:graphicFrameMk id="3" creationId="{6C2311DD-70E5-2E66-7791-43018A8E1A0F}"/>
          </ac:graphicFrameMkLst>
        </pc:graphicFrameChg>
        <pc:graphicFrameChg chg="mod ord">
          <ac:chgData name="José Antonio Ureta Santacreu" userId="e36999d1-2b92-424a-9e8c-5fde0c5fbdd2" providerId="ADAL" clId="{B441C459-42E0-4465-B296-199851FC6E31}" dt="2024-09-12T15:49:28.221" v="5197"/>
          <ac:graphicFrameMkLst>
            <pc:docMk/>
            <pc:sldMk cId="1870649539" sldId="1179"/>
            <ac:graphicFrameMk id="10" creationId="{83AFAD36-1B4D-008E-F86A-A63C0790B66E}"/>
          </ac:graphicFrameMkLst>
        </pc:graphicFrameChg>
      </pc:sldChg>
      <pc:sldChg chg="addSp delSp modSp mod chgLayout">
        <pc:chgData name="José Antonio Ureta Santacreu" userId="e36999d1-2b92-424a-9e8c-5fde0c5fbdd2" providerId="ADAL" clId="{B441C459-42E0-4465-B296-199851FC6E31}" dt="2024-09-12T15:52:39.979" v="5237" actId="700"/>
        <pc:sldMkLst>
          <pc:docMk/>
          <pc:sldMk cId="546133685" sldId="1183"/>
        </pc:sldMkLst>
        <pc:spChg chg="mod ord">
          <ac:chgData name="José Antonio Ureta Santacreu" userId="e36999d1-2b92-424a-9e8c-5fde0c5fbdd2" providerId="ADAL" clId="{B441C459-42E0-4465-B296-199851FC6E31}" dt="2024-09-12T15:52:39.979" v="5237" actId="700"/>
          <ac:spMkLst>
            <pc:docMk/>
            <pc:sldMk cId="546133685" sldId="1183"/>
            <ac:spMk id="2" creationId="{BB3FEB5A-4314-EDB6-E8DF-183E89980F0C}"/>
          </ac:spMkLst>
        </pc:spChg>
        <pc:spChg chg="mod ord">
          <ac:chgData name="José Antonio Ureta Santacreu" userId="e36999d1-2b92-424a-9e8c-5fde0c5fbdd2" providerId="ADAL" clId="{B441C459-42E0-4465-B296-199851FC6E31}" dt="2024-09-12T15:52:39.979" v="5237" actId="700"/>
          <ac:spMkLst>
            <pc:docMk/>
            <pc:sldMk cId="546133685" sldId="1183"/>
            <ac:spMk id="3" creationId="{3A4A35F4-D67A-3DD9-1484-C84ECDDD3DAE}"/>
          </ac:spMkLst>
        </pc:spChg>
        <pc:spChg chg="mod ord">
          <ac:chgData name="José Antonio Ureta Santacreu" userId="e36999d1-2b92-424a-9e8c-5fde0c5fbdd2" providerId="ADAL" clId="{B441C459-42E0-4465-B296-199851FC6E31}" dt="2024-09-12T15:52:39.979" v="5237" actId="700"/>
          <ac:spMkLst>
            <pc:docMk/>
            <pc:sldMk cId="546133685" sldId="1183"/>
            <ac:spMk id="4" creationId="{909C7E39-952D-D831-F50E-D0AE75AD3DF9}"/>
          </ac:spMkLst>
        </pc:spChg>
        <pc:spChg chg="mod ord">
          <ac:chgData name="José Antonio Ureta Santacreu" userId="e36999d1-2b92-424a-9e8c-5fde0c5fbdd2" providerId="ADAL" clId="{B441C459-42E0-4465-B296-199851FC6E31}" dt="2024-09-12T15:52:39.979" v="5237" actId="700"/>
          <ac:spMkLst>
            <pc:docMk/>
            <pc:sldMk cId="546133685" sldId="1183"/>
            <ac:spMk id="5" creationId="{69F1B02C-E663-4F37-9811-1D425EE3E977}"/>
          </ac:spMkLst>
        </pc:spChg>
        <pc:spChg chg="add del mod">
          <ac:chgData name="José Antonio Ureta Santacreu" userId="e36999d1-2b92-424a-9e8c-5fde0c5fbdd2" providerId="ADAL" clId="{B441C459-42E0-4465-B296-199851FC6E31}" dt="2024-09-12T15:52:27.277" v="5235" actId="6264"/>
          <ac:spMkLst>
            <pc:docMk/>
            <pc:sldMk cId="546133685" sldId="1183"/>
            <ac:spMk id="6" creationId="{97B4977F-12EF-B61B-68DC-B906804FD19F}"/>
          </ac:spMkLst>
        </pc:spChg>
        <pc:spChg chg="add del mod">
          <ac:chgData name="José Antonio Ureta Santacreu" userId="e36999d1-2b92-424a-9e8c-5fde0c5fbdd2" providerId="ADAL" clId="{B441C459-42E0-4465-B296-199851FC6E31}" dt="2024-09-11T11:12:14.001" v="3782" actId="6264"/>
          <ac:spMkLst>
            <pc:docMk/>
            <pc:sldMk cId="546133685" sldId="1183"/>
            <ac:spMk id="6" creationId="{FB809867-6288-2247-59DF-DFC5FB2135D9}"/>
          </ac:spMkLst>
        </pc:spChg>
        <pc:spChg chg="add del mod">
          <ac:chgData name="José Antonio Ureta Santacreu" userId="e36999d1-2b92-424a-9e8c-5fde0c5fbdd2" providerId="ADAL" clId="{B441C459-42E0-4465-B296-199851FC6E31}" dt="2024-09-12T15:52:27.277" v="5235" actId="6264"/>
          <ac:spMkLst>
            <pc:docMk/>
            <pc:sldMk cId="546133685" sldId="1183"/>
            <ac:spMk id="7" creationId="{051F568B-17AF-AA13-3C7E-9047AAFECFB7}"/>
          </ac:spMkLst>
        </pc:spChg>
        <pc:spChg chg="add del mod">
          <ac:chgData name="José Antonio Ureta Santacreu" userId="e36999d1-2b92-424a-9e8c-5fde0c5fbdd2" providerId="ADAL" clId="{B441C459-42E0-4465-B296-199851FC6E31}" dt="2024-09-11T11:12:14.001" v="3782" actId="6264"/>
          <ac:spMkLst>
            <pc:docMk/>
            <pc:sldMk cId="546133685" sldId="1183"/>
            <ac:spMk id="7" creationId="{C8B39609-8CB2-3BF2-4792-6C4F692F7433}"/>
          </ac:spMkLst>
        </pc:spChg>
        <pc:spChg chg="add del mod">
          <ac:chgData name="José Antonio Ureta Santacreu" userId="e36999d1-2b92-424a-9e8c-5fde0c5fbdd2" providerId="ADAL" clId="{B441C459-42E0-4465-B296-199851FC6E31}" dt="2024-09-12T15:52:27.277" v="5235" actId="6264"/>
          <ac:spMkLst>
            <pc:docMk/>
            <pc:sldMk cId="546133685" sldId="1183"/>
            <ac:spMk id="8" creationId="{51DA7AC5-74F4-D2FC-2376-94106CF21F92}"/>
          </ac:spMkLst>
        </pc:spChg>
        <pc:spChg chg="add del mod">
          <ac:chgData name="José Antonio Ureta Santacreu" userId="e36999d1-2b92-424a-9e8c-5fde0c5fbdd2" providerId="ADAL" clId="{B441C459-42E0-4465-B296-199851FC6E31}" dt="2024-09-11T11:12:14.001" v="3782" actId="6264"/>
          <ac:spMkLst>
            <pc:docMk/>
            <pc:sldMk cId="546133685" sldId="1183"/>
            <ac:spMk id="8" creationId="{F62995CB-4625-63E6-732E-4FDAB1B9D219}"/>
          </ac:spMkLst>
        </pc:spChg>
        <pc:spChg chg="add del mod">
          <ac:chgData name="José Antonio Ureta Santacreu" userId="e36999d1-2b92-424a-9e8c-5fde0c5fbdd2" providerId="ADAL" clId="{B441C459-42E0-4465-B296-199851FC6E31}" dt="2024-09-12T15:52:27.277" v="5235" actId="6264"/>
          <ac:spMkLst>
            <pc:docMk/>
            <pc:sldMk cId="546133685" sldId="1183"/>
            <ac:spMk id="9" creationId="{C8D48EF8-91D6-7B64-D673-59801103A527}"/>
          </ac:spMkLst>
        </pc:spChg>
        <pc:spChg chg="add del mod">
          <ac:chgData name="José Antonio Ureta Santacreu" userId="e36999d1-2b92-424a-9e8c-5fde0c5fbdd2" providerId="ADAL" clId="{B441C459-42E0-4465-B296-199851FC6E31}" dt="2024-09-11T11:12:14.001" v="3782" actId="6264"/>
          <ac:spMkLst>
            <pc:docMk/>
            <pc:sldMk cId="546133685" sldId="1183"/>
            <ac:spMk id="9" creationId="{D20146DC-3601-A82D-42A1-50EDE668EB00}"/>
          </ac:spMkLst>
        </pc:spChg>
        <pc:spChg chg="add del mod">
          <ac:chgData name="José Antonio Ureta Santacreu" userId="e36999d1-2b92-424a-9e8c-5fde0c5fbdd2" providerId="ADAL" clId="{B441C459-42E0-4465-B296-199851FC6E31}" dt="2024-09-11T11:12:14.001" v="3782" actId="6264"/>
          <ac:spMkLst>
            <pc:docMk/>
            <pc:sldMk cId="546133685" sldId="1183"/>
            <ac:spMk id="10" creationId="{098BF6E0-F8CC-6F88-3B12-0F6B553415E8}"/>
          </ac:spMkLst>
        </pc:spChg>
        <pc:spChg chg="add del mod">
          <ac:chgData name="José Antonio Ureta Santacreu" userId="e36999d1-2b92-424a-9e8c-5fde0c5fbdd2" providerId="ADAL" clId="{B441C459-42E0-4465-B296-199851FC6E31}" dt="2024-09-12T15:52:27.277" v="5235" actId="6264"/>
          <ac:spMkLst>
            <pc:docMk/>
            <pc:sldMk cId="546133685" sldId="1183"/>
            <ac:spMk id="10" creationId="{F43BCB1F-75BD-E658-4C41-8EED1D01B87D}"/>
          </ac:spMkLst>
        </pc:spChg>
        <pc:spChg chg="add del mod">
          <ac:chgData name="José Antonio Ureta Santacreu" userId="e36999d1-2b92-424a-9e8c-5fde0c5fbdd2" providerId="ADAL" clId="{B441C459-42E0-4465-B296-199851FC6E31}" dt="2024-09-12T15:52:27.277" v="5235" actId="6264"/>
          <ac:spMkLst>
            <pc:docMk/>
            <pc:sldMk cId="546133685" sldId="1183"/>
            <ac:spMk id="11" creationId="{36A2B653-A2B3-8CE9-E57A-D46AE03E33CC}"/>
          </ac:spMkLst>
        </pc:spChg>
        <pc:spChg chg="add del mod">
          <ac:chgData name="José Antonio Ureta Santacreu" userId="e36999d1-2b92-424a-9e8c-5fde0c5fbdd2" providerId="ADAL" clId="{B441C459-42E0-4465-B296-199851FC6E31}" dt="2024-09-11T11:12:14.001" v="3782" actId="6264"/>
          <ac:spMkLst>
            <pc:docMk/>
            <pc:sldMk cId="546133685" sldId="1183"/>
            <ac:spMk id="11" creationId="{54450C6B-84AB-C92D-027C-DF103DCA9863}"/>
          </ac:spMkLst>
        </pc:spChg>
        <pc:spChg chg="add del mod">
          <ac:chgData name="José Antonio Ureta Santacreu" userId="e36999d1-2b92-424a-9e8c-5fde0c5fbdd2" providerId="ADAL" clId="{B441C459-42E0-4465-B296-199851FC6E31}" dt="2024-09-12T15:52:31.018" v="5236" actId="6264"/>
          <ac:spMkLst>
            <pc:docMk/>
            <pc:sldMk cId="546133685" sldId="1183"/>
            <ac:spMk id="12" creationId="{462FA3B4-4E1F-4169-1293-1268372363CB}"/>
          </ac:spMkLst>
        </pc:spChg>
        <pc:spChg chg="add del mod">
          <ac:chgData name="José Antonio Ureta Santacreu" userId="e36999d1-2b92-424a-9e8c-5fde0c5fbdd2" providerId="ADAL" clId="{B441C459-42E0-4465-B296-199851FC6E31}" dt="2024-09-12T15:52:31.018" v="5236" actId="6264"/>
          <ac:spMkLst>
            <pc:docMk/>
            <pc:sldMk cId="546133685" sldId="1183"/>
            <ac:spMk id="13" creationId="{960A0E5A-196D-639B-841B-75DDA138D8A5}"/>
          </ac:spMkLst>
        </pc:spChg>
        <pc:spChg chg="add del mod">
          <ac:chgData name="José Antonio Ureta Santacreu" userId="e36999d1-2b92-424a-9e8c-5fde0c5fbdd2" providerId="ADAL" clId="{B441C459-42E0-4465-B296-199851FC6E31}" dt="2024-09-12T15:52:31.018" v="5236" actId="6264"/>
          <ac:spMkLst>
            <pc:docMk/>
            <pc:sldMk cId="546133685" sldId="1183"/>
            <ac:spMk id="14" creationId="{93227A49-62A3-FCBD-1EC4-9DDAE0E0C7C8}"/>
          </ac:spMkLst>
        </pc:spChg>
        <pc:spChg chg="add del mod">
          <ac:chgData name="José Antonio Ureta Santacreu" userId="e36999d1-2b92-424a-9e8c-5fde0c5fbdd2" providerId="ADAL" clId="{B441C459-42E0-4465-B296-199851FC6E31}" dt="2024-09-12T15:52:31.018" v="5236" actId="6264"/>
          <ac:spMkLst>
            <pc:docMk/>
            <pc:sldMk cId="546133685" sldId="1183"/>
            <ac:spMk id="15" creationId="{0A51AC01-9995-72B4-FD04-EB30BCD0DE5B}"/>
          </ac:spMkLst>
        </pc:spChg>
        <pc:spChg chg="add del mod">
          <ac:chgData name="José Antonio Ureta Santacreu" userId="e36999d1-2b92-424a-9e8c-5fde0c5fbdd2" providerId="ADAL" clId="{B441C459-42E0-4465-B296-199851FC6E31}" dt="2024-09-12T15:52:31.018" v="5236" actId="6264"/>
          <ac:spMkLst>
            <pc:docMk/>
            <pc:sldMk cId="546133685" sldId="1183"/>
            <ac:spMk id="16" creationId="{3631B691-0115-1363-AC5B-D812C70B3677}"/>
          </ac:spMkLst>
        </pc:spChg>
        <pc:spChg chg="add del mod">
          <ac:chgData name="José Antonio Ureta Santacreu" userId="e36999d1-2b92-424a-9e8c-5fde0c5fbdd2" providerId="ADAL" clId="{B441C459-42E0-4465-B296-199851FC6E31}" dt="2024-09-12T15:52:31.018" v="5236" actId="6264"/>
          <ac:spMkLst>
            <pc:docMk/>
            <pc:sldMk cId="546133685" sldId="1183"/>
            <ac:spMk id="18" creationId="{2D119BBB-607B-DD6C-BA83-B5F9A0F79A0D}"/>
          </ac:spMkLst>
        </pc:spChg>
        <pc:graphicFrameChg chg="mod ord">
          <ac:chgData name="José Antonio Ureta Santacreu" userId="e36999d1-2b92-424a-9e8c-5fde0c5fbdd2" providerId="ADAL" clId="{B441C459-42E0-4465-B296-199851FC6E31}" dt="2024-09-12T15:52:39.979" v="5237" actId="700"/>
          <ac:graphicFrameMkLst>
            <pc:docMk/>
            <pc:sldMk cId="546133685" sldId="1183"/>
            <ac:graphicFrameMk id="17" creationId="{DE534ECA-3178-7FE5-B52D-781C4E6C10F5}"/>
          </ac:graphicFrameMkLst>
        </pc:graphicFrameChg>
        <pc:picChg chg="mod ord">
          <ac:chgData name="José Antonio Ureta Santacreu" userId="e36999d1-2b92-424a-9e8c-5fde0c5fbdd2" providerId="ADAL" clId="{B441C459-42E0-4465-B296-199851FC6E31}" dt="2024-09-12T15:52:39.979" v="5237" actId="700"/>
          <ac:picMkLst>
            <pc:docMk/>
            <pc:sldMk cId="546133685" sldId="1183"/>
            <ac:picMk id="1026" creationId="{BA8F021B-615D-C1C2-0B0A-BADFDCC5F950}"/>
          </ac:picMkLst>
        </pc:picChg>
      </pc:sldChg>
      <pc:sldChg chg="addSp delSp modSp mod chgLayout">
        <pc:chgData name="José Antonio Ureta Santacreu" userId="e36999d1-2b92-424a-9e8c-5fde0c5fbdd2" providerId="ADAL" clId="{B441C459-42E0-4465-B296-199851FC6E31}" dt="2024-09-11T11:12:14.001" v="3782" actId="6264"/>
        <pc:sldMkLst>
          <pc:docMk/>
          <pc:sldMk cId="1057973825" sldId="1188"/>
        </pc:sldMkLst>
        <pc:spChg chg="mod ord">
          <ac:chgData name="José Antonio Ureta Santacreu" userId="e36999d1-2b92-424a-9e8c-5fde0c5fbdd2" providerId="ADAL" clId="{B441C459-42E0-4465-B296-199851FC6E31}" dt="2024-09-11T11:12:14.001" v="3782" actId="6264"/>
          <ac:spMkLst>
            <pc:docMk/>
            <pc:sldMk cId="1057973825" sldId="1188"/>
            <ac:spMk id="2" creationId="{960CA007-B82C-DC41-CBAB-82A1D716A4C9}"/>
          </ac:spMkLst>
        </pc:spChg>
        <pc:spChg chg="mod ord">
          <ac:chgData name="José Antonio Ureta Santacreu" userId="e36999d1-2b92-424a-9e8c-5fde0c5fbdd2" providerId="ADAL" clId="{B441C459-42E0-4465-B296-199851FC6E31}" dt="2024-09-11T11:12:14.001" v="3782" actId="6264"/>
          <ac:spMkLst>
            <pc:docMk/>
            <pc:sldMk cId="1057973825" sldId="1188"/>
            <ac:spMk id="3" creationId="{7256D010-476C-B24C-2449-7FC2E0A883C3}"/>
          </ac:spMkLst>
        </pc:spChg>
        <pc:spChg chg="mod ord">
          <ac:chgData name="José Antonio Ureta Santacreu" userId="e36999d1-2b92-424a-9e8c-5fde0c5fbdd2" providerId="ADAL" clId="{B441C459-42E0-4465-B296-199851FC6E31}" dt="2024-09-11T11:12:14.001" v="3782" actId="6264"/>
          <ac:spMkLst>
            <pc:docMk/>
            <pc:sldMk cId="1057973825" sldId="1188"/>
            <ac:spMk id="4" creationId="{55F2BE7D-076C-B7C1-4CA3-09D1ABA16063}"/>
          </ac:spMkLst>
        </pc:spChg>
        <pc:spChg chg="mod ord">
          <ac:chgData name="José Antonio Ureta Santacreu" userId="e36999d1-2b92-424a-9e8c-5fde0c5fbdd2" providerId="ADAL" clId="{B441C459-42E0-4465-B296-199851FC6E31}" dt="2024-09-11T11:12:14.001" v="3782" actId="6264"/>
          <ac:spMkLst>
            <pc:docMk/>
            <pc:sldMk cId="1057973825" sldId="1188"/>
            <ac:spMk id="5" creationId="{613E9C74-C02B-6203-1168-612756010D10}"/>
          </ac:spMkLst>
        </pc:spChg>
        <pc:spChg chg="add del mod">
          <ac:chgData name="José Antonio Ureta Santacreu" userId="e36999d1-2b92-424a-9e8c-5fde0c5fbdd2" providerId="ADAL" clId="{B441C459-42E0-4465-B296-199851FC6E31}" dt="2024-09-11T11:12:14.001" v="3782" actId="6264"/>
          <ac:spMkLst>
            <pc:docMk/>
            <pc:sldMk cId="1057973825" sldId="1188"/>
            <ac:spMk id="6" creationId="{D33EB914-27F2-F98B-0ED1-5F0A2EDE26FE}"/>
          </ac:spMkLst>
        </pc:spChg>
        <pc:spChg chg="add del mod">
          <ac:chgData name="José Antonio Ureta Santacreu" userId="e36999d1-2b92-424a-9e8c-5fde0c5fbdd2" providerId="ADAL" clId="{B441C459-42E0-4465-B296-199851FC6E31}" dt="2024-09-11T11:12:14.001" v="3782" actId="6264"/>
          <ac:spMkLst>
            <pc:docMk/>
            <pc:sldMk cId="1057973825" sldId="1188"/>
            <ac:spMk id="7" creationId="{AA537547-C04B-25CA-6500-F930061E7251}"/>
          </ac:spMkLst>
        </pc:spChg>
        <pc:spChg chg="add del mod">
          <ac:chgData name="José Antonio Ureta Santacreu" userId="e36999d1-2b92-424a-9e8c-5fde0c5fbdd2" providerId="ADAL" clId="{B441C459-42E0-4465-B296-199851FC6E31}" dt="2024-09-11T11:12:14.001" v="3782" actId="6264"/>
          <ac:spMkLst>
            <pc:docMk/>
            <pc:sldMk cId="1057973825" sldId="1188"/>
            <ac:spMk id="8" creationId="{79EDCB02-5394-418A-8AF3-14DBDAF3B79B}"/>
          </ac:spMkLst>
        </pc:spChg>
        <pc:spChg chg="add del mod">
          <ac:chgData name="José Antonio Ureta Santacreu" userId="e36999d1-2b92-424a-9e8c-5fde0c5fbdd2" providerId="ADAL" clId="{B441C459-42E0-4465-B296-199851FC6E31}" dt="2024-09-11T11:12:14.001" v="3782" actId="6264"/>
          <ac:spMkLst>
            <pc:docMk/>
            <pc:sldMk cId="1057973825" sldId="1188"/>
            <ac:spMk id="9" creationId="{12C77901-A325-9490-08D0-372CF563D578}"/>
          </ac:spMkLst>
        </pc:spChg>
      </pc:sldChg>
      <pc:sldChg chg="addSp delSp modSp mod chgLayout">
        <pc:chgData name="José Antonio Ureta Santacreu" userId="e36999d1-2b92-424a-9e8c-5fde0c5fbdd2" providerId="ADAL" clId="{B441C459-42E0-4465-B296-199851FC6E31}" dt="2024-09-11T11:12:14.001" v="3782" actId="6264"/>
        <pc:sldMkLst>
          <pc:docMk/>
          <pc:sldMk cId="1877415202" sldId="1189"/>
        </pc:sldMkLst>
        <pc:spChg chg="mod ord">
          <ac:chgData name="José Antonio Ureta Santacreu" userId="e36999d1-2b92-424a-9e8c-5fde0c5fbdd2" providerId="ADAL" clId="{B441C459-42E0-4465-B296-199851FC6E31}" dt="2024-09-11T11:12:14.001" v="3782" actId="6264"/>
          <ac:spMkLst>
            <pc:docMk/>
            <pc:sldMk cId="1877415202" sldId="1189"/>
            <ac:spMk id="2" creationId="{219B44C1-57E9-8D02-08B3-468EF1072CBE}"/>
          </ac:spMkLst>
        </pc:spChg>
        <pc:spChg chg="mod ord">
          <ac:chgData name="José Antonio Ureta Santacreu" userId="e36999d1-2b92-424a-9e8c-5fde0c5fbdd2" providerId="ADAL" clId="{B441C459-42E0-4465-B296-199851FC6E31}" dt="2024-09-11T11:12:14.001" v="3782" actId="6264"/>
          <ac:spMkLst>
            <pc:docMk/>
            <pc:sldMk cId="1877415202" sldId="1189"/>
            <ac:spMk id="3" creationId="{702ABCC3-690E-F250-881C-6D46710FF8F5}"/>
          </ac:spMkLst>
        </pc:spChg>
        <pc:spChg chg="mod ord">
          <ac:chgData name="José Antonio Ureta Santacreu" userId="e36999d1-2b92-424a-9e8c-5fde0c5fbdd2" providerId="ADAL" clId="{B441C459-42E0-4465-B296-199851FC6E31}" dt="2024-09-11T11:12:14.001" v="3782" actId="6264"/>
          <ac:spMkLst>
            <pc:docMk/>
            <pc:sldMk cId="1877415202" sldId="1189"/>
            <ac:spMk id="4" creationId="{BADFE124-C979-59A2-9719-B7EC5B0EB8A1}"/>
          </ac:spMkLst>
        </pc:spChg>
        <pc:spChg chg="mod ord">
          <ac:chgData name="José Antonio Ureta Santacreu" userId="e36999d1-2b92-424a-9e8c-5fde0c5fbdd2" providerId="ADAL" clId="{B441C459-42E0-4465-B296-199851FC6E31}" dt="2024-09-11T11:12:14.001" v="3782" actId="6264"/>
          <ac:spMkLst>
            <pc:docMk/>
            <pc:sldMk cId="1877415202" sldId="1189"/>
            <ac:spMk id="5" creationId="{E1F0CA67-04B0-91E5-EE55-E40F1EB84D89}"/>
          </ac:spMkLst>
        </pc:spChg>
        <pc:spChg chg="add del mod">
          <ac:chgData name="José Antonio Ureta Santacreu" userId="e36999d1-2b92-424a-9e8c-5fde0c5fbdd2" providerId="ADAL" clId="{B441C459-42E0-4465-B296-199851FC6E31}" dt="2024-09-11T11:12:14.001" v="3782" actId="6264"/>
          <ac:spMkLst>
            <pc:docMk/>
            <pc:sldMk cId="1877415202" sldId="1189"/>
            <ac:spMk id="8" creationId="{F3F56A80-2C3A-544E-C2A5-26E473CFC37A}"/>
          </ac:spMkLst>
        </pc:spChg>
        <pc:spChg chg="mod">
          <ac:chgData name="José Antonio Ureta Santacreu" userId="e36999d1-2b92-424a-9e8c-5fde0c5fbdd2" providerId="ADAL" clId="{B441C459-42E0-4465-B296-199851FC6E31}" dt="2024-07-31T11:08:36.005" v="1250" actId="21"/>
          <ac:spMkLst>
            <pc:docMk/>
            <pc:sldMk cId="1877415202" sldId="1189"/>
            <ac:spMk id="9" creationId="{7E17E597-62A2-747A-18BF-08757AA0E48A}"/>
          </ac:spMkLst>
        </pc:spChg>
        <pc:spChg chg="add mod">
          <ac:chgData name="José Antonio Ureta Santacreu" userId="e36999d1-2b92-424a-9e8c-5fde0c5fbdd2" providerId="ADAL" clId="{B441C459-42E0-4465-B296-199851FC6E31}" dt="2024-07-31T11:08:48.496" v="1253" actId="1038"/>
          <ac:spMkLst>
            <pc:docMk/>
            <pc:sldMk cId="1877415202" sldId="1189"/>
            <ac:spMk id="10" creationId="{0A7C1C05-3489-5976-5266-777BF4125EDD}"/>
          </ac:spMkLst>
        </pc:spChg>
        <pc:spChg chg="add del mod">
          <ac:chgData name="José Antonio Ureta Santacreu" userId="e36999d1-2b92-424a-9e8c-5fde0c5fbdd2" providerId="ADAL" clId="{B441C459-42E0-4465-B296-199851FC6E31}" dt="2024-09-11T11:12:14.001" v="3782" actId="6264"/>
          <ac:spMkLst>
            <pc:docMk/>
            <pc:sldMk cId="1877415202" sldId="1189"/>
            <ac:spMk id="11" creationId="{4F5A886A-3C5F-CB13-A478-6FA474462F0E}"/>
          </ac:spMkLst>
        </pc:spChg>
        <pc:spChg chg="add del mod">
          <ac:chgData name="José Antonio Ureta Santacreu" userId="e36999d1-2b92-424a-9e8c-5fde0c5fbdd2" providerId="ADAL" clId="{B441C459-42E0-4465-B296-199851FC6E31}" dt="2024-09-11T11:12:14.001" v="3782" actId="6264"/>
          <ac:spMkLst>
            <pc:docMk/>
            <pc:sldMk cId="1877415202" sldId="1189"/>
            <ac:spMk id="12" creationId="{67E69A0D-D4A8-B094-799E-A7CFC78AF67D}"/>
          </ac:spMkLst>
        </pc:spChg>
        <pc:spChg chg="add del mod">
          <ac:chgData name="José Antonio Ureta Santacreu" userId="e36999d1-2b92-424a-9e8c-5fde0c5fbdd2" providerId="ADAL" clId="{B441C459-42E0-4465-B296-199851FC6E31}" dt="2024-09-11T11:12:14.001" v="3782" actId="6264"/>
          <ac:spMkLst>
            <pc:docMk/>
            <pc:sldMk cId="1877415202" sldId="1189"/>
            <ac:spMk id="13" creationId="{B2665B84-6403-1292-8C7F-DA0864CBFAD8}"/>
          </ac:spMkLst>
        </pc:spChg>
      </pc:sldChg>
      <pc:sldChg chg="addSp delSp modSp mod chgLayout">
        <pc:chgData name="José Antonio Ureta Santacreu" userId="e36999d1-2b92-424a-9e8c-5fde0c5fbdd2" providerId="ADAL" clId="{B441C459-42E0-4465-B296-199851FC6E31}" dt="2024-09-11T11:12:14.001" v="3782" actId="6264"/>
        <pc:sldMkLst>
          <pc:docMk/>
          <pc:sldMk cId="706612000" sldId="1190"/>
        </pc:sldMkLst>
        <pc:spChg chg="add del mod">
          <ac:chgData name="José Antonio Ureta Santacreu" userId="e36999d1-2b92-424a-9e8c-5fde0c5fbdd2" providerId="ADAL" clId="{B441C459-42E0-4465-B296-199851FC6E31}" dt="2024-09-11T11:12:14.001" v="3782" actId="6264"/>
          <ac:spMkLst>
            <pc:docMk/>
            <pc:sldMk cId="706612000" sldId="1190"/>
            <ac:spMk id="2" creationId="{3C0BC245-5A7B-2B2E-6051-9F4260D1CE8B}"/>
          </ac:spMkLst>
        </pc:spChg>
        <pc:spChg chg="mod ord">
          <ac:chgData name="José Antonio Ureta Santacreu" userId="e36999d1-2b92-424a-9e8c-5fde0c5fbdd2" providerId="ADAL" clId="{B441C459-42E0-4465-B296-199851FC6E31}" dt="2024-09-11T11:12:14.001" v="3782" actId="6264"/>
          <ac:spMkLst>
            <pc:docMk/>
            <pc:sldMk cId="706612000" sldId="1190"/>
            <ac:spMk id="3" creationId="{289B7B69-048D-1BED-C56E-47A290BB82A9}"/>
          </ac:spMkLst>
        </pc:spChg>
        <pc:spChg chg="mod ord">
          <ac:chgData name="José Antonio Ureta Santacreu" userId="e36999d1-2b92-424a-9e8c-5fde0c5fbdd2" providerId="ADAL" clId="{B441C459-42E0-4465-B296-199851FC6E31}" dt="2024-09-11T11:12:14.001" v="3782" actId="6264"/>
          <ac:spMkLst>
            <pc:docMk/>
            <pc:sldMk cId="706612000" sldId="1190"/>
            <ac:spMk id="4" creationId="{4A210DD0-E6E0-497F-5A6A-B785EA5E8D3C}"/>
          </ac:spMkLst>
        </pc:spChg>
        <pc:spChg chg="mod ord">
          <ac:chgData name="José Antonio Ureta Santacreu" userId="e36999d1-2b92-424a-9e8c-5fde0c5fbdd2" providerId="ADAL" clId="{B441C459-42E0-4465-B296-199851FC6E31}" dt="2024-09-11T11:12:14.001" v="3782" actId="6264"/>
          <ac:spMkLst>
            <pc:docMk/>
            <pc:sldMk cId="706612000" sldId="1190"/>
            <ac:spMk id="5" creationId="{92404A57-BA59-B728-E43A-18B19728034F}"/>
          </ac:spMkLst>
        </pc:spChg>
        <pc:spChg chg="add del mod">
          <ac:chgData name="José Antonio Ureta Santacreu" userId="e36999d1-2b92-424a-9e8c-5fde0c5fbdd2" providerId="ADAL" clId="{B441C459-42E0-4465-B296-199851FC6E31}" dt="2024-09-11T11:12:14.001" v="3782" actId="6264"/>
          <ac:spMkLst>
            <pc:docMk/>
            <pc:sldMk cId="706612000" sldId="1190"/>
            <ac:spMk id="6" creationId="{7EDB8445-AEE5-666E-FC13-D6F5AD6272DB}"/>
          </ac:spMkLst>
        </pc:spChg>
        <pc:spChg chg="mod ord">
          <ac:chgData name="José Antonio Ureta Santacreu" userId="e36999d1-2b92-424a-9e8c-5fde0c5fbdd2" providerId="ADAL" clId="{B441C459-42E0-4465-B296-199851FC6E31}" dt="2024-09-11T11:12:14.001" v="3782" actId="6264"/>
          <ac:spMkLst>
            <pc:docMk/>
            <pc:sldMk cId="706612000" sldId="1190"/>
            <ac:spMk id="7" creationId="{C1A8DC45-6EA1-B84B-4277-16D403A38A43}"/>
          </ac:spMkLst>
        </pc:spChg>
        <pc:spChg chg="add del mod">
          <ac:chgData name="José Antonio Ureta Santacreu" userId="e36999d1-2b92-424a-9e8c-5fde0c5fbdd2" providerId="ADAL" clId="{B441C459-42E0-4465-B296-199851FC6E31}" dt="2024-09-11T11:12:14.001" v="3782" actId="6264"/>
          <ac:spMkLst>
            <pc:docMk/>
            <pc:sldMk cId="706612000" sldId="1190"/>
            <ac:spMk id="8" creationId="{52869E98-925D-9F62-4570-A6DF152AC11C}"/>
          </ac:spMkLst>
        </pc:spChg>
        <pc:spChg chg="add del mod">
          <ac:chgData name="José Antonio Ureta Santacreu" userId="e36999d1-2b92-424a-9e8c-5fde0c5fbdd2" providerId="ADAL" clId="{B441C459-42E0-4465-B296-199851FC6E31}" dt="2024-09-11T11:12:14.001" v="3782" actId="6264"/>
          <ac:spMkLst>
            <pc:docMk/>
            <pc:sldMk cId="706612000" sldId="1190"/>
            <ac:spMk id="11" creationId="{85E41DFE-6CA3-9B61-EE65-37E5E91F38BE}"/>
          </ac:spMkLst>
        </pc:spChg>
        <pc:spChg chg="add del mod">
          <ac:chgData name="José Antonio Ureta Santacreu" userId="e36999d1-2b92-424a-9e8c-5fde0c5fbdd2" providerId="ADAL" clId="{B441C459-42E0-4465-B296-199851FC6E31}" dt="2024-09-11T11:12:14.001" v="3782" actId="6264"/>
          <ac:spMkLst>
            <pc:docMk/>
            <pc:sldMk cId="706612000" sldId="1190"/>
            <ac:spMk id="12" creationId="{7F130470-F905-A265-E8D2-F5585EC0BF4A}"/>
          </ac:spMkLst>
        </pc:spChg>
        <pc:graphicFrameChg chg="mod ord">
          <ac:chgData name="José Antonio Ureta Santacreu" userId="e36999d1-2b92-424a-9e8c-5fde0c5fbdd2" providerId="ADAL" clId="{B441C459-42E0-4465-B296-199851FC6E31}" dt="2024-09-11T11:12:14.001" v="3782" actId="6264"/>
          <ac:graphicFrameMkLst>
            <pc:docMk/>
            <pc:sldMk cId="706612000" sldId="1190"/>
            <ac:graphicFrameMk id="9" creationId="{A771AF26-4808-10B8-3C82-9852126F8ACA}"/>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241457868" sldId="1191"/>
        </pc:sldMkLst>
        <pc:spChg chg="mod ord">
          <ac:chgData name="José Antonio Ureta Santacreu" userId="e36999d1-2b92-424a-9e8c-5fde0c5fbdd2" providerId="ADAL" clId="{B441C459-42E0-4465-B296-199851FC6E31}" dt="2024-09-11T11:12:14.001" v="3782" actId="6264"/>
          <ac:spMkLst>
            <pc:docMk/>
            <pc:sldMk cId="241457868" sldId="1191"/>
            <ac:spMk id="2" creationId="{D92664E9-AA51-F6B8-FE80-E8A45C9A9D5B}"/>
          </ac:spMkLst>
        </pc:spChg>
        <pc:spChg chg="mod ord">
          <ac:chgData name="José Antonio Ureta Santacreu" userId="e36999d1-2b92-424a-9e8c-5fde0c5fbdd2" providerId="ADAL" clId="{B441C459-42E0-4465-B296-199851FC6E31}" dt="2024-09-11T11:12:14.001" v="3782" actId="6264"/>
          <ac:spMkLst>
            <pc:docMk/>
            <pc:sldMk cId="241457868" sldId="1191"/>
            <ac:spMk id="3" creationId="{28AF6000-EBC5-E7BE-7649-91E926AD80B9}"/>
          </ac:spMkLst>
        </pc:spChg>
        <pc:spChg chg="mod ord">
          <ac:chgData name="José Antonio Ureta Santacreu" userId="e36999d1-2b92-424a-9e8c-5fde0c5fbdd2" providerId="ADAL" clId="{B441C459-42E0-4465-B296-199851FC6E31}" dt="2024-09-11T11:12:14.001" v="3782" actId="6264"/>
          <ac:spMkLst>
            <pc:docMk/>
            <pc:sldMk cId="241457868" sldId="1191"/>
            <ac:spMk id="4" creationId="{B814DE2C-3B66-E636-2946-0CADA7490BF0}"/>
          </ac:spMkLst>
        </pc:spChg>
        <pc:spChg chg="add del mod">
          <ac:chgData name="José Antonio Ureta Santacreu" userId="e36999d1-2b92-424a-9e8c-5fde0c5fbdd2" providerId="ADAL" clId="{B441C459-42E0-4465-B296-199851FC6E31}" dt="2024-09-11T11:12:14.001" v="3782" actId="6264"/>
          <ac:spMkLst>
            <pc:docMk/>
            <pc:sldMk cId="241457868" sldId="1191"/>
            <ac:spMk id="5" creationId="{243AE603-B64D-E004-F783-5AC67C37DA94}"/>
          </ac:spMkLst>
        </pc:spChg>
        <pc:spChg chg="add del mod">
          <ac:chgData name="José Antonio Ureta Santacreu" userId="e36999d1-2b92-424a-9e8c-5fde0c5fbdd2" providerId="ADAL" clId="{B441C459-42E0-4465-B296-199851FC6E31}" dt="2024-09-11T11:12:14.001" v="3782" actId="6264"/>
          <ac:spMkLst>
            <pc:docMk/>
            <pc:sldMk cId="241457868" sldId="1191"/>
            <ac:spMk id="6" creationId="{E7282120-A689-DF7C-2FBA-6CF794796DD5}"/>
          </ac:spMkLst>
        </pc:spChg>
        <pc:spChg chg="mod ord">
          <ac:chgData name="José Antonio Ureta Santacreu" userId="e36999d1-2b92-424a-9e8c-5fde0c5fbdd2" providerId="ADAL" clId="{B441C459-42E0-4465-B296-199851FC6E31}" dt="2024-09-11T11:12:14.001" v="3782" actId="6264"/>
          <ac:spMkLst>
            <pc:docMk/>
            <pc:sldMk cId="241457868" sldId="1191"/>
            <ac:spMk id="7" creationId="{1690F052-CA99-AE26-5BC2-02CD577DE123}"/>
          </ac:spMkLst>
        </pc:spChg>
        <pc:spChg chg="add del mod">
          <ac:chgData name="José Antonio Ureta Santacreu" userId="e36999d1-2b92-424a-9e8c-5fde0c5fbdd2" providerId="ADAL" clId="{B441C459-42E0-4465-B296-199851FC6E31}" dt="2024-09-11T11:12:14.001" v="3782" actId="6264"/>
          <ac:spMkLst>
            <pc:docMk/>
            <pc:sldMk cId="241457868" sldId="1191"/>
            <ac:spMk id="8" creationId="{73918953-0819-2763-89A6-909A085AEAEC}"/>
          </ac:spMkLst>
        </pc:spChg>
        <pc:spChg chg="add del mod">
          <ac:chgData name="José Antonio Ureta Santacreu" userId="e36999d1-2b92-424a-9e8c-5fde0c5fbdd2" providerId="ADAL" clId="{B441C459-42E0-4465-B296-199851FC6E31}" dt="2024-09-11T11:12:14.001" v="3782" actId="6264"/>
          <ac:spMkLst>
            <pc:docMk/>
            <pc:sldMk cId="241457868" sldId="1191"/>
            <ac:spMk id="9" creationId="{CA57B9FD-03E1-8B37-D512-6FC5B23A7605}"/>
          </ac:spMkLst>
        </pc:spChg>
        <pc:spChg chg="add del mod">
          <ac:chgData name="José Antonio Ureta Santacreu" userId="e36999d1-2b92-424a-9e8c-5fde0c5fbdd2" providerId="ADAL" clId="{B441C459-42E0-4465-B296-199851FC6E31}" dt="2024-09-11T11:12:14.001" v="3782" actId="6264"/>
          <ac:spMkLst>
            <pc:docMk/>
            <pc:sldMk cId="241457868" sldId="1191"/>
            <ac:spMk id="10" creationId="{54C315DD-C6F7-159E-20A1-C146F656227E}"/>
          </ac:spMkLst>
        </pc:spChg>
        <pc:spChg chg="add del mod">
          <ac:chgData name="José Antonio Ureta Santacreu" userId="e36999d1-2b92-424a-9e8c-5fde0c5fbdd2" providerId="ADAL" clId="{B441C459-42E0-4465-B296-199851FC6E31}" dt="2024-09-11T11:12:14.001" v="3782" actId="6264"/>
          <ac:spMkLst>
            <pc:docMk/>
            <pc:sldMk cId="241457868" sldId="1191"/>
            <ac:spMk id="11" creationId="{881D5B3D-7FD1-2C78-D5C4-BADDCEFFBC2D}"/>
          </ac:spMkLst>
        </pc:spChg>
        <pc:graphicFrameChg chg="mod ord">
          <ac:chgData name="José Antonio Ureta Santacreu" userId="e36999d1-2b92-424a-9e8c-5fde0c5fbdd2" providerId="ADAL" clId="{B441C459-42E0-4465-B296-199851FC6E31}" dt="2024-09-11T11:12:14.001" v="3782" actId="6264"/>
          <ac:graphicFrameMkLst>
            <pc:docMk/>
            <pc:sldMk cId="241457868" sldId="1191"/>
            <ac:graphicFrameMk id="16" creationId="{F666E37B-0A4B-6E71-DB10-248B89B08777}"/>
          </ac:graphicFrameMkLst>
        </pc:graphicFrameChg>
        <pc:picChg chg="mod ord">
          <ac:chgData name="José Antonio Ureta Santacreu" userId="e36999d1-2b92-424a-9e8c-5fde0c5fbdd2" providerId="ADAL" clId="{B441C459-42E0-4465-B296-199851FC6E31}" dt="2024-09-11T11:12:14.001" v="3782" actId="6264"/>
          <ac:picMkLst>
            <pc:docMk/>
            <pc:sldMk cId="241457868" sldId="1191"/>
            <ac:picMk id="17" creationId="{0C5B947E-7182-E375-1A1A-FFE7B4C8FDA0}"/>
          </ac:picMkLst>
        </pc:picChg>
      </pc:sldChg>
      <pc:sldChg chg="addSp delSp modSp mod chgLayout">
        <pc:chgData name="José Antonio Ureta Santacreu" userId="e36999d1-2b92-424a-9e8c-5fde0c5fbdd2" providerId="ADAL" clId="{B441C459-42E0-4465-B296-199851FC6E31}" dt="2024-09-11T11:12:14.001" v="3782" actId="6264"/>
        <pc:sldMkLst>
          <pc:docMk/>
          <pc:sldMk cId="1490289559" sldId="1192"/>
        </pc:sldMkLst>
        <pc:spChg chg="mod ord">
          <ac:chgData name="José Antonio Ureta Santacreu" userId="e36999d1-2b92-424a-9e8c-5fde0c5fbdd2" providerId="ADAL" clId="{B441C459-42E0-4465-B296-199851FC6E31}" dt="2024-09-11T11:12:14.001" v="3782" actId="6264"/>
          <ac:spMkLst>
            <pc:docMk/>
            <pc:sldMk cId="1490289559" sldId="1192"/>
            <ac:spMk id="2" creationId="{FBB406FA-5C36-6B05-D77D-7550967D3E7E}"/>
          </ac:spMkLst>
        </pc:spChg>
        <pc:spChg chg="mod ord">
          <ac:chgData name="José Antonio Ureta Santacreu" userId="e36999d1-2b92-424a-9e8c-5fde0c5fbdd2" providerId="ADAL" clId="{B441C459-42E0-4465-B296-199851FC6E31}" dt="2024-09-11T11:12:14.001" v="3782" actId="6264"/>
          <ac:spMkLst>
            <pc:docMk/>
            <pc:sldMk cId="1490289559" sldId="1192"/>
            <ac:spMk id="3" creationId="{9EF00745-2918-57E0-07FC-36D63BC83164}"/>
          </ac:spMkLst>
        </pc:spChg>
        <pc:spChg chg="mod ord">
          <ac:chgData name="José Antonio Ureta Santacreu" userId="e36999d1-2b92-424a-9e8c-5fde0c5fbdd2" providerId="ADAL" clId="{B441C459-42E0-4465-B296-199851FC6E31}" dt="2024-09-11T11:12:14.001" v="3782" actId="6264"/>
          <ac:spMkLst>
            <pc:docMk/>
            <pc:sldMk cId="1490289559" sldId="1192"/>
            <ac:spMk id="4" creationId="{36F7F514-E8F8-4A1A-5901-1BA43AD605A5}"/>
          </ac:spMkLst>
        </pc:spChg>
        <pc:spChg chg="mod ord">
          <ac:chgData name="José Antonio Ureta Santacreu" userId="e36999d1-2b92-424a-9e8c-5fde0c5fbdd2" providerId="ADAL" clId="{B441C459-42E0-4465-B296-199851FC6E31}" dt="2024-09-11T11:12:14.001" v="3782" actId="6264"/>
          <ac:spMkLst>
            <pc:docMk/>
            <pc:sldMk cId="1490289559" sldId="1192"/>
            <ac:spMk id="5" creationId="{D0F35987-7360-03E4-92E6-E30407743D0A}"/>
          </ac:spMkLst>
        </pc:spChg>
        <pc:spChg chg="add del mod">
          <ac:chgData name="José Antonio Ureta Santacreu" userId="e36999d1-2b92-424a-9e8c-5fde0c5fbdd2" providerId="ADAL" clId="{B441C459-42E0-4465-B296-199851FC6E31}" dt="2024-09-11T11:12:14.001" v="3782" actId="6264"/>
          <ac:spMkLst>
            <pc:docMk/>
            <pc:sldMk cId="1490289559" sldId="1192"/>
            <ac:spMk id="7" creationId="{CFA9F63B-7CA7-7879-8A2C-7AF045840847}"/>
          </ac:spMkLst>
        </pc:spChg>
        <pc:spChg chg="add del mod">
          <ac:chgData name="José Antonio Ureta Santacreu" userId="e36999d1-2b92-424a-9e8c-5fde0c5fbdd2" providerId="ADAL" clId="{B441C459-42E0-4465-B296-199851FC6E31}" dt="2024-09-11T11:12:14.001" v="3782" actId="6264"/>
          <ac:spMkLst>
            <pc:docMk/>
            <pc:sldMk cId="1490289559" sldId="1192"/>
            <ac:spMk id="8" creationId="{4D50CF44-FAB3-6398-59CD-2D0AD5EC8B44}"/>
          </ac:spMkLst>
        </pc:spChg>
        <pc:spChg chg="add del mod">
          <ac:chgData name="José Antonio Ureta Santacreu" userId="e36999d1-2b92-424a-9e8c-5fde0c5fbdd2" providerId="ADAL" clId="{B441C459-42E0-4465-B296-199851FC6E31}" dt="2024-09-11T11:12:14.001" v="3782" actId="6264"/>
          <ac:spMkLst>
            <pc:docMk/>
            <pc:sldMk cId="1490289559" sldId="1192"/>
            <ac:spMk id="9" creationId="{49CB0556-D1DB-7B58-D858-CBEA7C59121F}"/>
          </ac:spMkLst>
        </pc:spChg>
        <pc:spChg chg="add del mod">
          <ac:chgData name="José Antonio Ureta Santacreu" userId="e36999d1-2b92-424a-9e8c-5fde0c5fbdd2" providerId="ADAL" clId="{B441C459-42E0-4465-B296-199851FC6E31}" dt="2024-09-11T11:12:14.001" v="3782" actId="6264"/>
          <ac:spMkLst>
            <pc:docMk/>
            <pc:sldMk cId="1490289559" sldId="1192"/>
            <ac:spMk id="10" creationId="{6F6D0966-66F4-C562-B16D-FC51C49BE9FA}"/>
          </ac:spMkLst>
        </pc:spChg>
      </pc:sldChg>
      <pc:sldChg chg="addSp delSp modSp mod chgLayout">
        <pc:chgData name="José Antonio Ureta Santacreu" userId="e36999d1-2b92-424a-9e8c-5fde0c5fbdd2" providerId="ADAL" clId="{B441C459-42E0-4465-B296-199851FC6E31}" dt="2024-09-11T11:12:14.001" v="3782" actId="6264"/>
        <pc:sldMkLst>
          <pc:docMk/>
          <pc:sldMk cId="2370316623" sldId="1193"/>
        </pc:sldMkLst>
        <pc:spChg chg="mod ord">
          <ac:chgData name="José Antonio Ureta Santacreu" userId="e36999d1-2b92-424a-9e8c-5fde0c5fbdd2" providerId="ADAL" clId="{B441C459-42E0-4465-B296-199851FC6E31}" dt="2024-09-11T11:12:14.001" v="3782" actId="6264"/>
          <ac:spMkLst>
            <pc:docMk/>
            <pc:sldMk cId="2370316623" sldId="1193"/>
            <ac:spMk id="2" creationId="{33654007-EF2F-A35E-2C47-5677CD2FDA98}"/>
          </ac:spMkLst>
        </pc:spChg>
        <pc:spChg chg="mod ord">
          <ac:chgData name="José Antonio Ureta Santacreu" userId="e36999d1-2b92-424a-9e8c-5fde0c5fbdd2" providerId="ADAL" clId="{B441C459-42E0-4465-B296-199851FC6E31}" dt="2024-09-11T11:12:14.001" v="3782" actId="6264"/>
          <ac:spMkLst>
            <pc:docMk/>
            <pc:sldMk cId="2370316623" sldId="1193"/>
            <ac:spMk id="3" creationId="{CE3CEF77-13B3-E3C2-6672-1F1D0C099C2A}"/>
          </ac:spMkLst>
        </pc:spChg>
        <pc:spChg chg="mod ord">
          <ac:chgData name="José Antonio Ureta Santacreu" userId="e36999d1-2b92-424a-9e8c-5fde0c5fbdd2" providerId="ADAL" clId="{B441C459-42E0-4465-B296-199851FC6E31}" dt="2024-09-11T11:12:14.001" v="3782" actId="6264"/>
          <ac:spMkLst>
            <pc:docMk/>
            <pc:sldMk cId="2370316623" sldId="1193"/>
            <ac:spMk id="4" creationId="{283F89A2-D427-C0A2-C399-4BF8A218CB8B}"/>
          </ac:spMkLst>
        </pc:spChg>
        <pc:spChg chg="mod ord">
          <ac:chgData name="José Antonio Ureta Santacreu" userId="e36999d1-2b92-424a-9e8c-5fde0c5fbdd2" providerId="ADAL" clId="{B441C459-42E0-4465-B296-199851FC6E31}" dt="2024-09-11T11:12:14.001" v="3782" actId="6264"/>
          <ac:spMkLst>
            <pc:docMk/>
            <pc:sldMk cId="2370316623" sldId="1193"/>
            <ac:spMk id="5" creationId="{A3F6705C-B2DB-1F4A-E7F2-1B7A3468B298}"/>
          </ac:spMkLst>
        </pc:spChg>
        <pc:spChg chg="add del mod">
          <ac:chgData name="José Antonio Ureta Santacreu" userId="e36999d1-2b92-424a-9e8c-5fde0c5fbdd2" providerId="ADAL" clId="{B441C459-42E0-4465-B296-199851FC6E31}" dt="2024-09-11T11:12:14.001" v="3782" actId="6264"/>
          <ac:spMkLst>
            <pc:docMk/>
            <pc:sldMk cId="2370316623" sldId="1193"/>
            <ac:spMk id="7" creationId="{E2FB60CD-6B3F-8FFB-1011-F9680214D0FA}"/>
          </ac:spMkLst>
        </pc:spChg>
        <pc:spChg chg="add del mod">
          <ac:chgData name="José Antonio Ureta Santacreu" userId="e36999d1-2b92-424a-9e8c-5fde0c5fbdd2" providerId="ADAL" clId="{B441C459-42E0-4465-B296-199851FC6E31}" dt="2024-09-11T11:12:14.001" v="3782" actId="6264"/>
          <ac:spMkLst>
            <pc:docMk/>
            <pc:sldMk cId="2370316623" sldId="1193"/>
            <ac:spMk id="8" creationId="{23D4B57E-B672-D711-4BD7-6686DE02E5D1}"/>
          </ac:spMkLst>
        </pc:spChg>
        <pc:spChg chg="add del mod">
          <ac:chgData name="José Antonio Ureta Santacreu" userId="e36999d1-2b92-424a-9e8c-5fde0c5fbdd2" providerId="ADAL" clId="{B441C459-42E0-4465-B296-199851FC6E31}" dt="2024-09-11T11:12:14.001" v="3782" actId="6264"/>
          <ac:spMkLst>
            <pc:docMk/>
            <pc:sldMk cId="2370316623" sldId="1193"/>
            <ac:spMk id="9" creationId="{842E4520-DE05-639D-A1F4-A33B45C9B0FA}"/>
          </ac:spMkLst>
        </pc:spChg>
        <pc:spChg chg="add del mod">
          <ac:chgData name="José Antonio Ureta Santacreu" userId="e36999d1-2b92-424a-9e8c-5fde0c5fbdd2" providerId="ADAL" clId="{B441C459-42E0-4465-B296-199851FC6E31}" dt="2024-09-11T11:12:14.001" v="3782" actId="6264"/>
          <ac:spMkLst>
            <pc:docMk/>
            <pc:sldMk cId="2370316623" sldId="1193"/>
            <ac:spMk id="10" creationId="{F45E023E-807B-36D3-3204-AD8AAF6D4662}"/>
          </ac:spMkLst>
        </pc:spChg>
      </pc:sldChg>
      <pc:sldChg chg="addSp delSp modSp mod chgLayout">
        <pc:chgData name="José Antonio Ureta Santacreu" userId="e36999d1-2b92-424a-9e8c-5fde0c5fbdd2" providerId="ADAL" clId="{B441C459-42E0-4465-B296-199851FC6E31}" dt="2024-09-11T11:12:14.001" v="3782" actId="6264"/>
        <pc:sldMkLst>
          <pc:docMk/>
          <pc:sldMk cId="3814514601" sldId="1194"/>
        </pc:sldMkLst>
        <pc:spChg chg="mod ord">
          <ac:chgData name="José Antonio Ureta Santacreu" userId="e36999d1-2b92-424a-9e8c-5fde0c5fbdd2" providerId="ADAL" clId="{B441C459-42E0-4465-B296-199851FC6E31}" dt="2024-09-11T11:12:14.001" v="3782" actId="6264"/>
          <ac:spMkLst>
            <pc:docMk/>
            <pc:sldMk cId="3814514601" sldId="1194"/>
            <ac:spMk id="2" creationId="{DA64F8A0-11DD-1533-C2C6-3AAD3C1F95B0}"/>
          </ac:spMkLst>
        </pc:spChg>
        <pc:spChg chg="mod ord">
          <ac:chgData name="José Antonio Ureta Santacreu" userId="e36999d1-2b92-424a-9e8c-5fde0c5fbdd2" providerId="ADAL" clId="{B441C459-42E0-4465-B296-199851FC6E31}" dt="2024-09-11T11:12:14.001" v="3782" actId="6264"/>
          <ac:spMkLst>
            <pc:docMk/>
            <pc:sldMk cId="3814514601" sldId="1194"/>
            <ac:spMk id="3" creationId="{D934D36F-8F2A-0427-A7B7-981094F290B5}"/>
          </ac:spMkLst>
        </pc:spChg>
        <pc:spChg chg="mod ord">
          <ac:chgData name="José Antonio Ureta Santacreu" userId="e36999d1-2b92-424a-9e8c-5fde0c5fbdd2" providerId="ADAL" clId="{B441C459-42E0-4465-B296-199851FC6E31}" dt="2024-09-11T11:12:14.001" v="3782" actId="6264"/>
          <ac:spMkLst>
            <pc:docMk/>
            <pc:sldMk cId="3814514601" sldId="1194"/>
            <ac:spMk id="4" creationId="{71C502F7-E781-398A-8545-DAF4AE444C90}"/>
          </ac:spMkLst>
        </pc:spChg>
        <pc:spChg chg="mod ord">
          <ac:chgData name="José Antonio Ureta Santacreu" userId="e36999d1-2b92-424a-9e8c-5fde0c5fbdd2" providerId="ADAL" clId="{B441C459-42E0-4465-B296-199851FC6E31}" dt="2024-09-11T11:12:14.001" v="3782" actId="6264"/>
          <ac:spMkLst>
            <pc:docMk/>
            <pc:sldMk cId="3814514601" sldId="1194"/>
            <ac:spMk id="5" creationId="{1EBF49D9-D32C-8AE5-0DDB-8BAB7AFC59A1}"/>
          </ac:spMkLst>
        </pc:spChg>
        <pc:spChg chg="add del mod">
          <ac:chgData name="José Antonio Ureta Santacreu" userId="e36999d1-2b92-424a-9e8c-5fde0c5fbdd2" providerId="ADAL" clId="{B441C459-42E0-4465-B296-199851FC6E31}" dt="2024-09-11T11:12:14.001" v="3782" actId="6264"/>
          <ac:spMkLst>
            <pc:docMk/>
            <pc:sldMk cId="3814514601" sldId="1194"/>
            <ac:spMk id="7" creationId="{B22DE1A8-225A-107D-2535-DBCF30B2FAD2}"/>
          </ac:spMkLst>
        </pc:spChg>
        <pc:spChg chg="add del mod">
          <ac:chgData name="José Antonio Ureta Santacreu" userId="e36999d1-2b92-424a-9e8c-5fde0c5fbdd2" providerId="ADAL" clId="{B441C459-42E0-4465-B296-199851FC6E31}" dt="2024-09-11T11:12:14.001" v="3782" actId="6264"/>
          <ac:spMkLst>
            <pc:docMk/>
            <pc:sldMk cId="3814514601" sldId="1194"/>
            <ac:spMk id="8" creationId="{9C331C8C-8D31-BC89-363D-085D1CC94C2D}"/>
          </ac:spMkLst>
        </pc:spChg>
        <pc:spChg chg="add del mod">
          <ac:chgData name="José Antonio Ureta Santacreu" userId="e36999d1-2b92-424a-9e8c-5fde0c5fbdd2" providerId="ADAL" clId="{B441C459-42E0-4465-B296-199851FC6E31}" dt="2024-09-11T11:12:14.001" v="3782" actId="6264"/>
          <ac:spMkLst>
            <pc:docMk/>
            <pc:sldMk cId="3814514601" sldId="1194"/>
            <ac:spMk id="9" creationId="{9B1695A0-1D8A-E2CD-BDD6-62B0AADB0CCB}"/>
          </ac:spMkLst>
        </pc:spChg>
        <pc:spChg chg="add del mod">
          <ac:chgData name="José Antonio Ureta Santacreu" userId="e36999d1-2b92-424a-9e8c-5fde0c5fbdd2" providerId="ADAL" clId="{B441C459-42E0-4465-B296-199851FC6E31}" dt="2024-09-11T11:12:14.001" v="3782" actId="6264"/>
          <ac:spMkLst>
            <pc:docMk/>
            <pc:sldMk cId="3814514601" sldId="1194"/>
            <ac:spMk id="10" creationId="{1359E34B-4F36-23BF-CDF5-CF37B0AB412C}"/>
          </ac:spMkLst>
        </pc:spChg>
      </pc:sldChg>
      <pc:sldChg chg="addSp delSp modSp mod setBg chgLayout">
        <pc:chgData name="José Antonio Ureta Santacreu" userId="e36999d1-2b92-424a-9e8c-5fde0c5fbdd2" providerId="ADAL" clId="{B441C459-42E0-4465-B296-199851FC6E31}" dt="2024-09-12T15:42:19.067" v="5144"/>
        <pc:sldMkLst>
          <pc:docMk/>
          <pc:sldMk cId="3281099205" sldId="1195"/>
        </pc:sldMkLst>
        <pc:spChg chg="mod ord">
          <ac:chgData name="José Antonio Ureta Santacreu" userId="e36999d1-2b92-424a-9e8c-5fde0c5fbdd2" providerId="ADAL" clId="{B441C459-42E0-4465-B296-199851FC6E31}" dt="2024-09-11T11:12:14.001" v="3782" actId="6264"/>
          <ac:spMkLst>
            <pc:docMk/>
            <pc:sldMk cId="3281099205" sldId="1195"/>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3281099205" sldId="1195"/>
            <ac:spMk id="3" creationId="{CFB6BD0E-5327-E316-82EC-1DF376D59D28}"/>
          </ac:spMkLst>
        </pc:spChg>
        <pc:spChg chg="mod ord">
          <ac:chgData name="José Antonio Ureta Santacreu" userId="e36999d1-2b92-424a-9e8c-5fde0c5fbdd2" providerId="ADAL" clId="{B441C459-42E0-4465-B296-199851FC6E31}" dt="2024-09-11T11:12:14.001" v="3782" actId="6264"/>
          <ac:spMkLst>
            <pc:docMk/>
            <pc:sldMk cId="3281099205" sldId="1195"/>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3281099205" sldId="1195"/>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3281099205" sldId="1195"/>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3281099205" sldId="1195"/>
            <ac:spMk id="8" creationId="{4CD700E6-C885-3A6F-51ED-3FF773DFB316}"/>
          </ac:spMkLst>
        </pc:spChg>
        <pc:spChg chg="add del mod">
          <ac:chgData name="José Antonio Ureta Santacreu" userId="e36999d1-2b92-424a-9e8c-5fde0c5fbdd2" providerId="ADAL" clId="{B441C459-42E0-4465-B296-199851FC6E31}" dt="2024-09-11T11:12:14.001" v="3782" actId="6264"/>
          <ac:spMkLst>
            <pc:docMk/>
            <pc:sldMk cId="3281099205" sldId="1195"/>
            <ac:spMk id="9" creationId="{ACD5074D-AE5A-66F4-EB4A-552B1F3FB2FA}"/>
          </ac:spMkLst>
        </pc:spChg>
        <pc:spChg chg="add del mod">
          <ac:chgData name="José Antonio Ureta Santacreu" userId="e36999d1-2b92-424a-9e8c-5fde0c5fbdd2" providerId="ADAL" clId="{B441C459-42E0-4465-B296-199851FC6E31}" dt="2024-09-11T11:12:14.001" v="3782" actId="6264"/>
          <ac:spMkLst>
            <pc:docMk/>
            <pc:sldMk cId="3281099205" sldId="1195"/>
            <ac:spMk id="10" creationId="{8CE38FAC-3311-D3C5-9012-FCF9CC560E89}"/>
          </ac:spMkLst>
        </pc:spChg>
        <pc:spChg chg="add del mod">
          <ac:chgData name="José Antonio Ureta Santacreu" userId="e36999d1-2b92-424a-9e8c-5fde0c5fbdd2" providerId="ADAL" clId="{B441C459-42E0-4465-B296-199851FC6E31}" dt="2024-09-11T11:12:14.001" v="3782" actId="6264"/>
          <ac:spMkLst>
            <pc:docMk/>
            <pc:sldMk cId="3281099205" sldId="1195"/>
            <ac:spMk id="11" creationId="{7A40B407-BEC4-EBE9-080A-1815D123B810}"/>
          </ac:spMkLst>
        </pc:spChg>
        <pc:graphicFrameChg chg="mod ord">
          <ac:chgData name="José Antonio Ureta Santacreu" userId="e36999d1-2b92-424a-9e8c-5fde0c5fbdd2" providerId="ADAL" clId="{B441C459-42E0-4465-B296-199851FC6E31}" dt="2024-09-12T15:42:19.067" v="5144"/>
          <ac:graphicFrameMkLst>
            <pc:docMk/>
            <pc:sldMk cId="3281099205" sldId="1195"/>
            <ac:graphicFrameMk id="7" creationId="{69A3C6FB-1444-D938-0699-A6962F4F03E5}"/>
          </ac:graphicFrameMkLst>
        </pc:graphicFrameChg>
      </pc:sldChg>
      <pc:sldChg chg="modSp del mod">
        <pc:chgData name="José Antonio Ureta Santacreu" userId="e36999d1-2b92-424a-9e8c-5fde0c5fbdd2" providerId="ADAL" clId="{B441C459-42E0-4465-B296-199851FC6E31}" dt="2024-07-31T10:16:38.325" v="678" actId="47"/>
        <pc:sldMkLst>
          <pc:docMk/>
          <pc:sldMk cId="1969954241" sldId="1197"/>
        </pc:sldMkLst>
        <pc:spChg chg="mod">
          <ac:chgData name="José Antonio Ureta Santacreu" userId="e36999d1-2b92-424a-9e8c-5fde0c5fbdd2" providerId="ADAL" clId="{B441C459-42E0-4465-B296-199851FC6E31}" dt="2024-07-31T10:16:36.163" v="677" actId="21"/>
          <ac:spMkLst>
            <pc:docMk/>
            <pc:sldMk cId="1969954241" sldId="1197"/>
            <ac:spMk id="6" creationId="{4A62C848-223D-F08D-1EDE-CE439AF0EF00}"/>
          </ac:spMkLst>
        </pc:spChg>
      </pc:sldChg>
      <pc:sldChg chg="addSp delSp modSp mod chgLayout">
        <pc:chgData name="José Antonio Ureta Santacreu" userId="e36999d1-2b92-424a-9e8c-5fde0c5fbdd2" providerId="ADAL" clId="{B441C459-42E0-4465-B296-199851FC6E31}" dt="2024-09-12T15:42:19.067" v="5144"/>
        <pc:sldMkLst>
          <pc:docMk/>
          <pc:sldMk cId="2345579858" sldId="1211"/>
        </pc:sldMkLst>
        <pc:spChg chg="mod ord">
          <ac:chgData name="José Antonio Ureta Santacreu" userId="e36999d1-2b92-424a-9e8c-5fde0c5fbdd2" providerId="ADAL" clId="{B441C459-42E0-4465-B296-199851FC6E31}" dt="2024-09-11T11:12:14.001" v="3782" actId="6264"/>
          <ac:spMkLst>
            <pc:docMk/>
            <pc:sldMk cId="2345579858" sldId="1211"/>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2345579858" sldId="1211"/>
            <ac:spMk id="3" creationId="{606B138B-B841-3296-6BCA-C3AD35342F42}"/>
          </ac:spMkLst>
        </pc:spChg>
        <pc:spChg chg="mod ord">
          <ac:chgData name="José Antonio Ureta Santacreu" userId="e36999d1-2b92-424a-9e8c-5fde0c5fbdd2" providerId="ADAL" clId="{B441C459-42E0-4465-B296-199851FC6E31}" dt="2024-09-11T11:12:14.001" v="3782" actId="6264"/>
          <ac:spMkLst>
            <pc:docMk/>
            <pc:sldMk cId="2345579858" sldId="1211"/>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2345579858" sldId="1211"/>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2345579858" sldId="1211"/>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2345579858" sldId="1211"/>
            <ac:spMk id="8" creationId="{74DC4C68-B4E1-1479-DB75-7AEA4C338FC4}"/>
          </ac:spMkLst>
        </pc:spChg>
        <pc:spChg chg="add del mod">
          <ac:chgData name="José Antonio Ureta Santacreu" userId="e36999d1-2b92-424a-9e8c-5fde0c5fbdd2" providerId="ADAL" clId="{B441C459-42E0-4465-B296-199851FC6E31}" dt="2024-09-11T11:12:14.001" v="3782" actId="6264"/>
          <ac:spMkLst>
            <pc:docMk/>
            <pc:sldMk cId="2345579858" sldId="1211"/>
            <ac:spMk id="9" creationId="{B6298A7F-91BC-4331-5E38-148241563BF8}"/>
          </ac:spMkLst>
        </pc:spChg>
        <pc:spChg chg="add del mod">
          <ac:chgData name="José Antonio Ureta Santacreu" userId="e36999d1-2b92-424a-9e8c-5fde0c5fbdd2" providerId="ADAL" clId="{B441C459-42E0-4465-B296-199851FC6E31}" dt="2024-09-11T11:12:14.001" v="3782" actId="6264"/>
          <ac:spMkLst>
            <pc:docMk/>
            <pc:sldMk cId="2345579858" sldId="1211"/>
            <ac:spMk id="10" creationId="{3ADD39C9-A4A4-FD66-2F3F-272C453C7553}"/>
          </ac:spMkLst>
        </pc:spChg>
        <pc:spChg chg="add del mod">
          <ac:chgData name="José Antonio Ureta Santacreu" userId="e36999d1-2b92-424a-9e8c-5fde0c5fbdd2" providerId="ADAL" clId="{B441C459-42E0-4465-B296-199851FC6E31}" dt="2024-09-11T11:12:14.001" v="3782" actId="6264"/>
          <ac:spMkLst>
            <pc:docMk/>
            <pc:sldMk cId="2345579858" sldId="1211"/>
            <ac:spMk id="11" creationId="{C38525D2-D28E-203B-C0A1-9E705C7E74AE}"/>
          </ac:spMkLst>
        </pc:spChg>
        <pc:graphicFrameChg chg="mod ord">
          <ac:chgData name="José Antonio Ureta Santacreu" userId="e36999d1-2b92-424a-9e8c-5fde0c5fbdd2" providerId="ADAL" clId="{B441C459-42E0-4465-B296-199851FC6E31}" dt="2024-09-12T15:42:19.067" v="5144"/>
          <ac:graphicFrameMkLst>
            <pc:docMk/>
            <pc:sldMk cId="2345579858" sldId="1211"/>
            <ac:graphicFrameMk id="7" creationId="{69A3C6FB-1444-D938-0699-A6962F4F03E5}"/>
          </ac:graphicFrameMkLst>
        </pc:graphicFrameChg>
      </pc:sldChg>
      <pc:sldChg chg="addSp delSp modSp mod ord chgLayout">
        <pc:chgData name="José Antonio Ureta Santacreu" userId="e36999d1-2b92-424a-9e8c-5fde0c5fbdd2" providerId="ADAL" clId="{B441C459-42E0-4465-B296-199851FC6E31}" dt="2024-09-11T11:12:14.001" v="3782" actId="6264"/>
        <pc:sldMkLst>
          <pc:docMk/>
          <pc:sldMk cId="2016077209" sldId="1212"/>
        </pc:sldMkLst>
        <pc:spChg chg="mod ord">
          <ac:chgData name="José Antonio Ureta Santacreu" userId="e36999d1-2b92-424a-9e8c-5fde0c5fbdd2" providerId="ADAL" clId="{B441C459-42E0-4465-B296-199851FC6E31}" dt="2024-09-11T11:12:14.001" v="3782" actId="6264"/>
          <ac:spMkLst>
            <pc:docMk/>
            <pc:sldMk cId="2016077209" sldId="1212"/>
            <ac:spMk id="2" creationId="{74460F39-F8AB-8F44-B805-C919A1160F18}"/>
          </ac:spMkLst>
        </pc:spChg>
        <pc:spChg chg="mod ord">
          <ac:chgData name="José Antonio Ureta Santacreu" userId="e36999d1-2b92-424a-9e8c-5fde0c5fbdd2" providerId="ADAL" clId="{B441C459-42E0-4465-B296-199851FC6E31}" dt="2024-09-11T11:12:14.001" v="3782" actId="6264"/>
          <ac:spMkLst>
            <pc:docMk/>
            <pc:sldMk cId="2016077209" sldId="1212"/>
            <ac:spMk id="3" creationId="{1336FBCD-28B0-CB38-E257-F18E0FB728F0}"/>
          </ac:spMkLst>
        </pc:spChg>
        <pc:spChg chg="mod ord">
          <ac:chgData name="José Antonio Ureta Santacreu" userId="e36999d1-2b92-424a-9e8c-5fde0c5fbdd2" providerId="ADAL" clId="{B441C459-42E0-4465-B296-199851FC6E31}" dt="2024-09-11T11:12:14.001" v="3782" actId="6264"/>
          <ac:spMkLst>
            <pc:docMk/>
            <pc:sldMk cId="2016077209" sldId="1212"/>
            <ac:spMk id="4" creationId="{ED22FE4A-7725-E1A1-575C-9527875E91D5}"/>
          </ac:spMkLst>
        </pc:spChg>
        <pc:spChg chg="mod ord">
          <ac:chgData name="José Antonio Ureta Santacreu" userId="e36999d1-2b92-424a-9e8c-5fde0c5fbdd2" providerId="ADAL" clId="{B441C459-42E0-4465-B296-199851FC6E31}" dt="2024-09-11T11:12:14.001" v="3782" actId="6264"/>
          <ac:spMkLst>
            <pc:docMk/>
            <pc:sldMk cId="2016077209" sldId="1212"/>
            <ac:spMk id="5" creationId="{65AABBDB-D3E5-D131-2058-4A94B7A1BFA6}"/>
          </ac:spMkLst>
        </pc:spChg>
        <pc:spChg chg="add del mod">
          <ac:chgData name="José Antonio Ureta Santacreu" userId="e36999d1-2b92-424a-9e8c-5fde0c5fbdd2" providerId="ADAL" clId="{B441C459-42E0-4465-B296-199851FC6E31}" dt="2024-09-11T11:12:14.001" v="3782" actId="6264"/>
          <ac:spMkLst>
            <pc:docMk/>
            <pc:sldMk cId="2016077209" sldId="1212"/>
            <ac:spMk id="6" creationId="{7C5F4ED7-AD50-59A5-6B83-988347E97320}"/>
          </ac:spMkLst>
        </pc:spChg>
        <pc:spChg chg="add del mod">
          <ac:chgData name="José Antonio Ureta Santacreu" userId="e36999d1-2b92-424a-9e8c-5fde0c5fbdd2" providerId="ADAL" clId="{B441C459-42E0-4465-B296-199851FC6E31}" dt="2024-09-11T11:12:14.001" v="3782" actId="6264"/>
          <ac:spMkLst>
            <pc:docMk/>
            <pc:sldMk cId="2016077209" sldId="1212"/>
            <ac:spMk id="7" creationId="{390491F6-EDF9-C6D3-2105-5578C869FDDE}"/>
          </ac:spMkLst>
        </pc:spChg>
        <pc:spChg chg="add del mod">
          <ac:chgData name="José Antonio Ureta Santacreu" userId="e36999d1-2b92-424a-9e8c-5fde0c5fbdd2" providerId="ADAL" clId="{B441C459-42E0-4465-B296-199851FC6E31}" dt="2024-09-11T11:12:14.001" v="3782" actId="6264"/>
          <ac:spMkLst>
            <pc:docMk/>
            <pc:sldMk cId="2016077209" sldId="1212"/>
            <ac:spMk id="8" creationId="{522B60F6-DE22-E3B4-CCA0-00F2041D1E0E}"/>
          </ac:spMkLst>
        </pc:spChg>
        <pc:spChg chg="add del mod">
          <ac:chgData name="José Antonio Ureta Santacreu" userId="e36999d1-2b92-424a-9e8c-5fde0c5fbdd2" providerId="ADAL" clId="{B441C459-42E0-4465-B296-199851FC6E31}" dt="2024-09-11T11:12:14.001" v="3782" actId="6264"/>
          <ac:spMkLst>
            <pc:docMk/>
            <pc:sldMk cId="2016077209" sldId="1212"/>
            <ac:spMk id="9" creationId="{BD04F226-BCFD-B3C3-247B-625C9717869F}"/>
          </ac:spMkLst>
        </pc:spChg>
      </pc:sldChg>
      <pc:sldChg chg="addSp delSp modSp mod chgLayout">
        <pc:chgData name="José Antonio Ureta Santacreu" userId="e36999d1-2b92-424a-9e8c-5fde0c5fbdd2" providerId="ADAL" clId="{B441C459-42E0-4465-B296-199851FC6E31}" dt="2024-09-11T11:12:14.001" v="3782" actId="6264"/>
        <pc:sldMkLst>
          <pc:docMk/>
          <pc:sldMk cId="3800316882" sldId="1213"/>
        </pc:sldMkLst>
        <pc:spChg chg="mod ord">
          <ac:chgData name="José Antonio Ureta Santacreu" userId="e36999d1-2b92-424a-9e8c-5fde0c5fbdd2" providerId="ADAL" clId="{B441C459-42E0-4465-B296-199851FC6E31}" dt="2024-09-11T11:12:14.001" v="3782" actId="6264"/>
          <ac:spMkLst>
            <pc:docMk/>
            <pc:sldMk cId="3800316882" sldId="1213"/>
            <ac:spMk id="2" creationId="{B7809EBD-B831-9C86-16C9-4A49A461723C}"/>
          </ac:spMkLst>
        </pc:spChg>
        <pc:spChg chg="mod ord">
          <ac:chgData name="José Antonio Ureta Santacreu" userId="e36999d1-2b92-424a-9e8c-5fde0c5fbdd2" providerId="ADAL" clId="{B441C459-42E0-4465-B296-199851FC6E31}" dt="2024-09-11T11:12:14.001" v="3782" actId="6264"/>
          <ac:spMkLst>
            <pc:docMk/>
            <pc:sldMk cId="3800316882" sldId="1213"/>
            <ac:spMk id="3" creationId="{4DC17199-C1A8-FF3E-C863-36D62326E3BD}"/>
          </ac:spMkLst>
        </pc:spChg>
        <pc:spChg chg="mod ord">
          <ac:chgData name="José Antonio Ureta Santacreu" userId="e36999d1-2b92-424a-9e8c-5fde0c5fbdd2" providerId="ADAL" clId="{B441C459-42E0-4465-B296-199851FC6E31}" dt="2024-09-11T11:12:14.001" v="3782" actId="6264"/>
          <ac:spMkLst>
            <pc:docMk/>
            <pc:sldMk cId="3800316882" sldId="1213"/>
            <ac:spMk id="4" creationId="{D5619181-F035-024F-48F3-D8CD473A3A63}"/>
          </ac:spMkLst>
        </pc:spChg>
        <pc:spChg chg="mod ord">
          <ac:chgData name="José Antonio Ureta Santacreu" userId="e36999d1-2b92-424a-9e8c-5fde0c5fbdd2" providerId="ADAL" clId="{B441C459-42E0-4465-B296-199851FC6E31}" dt="2024-09-11T11:12:14.001" v="3782" actId="6264"/>
          <ac:spMkLst>
            <pc:docMk/>
            <pc:sldMk cId="3800316882" sldId="1213"/>
            <ac:spMk id="5" creationId="{D1C66BFF-E595-037B-6F45-BF95753DA981}"/>
          </ac:spMkLst>
        </pc:spChg>
        <pc:spChg chg="add del mod">
          <ac:chgData name="José Antonio Ureta Santacreu" userId="e36999d1-2b92-424a-9e8c-5fde0c5fbdd2" providerId="ADAL" clId="{B441C459-42E0-4465-B296-199851FC6E31}" dt="2024-09-11T11:12:14.001" v="3782" actId="6264"/>
          <ac:spMkLst>
            <pc:docMk/>
            <pc:sldMk cId="3800316882" sldId="1213"/>
            <ac:spMk id="6" creationId="{19AA56BA-455A-DD0F-476F-8D29768FCE4C}"/>
          </ac:spMkLst>
        </pc:spChg>
        <pc:spChg chg="add del mod">
          <ac:chgData name="José Antonio Ureta Santacreu" userId="e36999d1-2b92-424a-9e8c-5fde0c5fbdd2" providerId="ADAL" clId="{B441C459-42E0-4465-B296-199851FC6E31}" dt="2024-09-11T11:12:14.001" v="3782" actId="6264"/>
          <ac:spMkLst>
            <pc:docMk/>
            <pc:sldMk cId="3800316882" sldId="1213"/>
            <ac:spMk id="7" creationId="{E622D41F-CF35-4507-A081-25596AD34E57}"/>
          </ac:spMkLst>
        </pc:spChg>
        <pc:spChg chg="add del mod">
          <ac:chgData name="José Antonio Ureta Santacreu" userId="e36999d1-2b92-424a-9e8c-5fde0c5fbdd2" providerId="ADAL" clId="{B441C459-42E0-4465-B296-199851FC6E31}" dt="2024-09-11T11:12:14.001" v="3782" actId="6264"/>
          <ac:spMkLst>
            <pc:docMk/>
            <pc:sldMk cId="3800316882" sldId="1213"/>
            <ac:spMk id="8" creationId="{1F22F500-FFE3-F420-0B77-4474CAE81954}"/>
          </ac:spMkLst>
        </pc:spChg>
        <pc:spChg chg="add del mod">
          <ac:chgData name="José Antonio Ureta Santacreu" userId="e36999d1-2b92-424a-9e8c-5fde0c5fbdd2" providerId="ADAL" clId="{B441C459-42E0-4465-B296-199851FC6E31}" dt="2024-09-11T11:12:14.001" v="3782" actId="6264"/>
          <ac:spMkLst>
            <pc:docMk/>
            <pc:sldMk cId="3800316882" sldId="1213"/>
            <ac:spMk id="9" creationId="{20E00D69-1C90-7AC1-EAFB-A8474BCDF61B}"/>
          </ac:spMkLst>
        </pc:spChg>
      </pc:sldChg>
      <pc:sldChg chg="addSp delSp modSp mod chgLayout">
        <pc:chgData name="José Antonio Ureta Santacreu" userId="e36999d1-2b92-424a-9e8c-5fde0c5fbdd2" providerId="ADAL" clId="{B441C459-42E0-4465-B296-199851FC6E31}" dt="2024-09-11T11:12:14.001" v="3782" actId="6264"/>
        <pc:sldMkLst>
          <pc:docMk/>
          <pc:sldMk cId="1860430225" sldId="1214"/>
        </pc:sldMkLst>
        <pc:spChg chg="mod ord">
          <ac:chgData name="José Antonio Ureta Santacreu" userId="e36999d1-2b92-424a-9e8c-5fde0c5fbdd2" providerId="ADAL" clId="{B441C459-42E0-4465-B296-199851FC6E31}" dt="2024-09-11T11:12:14.001" v="3782" actId="6264"/>
          <ac:spMkLst>
            <pc:docMk/>
            <pc:sldMk cId="1860430225" sldId="1214"/>
            <ac:spMk id="2" creationId="{CF678F3B-E629-29B7-C811-443CD858A015}"/>
          </ac:spMkLst>
        </pc:spChg>
        <pc:spChg chg="mod ord">
          <ac:chgData name="José Antonio Ureta Santacreu" userId="e36999d1-2b92-424a-9e8c-5fde0c5fbdd2" providerId="ADAL" clId="{B441C459-42E0-4465-B296-199851FC6E31}" dt="2024-09-11T11:12:14.001" v="3782" actId="6264"/>
          <ac:spMkLst>
            <pc:docMk/>
            <pc:sldMk cId="1860430225" sldId="1214"/>
            <ac:spMk id="3" creationId="{25F2D20A-B8D0-B989-8C7D-12E3E6C997FC}"/>
          </ac:spMkLst>
        </pc:spChg>
        <pc:spChg chg="mod ord">
          <ac:chgData name="José Antonio Ureta Santacreu" userId="e36999d1-2b92-424a-9e8c-5fde0c5fbdd2" providerId="ADAL" clId="{B441C459-42E0-4465-B296-199851FC6E31}" dt="2024-09-11T11:12:14.001" v="3782" actId="6264"/>
          <ac:spMkLst>
            <pc:docMk/>
            <pc:sldMk cId="1860430225" sldId="1214"/>
            <ac:spMk id="4" creationId="{63464EB4-9ACC-C0E3-FF75-0F604016E249}"/>
          </ac:spMkLst>
        </pc:spChg>
        <pc:spChg chg="mod ord">
          <ac:chgData name="José Antonio Ureta Santacreu" userId="e36999d1-2b92-424a-9e8c-5fde0c5fbdd2" providerId="ADAL" clId="{B441C459-42E0-4465-B296-199851FC6E31}" dt="2024-09-11T11:12:14.001" v="3782" actId="6264"/>
          <ac:spMkLst>
            <pc:docMk/>
            <pc:sldMk cId="1860430225" sldId="1214"/>
            <ac:spMk id="5" creationId="{FEAA773C-17A6-8246-8EE4-11F236695F3A}"/>
          </ac:spMkLst>
        </pc:spChg>
        <pc:spChg chg="add del mod">
          <ac:chgData name="José Antonio Ureta Santacreu" userId="e36999d1-2b92-424a-9e8c-5fde0c5fbdd2" providerId="ADAL" clId="{B441C459-42E0-4465-B296-199851FC6E31}" dt="2024-09-11T11:12:14.001" v="3782" actId="6264"/>
          <ac:spMkLst>
            <pc:docMk/>
            <pc:sldMk cId="1860430225" sldId="1214"/>
            <ac:spMk id="6" creationId="{70705454-3472-879A-A271-16A576418D79}"/>
          </ac:spMkLst>
        </pc:spChg>
        <pc:spChg chg="add del mod">
          <ac:chgData name="José Antonio Ureta Santacreu" userId="e36999d1-2b92-424a-9e8c-5fde0c5fbdd2" providerId="ADAL" clId="{B441C459-42E0-4465-B296-199851FC6E31}" dt="2024-09-11T11:12:14.001" v="3782" actId="6264"/>
          <ac:spMkLst>
            <pc:docMk/>
            <pc:sldMk cId="1860430225" sldId="1214"/>
            <ac:spMk id="7" creationId="{F747491F-EEC7-015B-232C-A00D7CC093ED}"/>
          </ac:spMkLst>
        </pc:spChg>
        <pc:spChg chg="add del mod">
          <ac:chgData name="José Antonio Ureta Santacreu" userId="e36999d1-2b92-424a-9e8c-5fde0c5fbdd2" providerId="ADAL" clId="{B441C459-42E0-4465-B296-199851FC6E31}" dt="2024-09-11T11:12:14.001" v="3782" actId="6264"/>
          <ac:spMkLst>
            <pc:docMk/>
            <pc:sldMk cId="1860430225" sldId="1214"/>
            <ac:spMk id="9" creationId="{FA849862-7B2F-1D88-E9C6-C8039BB321D3}"/>
          </ac:spMkLst>
        </pc:spChg>
        <pc:spChg chg="add del mod">
          <ac:chgData name="José Antonio Ureta Santacreu" userId="e36999d1-2b92-424a-9e8c-5fde0c5fbdd2" providerId="ADAL" clId="{B441C459-42E0-4465-B296-199851FC6E31}" dt="2024-09-11T11:12:14.001" v="3782" actId="6264"/>
          <ac:spMkLst>
            <pc:docMk/>
            <pc:sldMk cId="1860430225" sldId="1214"/>
            <ac:spMk id="10" creationId="{600A6D75-9F48-DAEF-7B27-A885C3A6DB1F}"/>
          </ac:spMkLst>
        </pc:spChg>
        <pc:spChg chg="add del mod">
          <ac:chgData name="José Antonio Ureta Santacreu" userId="e36999d1-2b92-424a-9e8c-5fde0c5fbdd2" providerId="ADAL" clId="{B441C459-42E0-4465-B296-199851FC6E31}" dt="2024-09-11T11:12:14.001" v="3782" actId="6264"/>
          <ac:spMkLst>
            <pc:docMk/>
            <pc:sldMk cId="1860430225" sldId="1214"/>
            <ac:spMk id="11" creationId="{C9576857-1AD0-0630-1614-8270970CB732}"/>
          </ac:spMkLst>
        </pc:spChg>
        <pc:picChg chg="mod ord">
          <ac:chgData name="José Antonio Ureta Santacreu" userId="e36999d1-2b92-424a-9e8c-5fde0c5fbdd2" providerId="ADAL" clId="{B441C459-42E0-4465-B296-199851FC6E31}" dt="2024-09-11T11:12:14.001" v="3782" actId="6264"/>
          <ac:picMkLst>
            <pc:docMk/>
            <pc:sldMk cId="1860430225" sldId="1214"/>
            <ac:picMk id="8" creationId="{B41DAA8C-00F2-3313-1C3F-9FCCF47BC2BF}"/>
          </ac:picMkLst>
        </pc:picChg>
      </pc:sldChg>
      <pc:sldChg chg="addSp delSp modSp mod chgLayout">
        <pc:chgData name="José Antonio Ureta Santacreu" userId="e36999d1-2b92-424a-9e8c-5fde0c5fbdd2" providerId="ADAL" clId="{B441C459-42E0-4465-B296-199851FC6E31}" dt="2024-09-12T15:43:51.197" v="5149" actId="14100"/>
        <pc:sldMkLst>
          <pc:docMk/>
          <pc:sldMk cId="2415639969" sldId="1219"/>
        </pc:sldMkLst>
        <pc:spChg chg="mod ord">
          <ac:chgData name="José Antonio Ureta Santacreu" userId="e36999d1-2b92-424a-9e8c-5fde0c5fbdd2" providerId="ADAL" clId="{B441C459-42E0-4465-B296-199851FC6E31}" dt="2024-09-11T11:12:14.001" v="3782" actId="6264"/>
          <ac:spMkLst>
            <pc:docMk/>
            <pc:sldMk cId="2415639969" sldId="1219"/>
            <ac:spMk id="2" creationId="{E8E0C3E4-B740-91AA-555B-3848D3A5DECB}"/>
          </ac:spMkLst>
        </pc:spChg>
        <pc:spChg chg="mod ord">
          <ac:chgData name="José Antonio Ureta Santacreu" userId="e36999d1-2b92-424a-9e8c-5fde0c5fbdd2" providerId="ADAL" clId="{B441C459-42E0-4465-B296-199851FC6E31}" dt="2024-09-11T11:12:14.001" v="3782" actId="6264"/>
          <ac:spMkLst>
            <pc:docMk/>
            <pc:sldMk cId="2415639969" sldId="1219"/>
            <ac:spMk id="3" creationId="{B403C7FF-EDA7-A2E8-93BB-928277951DD0}"/>
          </ac:spMkLst>
        </pc:spChg>
        <pc:spChg chg="mod ord">
          <ac:chgData name="José Antonio Ureta Santacreu" userId="e36999d1-2b92-424a-9e8c-5fde0c5fbdd2" providerId="ADAL" clId="{B441C459-42E0-4465-B296-199851FC6E31}" dt="2024-09-11T11:12:14.001" v="3782" actId="6264"/>
          <ac:spMkLst>
            <pc:docMk/>
            <pc:sldMk cId="2415639969" sldId="1219"/>
            <ac:spMk id="4" creationId="{38D91ED6-2F86-CE1E-4C22-B8B29596825C}"/>
          </ac:spMkLst>
        </pc:spChg>
        <pc:spChg chg="mod ord">
          <ac:chgData name="José Antonio Ureta Santacreu" userId="e36999d1-2b92-424a-9e8c-5fde0c5fbdd2" providerId="ADAL" clId="{B441C459-42E0-4465-B296-199851FC6E31}" dt="2024-09-11T11:12:14.001" v="3782" actId="6264"/>
          <ac:spMkLst>
            <pc:docMk/>
            <pc:sldMk cId="2415639969" sldId="1219"/>
            <ac:spMk id="5" creationId="{F1BDA4B1-E579-2EB0-AB26-ACEF6D64EB75}"/>
          </ac:spMkLst>
        </pc:spChg>
        <pc:spChg chg="add del mod">
          <ac:chgData name="José Antonio Ureta Santacreu" userId="e36999d1-2b92-424a-9e8c-5fde0c5fbdd2" providerId="ADAL" clId="{B441C459-42E0-4465-B296-199851FC6E31}" dt="2024-09-11T11:12:14.001" v="3782" actId="6264"/>
          <ac:spMkLst>
            <pc:docMk/>
            <pc:sldMk cId="2415639969" sldId="1219"/>
            <ac:spMk id="11" creationId="{BF69B4BE-E633-26EA-871B-1806E502E935}"/>
          </ac:spMkLst>
        </pc:spChg>
        <pc:spChg chg="mod">
          <ac:chgData name="José Antonio Ureta Santacreu" userId="e36999d1-2b92-424a-9e8c-5fde0c5fbdd2" providerId="ADAL" clId="{B441C459-42E0-4465-B296-199851FC6E31}" dt="2024-09-12T15:43:51.197" v="5149" actId="14100"/>
          <ac:spMkLst>
            <pc:docMk/>
            <pc:sldMk cId="2415639969" sldId="1219"/>
            <ac:spMk id="12" creationId="{E5ADCC2E-D0D6-4992-8E1B-646E115270A3}"/>
          </ac:spMkLst>
        </pc:spChg>
        <pc:spChg chg="add del mod">
          <ac:chgData name="José Antonio Ureta Santacreu" userId="e36999d1-2b92-424a-9e8c-5fde0c5fbdd2" providerId="ADAL" clId="{B441C459-42E0-4465-B296-199851FC6E31}" dt="2024-09-11T11:12:14.001" v="3782" actId="6264"/>
          <ac:spMkLst>
            <pc:docMk/>
            <pc:sldMk cId="2415639969" sldId="1219"/>
            <ac:spMk id="15" creationId="{8006BBE4-3F98-C253-2ADF-CA100FA7FDED}"/>
          </ac:spMkLst>
        </pc:spChg>
        <pc:spChg chg="add del mod">
          <ac:chgData name="José Antonio Ureta Santacreu" userId="e36999d1-2b92-424a-9e8c-5fde0c5fbdd2" providerId="ADAL" clId="{B441C459-42E0-4465-B296-199851FC6E31}" dt="2024-09-11T11:12:14.001" v="3782" actId="6264"/>
          <ac:spMkLst>
            <pc:docMk/>
            <pc:sldMk cId="2415639969" sldId="1219"/>
            <ac:spMk id="17" creationId="{08B98E4B-8734-DA14-5309-5D1B9F5979D0}"/>
          </ac:spMkLst>
        </pc:spChg>
        <pc:spChg chg="add del mod">
          <ac:chgData name="José Antonio Ureta Santacreu" userId="e36999d1-2b92-424a-9e8c-5fde0c5fbdd2" providerId="ADAL" clId="{B441C459-42E0-4465-B296-199851FC6E31}" dt="2024-09-11T11:12:14.001" v="3782" actId="6264"/>
          <ac:spMkLst>
            <pc:docMk/>
            <pc:sldMk cId="2415639969" sldId="1219"/>
            <ac:spMk id="19" creationId="{F4AAB749-53F8-130A-B6C0-C0356BD7AFA1}"/>
          </ac:spMkLst>
        </pc:spChg>
      </pc:sldChg>
      <pc:sldChg chg="addSp delSp modSp mod chgLayout">
        <pc:chgData name="José Antonio Ureta Santacreu" userId="e36999d1-2b92-424a-9e8c-5fde0c5fbdd2" providerId="ADAL" clId="{B441C459-42E0-4465-B296-199851FC6E31}" dt="2024-09-12T15:45:15.141" v="5158" actId="2"/>
        <pc:sldMkLst>
          <pc:docMk/>
          <pc:sldMk cId="3708176570" sldId="1223"/>
        </pc:sldMkLst>
        <pc:spChg chg="mod ord">
          <ac:chgData name="José Antonio Ureta Santacreu" userId="e36999d1-2b92-424a-9e8c-5fde0c5fbdd2" providerId="ADAL" clId="{B441C459-42E0-4465-B296-199851FC6E31}" dt="2024-09-11T11:12:14.001" v="3782" actId="6264"/>
          <ac:spMkLst>
            <pc:docMk/>
            <pc:sldMk cId="3708176570" sldId="1223"/>
            <ac:spMk id="2" creationId="{9E2694F2-680F-BCA7-DAFC-1EB1627727FF}"/>
          </ac:spMkLst>
        </pc:spChg>
        <pc:spChg chg="add del mod">
          <ac:chgData name="José Antonio Ureta Santacreu" userId="e36999d1-2b92-424a-9e8c-5fde0c5fbdd2" providerId="ADAL" clId="{B441C459-42E0-4465-B296-199851FC6E31}" dt="2024-09-11T11:12:14.001" v="3782" actId="6264"/>
          <ac:spMkLst>
            <pc:docMk/>
            <pc:sldMk cId="3708176570" sldId="1223"/>
            <ac:spMk id="3" creationId="{1A8E17C6-1EFC-18DA-5FCC-FC7F48F8238B}"/>
          </ac:spMkLst>
        </pc:spChg>
        <pc:spChg chg="mod ord">
          <ac:chgData name="José Antonio Ureta Santacreu" userId="e36999d1-2b92-424a-9e8c-5fde0c5fbdd2" providerId="ADAL" clId="{B441C459-42E0-4465-B296-199851FC6E31}" dt="2024-09-11T11:12:14.001" v="3782" actId="6264"/>
          <ac:spMkLst>
            <pc:docMk/>
            <pc:sldMk cId="3708176570" sldId="1223"/>
            <ac:spMk id="4" creationId="{4CF64030-D858-6B9D-A717-069970392BD6}"/>
          </ac:spMkLst>
        </pc:spChg>
        <pc:spChg chg="mod ord">
          <ac:chgData name="José Antonio Ureta Santacreu" userId="e36999d1-2b92-424a-9e8c-5fde0c5fbdd2" providerId="ADAL" clId="{B441C459-42E0-4465-B296-199851FC6E31}" dt="2024-09-11T11:12:14.001" v="3782" actId="6264"/>
          <ac:spMkLst>
            <pc:docMk/>
            <pc:sldMk cId="3708176570" sldId="1223"/>
            <ac:spMk id="5" creationId="{40D836F1-1AA6-22AC-7723-597F9E868E78}"/>
          </ac:spMkLst>
        </pc:spChg>
        <pc:spChg chg="mod ord">
          <ac:chgData name="José Antonio Ureta Santacreu" userId="e36999d1-2b92-424a-9e8c-5fde0c5fbdd2" providerId="ADAL" clId="{B441C459-42E0-4465-B296-199851FC6E31}" dt="2024-09-11T11:12:14.001" v="3782" actId="6264"/>
          <ac:spMkLst>
            <pc:docMk/>
            <pc:sldMk cId="3708176570" sldId="1223"/>
            <ac:spMk id="6" creationId="{B956A8E9-9A19-9126-F959-22B47734F832}"/>
          </ac:spMkLst>
        </pc:spChg>
        <pc:spChg chg="add del mod">
          <ac:chgData name="José Antonio Ureta Santacreu" userId="e36999d1-2b92-424a-9e8c-5fde0c5fbdd2" providerId="ADAL" clId="{B441C459-42E0-4465-B296-199851FC6E31}" dt="2024-09-11T11:12:14.001" v="3782" actId="6264"/>
          <ac:spMkLst>
            <pc:docMk/>
            <pc:sldMk cId="3708176570" sldId="1223"/>
            <ac:spMk id="8" creationId="{AA0B60D8-D139-7AC1-76E4-A892E6599C14}"/>
          </ac:spMkLst>
        </pc:spChg>
        <pc:spChg chg="add del mod">
          <ac:chgData name="José Antonio Ureta Santacreu" userId="e36999d1-2b92-424a-9e8c-5fde0c5fbdd2" providerId="ADAL" clId="{B441C459-42E0-4465-B296-199851FC6E31}" dt="2024-09-11T11:12:14.001" v="3782" actId="6264"/>
          <ac:spMkLst>
            <pc:docMk/>
            <pc:sldMk cId="3708176570" sldId="1223"/>
            <ac:spMk id="9" creationId="{7F89B914-AB82-7168-A38A-E328B03E2534}"/>
          </ac:spMkLst>
        </pc:spChg>
        <pc:spChg chg="add del mod">
          <ac:chgData name="José Antonio Ureta Santacreu" userId="e36999d1-2b92-424a-9e8c-5fde0c5fbdd2" providerId="ADAL" clId="{B441C459-42E0-4465-B296-199851FC6E31}" dt="2024-09-11T11:12:14.001" v="3782" actId="6264"/>
          <ac:spMkLst>
            <pc:docMk/>
            <pc:sldMk cId="3708176570" sldId="1223"/>
            <ac:spMk id="10" creationId="{461CB2A0-ADFB-484E-1054-FAB3BBD2340C}"/>
          </ac:spMkLst>
        </pc:spChg>
        <pc:spChg chg="add del mod">
          <ac:chgData name="José Antonio Ureta Santacreu" userId="e36999d1-2b92-424a-9e8c-5fde0c5fbdd2" providerId="ADAL" clId="{B441C459-42E0-4465-B296-199851FC6E31}" dt="2024-09-11T11:12:14.001" v="3782" actId="6264"/>
          <ac:spMkLst>
            <pc:docMk/>
            <pc:sldMk cId="3708176570" sldId="1223"/>
            <ac:spMk id="11" creationId="{66455CB1-E33A-D450-CDE4-05ADB7D7AEB5}"/>
          </ac:spMkLst>
        </pc:spChg>
        <pc:graphicFrameChg chg="mod ord modGraphic">
          <ac:chgData name="José Antonio Ureta Santacreu" userId="e36999d1-2b92-424a-9e8c-5fde0c5fbdd2" providerId="ADAL" clId="{B441C459-42E0-4465-B296-199851FC6E31}" dt="2024-09-12T15:45:15.141" v="5158" actId="2"/>
          <ac:graphicFrameMkLst>
            <pc:docMk/>
            <pc:sldMk cId="3708176570" sldId="1223"/>
            <ac:graphicFrameMk id="7" creationId="{756F3A8C-1498-79D8-72BD-E8CF69B05A14}"/>
          </ac:graphicFrameMkLst>
        </pc:graphicFrameChg>
      </pc:sldChg>
      <pc:sldChg chg="addSp delSp modSp mod chgLayout">
        <pc:chgData name="José Antonio Ureta Santacreu" userId="e36999d1-2b92-424a-9e8c-5fde0c5fbdd2" providerId="ADAL" clId="{B441C459-42E0-4465-B296-199851FC6E31}" dt="2024-09-12T15:45:12.169" v="5157" actId="2"/>
        <pc:sldMkLst>
          <pc:docMk/>
          <pc:sldMk cId="619104416" sldId="1224"/>
        </pc:sldMkLst>
        <pc:spChg chg="mod ord">
          <ac:chgData name="José Antonio Ureta Santacreu" userId="e36999d1-2b92-424a-9e8c-5fde0c5fbdd2" providerId="ADAL" clId="{B441C459-42E0-4465-B296-199851FC6E31}" dt="2024-09-11T11:12:14.001" v="3782" actId="6264"/>
          <ac:spMkLst>
            <pc:docMk/>
            <pc:sldMk cId="619104416" sldId="1224"/>
            <ac:spMk id="2" creationId="{DA5782C2-B2FD-58A6-6969-8B5655519281}"/>
          </ac:spMkLst>
        </pc:spChg>
        <pc:spChg chg="add del mod">
          <ac:chgData name="José Antonio Ureta Santacreu" userId="e36999d1-2b92-424a-9e8c-5fde0c5fbdd2" providerId="ADAL" clId="{B441C459-42E0-4465-B296-199851FC6E31}" dt="2024-09-11T11:12:14.001" v="3782" actId="6264"/>
          <ac:spMkLst>
            <pc:docMk/>
            <pc:sldMk cId="619104416" sldId="1224"/>
            <ac:spMk id="3" creationId="{6078E95A-A8E5-F885-2117-8619CD8D4F07}"/>
          </ac:spMkLst>
        </pc:spChg>
        <pc:spChg chg="mod ord">
          <ac:chgData name="José Antonio Ureta Santacreu" userId="e36999d1-2b92-424a-9e8c-5fde0c5fbdd2" providerId="ADAL" clId="{B441C459-42E0-4465-B296-199851FC6E31}" dt="2024-09-11T11:12:14.001" v="3782" actId="6264"/>
          <ac:spMkLst>
            <pc:docMk/>
            <pc:sldMk cId="619104416" sldId="1224"/>
            <ac:spMk id="4" creationId="{460953D9-36F5-CD49-64B3-70EEF9652692}"/>
          </ac:spMkLst>
        </pc:spChg>
        <pc:spChg chg="mod ord">
          <ac:chgData name="José Antonio Ureta Santacreu" userId="e36999d1-2b92-424a-9e8c-5fde0c5fbdd2" providerId="ADAL" clId="{B441C459-42E0-4465-B296-199851FC6E31}" dt="2024-09-11T11:12:14.001" v="3782" actId="6264"/>
          <ac:spMkLst>
            <pc:docMk/>
            <pc:sldMk cId="619104416" sldId="1224"/>
            <ac:spMk id="5" creationId="{4690D2D0-AF46-CE9A-CD27-31BB8191D972}"/>
          </ac:spMkLst>
        </pc:spChg>
        <pc:spChg chg="mod ord">
          <ac:chgData name="José Antonio Ureta Santacreu" userId="e36999d1-2b92-424a-9e8c-5fde0c5fbdd2" providerId="ADAL" clId="{B441C459-42E0-4465-B296-199851FC6E31}" dt="2024-09-11T11:12:14.001" v="3782" actId="6264"/>
          <ac:spMkLst>
            <pc:docMk/>
            <pc:sldMk cId="619104416" sldId="1224"/>
            <ac:spMk id="6" creationId="{BDB28EF4-E93A-4FAD-25BB-5FB302DD7E3D}"/>
          </ac:spMkLst>
        </pc:spChg>
        <pc:spChg chg="add del mod">
          <ac:chgData name="José Antonio Ureta Santacreu" userId="e36999d1-2b92-424a-9e8c-5fde0c5fbdd2" providerId="ADAL" clId="{B441C459-42E0-4465-B296-199851FC6E31}" dt="2024-09-11T11:12:14.001" v="3782" actId="6264"/>
          <ac:spMkLst>
            <pc:docMk/>
            <pc:sldMk cId="619104416" sldId="1224"/>
            <ac:spMk id="7" creationId="{7039ABDC-71F9-4E14-0380-AACF8020C1B1}"/>
          </ac:spMkLst>
        </pc:spChg>
        <pc:spChg chg="add del mod">
          <ac:chgData name="José Antonio Ureta Santacreu" userId="e36999d1-2b92-424a-9e8c-5fde0c5fbdd2" providerId="ADAL" clId="{B441C459-42E0-4465-B296-199851FC6E31}" dt="2024-09-11T11:12:14.001" v="3782" actId="6264"/>
          <ac:spMkLst>
            <pc:docMk/>
            <pc:sldMk cId="619104416" sldId="1224"/>
            <ac:spMk id="8" creationId="{8712B215-9CF8-C423-AF6F-B690F50B97B1}"/>
          </ac:spMkLst>
        </pc:spChg>
        <pc:spChg chg="add del mod">
          <ac:chgData name="José Antonio Ureta Santacreu" userId="e36999d1-2b92-424a-9e8c-5fde0c5fbdd2" providerId="ADAL" clId="{B441C459-42E0-4465-B296-199851FC6E31}" dt="2024-09-11T11:12:14.001" v="3782" actId="6264"/>
          <ac:spMkLst>
            <pc:docMk/>
            <pc:sldMk cId="619104416" sldId="1224"/>
            <ac:spMk id="9" creationId="{6327DEA6-330F-9E84-3A86-97362645D088}"/>
          </ac:spMkLst>
        </pc:spChg>
        <pc:spChg chg="add del mod">
          <ac:chgData name="José Antonio Ureta Santacreu" userId="e36999d1-2b92-424a-9e8c-5fde0c5fbdd2" providerId="ADAL" clId="{B441C459-42E0-4465-B296-199851FC6E31}" dt="2024-09-11T11:12:14.001" v="3782" actId="6264"/>
          <ac:spMkLst>
            <pc:docMk/>
            <pc:sldMk cId="619104416" sldId="1224"/>
            <ac:spMk id="10" creationId="{6B5844B9-3DEB-8575-E62C-C9153B13C7F7}"/>
          </ac:spMkLst>
        </pc:spChg>
        <pc:spChg chg="add del mod">
          <ac:chgData name="José Antonio Ureta Santacreu" userId="e36999d1-2b92-424a-9e8c-5fde0c5fbdd2" providerId="ADAL" clId="{B441C459-42E0-4465-B296-199851FC6E31}" dt="2024-09-11T11:12:14.001" v="3782" actId="6264"/>
          <ac:spMkLst>
            <pc:docMk/>
            <pc:sldMk cId="619104416" sldId="1224"/>
            <ac:spMk id="11" creationId="{6D0FF757-13E2-2241-5326-E1840496EE96}"/>
          </ac:spMkLst>
        </pc:spChg>
        <pc:graphicFrameChg chg="mod ord">
          <ac:chgData name="José Antonio Ureta Santacreu" userId="e36999d1-2b92-424a-9e8c-5fde0c5fbdd2" providerId="ADAL" clId="{B441C459-42E0-4465-B296-199851FC6E31}" dt="2024-09-12T15:45:12.169" v="5157" actId="2"/>
          <ac:graphicFrameMkLst>
            <pc:docMk/>
            <pc:sldMk cId="619104416" sldId="1224"/>
            <ac:graphicFrameMk id="20" creationId="{0C7F0116-4F0E-12AB-BC7A-BC5A9035D66B}"/>
          </ac:graphicFrameMkLst>
        </pc:graphicFrameChg>
        <pc:picChg chg="mod ord">
          <ac:chgData name="José Antonio Ureta Santacreu" userId="e36999d1-2b92-424a-9e8c-5fde0c5fbdd2" providerId="ADAL" clId="{B441C459-42E0-4465-B296-199851FC6E31}" dt="2024-09-11T11:12:14.001" v="3782" actId="6264"/>
          <ac:picMkLst>
            <pc:docMk/>
            <pc:sldMk cId="619104416" sldId="1224"/>
            <ac:picMk id="13" creationId="{CD33D4C4-8196-DD15-E2FA-D78F1122F3F7}"/>
          </ac:picMkLst>
        </pc:picChg>
      </pc:sldChg>
      <pc:sldChg chg="addSp delSp modSp mod chgLayout">
        <pc:chgData name="José Antonio Ureta Santacreu" userId="e36999d1-2b92-424a-9e8c-5fde0c5fbdd2" providerId="ADAL" clId="{B441C459-42E0-4465-B296-199851FC6E31}" dt="2024-09-12T15:45:01.670" v="5154" actId="2"/>
        <pc:sldMkLst>
          <pc:docMk/>
          <pc:sldMk cId="4190830066" sldId="1226"/>
        </pc:sldMkLst>
        <pc:spChg chg="mod ord">
          <ac:chgData name="José Antonio Ureta Santacreu" userId="e36999d1-2b92-424a-9e8c-5fde0c5fbdd2" providerId="ADAL" clId="{B441C459-42E0-4465-B296-199851FC6E31}" dt="2024-09-11T11:12:14.001" v="3782" actId="6264"/>
          <ac:spMkLst>
            <pc:docMk/>
            <pc:sldMk cId="4190830066" sldId="1226"/>
            <ac:spMk id="2" creationId="{FE4FB687-256B-4E31-A119-8A89A5AB4CC0}"/>
          </ac:spMkLst>
        </pc:spChg>
        <pc:spChg chg="add del mod">
          <ac:chgData name="José Antonio Ureta Santacreu" userId="e36999d1-2b92-424a-9e8c-5fde0c5fbdd2" providerId="ADAL" clId="{B441C459-42E0-4465-B296-199851FC6E31}" dt="2024-09-11T11:12:14.001" v="3782" actId="6264"/>
          <ac:spMkLst>
            <pc:docMk/>
            <pc:sldMk cId="4190830066" sldId="1226"/>
            <ac:spMk id="3" creationId="{0E7C6000-351E-C5DB-1584-ECBDFC1ECEC1}"/>
          </ac:spMkLst>
        </pc:spChg>
        <pc:spChg chg="add del mod">
          <ac:chgData name="José Antonio Ureta Santacreu" userId="e36999d1-2b92-424a-9e8c-5fde0c5fbdd2" providerId="ADAL" clId="{B441C459-42E0-4465-B296-199851FC6E31}" dt="2024-09-11T11:12:14.001" v="3782" actId="6264"/>
          <ac:spMkLst>
            <pc:docMk/>
            <pc:sldMk cId="4190830066" sldId="1226"/>
            <ac:spMk id="4" creationId="{B014051D-43F5-D01C-1A09-153C35385289}"/>
          </ac:spMkLst>
        </pc:spChg>
        <pc:spChg chg="add del mod">
          <ac:chgData name="José Antonio Ureta Santacreu" userId="e36999d1-2b92-424a-9e8c-5fde0c5fbdd2" providerId="ADAL" clId="{B441C459-42E0-4465-B296-199851FC6E31}" dt="2024-09-11T11:12:14.001" v="3782" actId="6264"/>
          <ac:spMkLst>
            <pc:docMk/>
            <pc:sldMk cId="4190830066" sldId="1226"/>
            <ac:spMk id="5" creationId="{62391EDF-292E-BFFC-4252-7151C8E7EF1E}"/>
          </ac:spMkLst>
        </pc:spChg>
        <pc:spChg chg="add del mod">
          <ac:chgData name="José Antonio Ureta Santacreu" userId="e36999d1-2b92-424a-9e8c-5fde0c5fbdd2" providerId="ADAL" clId="{B441C459-42E0-4465-B296-199851FC6E31}" dt="2024-09-11T11:12:14.001" v="3782" actId="6264"/>
          <ac:spMkLst>
            <pc:docMk/>
            <pc:sldMk cId="4190830066" sldId="1226"/>
            <ac:spMk id="7" creationId="{E9FA120C-C1D8-0F85-DAD1-001A736FF517}"/>
          </ac:spMkLst>
        </pc:spChg>
        <pc:spChg chg="mod">
          <ac:chgData name="José Antonio Ureta Santacreu" userId="e36999d1-2b92-424a-9e8c-5fde0c5fbdd2" providerId="ADAL" clId="{B441C459-42E0-4465-B296-199851FC6E31}" dt="2024-09-12T15:45:01.670" v="5154" actId="2"/>
          <ac:spMkLst>
            <pc:docMk/>
            <pc:sldMk cId="4190830066" sldId="1226"/>
            <ac:spMk id="9" creationId="{7F86E1FA-24B8-4CCD-9BB3-907A85CBFF08}"/>
          </ac:spMkLst>
        </pc:spChg>
        <pc:spChg chg="mod ord">
          <ac:chgData name="José Antonio Ureta Santacreu" userId="e36999d1-2b92-424a-9e8c-5fde0c5fbdd2" providerId="ADAL" clId="{B441C459-42E0-4465-B296-199851FC6E31}" dt="2024-09-11T11:12:14.001" v="3782" actId="6264"/>
          <ac:spMkLst>
            <pc:docMk/>
            <pc:sldMk cId="4190830066" sldId="1226"/>
            <ac:spMk id="12" creationId="{DF4794DC-61D5-467F-B423-84294764D365}"/>
          </ac:spMkLst>
        </pc:spChg>
        <pc:spChg chg="mod ord">
          <ac:chgData name="José Antonio Ureta Santacreu" userId="e36999d1-2b92-424a-9e8c-5fde0c5fbdd2" providerId="ADAL" clId="{B441C459-42E0-4465-B296-199851FC6E31}" dt="2024-09-11T11:12:14.001" v="3782" actId="6264"/>
          <ac:spMkLst>
            <pc:docMk/>
            <pc:sldMk cId="4190830066" sldId="1226"/>
            <ac:spMk id="13" creationId="{440B496F-931B-4AA8-A87B-EB1A28ADCA71}"/>
          </ac:spMkLst>
        </pc:spChg>
        <pc:spChg chg="mod ord">
          <ac:chgData name="José Antonio Ureta Santacreu" userId="e36999d1-2b92-424a-9e8c-5fde0c5fbdd2" providerId="ADAL" clId="{B441C459-42E0-4465-B296-199851FC6E31}" dt="2024-09-11T11:12:14.001" v="3782" actId="6264"/>
          <ac:spMkLst>
            <pc:docMk/>
            <pc:sldMk cId="4190830066" sldId="1226"/>
            <ac:spMk id="14" creationId="{950CC561-4332-41AA-8D32-C89A9BB2DAA5}"/>
          </ac:spMkLst>
        </pc:spChg>
        <pc:graphicFrameChg chg="mod">
          <ac:chgData name="José Antonio Ureta Santacreu" userId="e36999d1-2b92-424a-9e8c-5fde0c5fbdd2" providerId="ADAL" clId="{B441C459-42E0-4465-B296-199851FC6E31}" dt="2024-09-12T15:31:55.372" v="4924" actId="108"/>
          <ac:graphicFrameMkLst>
            <pc:docMk/>
            <pc:sldMk cId="4190830066" sldId="1226"/>
            <ac:graphicFrameMk id="6" creationId="{B0E003E2-56B5-4728-8FEA-903F9058116D}"/>
          </ac:graphicFrameMkLst>
        </pc:graphicFrameChg>
      </pc:sldChg>
      <pc:sldChg chg="addSp delSp modSp del mod modClrScheme chgLayout">
        <pc:chgData name="José Antonio Ureta Santacreu" userId="e36999d1-2b92-424a-9e8c-5fde0c5fbdd2" providerId="ADAL" clId="{B441C459-42E0-4465-B296-199851FC6E31}" dt="2024-07-31T11:43:03.217" v="1632" actId="47"/>
        <pc:sldMkLst>
          <pc:docMk/>
          <pc:sldMk cId="1999354126" sldId="1227"/>
        </pc:sldMkLst>
        <pc:spChg chg="mod ord">
          <ac:chgData name="José Antonio Ureta Santacreu" userId="e36999d1-2b92-424a-9e8c-5fde0c5fbdd2" providerId="ADAL" clId="{B441C459-42E0-4465-B296-199851FC6E31}" dt="2024-07-31T11:42:51.469" v="1629" actId="21"/>
          <ac:spMkLst>
            <pc:docMk/>
            <pc:sldMk cId="1999354126" sldId="1227"/>
            <ac:spMk id="2" creationId="{92E0A3F6-8435-0511-F4A6-2E5C93A2EA5D}"/>
          </ac:spMkLst>
        </pc:spChg>
        <pc:spChg chg="mod ord">
          <ac:chgData name="José Antonio Ureta Santacreu" userId="e36999d1-2b92-424a-9e8c-5fde0c5fbdd2" providerId="ADAL" clId="{B441C459-42E0-4465-B296-199851FC6E31}" dt="2024-07-31T11:34:55.119" v="1492" actId="27636"/>
          <ac:spMkLst>
            <pc:docMk/>
            <pc:sldMk cId="1999354126" sldId="1227"/>
            <ac:spMk id="3" creationId="{D6E86C8C-9F4A-3FCD-DB2E-68EBEA74DFDD}"/>
          </ac:spMkLst>
        </pc:spChg>
        <pc:spChg chg="mod ord">
          <ac:chgData name="José Antonio Ureta Santacreu" userId="e36999d1-2b92-424a-9e8c-5fde0c5fbdd2" providerId="ADAL" clId="{B441C459-42E0-4465-B296-199851FC6E31}" dt="2024-07-31T11:39:06.842" v="1543" actId="21"/>
          <ac:spMkLst>
            <pc:docMk/>
            <pc:sldMk cId="1999354126" sldId="1227"/>
            <ac:spMk id="4" creationId="{47698E0B-496C-7112-8091-CFC105CEF1FE}"/>
          </ac:spMkLst>
        </pc:spChg>
        <pc:spChg chg="mod ord">
          <ac:chgData name="José Antonio Ureta Santacreu" userId="e36999d1-2b92-424a-9e8c-5fde0c5fbdd2" providerId="ADAL" clId="{B441C459-42E0-4465-B296-199851FC6E31}" dt="2024-07-31T11:33:30.364" v="1482" actId="6264"/>
          <ac:spMkLst>
            <pc:docMk/>
            <pc:sldMk cId="1999354126" sldId="1227"/>
            <ac:spMk id="5" creationId="{66D95A4C-6EE8-AFC0-A0D8-A4AD7F6BE722}"/>
          </ac:spMkLst>
        </pc:spChg>
        <pc:spChg chg="mod ord">
          <ac:chgData name="José Antonio Ureta Santacreu" userId="e36999d1-2b92-424a-9e8c-5fde0c5fbdd2" providerId="ADAL" clId="{B441C459-42E0-4465-B296-199851FC6E31}" dt="2024-07-31T11:33:30.364" v="1482" actId="6264"/>
          <ac:spMkLst>
            <pc:docMk/>
            <pc:sldMk cId="1999354126" sldId="1227"/>
            <ac:spMk id="6" creationId="{71410FF3-6F73-3DC1-0CBF-68F4B39814BD}"/>
          </ac:spMkLst>
        </pc:spChg>
        <pc:spChg chg="mod ord">
          <ac:chgData name="José Antonio Ureta Santacreu" userId="e36999d1-2b92-424a-9e8c-5fde0c5fbdd2" providerId="ADAL" clId="{B441C459-42E0-4465-B296-199851FC6E31}" dt="2024-07-31T11:33:30.364" v="1482" actId="6264"/>
          <ac:spMkLst>
            <pc:docMk/>
            <pc:sldMk cId="1999354126" sldId="1227"/>
            <ac:spMk id="7" creationId="{4E2EF8DF-5BC4-9655-2FD7-B2050183286F}"/>
          </ac:spMkLst>
        </pc:spChg>
        <pc:spChg chg="add mod ord">
          <ac:chgData name="José Antonio Ureta Santacreu" userId="e36999d1-2b92-424a-9e8c-5fde0c5fbdd2" providerId="ADAL" clId="{B441C459-42E0-4465-B296-199851FC6E31}" dt="2024-07-31T11:34:37.365" v="1485" actId="21"/>
          <ac:spMkLst>
            <pc:docMk/>
            <pc:sldMk cId="1999354126" sldId="1227"/>
            <ac:spMk id="8" creationId="{48C22FD5-8F8D-266F-3079-F863DDA60D9B}"/>
          </ac:spMkLst>
        </pc:spChg>
        <pc:spChg chg="add mod ord">
          <ac:chgData name="José Antonio Ureta Santacreu" userId="e36999d1-2b92-424a-9e8c-5fde0c5fbdd2" providerId="ADAL" clId="{B441C459-42E0-4465-B296-199851FC6E31}" dt="2024-07-31T11:34:45.836" v="1488" actId="21"/>
          <ac:spMkLst>
            <pc:docMk/>
            <pc:sldMk cId="1999354126" sldId="1227"/>
            <ac:spMk id="9" creationId="{1BE34817-0082-6907-B8D1-F60199D1F0FA}"/>
          </ac:spMkLst>
        </pc:spChg>
        <pc:spChg chg="add del mod">
          <ac:chgData name="José Antonio Ureta Santacreu" userId="e36999d1-2b92-424a-9e8c-5fde0c5fbdd2" providerId="ADAL" clId="{B441C459-42E0-4465-B296-199851FC6E31}" dt="2024-07-31T11:33:30.364" v="1482" actId="6264"/>
          <ac:spMkLst>
            <pc:docMk/>
            <pc:sldMk cId="1999354126" sldId="1227"/>
            <ac:spMk id="10" creationId="{FEBC6B61-80D0-AC05-566D-8A0E29EBA4CD}"/>
          </ac:spMkLst>
        </pc:spChg>
        <pc:spChg chg="add del mod">
          <ac:chgData name="José Antonio Ureta Santacreu" userId="e36999d1-2b92-424a-9e8c-5fde0c5fbdd2" providerId="ADAL" clId="{B441C459-42E0-4465-B296-199851FC6E31}" dt="2024-07-31T11:33:30.364" v="1482" actId="6264"/>
          <ac:spMkLst>
            <pc:docMk/>
            <pc:sldMk cId="1999354126" sldId="1227"/>
            <ac:spMk id="11" creationId="{85FC7856-B942-725A-23B4-7241D2AFD9B0}"/>
          </ac:spMkLst>
        </pc:spChg>
        <pc:spChg chg="add del mod">
          <ac:chgData name="José Antonio Ureta Santacreu" userId="e36999d1-2b92-424a-9e8c-5fde0c5fbdd2" providerId="ADAL" clId="{B441C459-42E0-4465-B296-199851FC6E31}" dt="2024-07-31T11:33:30.364" v="1482" actId="6264"/>
          <ac:spMkLst>
            <pc:docMk/>
            <pc:sldMk cId="1999354126" sldId="1227"/>
            <ac:spMk id="12" creationId="{E69B9E15-B607-27DF-8198-08B23444AB96}"/>
          </ac:spMkLst>
        </pc:spChg>
        <pc:spChg chg="add del mod">
          <ac:chgData name="José Antonio Ureta Santacreu" userId="e36999d1-2b92-424a-9e8c-5fde0c5fbdd2" providerId="ADAL" clId="{B441C459-42E0-4465-B296-199851FC6E31}" dt="2024-07-31T11:33:30.364" v="1482" actId="6264"/>
          <ac:spMkLst>
            <pc:docMk/>
            <pc:sldMk cId="1999354126" sldId="1227"/>
            <ac:spMk id="13" creationId="{B0CAC2CA-A68B-1892-1CE3-8A3E22F3273A}"/>
          </ac:spMkLst>
        </pc:spChg>
        <pc:spChg chg="add del mod">
          <ac:chgData name="José Antonio Ureta Santacreu" userId="e36999d1-2b92-424a-9e8c-5fde0c5fbdd2" providerId="ADAL" clId="{B441C459-42E0-4465-B296-199851FC6E31}" dt="2024-07-31T11:33:30.364" v="1482" actId="6264"/>
          <ac:spMkLst>
            <pc:docMk/>
            <pc:sldMk cId="1999354126" sldId="1227"/>
            <ac:spMk id="14" creationId="{01554D9F-2715-1BAF-655F-D7FBC8346FB9}"/>
          </ac:spMkLst>
        </pc:spChg>
        <pc:spChg chg="add del mod">
          <ac:chgData name="José Antonio Ureta Santacreu" userId="e36999d1-2b92-424a-9e8c-5fde0c5fbdd2" providerId="ADAL" clId="{B441C459-42E0-4465-B296-199851FC6E31}" dt="2024-07-31T11:33:30.364" v="1482" actId="6264"/>
          <ac:spMkLst>
            <pc:docMk/>
            <pc:sldMk cId="1999354126" sldId="1227"/>
            <ac:spMk id="15" creationId="{4FAC7144-9B56-2966-0E28-6DD548B70944}"/>
          </ac:spMkLst>
        </pc:spChg>
        <pc:spChg chg="add del mod">
          <ac:chgData name="José Antonio Ureta Santacreu" userId="e36999d1-2b92-424a-9e8c-5fde0c5fbdd2" providerId="ADAL" clId="{B441C459-42E0-4465-B296-199851FC6E31}" dt="2024-07-31T11:33:30.364" v="1482" actId="6264"/>
          <ac:spMkLst>
            <pc:docMk/>
            <pc:sldMk cId="1999354126" sldId="1227"/>
            <ac:spMk id="16" creationId="{F1DDAFE4-D271-8596-41AE-FEA6BD403A0A}"/>
          </ac:spMkLst>
        </pc:spChg>
        <pc:spChg chg="add del mod">
          <ac:chgData name="José Antonio Ureta Santacreu" userId="e36999d1-2b92-424a-9e8c-5fde0c5fbdd2" providerId="ADAL" clId="{B441C459-42E0-4465-B296-199851FC6E31}" dt="2024-07-31T11:33:30.364" v="1482" actId="6264"/>
          <ac:spMkLst>
            <pc:docMk/>
            <pc:sldMk cId="1999354126" sldId="1227"/>
            <ac:spMk id="17" creationId="{1B738F7A-4E05-334A-BA87-4E44329627FF}"/>
          </ac:spMkLst>
        </pc:spChg>
      </pc:sldChg>
      <pc:sldChg chg="addSp delSp modSp mod chgLayout">
        <pc:chgData name="José Antonio Ureta Santacreu" userId="e36999d1-2b92-424a-9e8c-5fde0c5fbdd2" providerId="ADAL" clId="{B441C459-42E0-4465-B296-199851FC6E31}" dt="2024-09-12T15:31:34.991" v="4922" actId="20577"/>
        <pc:sldMkLst>
          <pc:docMk/>
          <pc:sldMk cId="3827652310" sldId="1228"/>
        </pc:sldMkLst>
        <pc:spChg chg="add del mod">
          <ac:chgData name="José Antonio Ureta Santacreu" userId="e36999d1-2b92-424a-9e8c-5fde0c5fbdd2" providerId="ADAL" clId="{B441C459-42E0-4465-B296-199851FC6E31}" dt="2024-09-11T11:12:14.001" v="3782" actId="6264"/>
          <ac:spMkLst>
            <pc:docMk/>
            <pc:sldMk cId="3827652310" sldId="1228"/>
            <ac:spMk id="2" creationId="{2E2E9A02-81DF-0D1E-5626-65FD7F055A32}"/>
          </ac:spMkLst>
        </pc:spChg>
        <pc:spChg chg="add del mod">
          <ac:chgData name="José Antonio Ureta Santacreu" userId="e36999d1-2b92-424a-9e8c-5fde0c5fbdd2" providerId="ADAL" clId="{B441C459-42E0-4465-B296-199851FC6E31}" dt="2024-09-11T11:12:14.001" v="3782" actId="6264"/>
          <ac:spMkLst>
            <pc:docMk/>
            <pc:sldMk cId="3827652310" sldId="1228"/>
            <ac:spMk id="3" creationId="{BCFC8CD4-1FC8-8A03-D1CC-E1264073A7A0}"/>
          </ac:spMkLst>
        </pc:spChg>
        <pc:spChg chg="add del mod">
          <ac:chgData name="José Antonio Ureta Santacreu" userId="e36999d1-2b92-424a-9e8c-5fde0c5fbdd2" providerId="ADAL" clId="{B441C459-42E0-4465-B296-199851FC6E31}" dt="2024-09-11T11:12:14.001" v="3782" actId="6264"/>
          <ac:spMkLst>
            <pc:docMk/>
            <pc:sldMk cId="3827652310" sldId="1228"/>
            <ac:spMk id="4" creationId="{518556CB-3ED5-EAE7-7ED5-FE48EF333CC2}"/>
          </ac:spMkLst>
        </pc:spChg>
        <pc:spChg chg="add del mod">
          <ac:chgData name="José Antonio Ureta Santacreu" userId="e36999d1-2b92-424a-9e8c-5fde0c5fbdd2" providerId="ADAL" clId="{B441C459-42E0-4465-B296-199851FC6E31}" dt="2024-09-11T11:12:14.001" v="3782" actId="6264"/>
          <ac:spMkLst>
            <pc:docMk/>
            <pc:sldMk cId="3827652310" sldId="1228"/>
            <ac:spMk id="5" creationId="{BB3EFA5B-A2E3-EF82-1B13-EE982582174D}"/>
          </ac:spMkLst>
        </pc:spChg>
        <pc:spChg chg="mod ord">
          <ac:chgData name="José Antonio Ureta Santacreu" userId="e36999d1-2b92-424a-9e8c-5fde0c5fbdd2" providerId="ADAL" clId="{B441C459-42E0-4465-B296-199851FC6E31}" dt="2024-09-11T11:12:14.001" v="3782" actId="6264"/>
          <ac:spMkLst>
            <pc:docMk/>
            <pc:sldMk cId="3827652310" sldId="1228"/>
            <ac:spMk id="6" creationId="{1E6CE124-AD6B-B2E4-8D87-BADC0E92CD45}"/>
          </ac:spMkLst>
        </pc:spChg>
        <pc:spChg chg="mod ord">
          <ac:chgData name="José Antonio Ureta Santacreu" userId="e36999d1-2b92-424a-9e8c-5fde0c5fbdd2" providerId="ADAL" clId="{B441C459-42E0-4465-B296-199851FC6E31}" dt="2024-09-11T11:12:14.001" v="3782" actId="6264"/>
          <ac:spMkLst>
            <pc:docMk/>
            <pc:sldMk cId="3827652310" sldId="1228"/>
            <ac:spMk id="7" creationId="{19C0EC18-84B5-2B6B-4717-F5F0595431FB}"/>
          </ac:spMkLst>
        </pc:spChg>
        <pc:spChg chg="mod ord">
          <ac:chgData name="José Antonio Ureta Santacreu" userId="e36999d1-2b92-424a-9e8c-5fde0c5fbdd2" providerId="ADAL" clId="{B441C459-42E0-4465-B296-199851FC6E31}" dt="2024-09-11T11:12:14.001" v="3782" actId="6264"/>
          <ac:spMkLst>
            <pc:docMk/>
            <pc:sldMk cId="3827652310" sldId="1228"/>
            <ac:spMk id="8" creationId="{614A1E1B-0C1C-5842-1094-F58D54359F3E}"/>
          </ac:spMkLst>
        </pc:spChg>
        <pc:spChg chg="mod ord">
          <ac:chgData name="José Antonio Ureta Santacreu" userId="e36999d1-2b92-424a-9e8c-5fde0c5fbdd2" providerId="ADAL" clId="{B441C459-42E0-4465-B296-199851FC6E31}" dt="2024-09-11T11:12:14.001" v="3782" actId="6264"/>
          <ac:spMkLst>
            <pc:docMk/>
            <pc:sldMk cId="3827652310" sldId="1228"/>
            <ac:spMk id="9" creationId="{AE891268-87B9-AC8D-F859-323BF0EF9F2A}"/>
          </ac:spMkLst>
        </pc:spChg>
        <pc:spChg chg="add del mod">
          <ac:chgData name="José Antonio Ureta Santacreu" userId="e36999d1-2b92-424a-9e8c-5fde0c5fbdd2" providerId="ADAL" clId="{B441C459-42E0-4465-B296-199851FC6E31}" dt="2024-09-11T11:12:14.001" v="3782" actId="6264"/>
          <ac:spMkLst>
            <pc:docMk/>
            <pc:sldMk cId="3827652310" sldId="1228"/>
            <ac:spMk id="10" creationId="{2BB98DCA-56B5-1FD3-8EF5-CC118C26A7E6}"/>
          </ac:spMkLst>
        </pc:spChg>
        <pc:spChg chg="add mod ord">
          <ac:chgData name="José Antonio Ureta Santacreu" userId="e36999d1-2b92-424a-9e8c-5fde0c5fbdd2" providerId="ADAL" clId="{B441C459-42E0-4465-B296-199851FC6E31}" dt="2024-09-11T11:12:14.001" v="3782" actId="6264"/>
          <ac:spMkLst>
            <pc:docMk/>
            <pc:sldMk cId="3827652310" sldId="1228"/>
            <ac:spMk id="11" creationId="{4C342AE5-16FC-1306-A83E-A48783CB8CDF}"/>
          </ac:spMkLst>
        </pc:spChg>
        <pc:spChg chg="del mod">
          <ac:chgData name="José Antonio Ureta Santacreu" userId="e36999d1-2b92-424a-9e8c-5fde0c5fbdd2" providerId="ADAL" clId="{B441C459-42E0-4465-B296-199851FC6E31}" dt="2024-09-11T11:12:14.001" v="3782" actId="6264"/>
          <ac:spMkLst>
            <pc:docMk/>
            <pc:sldMk cId="3827652310" sldId="1228"/>
            <ac:spMk id="30" creationId="{7172FDFB-469D-B38F-B416-1271968C30D0}"/>
          </ac:spMkLst>
        </pc:spChg>
        <pc:graphicFrameChg chg="mod ord">
          <ac:chgData name="José Antonio Ureta Santacreu" userId="e36999d1-2b92-424a-9e8c-5fde0c5fbdd2" providerId="ADAL" clId="{B441C459-42E0-4465-B296-199851FC6E31}" dt="2024-09-12T15:31:34.991" v="4922" actId="20577"/>
          <ac:graphicFrameMkLst>
            <pc:docMk/>
            <pc:sldMk cId="3827652310" sldId="1228"/>
            <ac:graphicFrameMk id="31" creationId="{D5D8B67F-B571-6C1B-E62C-5BF21FD61D3F}"/>
          </ac:graphicFrameMkLst>
        </pc:graphicFrameChg>
      </pc:sldChg>
      <pc:sldChg chg="addSp delSp modSp mod modClrScheme chgLayout">
        <pc:chgData name="José Antonio Ureta Santacreu" userId="e36999d1-2b92-424a-9e8c-5fde0c5fbdd2" providerId="ADAL" clId="{B441C459-42E0-4465-B296-199851FC6E31}" dt="2024-09-12T10:37:27.028" v="3933" actId="27636"/>
        <pc:sldMkLst>
          <pc:docMk/>
          <pc:sldMk cId="3656441974" sldId="1229"/>
        </pc:sldMkLst>
        <pc:spChg chg="mod ord">
          <ac:chgData name="José Antonio Ureta Santacreu" userId="e36999d1-2b92-424a-9e8c-5fde0c5fbdd2" providerId="ADAL" clId="{B441C459-42E0-4465-B296-199851FC6E31}" dt="2024-09-11T11:12:14.001" v="3782" actId="6264"/>
          <ac:spMkLst>
            <pc:docMk/>
            <pc:sldMk cId="3656441974" sldId="1229"/>
            <ac:spMk id="2" creationId="{43746D6B-25AE-F2C5-0F0F-204DE3CFB0D6}"/>
          </ac:spMkLst>
        </pc:spChg>
        <pc:spChg chg="mod ord">
          <ac:chgData name="José Antonio Ureta Santacreu" userId="e36999d1-2b92-424a-9e8c-5fde0c5fbdd2" providerId="ADAL" clId="{B441C459-42E0-4465-B296-199851FC6E31}" dt="2024-09-12T10:37:27.028" v="3933" actId="27636"/>
          <ac:spMkLst>
            <pc:docMk/>
            <pc:sldMk cId="3656441974" sldId="1229"/>
            <ac:spMk id="3" creationId="{DC107FA7-95EA-4B30-A6AE-D40E72D9EEF6}"/>
          </ac:spMkLst>
        </pc:spChg>
        <pc:spChg chg="mod ord">
          <ac:chgData name="José Antonio Ureta Santacreu" userId="e36999d1-2b92-424a-9e8c-5fde0c5fbdd2" providerId="ADAL" clId="{B441C459-42E0-4465-B296-199851FC6E31}" dt="2024-09-11T11:12:14.001" v="3782" actId="6264"/>
          <ac:spMkLst>
            <pc:docMk/>
            <pc:sldMk cId="3656441974" sldId="1229"/>
            <ac:spMk id="4" creationId="{CB3257F8-51A5-98A8-20E7-D83B271062F6}"/>
          </ac:spMkLst>
        </pc:spChg>
        <pc:spChg chg="mod ord">
          <ac:chgData name="José Antonio Ureta Santacreu" userId="e36999d1-2b92-424a-9e8c-5fde0c5fbdd2" providerId="ADAL" clId="{B441C459-42E0-4465-B296-199851FC6E31}" dt="2024-09-11T11:12:14.001" v="3782" actId="6264"/>
          <ac:spMkLst>
            <pc:docMk/>
            <pc:sldMk cId="3656441974" sldId="1229"/>
            <ac:spMk id="5" creationId="{66D1415B-36E0-AC3C-2A90-2D9934626BB5}"/>
          </ac:spMkLst>
        </pc:spChg>
        <pc:spChg chg="mod ord">
          <ac:chgData name="José Antonio Ureta Santacreu" userId="e36999d1-2b92-424a-9e8c-5fde0c5fbdd2" providerId="ADAL" clId="{B441C459-42E0-4465-B296-199851FC6E31}" dt="2024-09-11T11:12:14.001" v="3782" actId="6264"/>
          <ac:spMkLst>
            <pc:docMk/>
            <pc:sldMk cId="3656441974" sldId="1229"/>
            <ac:spMk id="6" creationId="{102CB964-7F20-8612-043E-B255F76CD6F4}"/>
          </ac:spMkLst>
        </pc:spChg>
        <pc:spChg chg="add del mod">
          <ac:chgData name="José Antonio Ureta Santacreu" userId="e36999d1-2b92-424a-9e8c-5fde0c5fbdd2" providerId="ADAL" clId="{B441C459-42E0-4465-B296-199851FC6E31}" dt="2024-07-31T11:43:33.622" v="1634" actId="6264"/>
          <ac:spMkLst>
            <pc:docMk/>
            <pc:sldMk cId="3656441974" sldId="1229"/>
            <ac:spMk id="7" creationId="{23DC2AE7-9E1E-D28A-A492-5461E20571CE}"/>
          </ac:spMkLst>
        </pc:spChg>
        <pc:spChg chg="add del mod">
          <ac:chgData name="José Antonio Ureta Santacreu" userId="e36999d1-2b92-424a-9e8c-5fde0c5fbdd2" providerId="ADAL" clId="{B441C459-42E0-4465-B296-199851FC6E31}" dt="2024-09-11T11:12:14.001" v="3782" actId="6264"/>
          <ac:spMkLst>
            <pc:docMk/>
            <pc:sldMk cId="3656441974" sldId="1229"/>
            <ac:spMk id="7" creationId="{A8F7ED22-4D6A-D8D1-DB65-E09E62BA04F5}"/>
          </ac:spMkLst>
        </pc:spChg>
        <pc:spChg chg="add del mod">
          <ac:chgData name="José Antonio Ureta Santacreu" userId="e36999d1-2b92-424a-9e8c-5fde0c5fbdd2" providerId="ADAL" clId="{B441C459-42E0-4465-B296-199851FC6E31}" dt="2024-07-31T11:43:33.622" v="1634" actId="6264"/>
          <ac:spMkLst>
            <pc:docMk/>
            <pc:sldMk cId="3656441974" sldId="1229"/>
            <ac:spMk id="8" creationId="{838EC5BE-18FE-038A-D782-4A7F6E513B4A}"/>
          </ac:spMkLst>
        </pc:spChg>
        <pc:spChg chg="add del mod">
          <ac:chgData name="José Antonio Ureta Santacreu" userId="e36999d1-2b92-424a-9e8c-5fde0c5fbdd2" providerId="ADAL" clId="{B441C459-42E0-4465-B296-199851FC6E31}" dt="2024-09-11T11:12:14.001" v="3782" actId="6264"/>
          <ac:spMkLst>
            <pc:docMk/>
            <pc:sldMk cId="3656441974" sldId="1229"/>
            <ac:spMk id="8" creationId="{E72B84AC-2AD8-7DB3-0E79-06BACA48660B}"/>
          </ac:spMkLst>
        </pc:spChg>
        <pc:spChg chg="add del mod">
          <ac:chgData name="José Antonio Ureta Santacreu" userId="e36999d1-2b92-424a-9e8c-5fde0c5fbdd2" providerId="ADAL" clId="{B441C459-42E0-4465-B296-199851FC6E31}" dt="2024-07-31T11:43:33.622" v="1634" actId="6264"/>
          <ac:spMkLst>
            <pc:docMk/>
            <pc:sldMk cId="3656441974" sldId="1229"/>
            <ac:spMk id="9" creationId="{8B6133AF-BBF6-B49D-CAC6-8D3D9ED8CCC1}"/>
          </ac:spMkLst>
        </pc:spChg>
        <pc:spChg chg="add del mod">
          <ac:chgData name="José Antonio Ureta Santacreu" userId="e36999d1-2b92-424a-9e8c-5fde0c5fbdd2" providerId="ADAL" clId="{B441C459-42E0-4465-B296-199851FC6E31}" dt="2024-09-11T11:12:14.001" v="3782" actId="6264"/>
          <ac:spMkLst>
            <pc:docMk/>
            <pc:sldMk cId="3656441974" sldId="1229"/>
            <ac:spMk id="9" creationId="{B624D549-B413-50E2-56E5-68FC58FC45D6}"/>
          </ac:spMkLst>
        </pc:spChg>
        <pc:spChg chg="add del mod">
          <ac:chgData name="José Antonio Ureta Santacreu" userId="e36999d1-2b92-424a-9e8c-5fde0c5fbdd2" providerId="ADAL" clId="{B441C459-42E0-4465-B296-199851FC6E31}" dt="2024-07-31T11:43:33.622" v="1634" actId="6264"/>
          <ac:spMkLst>
            <pc:docMk/>
            <pc:sldMk cId="3656441974" sldId="1229"/>
            <ac:spMk id="10" creationId="{74320897-EB4F-0C6A-F533-B9A81EA1ABA7}"/>
          </ac:spMkLst>
        </pc:spChg>
        <pc:spChg chg="add del mod">
          <ac:chgData name="José Antonio Ureta Santacreu" userId="e36999d1-2b92-424a-9e8c-5fde0c5fbdd2" providerId="ADAL" clId="{B441C459-42E0-4465-B296-199851FC6E31}" dt="2024-09-11T11:12:14.001" v="3782" actId="6264"/>
          <ac:spMkLst>
            <pc:docMk/>
            <pc:sldMk cId="3656441974" sldId="1229"/>
            <ac:spMk id="10" creationId="{F811D963-E41E-DFEA-8238-0C5A8B4498BB}"/>
          </ac:spMkLst>
        </pc:spChg>
        <pc:spChg chg="add del mod">
          <ac:chgData name="José Antonio Ureta Santacreu" userId="e36999d1-2b92-424a-9e8c-5fde0c5fbdd2" providerId="ADAL" clId="{B441C459-42E0-4465-B296-199851FC6E31}" dt="2024-07-31T11:43:33.622" v="1634" actId="6264"/>
          <ac:spMkLst>
            <pc:docMk/>
            <pc:sldMk cId="3656441974" sldId="1229"/>
            <ac:spMk id="11" creationId="{C59E8B24-637C-FEE6-B9BF-E289CB2D21EA}"/>
          </ac:spMkLst>
        </pc:spChg>
        <pc:spChg chg="add del mod">
          <ac:chgData name="José Antonio Ureta Santacreu" userId="e36999d1-2b92-424a-9e8c-5fde0c5fbdd2" providerId="ADAL" clId="{B441C459-42E0-4465-B296-199851FC6E31}" dt="2024-09-11T11:12:14.001" v="3782" actId="6264"/>
          <ac:spMkLst>
            <pc:docMk/>
            <pc:sldMk cId="3656441974" sldId="1229"/>
            <ac:spMk id="11" creationId="{C83DC99F-9D94-75B8-5C84-ECA830D7E713}"/>
          </ac:spMkLst>
        </pc:spChg>
        <pc:spChg chg="add del mod">
          <ac:chgData name="José Antonio Ureta Santacreu" userId="e36999d1-2b92-424a-9e8c-5fde0c5fbdd2" providerId="ADAL" clId="{B441C459-42E0-4465-B296-199851FC6E31}" dt="2024-09-11T11:12:14.001" v="3782" actId="6264"/>
          <ac:spMkLst>
            <pc:docMk/>
            <pc:sldMk cId="3656441974" sldId="1229"/>
            <ac:spMk id="12" creationId="{8EC89506-AC52-2D93-399E-CEB284AD8AEF}"/>
          </ac:spMkLst>
        </pc:spChg>
        <pc:spChg chg="add del mod ord">
          <ac:chgData name="José Antonio Ureta Santacreu" userId="e36999d1-2b92-424a-9e8c-5fde0c5fbdd2" providerId="ADAL" clId="{B441C459-42E0-4465-B296-199851FC6E31}" dt="2024-07-31T11:44:28.119" v="1637"/>
          <ac:spMkLst>
            <pc:docMk/>
            <pc:sldMk cId="3656441974" sldId="1229"/>
            <ac:spMk id="12" creationId="{F2FE4FC4-349C-E246-5964-D5F4E24A9849}"/>
          </ac:spMkLst>
        </pc:spChg>
        <pc:picChg chg="add mod ord">
          <ac:chgData name="José Antonio Ureta Santacreu" userId="e36999d1-2b92-424a-9e8c-5fde0c5fbdd2" providerId="ADAL" clId="{B441C459-42E0-4465-B296-199851FC6E31}" dt="2024-09-11T11:12:14.001" v="3782" actId="6264"/>
          <ac:picMkLst>
            <pc:docMk/>
            <pc:sldMk cId="3656441974" sldId="1229"/>
            <ac:picMk id="1026" creationId="{8BF327A3-3230-0A6B-DE05-4273645A5FA1}"/>
          </ac:picMkLst>
        </pc:picChg>
      </pc:sldChg>
      <pc:sldChg chg="addSp delSp modSp mod modClrScheme chgLayout">
        <pc:chgData name="José Antonio Ureta Santacreu" userId="e36999d1-2b92-424a-9e8c-5fde0c5fbdd2" providerId="ADAL" clId="{B441C459-42E0-4465-B296-199851FC6E31}" dt="2024-09-11T11:12:14.001" v="3782" actId="6264"/>
        <pc:sldMkLst>
          <pc:docMk/>
          <pc:sldMk cId="833914343" sldId="1231"/>
        </pc:sldMkLst>
        <pc:spChg chg="mod ord">
          <ac:chgData name="José Antonio Ureta Santacreu" userId="e36999d1-2b92-424a-9e8c-5fde0c5fbdd2" providerId="ADAL" clId="{B441C459-42E0-4465-B296-199851FC6E31}" dt="2024-09-11T11:12:14.001" v="3782" actId="6264"/>
          <ac:spMkLst>
            <pc:docMk/>
            <pc:sldMk cId="833914343" sldId="1231"/>
            <ac:spMk id="2" creationId="{877639CC-8A6D-6F92-E9E8-0F66A5FDB439}"/>
          </ac:spMkLst>
        </pc:spChg>
        <pc:spChg chg="mod ord">
          <ac:chgData name="José Antonio Ureta Santacreu" userId="e36999d1-2b92-424a-9e8c-5fde0c5fbdd2" providerId="ADAL" clId="{B441C459-42E0-4465-B296-199851FC6E31}" dt="2024-09-11T11:12:14.001" v="3782" actId="6264"/>
          <ac:spMkLst>
            <pc:docMk/>
            <pc:sldMk cId="833914343" sldId="1231"/>
            <ac:spMk id="3" creationId="{E9CD8DC3-F1A1-4B9B-C4BC-13D087F53E93}"/>
          </ac:spMkLst>
        </pc:spChg>
        <pc:spChg chg="mod ord">
          <ac:chgData name="José Antonio Ureta Santacreu" userId="e36999d1-2b92-424a-9e8c-5fde0c5fbdd2" providerId="ADAL" clId="{B441C459-42E0-4465-B296-199851FC6E31}" dt="2024-09-11T11:12:14.001" v="3782" actId="6264"/>
          <ac:spMkLst>
            <pc:docMk/>
            <pc:sldMk cId="833914343" sldId="1231"/>
            <ac:spMk id="4" creationId="{D5312A64-27D1-E771-A253-D2BB2F041993}"/>
          </ac:spMkLst>
        </pc:spChg>
        <pc:spChg chg="mod ord">
          <ac:chgData name="José Antonio Ureta Santacreu" userId="e36999d1-2b92-424a-9e8c-5fde0c5fbdd2" providerId="ADAL" clId="{B441C459-42E0-4465-B296-199851FC6E31}" dt="2024-09-11T11:12:14.001" v="3782" actId="6264"/>
          <ac:spMkLst>
            <pc:docMk/>
            <pc:sldMk cId="833914343" sldId="1231"/>
            <ac:spMk id="5" creationId="{EB440175-7148-3072-49D6-A5907689AF6E}"/>
          </ac:spMkLst>
        </pc:spChg>
        <pc:spChg chg="mod ord">
          <ac:chgData name="José Antonio Ureta Santacreu" userId="e36999d1-2b92-424a-9e8c-5fde0c5fbdd2" providerId="ADAL" clId="{B441C459-42E0-4465-B296-199851FC6E31}" dt="2024-09-11T11:12:14.001" v="3782" actId="6264"/>
          <ac:spMkLst>
            <pc:docMk/>
            <pc:sldMk cId="833914343" sldId="1231"/>
            <ac:spMk id="6" creationId="{42350661-F96E-F794-FB55-C972B3C65E50}"/>
          </ac:spMkLst>
        </pc:spChg>
        <pc:spChg chg="add del mod">
          <ac:chgData name="José Antonio Ureta Santacreu" userId="e36999d1-2b92-424a-9e8c-5fde0c5fbdd2" providerId="ADAL" clId="{B441C459-42E0-4465-B296-199851FC6E31}" dt="2024-07-31T11:43:30.508" v="1633" actId="6264"/>
          <ac:spMkLst>
            <pc:docMk/>
            <pc:sldMk cId="833914343" sldId="1231"/>
            <ac:spMk id="7" creationId="{4B74A3C0-16E7-9396-4812-64128A0D3BE5}"/>
          </ac:spMkLst>
        </pc:spChg>
        <pc:spChg chg="add del mod">
          <ac:chgData name="José Antonio Ureta Santacreu" userId="e36999d1-2b92-424a-9e8c-5fde0c5fbdd2" providerId="ADAL" clId="{B441C459-42E0-4465-B296-199851FC6E31}" dt="2024-09-11T11:12:14.001" v="3782" actId="6264"/>
          <ac:spMkLst>
            <pc:docMk/>
            <pc:sldMk cId="833914343" sldId="1231"/>
            <ac:spMk id="7" creationId="{D17ACE6E-B08E-4035-50FA-695B496A83AF}"/>
          </ac:spMkLst>
        </pc:spChg>
        <pc:spChg chg="add del mod">
          <ac:chgData name="José Antonio Ureta Santacreu" userId="e36999d1-2b92-424a-9e8c-5fde0c5fbdd2" providerId="ADAL" clId="{B441C459-42E0-4465-B296-199851FC6E31}" dt="2024-07-31T11:43:30.508" v="1633" actId="6264"/>
          <ac:spMkLst>
            <pc:docMk/>
            <pc:sldMk cId="833914343" sldId="1231"/>
            <ac:spMk id="8" creationId="{4EDE7B84-69C9-D928-568F-D4190A75D805}"/>
          </ac:spMkLst>
        </pc:spChg>
        <pc:spChg chg="add del mod">
          <ac:chgData name="José Antonio Ureta Santacreu" userId="e36999d1-2b92-424a-9e8c-5fde0c5fbdd2" providerId="ADAL" clId="{B441C459-42E0-4465-B296-199851FC6E31}" dt="2024-09-11T11:12:14.001" v="3782" actId="6264"/>
          <ac:spMkLst>
            <pc:docMk/>
            <pc:sldMk cId="833914343" sldId="1231"/>
            <ac:spMk id="8" creationId="{96DE587D-AA1F-4481-BAE0-284D6FD0576C}"/>
          </ac:spMkLst>
        </pc:spChg>
        <pc:spChg chg="add del mod">
          <ac:chgData name="José Antonio Ureta Santacreu" userId="e36999d1-2b92-424a-9e8c-5fde0c5fbdd2" providerId="ADAL" clId="{B441C459-42E0-4465-B296-199851FC6E31}" dt="2024-07-31T11:43:30.508" v="1633" actId="6264"/>
          <ac:spMkLst>
            <pc:docMk/>
            <pc:sldMk cId="833914343" sldId="1231"/>
            <ac:spMk id="9" creationId="{263FDFE8-D199-F0F3-0C88-37FFC375E15D}"/>
          </ac:spMkLst>
        </pc:spChg>
        <pc:spChg chg="add del mod">
          <ac:chgData name="José Antonio Ureta Santacreu" userId="e36999d1-2b92-424a-9e8c-5fde0c5fbdd2" providerId="ADAL" clId="{B441C459-42E0-4465-B296-199851FC6E31}" dt="2024-09-11T11:12:14.001" v="3782" actId="6264"/>
          <ac:spMkLst>
            <pc:docMk/>
            <pc:sldMk cId="833914343" sldId="1231"/>
            <ac:spMk id="9" creationId="{44974425-7DC6-95FB-DD77-A13B1AA637A6}"/>
          </ac:spMkLst>
        </pc:spChg>
        <pc:spChg chg="add del mod">
          <ac:chgData name="José Antonio Ureta Santacreu" userId="e36999d1-2b92-424a-9e8c-5fde0c5fbdd2" providerId="ADAL" clId="{B441C459-42E0-4465-B296-199851FC6E31}" dt="2024-09-11T11:12:14.001" v="3782" actId="6264"/>
          <ac:spMkLst>
            <pc:docMk/>
            <pc:sldMk cId="833914343" sldId="1231"/>
            <ac:spMk id="10" creationId="{3104E4BC-107E-87E2-9610-D1CDE1DEDADB}"/>
          </ac:spMkLst>
        </pc:spChg>
        <pc:spChg chg="add del mod">
          <ac:chgData name="José Antonio Ureta Santacreu" userId="e36999d1-2b92-424a-9e8c-5fde0c5fbdd2" providerId="ADAL" clId="{B441C459-42E0-4465-B296-199851FC6E31}" dt="2024-07-31T11:43:30.508" v="1633" actId="6264"/>
          <ac:spMkLst>
            <pc:docMk/>
            <pc:sldMk cId="833914343" sldId="1231"/>
            <ac:spMk id="10" creationId="{82E6DD82-CE14-4343-F1F1-884058B751D3}"/>
          </ac:spMkLst>
        </pc:spChg>
        <pc:spChg chg="add del mod">
          <ac:chgData name="José Antonio Ureta Santacreu" userId="e36999d1-2b92-424a-9e8c-5fde0c5fbdd2" providerId="ADAL" clId="{B441C459-42E0-4465-B296-199851FC6E31}" dt="2024-09-11T11:12:14.001" v="3782" actId="6264"/>
          <ac:spMkLst>
            <pc:docMk/>
            <pc:sldMk cId="833914343" sldId="1231"/>
            <ac:spMk id="11" creationId="{56AE06F0-79E0-2D74-E937-ABF4E62F89B0}"/>
          </ac:spMkLst>
        </pc:spChg>
        <pc:spChg chg="add del mod">
          <ac:chgData name="José Antonio Ureta Santacreu" userId="e36999d1-2b92-424a-9e8c-5fde0c5fbdd2" providerId="ADAL" clId="{B441C459-42E0-4465-B296-199851FC6E31}" dt="2024-07-31T11:43:30.508" v="1633" actId="6264"/>
          <ac:spMkLst>
            <pc:docMk/>
            <pc:sldMk cId="833914343" sldId="1231"/>
            <ac:spMk id="11" creationId="{64E58DFE-8922-E3C8-6BEA-6A8EBC8C2E30}"/>
          </ac:spMkLst>
        </pc:spChg>
        <pc:spChg chg="add del mod ord">
          <ac:chgData name="José Antonio Ureta Santacreu" userId="e36999d1-2b92-424a-9e8c-5fde0c5fbdd2" providerId="ADAL" clId="{B441C459-42E0-4465-B296-199851FC6E31}" dt="2024-07-31T11:47:06.598" v="1640"/>
          <ac:spMkLst>
            <pc:docMk/>
            <pc:sldMk cId="833914343" sldId="1231"/>
            <ac:spMk id="12" creationId="{1231E5CE-2A97-5152-88A4-1F134E0F13F8}"/>
          </ac:spMkLst>
        </pc:spChg>
        <pc:spChg chg="add del mod">
          <ac:chgData name="José Antonio Ureta Santacreu" userId="e36999d1-2b92-424a-9e8c-5fde0c5fbdd2" providerId="ADAL" clId="{B441C459-42E0-4465-B296-199851FC6E31}" dt="2024-09-11T11:12:14.001" v="3782" actId="6264"/>
          <ac:spMkLst>
            <pc:docMk/>
            <pc:sldMk cId="833914343" sldId="1231"/>
            <ac:spMk id="12" creationId="{C193C79F-3D0E-D590-E785-565321E4506F}"/>
          </ac:spMkLst>
        </pc:spChg>
        <pc:picChg chg="add mod ord">
          <ac:chgData name="José Antonio Ureta Santacreu" userId="e36999d1-2b92-424a-9e8c-5fde0c5fbdd2" providerId="ADAL" clId="{B441C459-42E0-4465-B296-199851FC6E31}" dt="2024-09-11T11:12:14.001" v="3782" actId="6264"/>
          <ac:picMkLst>
            <pc:docMk/>
            <pc:sldMk cId="833914343" sldId="1231"/>
            <ac:picMk id="2050" creationId="{2F2CAA3D-95DF-28A0-E15C-18C50EFC705E}"/>
          </ac:picMkLst>
        </pc:picChg>
      </pc:sldChg>
      <pc:sldChg chg="addSp delSp modSp mod chgLayout">
        <pc:chgData name="José Antonio Ureta Santacreu" userId="e36999d1-2b92-424a-9e8c-5fde0c5fbdd2" providerId="ADAL" clId="{B441C459-42E0-4465-B296-199851FC6E31}" dt="2024-09-11T11:12:14.001" v="3782" actId="6264"/>
        <pc:sldMkLst>
          <pc:docMk/>
          <pc:sldMk cId="4090602290" sldId="1232"/>
        </pc:sldMkLst>
        <pc:spChg chg="mod ord">
          <ac:chgData name="José Antonio Ureta Santacreu" userId="e36999d1-2b92-424a-9e8c-5fde0c5fbdd2" providerId="ADAL" clId="{B441C459-42E0-4465-B296-199851FC6E31}" dt="2024-09-11T11:12:14.001" v="3782" actId="6264"/>
          <ac:spMkLst>
            <pc:docMk/>
            <pc:sldMk cId="4090602290" sldId="1232"/>
            <ac:spMk id="2" creationId="{CF9DB239-B261-C9A4-C079-5E8CE400F508}"/>
          </ac:spMkLst>
        </pc:spChg>
        <pc:spChg chg="add del mod">
          <ac:chgData name="José Antonio Ureta Santacreu" userId="e36999d1-2b92-424a-9e8c-5fde0c5fbdd2" providerId="ADAL" clId="{B441C459-42E0-4465-B296-199851FC6E31}" dt="2024-09-11T11:12:14.001" v="3782" actId="6264"/>
          <ac:spMkLst>
            <pc:docMk/>
            <pc:sldMk cId="4090602290" sldId="1232"/>
            <ac:spMk id="3" creationId="{328B9274-0399-A441-0147-CDCFE62326F8}"/>
          </ac:spMkLst>
        </pc:spChg>
        <pc:spChg chg="mod ord">
          <ac:chgData name="José Antonio Ureta Santacreu" userId="e36999d1-2b92-424a-9e8c-5fde0c5fbdd2" providerId="ADAL" clId="{B441C459-42E0-4465-B296-199851FC6E31}" dt="2024-09-11T11:12:14.001" v="3782" actId="6264"/>
          <ac:spMkLst>
            <pc:docMk/>
            <pc:sldMk cId="4090602290" sldId="1232"/>
            <ac:spMk id="4" creationId="{608EA82F-843A-516A-B08F-37D051CFA630}"/>
          </ac:spMkLst>
        </pc:spChg>
        <pc:spChg chg="add del mod">
          <ac:chgData name="José Antonio Ureta Santacreu" userId="e36999d1-2b92-424a-9e8c-5fde0c5fbdd2" providerId="ADAL" clId="{B441C459-42E0-4465-B296-199851FC6E31}" dt="2024-09-11T11:12:14.001" v="3782" actId="6264"/>
          <ac:spMkLst>
            <pc:docMk/>
            <pc:sldMk cId="4090602290" sldId="1232"/>
            <ac:spMk id="5" creationId="{20AEC744-D25B-2AEA-F7DA-F81F527965B8}"/>
          </ac:spMkLst>
        </pc:spChg>
        <pc:spChg chg="mod ord">
          <ac:chgData name="José Antonio Ureta Santacreu" userId="e36999d1-2b92-424a-9e8c-5fde0c5fbdd2" providerId="ADAL" clId="{B441C459-42E0-4465-B296-199851FC6E31}" dt="2024-09-11T11:12:14.001" v="3782" actId="6264"/>
          <ac:spMkLst>
            <pc:docMk/>
            <pc:sldMk cId="4090602290" sldId="1232"/>
            <ac:spMk id="6" creationId="{6B4C450B-904C-8825-16FF-1D733CAC16EE}"/>
          </ac:spMkLst>
        </pc:spChg>
        <pc:spChg chg="mod ord">
          <ac:chgData name="José Antonio Ureta Santacreu" userId="e36999d1-2b92-424a-9e8c-5fde0c5fbdd2" providerId="ADAL" clId="{B441C459-42E0-4465-B296-199851FC6E31}" dt="2024-09-11T11:12:14.001" v="3782" actId="6264"/>
          <ac:spMkLst>
            <pc:docMk/>
            <pc:sldMk cId="4090602290" sldId="1232"/>
            <ac:spMk id="7" creationId="{49C35EB1-292C-4D96-DD09-740B610BBBC2}"/>
          </ac:spMkLst>
        </pc:spChg>
        <pc:spChg chg="mod ord">
          <ac:chgData name="José Antonio Ureta Santacreu" userId="e36999d1-2b92-424a-9e8c-5fde0c5fbdd2" providerId="ADAL" clId="{B441C459-42E0-4465-B296-199851FC6E31}" dt="2024-09-11T11:12:14.001" v="3782" actId="6264"/>
          <ac:spMkLst>
            <pc:docMk/>
            <pc:sldMk cId="4090602290" sldId="1232"/>
            <ac:spMk id="8" creationId="{DDE5B782-2707-94CA-7ECC-15464016A78E}"/>
          </ac:spMkLst>
        </pc:spChg>
        <pc:spChg chg="mod ord">
          <ac:chgData name="José Antonio Ureta Santacreu" userId="e36999d1-2b92-424a-9e8c-5fde0c5fbdd2" providerId="ADAL" clId="{B441C459-42E0-4465-B296-199851FC6E31}" dt="2024-09-11T11:12:14.001" v="3782" actId="6264"/>
          <ac:spMkLst>
            <pc:docMk/>
            <pc:sldMk cId="4090602290" sldId="1232"/>
            <ac:spMk id="9" creationId="{E27FAA36-4BF4-0D13-8EF6-DE0C911FE73A}"/>
          </ac:spMkLst>
        </pc:spChg>
        <pc:spChg chg="add del mod">
          <ac:chgData name="José Antonio Ureta Santacreu" userId="e36999d1-2b92-424a-9e8c-5fde0c5fbdd2" providerId="ADAL" clId="{B441C459-42E0-4465-B296-199851FC6E31}" dt="2024-09-11T11:12:14.001" v="3782" actId="6264"/>
          <ac:spMkLst>
            <pc:docMk/>
            <pc:sldMk cId="4090602290" sldId="1232"/>
            <ac:spMk id="10" creationId="{A23CF2C5-0068-CE1E-087D-DCCA3D0C6F98}"/>
          </ac:spMkLst>
        </pc:spChg>
        <pc:spChg chg="add del mod">
          <ac:chgData name="José Antonio Ureta Santacreu" userId="e36999d1-2b92-424a-9e8c-5fde0c5fbdd2" providerId="ADAL" clId="{B441C459-42E0-4465-B296-199851FC6E31}" dt="2024-09-11T11:12:14.001" v="3782" actId="6264"/>
          <ac:spMkLst>
            <pc:docMk/>
            <pc:sldMk cId="4090602290" sldId="1232"/>
            <ac:spMk id="12" creationId="{D10C5A2C-255B-78FB-C79E-2113605C9AA2}"/>
          </ac:spMkLst>
        </pc:spChg>
        <pc:spChg chg="add del mod">
          <ac:chgData name="José Antonio Ureta Santacreu" userId="e36999d1-2b92-424a-9e8c-5fde0c5fbdd2" providerId="ADAL" clId="{B441C459-42E0-4465-B296-199851FC6E31}" dt="2024-09-11T11:12:14.001" v="3782" actId="6264"/>
          <ac:spMkLst>
            <pc:docMk/>
            <pc:sldMk cId="4090602290" sldId="1232"/>
            <ac:spMk id="14" creationId="{93AD4E5C-9BE9-F8D8-A9E7-C9A5CEE5806E}"/>
          </ac:spMkLst>
        </pc:spChg>
        <pc:spChg chg="add del mod">
          <ac:chgData name="José Antonio Ureta Santacreu" userId="e36999d1-2b92-424a-9e8c-5fde0c5fbdd2" providerId="ADAL" clId="{B441C459-42E0-4465-B296-199851FC6E31}" dt="2024-09-11T11:12:14.001" v="3782" actId="6264"/>
          <ac:spMkLst>
            <pc:docMk/>
            <pc:sldMk cId="4090602290" sldId="1232"/>
            <ac:spMk id="15" creationId="{86072592-F129-1008-609A-4FD08298C8EA}"/>
          </ac:spMkLst>
        </pc:spChg>
        <pc:spChg chg="add del mod">
          <ac:chgData name="José Antonio Ureta Santacreu" userId="e36999d1-2b92-424a-9e8c-5fde0c5fbdd2" providerId="ADAL" clId="{B441C459-42E0-4465-B296-199851FC6E31}" dt="2024-09-11T11:12:14.001" v="3782" actId="6264"/>
          <ac:spMkLst>
            <pc:docMk/>
            <pc:sldMk cId="4090602290" sldId="1232"/>
            <ac:spMk id="16" creationId="{D1821CF3-531F-8CEE-37CC-569571BE4DCA}"/>
          </ac:spMkLst>
        </pc:spChg>
        <pc:spChg chg="add del mod">
          <ac:chgData name="José Antonio Ureta Santacreu" userId="e36999d1-2b92-424a-9e8c-5fde0c5fbdd2" providerId="ADAL" clId="{B441C459-42E0-4465-B296-199851FC6E31}" dt="2024-09-11T11:12:14.001" v="3782" actId="6264"/>
          <ac:spMkLst>
            <pc:docMk/>
            <pc:sldMk cId="4090602290" sldId="1232"/>
            <ac:spMk id="17" creationId="{BB38382E-8833-AC0B-35BE-49368EA3808C}"/>
          </ac:spMkLst>
        </pc:spChg>
        <pc:picChg chg="mod ord">
          <ac:chgData name="José Antonio Ureta Santacreu" userId="e36999d1-2b92-424a-9e8c-5fde0c5fbdd2" providerId="ADAL" clId="{B441C459-42E0-4465-B296-199851FC6E31}" dt="2024-09-11T11:12:14.001" v="3782" actId="6264"/>
          <ac:picMkLst>
            <pc:docMk/>
            <pc:sldMk cId="4090602290" sldId="1232"/>
            <ac:picMk id="11" creationId="{16522940-3CE5-7BCD-0E76-2C692D179040}"/>
          </ac:picMkLst>
        </pc:picChg>
        <pc:picChg chg="mod ord">
          <ac:chgData name="José Antonio Ureta Santacreu" userId="e36999d1-2b92-424a-9e8c-5fde0c5fbdd2" providerId="ADAL" clId="{B441C459-42E0-4465-B296-199851FC6E31}" dt="2024-09-11T11:12:14.001" v="3782" actId="6264"/>
          <ac:picMkLst>
            <pc:docMk/>
            <pc:sldMk cId="4090602290" sldId="1232"/>
            <ac:picMk id="13" creationId="{FDFAFA96-CAEA-1058-7CA3-9E584A5074CF}"/>
          </ac:picMkLst>
        </pc:picChg>
      </pc:sldChg>
      <pc:sldChg chg="addSp delSp modSp mod chgLayout">
        <pc:chgData name="José Antonio Ureta Santacreu" userId="e36999d1-2b92-424a-9e8c-5fde0c5fbdd2" providerId="ADAL" clId="{B441C459-42E0-4465-B296-199851FC6E31}" dt="2024-09-11T11:12:14.001" v="3782" actId="6264"/>
        <pc:sldMkLst>
          <pc:docMk/>
          <pc:sldMk cId="799914292" sldId="1233"/>
        </pc:sldMkLst>
        <pc:spChg chg="mod ord">
          <ac:chgData name="José Antonio Ureta Santacreu" userId="e36999d1-2b92-424a-9e8c-5fde0c5fbdd2" providerId="ADAL" clId="{B441C459-42E0-4465-B296-199851FC6E31}" dt="2024-09-11T11:12:14.001" v="3782" actId="6264"/>
          <ac:spMkLst>
            <pc:docMk/>
            <pc:sldMk cId="799914292" sldId="1233"/>
            <ac:spMk id="2" creationId="{BB96DDF6-C9BC-56C5-CD39-7031323D5E6F}"/>
          </ac:spMkLst>
        </pc:spChg>
        <pc:spChg chg="add del mod">
          <ac:chgData name="José Antonio Ureta Santacreu" userId="e36999d1-2b92-424a-9e8c-5fde0c5fbdd2" providerId="ADAL" clId="{B441C459-42E0-4465-B296-199851FC6E31}" dt="2024-09-11T11:12:14.001" v="3782" actId="6264"/>
          <ac:spMkLst>
            <pc:docMk/>
            <pc:sldMk cId="799914292" sldId="1233"/>
            <ac:spMk id="3" creationId="{CE0D683B-AB89-FDF0-0567-3E239FDAC8BF}"/>
          </ac:spMkLst>
        </pc:spChg>
        <pc:spChg chg="mod ord">
          <ac:chgData name="José Antonio Ureta Santacreu" userId="e36999d1-2b92-424a-9e8c-5fde0c5fbdd2" providerId="ADAL" clId="{B441C459-42E0-4465-B296-199851FC6E31}" dt="2024-09-11T11:12:14.001" v="3782" actId="6264"/>
          <ac:spMkLst>
            <pc:docMk/>
            <pc:sldMk cId="799914292" sldId="1233"/>
            <ac:spMk id="4" creationId="{7343DAEA-0CD3-76D3-7EDC-E66F320F0335}"/>
          </ac:spMkLst>
        </pc:spChg>
        <pc:spChg chg="mod ord">
          <ac:chgData name="José Antonio Ureta Santacreu" userId="e36999d1-2b92-424a-9e8c-5fde0c5fbdd2" providerId="ADAL" clId="{B441C459-42E0-4465-B296-199851FC6E31}" dt="2024-09-11T11:12:14.001" v="3782" actId="6264"/>
          <ac:spMkLst>
            <pc:docMk/>
            <pc:sldMk cId="799914292" sldId="1233"/>
            <ac:spMk id="5" creationId="{54242069-6176-43E8-F59F-622F34820A22}"/>
          </ac:spMkLst>
        </pc:spChg>
        <pc:spChg chg="mod ord">
          <ac:chgData name="José Antonio Ureta Santacreu" userId="e36999d1-2b92-424a-9e8c-5fde0c5fbdd2" providerId="ADAL" clId="{B441C459-42E0-4465-B296-199851FC6E31}" dt="2024-09-11T11:12:14.001" v="3782" actId="6264"/>
          <ac:spMkLst>
            <pc:docMk/>
            <pc:sldMk cId="799914292" sldId="1233"/>
            <ac:spMk id="6" creationId="{278B40D0-E766-DFE9-0C8D-36176706CBD4}"/>
          </ac:spMkLst>
        </pc:spChg>
        <pc:spChg chg="add del mod">
          <ac:chgData name="José Antonio Ureta Santacreu" userId="e36999d1-2b92-424a-9e8c-5fde0c5fbdd2" providerId="ADAL" clId="{B441C459-42E0-4465-B296-199851FC6E31}" dt="2024-09-11T11:12:14.001" v="3782" actId="6264"/>
          <ac:spMkLst>
            <pc:docMk/>
            <pc:sldMk cId="799914292" sldId="1233"/>
            <ac:spMk id="7" creationId="{F8E29611-93B3-D0C9-55FF-C6334B01CA87}"/>
          </ac:spMkLst>
        </pc:spChg>
        <pc:spChg chg="add del mod">
          <ac:chgData name="José Antonio Ureta Santacreu" userId="e36999d1-2b92-424a-9e8c-5fde0c5fbdd2" providerId="ADAL" clId="{B441C459-42E0-4465-B296-199851FC6E31}" dt="2024-09-11T11:12:14.001" v="3782" actId="6264"/>
          <ac:spMkLst>
            <pc:docMk/>
            <pc:sldMk cId="799914292" sldId="1233"/>
            <ac:spMk id="8" creationId="{5D90F83A-6EC3-8017-4BA1-7922563C4AD2}"/>
          </ac:spMkLst>
        </pc:spChg>
        <pc:spChg chg="add del mod">
          <ac:chgData name="José Antonio Ureta Santacreu" userId="e36999d1-2b92-424a-9e8c-5fde0c5fbdd2" providerId="ADAL" clId="{B441C459-42E0-4465-B296-199851FC6E31}" dt="2024-09-11T11:12:14.001" v="3782" actId="6264"/>
          <ac:spMkLst>
            <pc:docMk/>
            <pc:sldMk cId="799914292" sldId="1233"/>
            <ac:spMk id="10" creationId="{3892CE30-69D3-3313-7E90-24DA6CF370DA}"/>
          </ac:spMkLst>
        </pc:spChg>
        <pc:spChg chg="add del mod">
          <ac:chgData name="José Antonio Ureta Santacreu" userId="e36999d1-2b92-424a-9e8c-5fde0c5fbdd2" providerId="ADAL" clId="{B441C459-42E0-4465-B296-199851FC6E31}" dt="2024-09-11T11:12:14.001" v="3782" actId="6264"/>
          <ac:spMkLst>
            <pc:docMk/>
            <pc:sldMk cId="799914292" sldId="1233"/>
            <ac:spMk id="11" creationId="{AF81557D-E291-F3BC-EFB0-AF8CF9C11D47}"/>
          </ac:spMkLst>
        </pc:spChg>
        <pc:spChg chg="add del mod">
          <ac:chgData name="José Antonio Ureta Santacreu" userId="e36999d1-2b92-424a-9e8c-5fde0c5fbdd2" providerId="ADAL" clId="{B441C459-42E0-4465-B296-199851FC6E31}" dt="2024-09-11T11:12:14.001" v="3782" actId="6264"/>
          <ac:spMkLst>
            <pc:docMk/>
            <pc:sldMk cId="799914292" sldId="1233"/>
            <ac:spMk id="12" creationId="{5EC64C47-B105-3A00-B3A0-9619D6D58AFA}"/>
          </ac:spMkLst>
        </pc:spChg>
        <pc:graphicFrameChg chg="mod ord">
          <ac:chgData name="José Antonio Ureta Santacreu" userId="e36999d1-2b92-424a-9e8c-5fde0c5fbdd2" providerId="ADAL" clId="{B441C459-42E0-4465-B296-199851FC6E31}" dt="2024-09-11T11:12:14.001" v="3782" actId="6264"/>
          <ac:graphicFrameMkLst>
            <pc:docMk/>
            <pc:sldMk cId="799914292" sldId="1233"/>
            <ac:graphicFrameMk id="17" creationId="{FC821B47-3542-D0D4-EF48-2F8C5106A829}"/>
          </ac:graphicFrameMkLst>
        </pc:graphicFrameChg>
        <pc:picChg chg="mod ord">
          <ac:chgData name="José Antonio Ureta Santacreu" userId="e36999d1-2b92-424a-9e8c-5fde0c5fbdd2" providerId="ADAL" clId="{B441C459-42E0-4465-B296-199851FC6E31}" dt="2024-09-11T11:12:14.001" v="3782" actId="6264"/>
          <ac:picMkLst>
            <pc:docMk/>
            <pc:sldMk cId="799914292" sldId="1233"/>
            <ac:picMk id="9" creationId="{3E4ED532-BD9B-CED3-A6C7-38E80D6857F7}"/>
          </ac:picMkLst>
        </pc:picChg>
      </pc:sldChg>
      <pc:sldChg chg="modSp mod">
        <pc:chgData name="José Antonio Ureta Santacreu" userId="e36999d1-2b92-424a-9e8c-5fde0c5fbdd2" providerId="ADAL" clId="{B441C459-42E0-4465-B296-199851FC6E31}" dt="2024-07-31T11:49:19.666" v="1656" actId="404"/>
        <pc:sldMkLst>
          <pc:docMk/>
          <pc:sldMk cId="2666982753" sldId="1234"/>
        </pc:sldMkLst>
        <pc:graphicFrameChg chg="mod modGraphic">
          <ac:chgData name="José Antonio Ureta Santacreu" userId="e36999d1-2b92-424a-9e8c-5fde0c5fbdd2" providerId="ADAL" clId="{B441C459-42E0-4465-B296-199851FC6E31}" dt="2024-07-31T11:49:19.666" v="1656" actId="404"/>
          <ac:graphicFrameMkLst>
            <pc:docMk/>
            <pc:sldMk cId="2666982753" sldId="1234"/>
            <ac:graphicFrameMk id="7" creationId="{E200A571-EC5E-0AD3-9720-60915B9284DD}"/>
          </ac:graphicFrameMkLst>
        </pc:graphicFrameChg>
      </pc:sldChg>
      <pc:sldChg chg="delSp modSp mod ord">
        <pc:chgData name="José Antonio Ureta Santacreu" userId="e36999d1-2b92-424a-9e8c-5fde0c5fbdd2" providerId="ADAL" clId="{B441C459-42E0-4465-B296-199851FC6E31}" dt="2024-08-26T10:37:00.742" v="1837" actId="27636"/>
        <pc:sldMkLst>
          <pc:docMk/>
          <pc:sldMk cId="2066674751" sldId="1235"/>
        </pc:sldMkLst>
        <pc:spChg chg="mod">
          <ac:chgData name="José Antonio Ureta Santacreu" userId="e36999d1-2b92-424a-9e8c-5fde0c5fbdd2" providerId="ADAL" clId="{B441C459-42E0-4465-B296-199851FC6E31}" dt="2024-08-26T10:37:00.742" v="1837" actId="27636"/>
          <ac:spMkLst>
            <pc:docMk/>
            <pc:sldMk cId="2066674751" sldId="1235"/>
            <ac:spMk id="2" creationId="{152B6708-65BD-57E5-82A4-4E74F19775B1}"/>
          </ac:spMkLst>
        </pc:spChg>
        <pc:spChg chg="del mod">
          <ac:chgData name="José Antonio Ureta Santacreu" userId="e36999d1-2b92-424a-9e8c-5fde0c5fbdd2" providerId="ADAL" clId="{B441C459-42E0-4465-B296-199851FC6E31}" dt="2024-08-26T10:33:53.151" v="1789" actId="478"/>
          <ac:spMkLst>
            <pc:docMk/>
            <pc:sldMk cId="2066674751" sldId="1235"/>
            <ac:spMk id="17" creationId="{732DAB7A-6417-D8EB-CE18-69E11AC1692A}"/>
          </ac:spMkLst>
        </pc:spChg>
        <pc:picChg chg="mod">
          <ac:chgData name="José Antonio Ureta Santacreu" userId="e36999d1-2b92-424a-9e8c-5fde0c5fbdd2" providerId="ADAL" clId="{B441C459-42E0-4465-B296-199851FC6E31}" dt="2024-08-26T10:34:04.102" v="1818" actId="1038"/>
          <ac:picMkLst>
            <pc:docMk/>
            <pc:sldMk cId="2066674751" sldId="1235"/>
            <ac:picMk id="19" creationId="{579BAFF9-281F-C7D0-8947-6E8E0BF8CE33}"/>
          </ac:picMkLst>
        </pc:picChg>
      </pc:sldChg>
      <pc:sldChg chg="addSp delSp modSp mod chgLayout">
        <pc:chgData name="José Antonio Ureta Santacreu" userId="e36999d1-2b92-424a-9e8c-5fde0c5fbdd2" providerId="ADAL" clId="{B441C459-42E0-4465-B296-199851FC6E31}" dt="2024-09-12T15:33:53.649" v="4984" actId="13926"/>
        <pc:sldMkLst>
          <pc:docMk/>
          <pc:sldMk cId="1106242112" sldId="1236"/>
        </pc:sldMkLst>
        <pc:spChg chg="mod ord">
          <ac:chgData name="José Antonio Ureta Santacreu" userId="e36999d1-2b92-424a-9e8c-5fde0c5fbdd2" providerId="ADAL" clId="{B441C459-42E0-4465-B296-199851FC6E31}" dt="2024-09-11T11:12:14.001" v="3782" actId="6264"/>
          <ac:spMkLst>
            <pc:docMk/>
            <pc:sldMk cId="1106242112" sldId="1236"/>
            <ac:spMk id="2" creationId="{056B6254-9804-F3E6-E0DC-E126C9C7EAD3}"/>
          </ac:spMkLst>
        </pc:spChg>
        <pc:spChg chg="mod ord">
          <ac:chgData name="José Antonio Ureta Santacreu" userId="e36999d1-2b92-424a-9e8c-5fde0c5fbdd2" providerId="ADAL" clId="{B441C459-42E0-4465-B296-199851FC6E31}" dt="2024-09-11T11:12:14.001" v="3782" actId="6264"/>
          <ac:spMkLst>
            <pc:docMk/>
            <pc:sldMk cId="1106242112" sldId="1236"/>
            <ac:spMk id="3" creationId="{DD5A5AA4-F10E-EEE0-E138-8D6BB6068DD2}"/>
          </ac:spMkLst>
        </pc:spChg>
        <pc:spChg chg="mod ord">
          <ac:chgData name="José Antonio Ureta Santacreu" userId="e36999d1-2b92-424a-9e8c-5fde0c5fbdd2" providerId="ADAL" clId="{B441C459-42E0-4465-B296-199851FC6E31}" dt="2024-09-11T11:12:14.001" v="3782" actId="6264"/>
          <ac:spMkLst>
            <pc:docMk/>
            <pc:sldMk cId="1106242112" sldId="1236"/>
            <ac:spMk id="4" creationId="{DAAD1F65-A7F5-AF8B-C5C0-EFB23CB5BADF}"/>
          </ac:spMkLst>
        </pc:spChg>
        <pc:spChg chg="mod ord">
          <ac:chgData name="José Antonio Ureta Santacreu" userId="e36999d1-2b92-424a-9e8c-5fde0c5fbdd2" providerId="ADAL" clId="{B441C459-42E0-4465-B296-199851FC6E31}" dt="2024-09-11T11:12:14.001" v="3782" actId="6264"/>
          <ac:spMkLst>
            <pc:docMk/>
            <pc:sldMk cId="1106242112" sldId="1236"/>
            <ac:spMk id="5" creationId="{87CD48F9-291D-726E-950C-10C5DCC687D9}"/>
          </ac:spMkLst>
        </pc:spChg>
        <pc:spChg chg="add del mod">
          <ac:chgData name="José Antonio Ureta Santacreu" userId="e36999d1-2b92-424a-9e8c-5fde0c5fbdd2" providerId="ADAL" clId="{B441C459-42E0-4465-B296-199851FC6E31}" dt="2024-09-11T11:12:14.001" v="3782" actId="6264"/>
          <ac:spMkLst>
            <pc:docMk/>
            <pc:sldMk cId="1106242112" sldId="1236"/>
            <ac:spMk id="6" creationId="{CFE13E77-57C3-F26E-F27D-0D6FF2B23402}"/>
          </ac:spMkLst>
        </pc:spChg>
        <pc:spChg chg="add del mod">
          <ac:chgData name="José Antonio Ureta Santacreu" userId="e36999d1-2b92-424a-9e8c-5fde0c5fbdd2" providerId="ADAL" clId="{B441C459-42E0-4465-B296-199851FC6E31}" dt="2024-09-11T11:12:14.001" v="3782" actId="6264"/>
          <ac:spMkLst>
            <pc:docMk/>
            <pc:sldMk cId="1106242112" sldId="1236"/>
            <ac:spMk id="7" creationId="{1BA0C7EC-DB6F-2FD4-7154-AB6D6EBAC30D}"/>
          </ac:spMkLst>
        </pc:spChg>
        <pc:spChg chg="add del mod">
          <ac:chgData name="José Antonio Ureta Santacreu" userId="e36999d1-2b92-424a-9e8c-5fde0c5fbdd2" providerId="ADAL" clId="{B441C459-42E0-4465-B296-199851FC6E31}" dt="2024-09-11T11:12:14.001" v="3782" actId="6264"/>
          <ac:spMkLst>
            <pc:docMk/>
            <pc:sldMk cId="1106242112" sldId="1236"/>
            <ac:spMk id="10" creationId="{AB2D5984-182A-C1C2-A237-B123B2EF2FA0}"/>
          </ac:spMkLst>
        </pc:spChg>
        <pc:spChg chg="add del mod">
          <ac:chgData name="José Antonio Ureta Santacreu" userId="e36999d1-2b92-424a-9e8c-5fde0c5fbdd2" providerId="ADAL" clId="{B441C459-42E0-4465-B296-199851FC6E31}" dt="2024-09-11T11:12:14.001" v="3782" actId="6264"/>
          <ac:spMkLst>
            <pc:docMk/>
            <pc:sldMk cId="1106242112" sldId="1236"/>
            <ac:spMk id="11" creationId="{CEAD3168-83DF-7093-C6CA-E8FE17B774AB}"/>
          </ac:spMkLst>
        </pc:spChg>
        <pc:spChg chg="add del mod">
          <ac:chgData name="José Antonio Ureta Santacreu" userId="e36999d1-2b92-424a-9e8c-5fde0c5fbdd2" providerId="ADAL" clId="{B441C459-42E0-4465-B296-199851FC6E31}" dt="2024-09-11T11:12:14.001" v="3782" actId="6264"/>
          <ac:spMkLst>
            <pc:docMk/>
            <pc:sldMk cId="1106242112" sldId="1236"/>
            <ac:spMk id="13" creationId="{053085B7-082A-70F5-FE05-9883838797E4}"/>
          </ac:spMkLst>
        </pc:spChg>
        <pc:graphicFrameChg chg="mod ord">
          <ac:chgData name="José Antonio Ureta Santacreu" userId="e36999d1-2b92-424a-9e8c-5fde0c5fbdd2" providerId="ADAL" clId="{B441C459-42E0-4465-B296-199851FC6E31}" dt="2024-09-12T15:33:53.649" v="4984" actId="13926"/>
          <ac:graphicFrameMkLst>
            <pc:docMk/>
            <pc:sldMk cId="1106242112" sldId="1236"/>
            <ac:graphicFrameMk id="14" creationId="{70CCAF73-CA12-FB79-F97A-229D37756677}"/>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550815059" sldId="1238"/>
        </pc:sldMkLst>
        <pc:spChg chg="mod ord">
          <ac:chgData name="José Antonio Ureta Santacreu" userId="e36999d1-2b92-424a-9e8c-5fde0c5fbdd2" providerId="ADAL" clId="{B441C459-42E0-4465-B296-199851FC6E31}" dt="2024-09-11T11:12:14.001" v="3782" actId="6264"/>
          <ac:spMkLst>
            <pc:docMk/>
            <pc:sldMk cId="550815059" sldId="1238"/>
            <ac:spMk id="2" creationId="{061AB15A-655A-CFD3-C566-91D45E8F1913}"/>
          </ac:spMkLst>
        </pc:spChg>
        <pc:spChg chg="mod ord">
          <ac:chgData name="José Antonio Ureta Santacreu" userId="e36999d1-2b92-424a-9e8c-5fde0c5fbdd2" providerId="ADAL" clId="{B441C459-42E0-4465-B296-199851FC6E31}" dt="2024-09-11T11:12:14.001" v="3782" actId="6264"/>
          <ac:spMkLst>
            <pc:docMk/>
            <pc:sldMk cId="550815059" sldId="1238"/>
            <ac:spMk id="3" creationId="{97D7566B-379C-FA2B-8488-DCD19822B4A3}"/>
          </ac:spMkLst>
        </pc:spChg>
        <pc:spChg chg="mod ord">
          <ac:chgData name="José Antonio Ureta Santacreu" userId="e36999d1-2b92-424a-9e8c-5fde0c5fbdd2" providerId="ADAL" clId="{B441C459-42E0-4465-B296-199851FC6E31}" dt="2024-09-11T11:12:14.001" v="3782" actId="6264"/>
          <ac:spMkLst>
            <pc:docMk/>
            <pc:sldMk cId="550815059" sldId="1238"/>
            <ac:spMk id="4" creationId="{DBF5C906-A7AD-DBF3-AE0D-C941CEF6DD35}"/>
          </ac:spMkLst>
        </pc:spChg>
        <pc:spChg chg="mod ord">
          <ac:chgData name="José Antonio Ureta Santacreu" userId="e36999d1-2b92-424a-9e8c-5fde0c5fbdd2" providerId="ADAL" clId="{B441C459-42E0-4465-B296-199851FC6E31}" dt="2024-09-11T11:12:14.001" v="3782" actId="6264"/>
          <ac:spMkLst>
            <pc:docMk/>
            <pc:sldMk cId="550815059" sldId="1238"/>
            <ac:spMk id="5" creationId="{14B901F3-2AA9-E86C-755A-A7581B5D49AC}"/>
          </ac:spMkLst>
        </pc:spChg>
        <pc:spChg chg="add del mod">
          <ac:chgData name="José Antonio Ureta Santacreu" userId="e36999d1-2b92-424a-9e8c-5fde0c5fbdd2" providerId="ADAL" clId="{B441C459-42E0-4465-B296-199851FC6E31}" dt="2024-09-11T11:12:14.001" v="3782" actId="6264"/>
          <ac:spMkLst>
            <pc:docMk/>
            <pc:sldMk cId="550815059" sldId="1238"/>
            <ac:spMk id="6" creationId="{A824BECF-340E-C07E-BABF-579F9793F74E}"/>
          </ac:spMkLst>
        </pc:spChg>
        <pc:spChg chg="add del mod">
          <ac:chgData name="José Antonio Ureta Santacreu" userId="e36999d1-2b92-424a-9e8c-5fde0c5fbdd2" providerId="ADAL" clId="{B441C459-42E0-4465-B296-199851FC6E31}" dt="2024-09-11T11:12:14.001" v="3782" actId="6264"/>
          <ac:spMkLst>
            <pc:docMk/>
            <pc:sldMk cId="550815059" sldId="1238"/>
            <ac:spMk id="7" creationId="{D6C93E9F-9C9C-2980-A71E-E15902F29711}"/>
          </ac:spMkLst>
        </pc:spChg>
        <pc:spChg chg="add del mod">
          <ac:chgData name="José Antonio Ureta Santacreu" userId="e36999d1-2b92-424a-9e8c-5fde0c5fbdd2" providerId="ADAL" clId="{B441C459-42E0-4465-B296-199851FC6E31}" dt="2024-09-11T11:12:14.001" v="3782" actId="6264"/>
          <ac:spMkLst>
            <pc:docMk/>
            <pc:sldMk cId="550815059" sldId="1238"/>
            <ac:spMk id="8" creationId="{7D466788-AC77-FEF7-B72B-8E565FEA5A94}"/>
          </ac:spMkLst>
        </pc:spChg>
        <pc:spChg chg="add del mod">
          <ac:chgData name="José Antonio Ureta Santacreu" userId="e36999d1-2b92-424a-9e8c-5fde0c5fbdd2" providerId="ADAL" clId="{B441C459-42E0-4465-B296-199851FC6E31}" dt="2024-09-11T11:12:14.001" v="3782" actId="6264"/>
          <ac:spMkLst>
            <pc:docMk/>
            <pc:sldMk cId="550815059" sldId="1238"/>
            <ac:spMk id="9" creationId="{7B745106-A3C1-9DE0-A85F-3FDA5F2725BC}"/>
          </ac:spMkLst>
        </pc:spChg>
      </pc:sldChg>
      <pc:sldChg chg="addSp delSp modSp mod chgLayout">
        <pc:chgData name="José Antonio Ureta Santacreu" userId="e36999d1-2b92-424a-9e8c-5fde0c5fbdd2" providerId="ADAL" clId="{B441C459-42E0-4465-B296-199851FC6E31}" dt="2024-09-12T15:46:10.588" v="5163" actId="27636"/>
        <pc:sldMkLst>
          <pc:docMk/>
          <pc:sldMk cId="22562476" sldId="1239"/>
        </pc:sldMkLst>
        <pc:spChg chg="mod ord">
          <ac:chgData name="José Antonio Ureta Santacreu" userId="e36999d1-2b92-424a-9e8c-5fde0c5fbdd2" providerId="ADAL" clId="{B441C459-42E0-4465-B296-199851FC6E31}" dt="2024-09-12T15:46:10.573" v="5162" actId="6264"/>
          <ac:spMkLst>
            <pc:docMk/>
            <pc:sldMk cId="22562476" sldId="1239"/>
            <ac:spMk id="2" creationId="{6425C532-2091-C567-AC85-3CEF8E5CB730}"/>
          </ac:spMkLst>
        </pc:spChg>
        <pc:spChg chg="add del mod">
          <ac:chgData name="José Antonio Ureta Santacreu" userId="e36999d1-2b92-424a-9e8c-5fde0c5fbdd2" providerId="ADAL" clId="{B441C459-42E0-4465-B296-199851FC6E31}" dt="2024-09-12T15:46:10.573" v="5162" actId="6264"/>
          <ac:spMkLst>
            <pc:docMk/>
            <pc:sldMk cId="22562476" sldId="1239"/>
            <ac:spMk id="3" creationId="{0507BC94-9524-A171-417F-8E222732C8AE}"/>
          </ac:spMkLst>
        </pc:spChg>
        <pc:spChg chg="add del mod">
          <ac:chgData name="José Antonio Ureta Santacreu" userId="e36999d1-2b92-424a-9e8c-5fde0c5fbdd2" providerId="ADAL" clId="{B441C459-42E0-4465-B296-199851FC6E31}" dt="2024-09-11T11:12:14.001" v="3782" actId="6264"/>
          <ac:spMkLst>
            <pc:docMk/>
            <pc:sldMk cId="22562476" sldId="1239"/>
            <ac:spMk id="3" creationId="{ADC489D9-9E35-38CA-56A8-1168522FE1C9}"/>
          </ac:spMkLst>
        </pc:spChg>
        <pc:spChg chg="mod ord">
          <ac:chgData name="José Antonio Ureta Santacreu" userId="e36999d1-2b92-424a-9e8c-5fde0c5fbdd2" providerId="ADAL" clId="{B441C459-42E0-4465-B296-199851FC6E31}" dt="2024-09-12T15:46:10.588" v="5163" actId="27636"/>
          <ac:spMkLst>
            <pc:docMk/>
            <pc:sldMk cId="22562476" sldId="1239"/>
            <ac:spMk id="4" creationId="{C675A150-255B-41CC-03F6-8A8BA9EEF50C}"/>
          </ac:spMkLst>
        </pc:spChg>
        <pc:spChg chg="mod ord">
          <ac:chgData name="José Antonio Ureta Santacreu" userId="e36999d1-2b92-424a-9e8c-5fde0c5fbdd2" providerId="ADAL" clId="{B441C459-42E0-4465-B296-199851FC6E31}" dt="2024-09-12T15:46:10.573" v="5162" actId="6264"/>
          <ac:spMkLst>
            <pc:docMk/>
            <pc:sldMk cId="22562476" sldId="1239"/>
            <ac:spMk id="5" creationId="{5793EC8B-E39D-B7EB-85CB-ADA37F590CDF}"/>
          </ac:spMkLst>
        </pc:spChg>
        <pc:spChg chg="mod ord">
          <ac:chgData name="José Antonio Ureta Santacreu" userId="e36999d1-2b92-424a-9e8c-5fde0c5fbdd2" providerId="ADAL" clId="{B441C459-42E0-4465-B296-199851FC6E31}" dt="2024-09-12T15:46:10.573" v="5162" actId="6264"/>
          <ac:spMkLst>
            <pc:docMk/>
            <pc:sldMk cId="22562476" sldId="1239"/>
            <ac:spMk id="6" creationId="{1D9B81E7-24F5-1E77-AE74-291DB77E7DF6}"/>
          </ac:spMkLst>
        </pc:spChg>
        <pc:spChg chg="mod ord">
          <ac:chgData name="José Antonio Ureta Santacreu" userId="e36999d1-2b92-424a-9e8c-5fde0c5fbdd2" providerId="ADAL" clId="{B441C459-42E0-4465-B296-199851FC6E31}" dt="2024-09-12T15:46:10.573" v="5162" actId="6264"/>
          <ac:spMkLst>
            <pc:docMk/>
            <pc:sldMk cId="22562476" sldId="1239"/>
            <ac:spMk id="7" creationId="{03D0163B-954E-0CF7-E267-47E12D68F499}"/>
          </ac:spMkLst>
        </pc:spChg>
        <pc:spChg chg="mod ord">
          <ac:chgData name="José Antonio Ureta Santacreu" userId="e36999d1-2b92-424a-9e8c-5fde0c5fbdd2" providerId="ADAL" clId="{B441C459-42E0-4465-B296-199851FC6E31}" dt="2024-09-12T15:46:10.573" v="5162" actId="6264"/>
          <ac:spMkLst>
            <pc:docMk/>
            <pc:sldMk cId="22562476" sldId="1239"/>
            <ac:spMk id="8" creationId="{24023418-0705-FA02-FDB0-65C60C05B7EC}"/>
          </ac:spMkLst>
        </pc:spChg>
        <pc:spChg chg="add del mod">
          <ac:chgData name="José Antonio Ureta Santacreu" userId="e36999d1-2b92-424a-9e8c-5fde0c5fbdd2" providerId="ADAL" clId="{B441C459-42E0-4465-B296-199851FC6E31}" dt="2024-09-11T11:12:14.001" v="3782" actId="6264"/>
          <ac:spMkLst>
            <pc:docMk/>
            <pc:sldMk cId="22562476" sldId="1239"/>
            <ac:spMk id="10" creationId="{734CDBAF-8A77-72D5-D860-36A530B98D01}"/>
          </ac:spMkLst>
        </pc:spChg>
        <pc:spChg chg="add del mod">
          <ac:chgData name="José Antonio Ureta Santacreu" userId="e36999d1-2b92-424a-9e8c-5fde0c5fbdd2" providerId="ADAL" clId="{B441C459-42E0-4465-B296-199851FC6E31}" dt="2024-09-12T15:46:10.573" v="5162" actId="6264"/>
          <ac:spMkLst>
            <pc:docMk/>
            <pc:sldMk cId="22562476" sldId="1239"/>
            <ac:spMk id="10" creationId="{8683844B-A6E2-F46E-B47B-92CCA7A1CA19}"/>
          </ac:spMkLst>
        </pc:spChg>
        <pc:spChg chg="add del mod">
          <ac:chgData name="José Antonio Ureta Santacreu" userId="e36999d1-2b92-424a-9e8c-5fde0c5fbdd2" providerId="ADAL" clId="{B441C459-42E0-4465-B296-199851FC6E31}" dt="2024-09-12T15:46:10.573" v="5162" actId="6264"/>
          <ac:spMkLst>
            <pc:docMk/>
            <pc:sldMk cId="22562476" sldId="1239"/>
            <ac:spMk id="11" creationId="{564CA65E-E603-1492-D6F5-55279A7BB9E1}"/>
          </ac:spMkLst>
        </pc:spChg>
        <pc:spChg chg="add del mod">
          <ac:chgData name="José Antonio Ureta Santacreu" userId="e36999d1-2b92-424a-9e8c-5fde0c5fbdd2" providerId="ADAL" clId="{B441C459-42E0-4465-B296-199851FC6E31}" dt="2024-09-11T11:12:14.001" v="3782" actId="6264"/>
          <ac:spMkLst>
            <pc:docMk/>
            <pc:sldMk cId="22562476" sldId="1239"/>
            <ac:spMk id="11" creationId="{7CA85594-5D3D-7CC1-68FF-38326A972CB2}"/>
          </ac:spMkLst>
        </pc:spChg>
        <pc:spChg chg="add del mod">
          <ac:chgData name="José Antonio Ureta Santacreu" userId="e36999d1-2b92-424a-9e8c-5fde0c5fbdd2" providerId="ADAL" clId="{B441C459-42E0-4465-B296-199851FC6E31}" dt="2024-09-11T11:12:14.001" v="3782" actId="6264"/>
          <ac:spMkLst>
            <pc:docMk/>
            <pc:sldMk cId="22562476" sldId="1239"/>
            <ac:spMk id="12" creationId="{02613D02-7D85-D662-AD20-52BE2F7CDE3A}"/>
          </ac:spMkLst>
        </pc:spChg>
        <pc:spChg chg="add del mod">
          <ac:chgData name="José Antonio Ureta Santacreu" userId="e36999d1-2b92-424a-9e8c-5fde0c5fbdd2" providerId="ADAL" clId="{B441C459-42E0-4465-B296-199851FC6E31}" dt="2024-09-12T15:46:10.573" v="5162" actId="6264"/>
          <ac:spMkLst>
            <pc:docMk/>
            <pc:sldMk cId="22562476" sldId="1239"/>
            <ac:spMk id="12" creationId="{922F16DA-CFBE-F6C9-D185-C8CBF4B63DF9}"/>
          </ac:spMkLst>
        </pc:spChg>
        <pc:spChg chg="add del mod">
          <ac:chgData name="José Antonio Ureta Santacreu" userId="e36999d1-2b92-424a-9e8c-5fde0c5fbdd2" providerId="ADAL" clId="{B441C459-42E0-4465-B296-199851FC6E31}" dt="2024-09-12T15:46:10.573" v="5162" actId="6264"/>
          <ac:spMkLst>
            <pc:docMk/>
            <pc:sldMk cId="22562476" sldId="1239"/>
            <ac:spMk id="13" creationId="{1DF4B6B1-8A89-556C-4BEC-2FAA0BD2C27F}"/>
          </ac:spMkLst>
        </pc:spChg>
        <pc:spChg chg="add del mod">
          <ac:chgData name="José Antonio Ureta Santacreu" userId="e36999d1-2b92-424a-9e8c-5fde0c5fbdd2" providerId="ADAL" clId="{B441C459-42E0-4465-B296-199851FC6E31}" dt="2024-09-11T11:12:14.001" v="3782" actId="6264"/>
          <ac:spMkLst>
            <pc:docMk/>
            <pc:sldMk cId="22562476" sldId="1239"/>
            <ac:spMk id="13" creationId="{9FF84F14-8791-31AC-F1C8-E26AF774FA17}"/>
          </ac:spMkLst>
        </pc:spChg>
        <pc:spChg chg="add del mod">
          <ac:chgData name="José Antonio Ureta Santacreu" userId="e36999d1-2b92-424a-9e8c-5fde0c5fbdd2" providerId="ADAL" clId="{B441C459-42E0-4465-B296-199851FC6E31}" dt="2024-09-12T15:46:10.573" v="5162" actId="6264"/>
          <ac:spMkLst>
            <pc:docMk/>
            <pc:sldMk cId="22562476" sldId="1239"/>
            <ac:spMk id="14" creationId="{65355387-BFE5-22D9-25C9-CF10E8B80442}"/>
          </ac:spMkLst>
        </pc:spChg>
        <pc:spChg chg="add del mod">
          <ac:chgData name="José Antonio Ureta Santacreu" userId="e36999d1-2b92-424a-9e8c-5fde0c5fbdd2" providerId="ADAL" clId="{B441C459-42E0-4465-B296-199851FC6E31}" dt="2024-09-11T11:12:14.001" v="3782" actId="6264"/>
          <ac:spMkLst>
            <pc:docMk/>
            <pc:sldMk cId="22562476" sldId="1239"/>
            <ac:spMk id="14" creationId="{BDC98CE6-707D-7937-10D5-9E82AD9FCF76}"/>
          </ac:spMkLst>
        </pc:spChg>
        <pc:spChg chg="add del mod">
          <ac:chgData name="José Antonio Ureta Santacreu" userId="e36999d1-2b92-424a-9e8c-5fde0c5fbdd2" providerId="ADAL" clId="{B441C459-42E0-4465-B296-199851FC6E31}" dt="2024-09-11T11:12:14.001" v="3782" actId="6264"/>
          <ac:spMkLst>
            <pc:docMk/>
            <pc:sldMk cId="22562476" sldId="1239"/>
            <ac:spMk id="15" creationId="{165B0652-7614-27E7-8D40-80E35C7D81FD}"/>
          </ac:spMkLst>
        </pc:spChg>
        <pc:spChg chg="add del mod">
          <ac:chgData name="José Antonio Ureta Santacreu" userId="e36999d1-2b92-424a-9e8c-5fde0c5fbdd2" providerId="ADAL" clId="{B441C459-42E0-4465-B296-199851FC6E31}" dt="2024-09-12T15:46:10.573" v="5162" actId="6264"/>
          <ac:spMkLst>
            <pc:docMk/>
            <pc:sldMk cId="22562476" sldId="1239"/>
            <ac:spMk id="15" creationId="{D948C589-E9D0-0851-1D8E-20039ED43FF4}"/>
          </ac:spMkLst>
        </pc:spChg>
        <pc:picChg chg="mod ord">
          <ac:chgData name="José Antonio Ureta Santacreu" userId="e36999d1-2b92-424a-9e8c-5fde0c5fbdd2" providerId="ADAL" clId="{B441C459-42E0-4465-B296-199851FC6E31}" dt="2024-09-12T15:46:10.573" v="5162" actId="6264"/>
          <ac:picMkLst>
            <pc:docMk/>
            <pc:sldMk cId="22562476" sldId="1239"/>
            <ac:picMk id="9" creationId="{431705DB-20F6-E4B9-6112-7D01EA30FBBE}"/>
          </ac:picMkLst>
        </pc:picChg>
      </pc:sldChg>
      <pc:sldChg chg="addSp delSp modSp mod chgLayout">
        <pc:chgData name="José Antonio Ureta Santacreu" userId="e36999d1-2b92-424a-9e8c-5fde0c5fbdd2" providerId="ADAL" clId="{B441C459-42E0-4465-B296-199851FC6E31}" dt="2024-09-12T15:35:01.126" v="5022" actId="27636"/>
        <pc:sldMkLst>
          <pc:docMk/>
          <pc:sldMk cId="1794847669" sldId="1240"/>
        </pc:sldMkLst>
        <pc:spChg chg="mod ord">
          <ac:chgData name="José Antonio Ureta Santacreu" userId="e36999d1-2b92-424a-9e8c-5fde0c5fbdd2" providerId="ADAL" clId="{B441C459-42E0-4465-B296-199851FC6E31}" dt="2024-09-12T15:34:43.033" v="4993" actId="6264"/>
          <ac:spMkLst>
            <pc:docMk/>
            <pc:sldMk cId="1794847669" sldId="1240"/>
            <ac:spMk id="2" creationId="{ADE2E4B0-D957-33BC-33CB-05F3EF930132}"/>
          </ac:spMkLst>
        </pc:spChg>
        <pc:spChg chg="add del mod">
          <ac:chgData name="José Antonio Ureta Santacreu" userId="e36999d1-2b92-424a-9e8c-5fde0c5fbdd2" providerId="ADAL" clId="{B441C459-42E0-4465-B296-199851FC6E31}" dt="2024-09-12T15:34:43.033" v="4993" actId="6264"/>
          <ac:spMkLst>
            <pc:docMk/>
            <pc:sldMk cId="1794847669" sldId="1240"/>
            <ac:spMk id="3" creationId="{5BBB7E0B-50FB-52A6-D70E-5373C908E270}"/>
          </ac:spMkLst>
        </pc:spChg>
        <pc:spChg chg="add del mod">
          <ac:chgData name="José Antonio Ureta Santacreu" userId="e36999d1-2b92-424a-9e8c-5fde0c5fbdd2" providerId="ADAL" clId="{B441C459-42E0-4465-B296-199851FC6E31}" dt="2024-09-11T11:12:14.001" v="3782" actId="6264"/>
          <ac:spMkLst>
            <pc:docMk/>
            <pc:sldMk cId="1794847669" sldId="1240"/>
            <ac:spMk id="3" creationId="{673E447D-3C58-0166-3335-82345C09F9D7}"/>
          </ac:spMkLst>
        </pc:spChg>
        <pc:spChg chg="mod ord">
          <ac:chgData name="José Antonio Ureta Santacreu" userId="e36999d1-2b92-424a-9e8c-5fde0c5fbdd2" providerId="ADAL" clId="{B441C459-42E0-4465-B296-199851FC6E31}" dt="2024-09-12T15:35:01.126" v="5022" actId="27636"/>
          <ac:spMkLst>
            <pc:docMk/>
            <pc:sldMk cId="1794847669" sldId="1240"/>
            <ac:spMk id="4" creationId="{119FCE87-026D-DF7C-E121-A44DD4FD1829}"/>
          </ac:spMkLst>
        </pc:spChg>
        <pc:spChg chg="mod ord">
          <ac:chgData name="José Antonio Ureta Santacreu" userId="e36999d1-2b92-424a-9e8c-5fde0c5fbdd2" providerId="ADAL" clId="{B441C459-42E0-4465-B296-199851FC6E31}" dt="2024-09-12T15:34:43.033" v="4993" actId="6264"/>
          <ac:spMkLst>
            <pc:docMk/>
            <pc:sldMk cId="1794847669" sldId="1240"/>
            <ac:spMk id="5" creationId="{73A3CDCC-2E12-7C2D-8692-3E9544FEF070}"/>
          </ac:spMkLst>
        </pc:spChg>
        <pc:spChg chg="mod ord">
          <ac:chgData name="José Antonio Ureta Santacreu" userId="e36999d1-2b92-424a-9e8c-5fde0c5fbdd2" providerId="ADAL" clId="{B441C459-42E0-4465-B296-199851FC6E31}" dt="2024-09-12T15:34:43.033" v="4993" actId="6264"/>
          <ac:spMkLst>
            <pc:docMk/>
            <pc:sldMk cId="1794847669" sldId="1240"/>
            <ac:spMk id="6" creationId="{880BEEFF-C282-40D9-E6AC-28BB0350005E}"/>
          </ac:spMkLst>
        </pc:spChg>
        <pc:spChg chg="mod ord">
          <ac:chgData name="José Antonio Ureta Santacreu" userId="e36999d1-2b92-424a-9e8c-5fde0c5fbdd2" providerId="ADAL" clId="{B441C459-42E0-4465-B296-199851FC6E31}" dt="2024-09-12T15:34:43.033" v="4993" actId="6264"/>
          <ac:spMkLst>
            <pc:docMk/>
            <pc:sldMk cId="1794847669" sldId="1240"/>
            <ac:spMk id="7" creationId="{C5ACEDCE-A557-E3FF-B679-A1574B12C526}"/>
          </ac:spMkLst>
        </pc:spChg>
        <pc:spChg chg="mod ord">
          <ac:chgData name="José Antonio Ureta Santacreu" userId="e36999d1-2b92-424a-9e8c-5fde0c5fbdd2" providerId="ADAL" clId="{B441C459-42E0-4465-B296-199851FC6E31}" dt="2024-09-12T15:34:43.033" v="4993" actId="6264"/>
          <ac:spMkLst>
            <pc:docMk/>
            <pc:sldMk cId="1794847669" sldId="1240"/>
            <ac:spMk id="8" creationId="{F9623EBA-2EB8-5FA0-15B1-3FFF0479AF0C}"/>
          </ac:spMkLst>
        </pc:spChg>
        <pc:spChg chg="add del mod">
          <ac:chgData name="José Antonio Ureta Santacreu" userId="e36999d1-2b92-424a-9e8c-5fde0c5fbdd2" providerId="ADAL" clId="{B441C459-42E0-4465-B296-199851FC6E31}" dt="2024-09-11T11:12:14.001" v="3782" actId="6264"/>
          <ac:spMkLst>
            <pc:docMk/>
            <pc:sldMk cId="1794847669" sldId="1240"/>
            <ac:spMk id="10" creationId="{E58FD968-1661-CC32-9E7C-669C4D67BF90}"/>
          </ac:spMkLst>
        </pc:spChg>
        <pc:spChg chg="add del mod">
          <ac:chgData name="José Antonio Ureta Santacreu" userId="e36999d1-2b92-424a-9e8c-5fde0c5fbdd2" providerId="ADAL" clId="{B441C459-42E0-4465-B296-199851FC6E31}" dt="2024-09-12T15:34:43.033" v="4993" actId="6264"/>
          <ac:spMkLst>
            <pc:docMk/>
            <pc:sldMk cId="1794847669" sldId="1240"/>
            <ac:spMk id="10" creationId="{F87FC689-4378-61B1-24DF-9DA7CE6C0895}"/>
          </ac:spMkLst>
        </pc:spChg>
        <pc:spChg chg="add del mod">
          <ac:chgData name="José Antonio Ureta Santacreu" userId="e36999d1-2b92-424a-9e8c-5fde0c5fbdd2" providerId="ADAL" clId="{B441C459-42E0-4465-B296-199851FC6E31}" dt="2024-09-12T15:34:43.033" v="4993" actId="6264"/>
          <ac:spMkLst>
            <pc:docMk/>
            <pc:sldMk cId="1794847669" sldId="1240"/>
            <ac:spMk id="11" creationId="{5CB4AF01-B887-3301-BB12-81F6CE24EADB}"/>
          </ac:spMkLst>
        </pc:spChg>
        <pc:spChg chg="add del mod">
          <ac:chgData name="José Antonio Ureta Santacreu" userId="e36999d1-2b92-424a-9e8c-5fde0c5fbdd2" providerId="ADAL" clId="{B441C459-42E0-4465-B296-199851FC6E31}" dt="2024-09-11T11:12:14.001" v="3782" actId="6264"/>
          <ac:spMkLst>
            <pc:docMk/>
            <pc:sldMk cId="1794847669" sldId="1240"/>
            <ac:spMk id="11" creationId="{E65B5EC8-FB49-E013-9683-83AD2AAFD722}"/>
          </ac:spMkLst>
        </pc:spChg>
        <pc:spChg chg="add del mod">
          <ac:chgData name="José Antonio Ureta Santacreu" userId="e36999d1-2b92-424a-9e8c-5fde0c5fbdd2" providerId="ADAL" clId="{B441C459-42E0-4465-B296-199851FC6E31}" dt="2024-09-11T11:12:14.001" v="3782" actId="6264"/>
          <ac:spMkLst>
            <pc:docMk/>
            <pc:sldMk cId="1794847669" sldId="1240"/>
            <ac:spMk id="12" creationId="{B2016DAA-808D-990E-AB7D-7FDA115BB244}"/>
          </ac:spMkLst>
        </pc:spChg>
        <pc:spChg chg="add del mod">
          <ac:chgData name="José Antonio Ureta Santacreu" userId="e36999d1-2b92-424a-9e8c-5fde0c5fbdd2" providerId="ADAL" clId="{B441C459-42E0-4465-B296-199851FC6E31}" dt="2024-09-12T15:34:43.033" v="4993" actId="6264"/>
          <ac:spMkLst>
            <pc:docMk/>
            <pc:sldMk cId="1794847669" sldId="1240"/>
            <ac:spMk id="12" creationId="{BDE30505-DABD-33C3-0A01-630FBD0FBAF8}"/>
          </ac:spMkLst>
        </pc:spChg>
        <pc:spChg chg="add del mod">
          <ac:chgData name="José Antonio Ureta Santacreu" userId="e36999d1-2b92-424a-9e8c-5fde0c5fbdd2" providerId="ADAL" clId="{B441C459-42E0-4465-B296-199851FC6E31}" dt="2024-09-11T11:12:14.001" v="3782" actId="6264"/>
          <ac:spMkLst>
            <pc:docMk/>
            <pc:sldMk cId="1794847669" sldId="1240"/>
            <ac:spMk id="13" creationId="{CFBC8B99-9ACB-5CFA-A90C-81BCD8242592}"/>
          </ac:spMkLst>
        </pc:spChg>
        <pc:spChg chg="add del mod">
          <ac:chgData name="José Antonio Ureta Santacreu" userId="e36999d1-2b92-424a-9e8c-5fde0c5fbdd2" providerId="ADAL" clId="{B441C459-42E0-4465-B296-199851FC6E31}" dt="2024-09-12T15:34:43.033" v="4993" actId="6264"/>
          <ac:spMkLst>
            <pc:docMk/>
            <pc:sldMk cId="1794847669" sldId="1240"/>
            <ac:spMk id="13" creationId="{DE0EDAB4-2BDB-B768-EE85-E7388775A23D}"/>
          </ac:spMkLst>
        </pc:spChg>
        <pc:spChg chg="add del mod">
          <ac:chgData name="José Antonio Ureta Santacreu" userId="e36999d1-2b92-424a-9e8c-5fde0c5fbdd2" providerId="ADAL" clId="{B441C459-42E0-4465-B296-199851FC6E31}" dt="2024-09-12T15:34:43.033" v="4993" actId="6264"/>
          <ac:spMkLst>
            <pc:docMk/>
            <pc:sldMk cId="1794847669" sldId="1240"/>
            <ac:spMk id="14" creationId="{41A20E55-97B7-2D0F-AAC0-CF240D2ED491}"/>
          </ac:spMkLst>
        </pc:spChg>
        <pc:spChg chg="add del mod">
          <ac:chgData name="José Antonio Ureta Santacreu" userId="e36999d1-2b92-424a-9e8c-5fde0c5fbdd2" providerId="ADAL" clId="{B441C459-42E0-4465-B296-199851FC6E31}" dt="2024-09-11T11:12:14.001" v="3782" actId="6264"/>
          <ac:spMkLst>
            <pc:docMk/>
            <pc:sldMk cId="1794847669" sldId="1240"/>
            <ac:spMk id="14" creationId="{BB6B20B5-1298-6682-C850-71F7B63BE57D}"/>
          </ac:spMkLst>
        </pc:spChg>
        <pc:spChg chg="add del mod">
          <ac:chgData name="José Antonio Ureta Santacreu" userId="e36999d1-2b92-424a-9e8c-5fde0c5fbdd2" providerId="ADAL" clId="{B441C459-42E0-4465-B296-199851FC6E31}" dt="2024-09-12T15:34:43.033" v="4993" actId="6264"/>
          <ac:spMkLst>
            <pc:docMk/>
            <pc:sldMk cId="1794847669" sldId="1240"/>
            <ac:spMk id="15" creationId="{528BE50B-9D2B-69A1-0F18-B830B9BC538D}"/>
          </ac:spMkLst>
        </pc:spChg>
        <pc:spChg chg="add del mod">
          <ac:chgData name="José Antonio Ureta Santacreu" userId="e36999d1-2b92-424a-9e8c-5fde0c5fbdd2" providerId="ADAL" clId="{B441C459-42E0-4465-B296-199851FC6E31}" dt="2024-09-11T11:12:14.001" v="3782" actId="6264"/>
          <ac:spMkLst>
            <pc:docMk/>
            <pc:sldMk cId="1794847669" sldId="1240"/>
            <ac:spMk id="15" creationId="{A32C7F5F-CB26-6002-F52D-A85B70856994}"/>
          </ac:spMkLst>
        </pc:spChg>
        <pc:picChg chg="mod ord">
          <ac:chgData name="José Antonio Ureta Santacreu" userId="e36999d1-2b92-424a-9e8c-5fde0c5fbdd2" providerId="ADAL" clId="{B441C459-42E0-4465-B296-199851FC6E31}" dt="2024-09-12T15:34:43.033" v="4993" actId="6264"/>
          <ac:picMkLst>
            <pc:docMk/>
            <pc:sldMk cId="1794847669" sldId="1240"/>
            <ac:picMk id="9" creationId="{BD54A346-F060-87EA-CD6B-8A28C7AEB2A0}"/>
          </ac:picMkLst>
        </pc:picChg>
      </pc:sldChg>
      <pc:sldChg chg="addSp delSp modSp mod setBg chgLayout">
        <pc:chgData name="José Antonio Ureta Santacreu" userId="e36999d1-2b92-424a-9e8c-5fde0c5fbdd2" providerId="ADAL" clId="{B441C459-42E0-4465-B296-199851FC6E31}" dt="2024-09-12T15:42:19.067" v="5144"/>
        <pc:sldMkLst>
          <pc:docMk/>
          <pc:sldMk cId="3588601817" sldId="1241"/>
        </pc:sldMkLst>
        <pc:spChg chg="mod ord">
          <ac:chgData name="José Antonio Ureta Santacreu" userId="e36999d1-2b92-424a-9e8c-5fde0c5fbdd2" providerId="ADAL" clId="{B441C459-42E0-4465-B296-199851FC6E31}" dt="2024-09-11T11:12:14.001" v="3782" actId="6264"/>
          <ac:spMkLst>
            <pc:docMk/>
            <pc:sldMk cId="3588601817" sldId="1241"/>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3588601817" sldId="1241"/>
            <ac:spMk id="3" creationId="{3B32ACF6-ABFE-03B2-2CB8-C3FD269B5A44}"/>
          </ac:spMkLst>
        </pc:spChg>
        <pc:spChg chg="mod ord">
          <ac:chgData name="José Antonio Ureta Santacreu" userId="e36999d1-2b92-424a-9e8c-5fde0c5fbdd2" providerId="ADAL" clId="{B441C459-42E0-4465-B296-199851FC6E31}" dt="2024-09-11T11:12:14.001" v="3782" actId="6264"/>
          <ac:spMkLst>
            <pc:docMk/>
            <pc:sldMk cId="3588601817" sldId="1241"/>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3588601817" sldId="1241"/>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3588601817" sldId="1241"/>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3588601817" sldId="1241"/>
            <ac:spMk id="8" creationId="{765FACFE-C0D1-2627-224A-7C851503E363}"/>
          </ac:spMkLst>
        </pc:spChg>
        <pc:spChg chg="add del mod">
          <ac:chgData name="José Antonio Ureta Santacreu" userId="e36999d1-2b92-424a-9e8c-5fde0c5fbdd2" providerId="ADAL" clId="{B441C459-42E0-4465-B296-199851FC6E31}" dt="2024-09-11T11:12:14.001" v="3782" actId="6264"/>
          <ac:spMkLst>
            <pc:docMk/>
            <pc:sldMk cId="3588601817" sldId="1241"/>
            <ac:spMk id="9" creationId="{E27082FC-240F-4AB7-8318-06D2E0BE4DCF}"/>
          </ac:spMkLst>
        </pc:spChg>
        <pc:spChg chg="add del mod">
          <ac:chgData name="José Antonio Ureta Santacreu" userId="e36999d1-2b92-424a-9e8c-5fde0c5fbdd2" providerId="ADAL" clId="{B441C459-42E0-4465-B296-199851FC6E31}" dt="2024-09-11T11:12:14.001" v="3782" actId="6264"/>
          <ac:spMkLst>
            <pc:docMk/>
            <pc:sldMk cId="3588601817" sldId="1241"/>
            <ac:spMk id="10" creationId="{D266CE6E-9AA7-EB13-CEC5-64542FF70A0C}"/>
          </ac:spMkLst>
        </pc:spChg>
        <pc:spChg chg="add del mod">
          <ac:chgData name="José Antonio Ureta Santacreu" userId="e36999d1-2b92-424a-9e8c-5fde0c5fbdd2" providerId="ADAL" clId="{B441C459-42E0-4465-B296-199851FC6E31}" dt="2024-09-11T11:12:14.001" v="3782" actId="6264"/>
          <ac:spMkLst>
            <pc:docMk/>
            <pc:sldMk cId="3588601817" sldId="1241"/>
            <ac:spMk id="11" creationId="{9E0FC14D-EE66-709A-8670-DC67EC989F19}"/>
          </ac:spMkLst>
        </pc:spChg>
        <pc:graphicFrameChg chg="mod ord">
          <ac:chgData name="José Antonio Ureta Santacreu" userId="e36999d1-2b92-424a-9e8c-5fde0c5fbdd2" providerId="ADAL" clId="{B441C459-42E0-4465-B296-199851FC6E31}" dt="2024-09-12T15:42:19.067" v="5144"/>
          <ac:graphicFrameMkLst>
            <pc:docMk/>
            <pc:sldMk cId="3588601817" sldId="1241"/>
            <ac:graphicFrameMk id="7" creationId="{69A3C6FB-1444-D938-0699-A6962F4F03E5}"/>
          </ac:graphicFrameMkLst>
        </pc:graphicFrameChg>
      </pc:sldChg>
      <pc:sldChg chg="addSp delSp modSp mod chgLayout">
        <pc:chgData name="José Antonio Ureta Santacreu" userId="e36999d1-2b92-424a-9e8c-5fde0c5fbdd2" providerId="ADAL" clId="{B441C459-42E0-4465-B296-199851FC6E31}" dt="2024-09-12T15:42:19.067" v="5144"/>
        <pc:sldMkLst>
          <pc:docMk/>
          <pc:sldMk cId="2571051962" sldId="1242"/>
        </pc:sldMkLst>
        <pc:spChg chg="mod ord">
          <ac:chgData name="José Antonio Ureta Santacreu" userId="e36999d1-2b92-424a-9e8c-5fde0c5fbdd2" providerId="ADAL" clId="{B441C459-42E0-4465-B296-199851FC6E31}" dt="2024-09-11T11:12:14.001" v="3782" actId="6264"/>
          <ac:spMkLst>
            <pc:docMk/>
            <pc:sldMk cId="2571051962" sldId="1242"/>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2571051962" sldId="1242"/>
            <ac:spMk id="3" creationId="{749757E9-5CD1-916B-4CB8-6B34D670DB55}"/>
          </ac:spMkLst>
        </pc:spChg>
        <pc:spChg chg="mod ord">
          <ac:chgData name="José Antonio Ureta Santacreu" userId="e36999d1-2b92-424a-9e8c-5fde0c5fbdd2" providerId="ADAL" clId="{B441C459-42E0-4465-B296-199851FC6E31}" dt="2024-09-11T11:12:14.001" v="3782" actId="6264"/>
          <ac:spMkLst>
            <pc:docMk/>
            <pc:sldMk cId="2571051962" sldId="1242"/>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2571051962" sldId="1242"/>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2571051962" sldId="1242"/>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2571051962" sldId="1242"/>
            <ac:spMk id="8" creationId="{70233B1A-12FC-A870-7C48-F3E55BEF4AFC}"/>
          </ac:spMkLst>
        </pc:spChg>
        <pc:spChg chg="add del mod">
          <ac:chgData name="José Antonio Ureta Santacreu" userId="e36999d1-2b92-424a-9e8c-5fde0c5fbdd2" providerId="ADAL" clId="{B441C459-42E0-4465-B296-199851FC6E31}" dt="2024-09-11T11:12:14.001" v="3782" actId="6264"/>
          <ac:spMkLst>
            <pc:docMk/>
            <pc:sldMk cId="2571051962" sldId="1242"/>
            <ac:spMk id="9" creationId="{19165665-C357-8DD9-2558-651F87FAF3B0}"/>
          </ac:spMkLst>
        </pc:spChg>
        <pc:spChg chg="add del mod">
          <ac:chgData name="José Antonio Ureta Santacreu" userId="e36999d1-2b92-424a-9e8c-5fde0c5fbdd2" providerId="ADAL" clId="{B441C459-42E0-4465-B296-199851FC6E31}" dt="2024-09-11T11:12:14.001" v="3782" actId="6264"/>
          <ac:spMkLst>
            <pc:docMk/>
            <pc:sldMk cId="2571051962" sldId="1242"/>
            <ac:spMk id="10" creationId="{60FE7E95-B10B-9B68-6512-DEBCBB3EF7C6}"/>
          </ac:spMkLst>
        </pc:spChg>
        <pc:spChg chg="add del mod">
          <ac:chgData name="José Antonio Ureta Santacreu" userId="e36999d1-2b92-424a-9e8c-5fde0c5fbdd2" providerId="ADAL" clId="{B441C459-42E0-4465-B296-199851FC6E31}" dt="2024-09-11T11:12:14.001" v="3782" actId="6264"/>
          <ac:spMkLst>
            <pc:docMk/>
            <pc:sldMk cId="2571051962" sldId="1242"/>
            <ac:spMk id="11" creationId="{ED667CEA-EE1E-371F-B51F-9CB706545FB5}"/>
          </ac:spMkLst>
        </pc:spChg>
        <pc:graphicFrameChg chg="mod ord">
          <ac:chgData name="José Antonio Ureta Santacreu" userId="e36999d1-2b92-424a-9e8c-5fde0c5fbdd2" providerId="ADAL" clId="{B441C459-42E0-4465-B296-199851FC6E31}" dt="2024-09-12T15:42:19.067" v="5144"/>
          <ac:graphicFrameMkLst>
            <pc:docMk/>
            <pc:sldMk cId="2571051962" sldId="1242"/>
            <ac:graphicFrameMk id="7" creationId="{69A3C6FB-1444-D938-0699-A6962F4F03E5}"/>
          </ac:graphicFrameMkLst>
        </pc:graphicFrameChg>
      </pc:sldChg>
      <pc:sldChg chg="addSp delSp modSp mod chgLayout">
        <pc:chgData name="José Antonio Ureta Santacreu" userId="e36999d1-2b92-424a-9e8c-5fde0c5fbdd2" providerId="ADAL" clId="{B441C459-42E0-4465-B296-199851FC6E31}" dt="2024-09-12T15:42:19.067" v="5144"/>
        <pc:sldMkLst>
          <pc:docMk/>
          <pc:sldMk cId="3583676995" sldId="1243"/>
        </pc:sldMkLst>
        <pc:spChg chg="mod ord">
          <ac:chgData name="José Antonio Ureta Santacreu" userId="e36999d1-2b92-424a-9e8c-5fde0c5fbdd2" providerId="ADAL" clId="{B441C459-42E0-4465-B296-199851FC6E31}" dt="2024-09-11T11:12:14.001" v="3782" actId="6264"/>
          <ac:spMkLst>
            <pc:docMk/>
            <pc:sldMk cId="3583676995" sldId="1243"/>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3583676995" sldId="1243"/>
            <ac:spMk id="3" creationId="{CB651857-2654-DC3A-4DB7-B86FB8A52CBD}"/>
          </ac:spMkLst>
        </pc:spChg>
        <pc:spChg chg="mod ord">
          <ac:chgData name="José Antonio Ureta Santacreu" userId="e36999d1-2b92-424a-9e8c-5fde0c5fbdd2" providerId="ADAL" clId="{B441C459-42E0-4465-B296-199851FC6E31}" dt="2024-09-11T11:12:14.001" v="3782" actId="6264"/>
          <ac:spMkLst>
            <pc:docMk/>
            <pc:sldMk cId="3583676995" sldId="1243"/>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3583676995" sldId="1243"/>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3583676995" sldId="1243"/>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3583676995" sldId="1243"/>
            <ac:spMk id="8" creationId="{7E5D0D52-0D2D-BA49-1874-A05EF047585A}"/>
          </ac:spMkLst>
        </pc:spChg>
        <pc:spChg chg="add del mod">
          <ac:chgData name="José Antonio Ureta Santacreu" userId="e36999d1-2b92-424a-9e8c-5fde0c5fbdd2" providerId="ADAL" clId="{B441C459-42E0-4465-B296-199851FC6E31}" dt="2024-09-11T11:12:14.001" v="3782" actId="6264"/>
          <ac:spMkLst>
            <pc:docMk/>
            <pc:sldMk cId="3583676995" sldId="1243"/>
            <ac:spMk id="9" creationId="{F69835A9-2A16-F254-CDDD-DB5FB9DF49B9}"/>
          </ac:spMkLst>
        </pc:spChg>
        <pc:spChg chg="add del mod">
          <ac:chgData name="José Antonio Ureta Santacreu" userId="e36999d1-2b92-424a-9e8c-5fde0c5fbdd2" providerId="ADAL" clId="{B441C459-42E0-4465-B296-199851FC6E31}" dt="2024-09-11T11:12:14.001" v="3782" actId="6264"/>
          <ac:spMkLst>
            <pc:docMk/>
            <pc:sldMk cId="3583676995" sldId="1243"/>
            <ac:spMk id="10" creationId="{1FEEF7A8-D50A-25F2-1C94-DF63F815DFDF}"/>
          </ac:spMkLst>
        </pc:spChg>
        <pc:spChg chg="add del mod">
          <ac:chgData name="José Antonio Ureta Santacreu" userId="e36999d1-2b92-424a-9e8c-5fde0c5fbdd2" providerId="ADAL" clId="{B441C459-42E0-4465-B296-199851FC6E31}" dt="2024-09-11T11:12:14.001" v="3782" actId="6264"/>
          <ac:spMkLst>
            <pc:docMk/>
            <pc:sldMk cId="3583676995" sldId="1243"/>
            <ac:spMk id="11" creationId="{F9CF4BB2-2F31-448B-70A5-2D7763E880F1}"/>
          </ac:spMkLst>
        </pc:spChg>
        <pc:graphicFrameChg chg="mod ord">
          <ac:chgData name="José Antonio Ureta Santacreu" userId="e36999d1-2b92-424a-9e8c-5fde0c5fbdd2" providerId="ADAL" clId="{B441C459-42E0-4465-B296-199851FC6E31}" dt="2024-09-12T15:42:19.067" v="5144"/>
          <ac:graphicFrameMkLst>
            <pc:docMk/>
            <pc:sldMk cId="3583676995" sldId="1243"/>
            <ac:graphicFrameMk id="7" creationId="{69A3C6FB-1444-D938-0699-A6962F4F03E5}"/>
          </ac:graphicFrameMkLst>
        </pc:graphicFrameChg>
      </pc:sldChg>
      <pc:sldChg chg="addSp delSp modSp mod chgLayout">
        <pc:chgData name="José Antonio Ureta Santacreu" userId="e36999d1-2b92-424a-9e8c-5fde0c5fbdd2" providerId="ADAL" clId="{B441C459-42E0-4465-B296-199851FC6E31}" dt="2024-09-12T15:42:19.067" v="5144"/>
        <pc:sldMkLst>
          <pc:docMk/>
          <pc:sldMk cId="583627075" sldId="1244"/>
        </pc:sldMkLst>
        <pc:spChg chg="mod ord">
          <ac:chgData name="José Antonio Ureta Santacreu" userId="e36999d1-2b92-424a-9e8c-5fde0c5fbdd2" providerId="ADAL" clId="{B441C459-42E0-4465-B296-199851FC6E31}" dt="2024-09-11T11:12:14.001" v="3782" actId="6264"/>
          <ac:spMkLst>
            <pc:docMk/>
            <pc:sldMk cId="583627075" sldId="1244"/>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583627075" sldId="1244"/>
            <ac:spMk id="3" creationId="{9DF52BB3-7E1E-664F-3637-2B8349C04CB6}"/>
          </ac:spMkLst>
        </pc:spChg>
        <pc:spChg chg="mod ord">
          <ac:chgData name="José Antonio Ureta Santacreu" userId="e36999d1-2b92-424a-9e8c-5fde0c5fbdd2" providerId="ADAL" clId="{B441C459-42E0-4465-B296-199851FC6E31}" dt="2024-09-11T11:12:14.001" v="3782" actId="6264"/>
          <ac:spMkLst>
            <pc:docMk/>
            <pc:sldMk cId="583627075" sldId="1244"/>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583627075" sldId="1244"/>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583627075" sldId="1244"/>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583627075" sldId="1244"/>
            <ac:spMk id="8" creationId="{EBD1C20A-FEFD-1E15-81F4-A9153AA33DCB}"/>
          </ac:spMkLst>
        </pc:spChg>
        <pc:spChg chg="add del mod">
          <ac:chgData name="José Antonio Ureta Santacreu" userId="e36999d1-2b92-424a-9e8c-5fde0c5fbdd2" providerId="ADAL" clId="{B441C459-42E0-4465-B296-199851FC6E31}" dt="2024-09-11T11:12:14.001" v="3782" actId="6264"/>
          <ac:spMkLst>
            <pc:docMk/>
            <pc:sldMk cId="583627075" sldId="1244"/>
            <ac:spMk id="9" creationId="{2C08D8B7-A3B6-F1EB-CDD5-660606AEBBFC}"/>
          </ac:spMkLst>
        </pc:spChg>
        <pc:spChg chg="add del mod">
          <ac:chgData name="José Antonio Ureta Santacreu" userId="e36999d1-2b92-424a-9e8c-5fde0c5fbdd2" providerId="ADAL" clId="{B441C459-42E0-4465-B296-199851FC6E31}" dt="2024-09-11T11:12:14.001" v="3782" actId="6264"/>
          <ac:spMkLst>
            <pc:docMk/>
            <pc:sldMk cId="583627075" sldId="1244"/>
            <ac:spMk id="10" creationId="{3FA57C06-8CFF-71FA-1AC8-A182A1F5DA9A}"/>
          </ac:spMkLst>
        </pc:spChg>
        <pc:spChg chg="add del mod">
          <ac:chgData name="José Antonio Ureta Santacreu" userId="e36999d1-2b92-424a-9e8c-5fde0c5fbdd2" providerId="ADAL" clId="{B441C459-42E0-4465-B296-199851FC6E31}" dt="2024-09-11T11:12:14.001" v="3782" actId="6264"/>
          <ac:spMkLst>
            <pc:docMk/>
            <pc:sldMk cId="583627075" sldId="1244"/>
            <ac:spMk id="11" creationId="{3CCDAC26-0935-BB39-CA4C-6A6936A9AA55}"/>
          </ac:spMkLst>
        </pc:spChg>
        <pc:graphicFrameChg chg="mod ord">
          <ac:chgData name="José Antonio Ureta Santacreu" userId="e36999d1-2b92-424a-9e8c-5fde0c5fbdd2" providerId="ADAL" clId="{B441C459-42E0-4465-B296-199851FC6E31}" dt="2024-09-12T15:42:19.067" v="5144"/>
          <ac:graphicFrameMkLst>
            <pc:docMk/>
            <pc:sldMk cId="583627075" sldId="1244"/>
            <ac:graphicFrameMk id="7" creationId="{69A3C6FB-1444-D938-0699-A6962F4F03E5}"/>
          </ac:graphicFrameMkLst>
        </pc:graphicFrameChg>
      </pc:sldChg>
      <pc:sldChg chg="addSp delSp modSp mod chgLayout">
        <pc:chgData name="José Antonio Ureta Santacreu" userId="e36999d1-2b92-424a-9e8c-5fde0c5fbdd2" providerId="ADAL" clId="{B441C459-42E0-4465-B296-199851FC6E31}" dt="2024-09-12T15:42:19.067" v="5144"/>
        <pc:sldMkLst>
          <pc:docMk/>
          <pc:sldMk cId="3940366452" sldId="1245"/>
        </pc:sldMkLst>
        <pc:spChg chg="mod ord">
          <ac:chgData name="José Antonio Ureta Santacreu" userId="e36999d1-2b92-424a-9e8c-5fde0c5fbdd2" providerId="ADAL" clId="{B441C459-42E0-4465-B296-199851FC6E31}" dt="2024-09-11T11:12:14.001" v="3782" actId="6264"/>
          <ac:spMkLst>
            <pc:docMk/>
            <pc:sldMk cId="3940366452" sldId="1245"/>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3940366452" sldId="1245"/>
            <ac:spMk id="3" creationId="{B0710259-EDD6-9667-8672-9CC1EAB4D754}"/>
          </ac:spMkLst>
        </pc:spChg>
        <pc:spChg chg="mod ord">
          <ac:chgData name="José Antonio Ureta Santacreu" userId="e36999d1-2b92-424a-9e8c-5fde0c5fbdd2" providerId="ADAL" clId="{B441C459-42E0-4465-B296-199851FC6E31}" dt="2024-09-11T11:12:14.001" v="3782" actId="6264"/>
          <ac:spMkLst>
            <pc:docMk/>
            <pc:sldMk cId="3940366452" sldId="1245"/>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3940366452" sldId="1245"/>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3940366452" sldId="1245"/>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3940366452" sldId="1245"/>
            <ac:spMk id="8" creationId="{DB654F2A-5934-EC75-32F4-1603D81EE34E}"/>
          </ac:spMkLst>
        </pc:spChg>
        <pc:spChg chg="add del mod">
          <ac:chgData name="José Antonio Ureta Santacreu" userId="e36999d1-2b92-424a-9e8c-5fde0c5fbdd2" providerId="ADAL" clId="{B441C459-42E0-4465-B296-199851FC6E31}" dt="2024-09-11T11:12:14.001" v="3782" actId="6264"/>
          <ac:spMkLst>
            <pc:docMk/>
            <pc:sldMk cId="3940366452" sldId="1245"/>
            <ac:spMk id="9" creationId="{3710B2F4-DCCF-319B-097D-2D9ECD3AF2EA}"/>
          </ac:spMkLst>
        </pc:spChg>
        <pc:spChg chg="add del mod">
          <ac:chgData name="José Antonio Ureta Santacreu" userId="e36999d1-2b92-424a-9e8c-5fde0c5fbdd2" providerId="ADAL" clId="{B441C459-42E0-4465-B296-199851FC6E31}" dt="2024-09-11T11:12:14.001" v="3782" actId="6264"/>
          <ac:spMkLst>
            <pc:docMk/>
            <pc:sldMk cId="3940366452" sldId="1245"/>
            <ac:spMk id="10" creationId="{020C85B4-97BC-3E93-EEA4-BBBB9D010252}"/>
          </ac:spMkLst>
        </pc:spChg>
        <pc:spChg chg="add del mod">
          <ac:chgData name="José Antonio Ureta Santacreu" userId="e36999d1-2b92-424a-9e8c-5fde0c5fbdd2" providerId="ADAL" clId="{B441C459-42E0-4465-B296-199851FC6E31}" dt="2024-09-11T11:12:14.001" v="3782" actId="6264"/>
          <ac:spMkLst>
            <pc:docMk/>
            <pc:sldMk cId="3940366452" sldId="1245"/>
            <ac:spMk id="11" creationId="{76B920BF-D3BC-C061-8469-65A8670F7C21}"/>
          </ac:spMkLst>
        </pc:spChg>
        <pc:graphicFrameChg chg="mod ord">
          <ac:chgData name="José Antonio Ureta Santacreu" userId="e36999d1-2b92-424a-9e8c-5fde0c5fbdd2" providerId="ADAL" clId="{B441C459-42E0-4465-B296-199851FC6E31}" dt="2024-09-12T15:42:19.067" v="5144"/>
          <ac:graphicFrameMkLst>
            <pc:docMk/>
            <pc:sldMk cId="3940366452" sldId="1245"/>
            <ac:graphicFrameMk id="7" creationId="{69A3C6FB-1444-D938-0699-A6962F4F03E5}"/>
          </ac:graphicFrameMkLst>
        </pc:graphicFrameChg>
      </pc:sldChg>
      <pc:sldChg chg="addSp delSp modSp mod chgLayout">
        <pc:chgData name="José Antonio Ureta Santacreu" userId="e36999d1-2b92-424a-9e8c-5fde0c5fbdd2" providerId="ADAL" clId="{B441C459-42E0-4465-B296-199851FC6E31}" dt="2024-09-12T15:42:19.067" v="5144"/>
        <pc:sldMkLst>
          <pc:docMk/>
          <pc:sldMk cId="2467571924" sldId="1246"/>
        </pc:sldMkLst>
        <pc:spChg chg="mod ord">
          <ac:chgData name="José Antonio Ureta Santacreu" userId="e36999d1-2b92-424a-9e8c-5fde0c5fbdd2" providerId="ADAL" clId="{B441C459-42E0-4465-B296-199851FC6E31}" dt="2024-09-11T11:12:14.001" v="3782" actId="6264"/>
          <ac:spMkLst>
            <pc:docMk/>
            <pc:sldMk cId="2467571924" sldId="1246"/>
            <ac:spMk id="2" creationId="{CB1DCD1F-E8BC-B991-A5DF-E26A98E2035F}"/>
          </ac:spMkLst>
        </pc:spChg>
        <pc:spChg chg="add del mod">
          <ac:chgData name="José Antonio Ureta Santacreu" userId="e36999d1-2b92-424a-9e8c-5fde0c5fbdd2" providerId="ADAL" clId="{B441C459-42E0-4465-B296-199851FC6E31}" dt="2024-09-11T11:12:14.001" v="3782" actId="6264"/>
          <ac:spMkLst>
            <pc:docMk/>
            <pc:sldMk cId="2467571924" sldId="1246"/>
            <ac:spMk id="3" creationId="{6337E358-E165-C003-4B25-0C443E724CB7}"/>
          </ac:spMkLst>
        </pc:spChg>
        <pc:spChg chg="mod ord">
          <ac:chgData name="José Antonio Ureta Santacreu" userId="e36999d1-2b92-424a-9e8c-5fde0c5fbdd2" providerId="ADAL" clId="{B441C459-42E0-4465-B296-199851FC6E31}" dt="2024-09-11T11:12:14.001" v="3782" actId="6264"/>
          <ac:spMkLst>
            <pc:docMk/>
            <pc:sldMk cId="2467571924" sldId="1246"/>
            <ac:spMk id="4" creationId="{3CE81854-054C-2039-1A9F-5D872183E60E}"/>
          </ac:spMkLst>
        </pc:spChg>
        <pc:spChg chg="mod ord">
          <ac:chgData name="José Antonio Ureta Santacreu" userId="e36999d1-2b92-424a-9e8c-5fde0c5fbdd2" providerId="ADAL" clId="{B441C459-42E0-4465-B296-199851FC6E31}" dt="2024-09-11T11:12:14.001" v="3782" actId="6264"/>
          <ac:spMkLst>
            <pc:docMk/>
            <pc:sldMk cId="2467571924" sldId="1246"/>
            <ac:spMk id="5" creationId="{4CC96DCD-A45F-3B46-8C5C-DDC66B008D76}"/>
          </ac:spMkLst>
        </pc:spChg>
        <pc:spChg chg="mod ord">
          <ac:chgData name="José Antonio Ureta Santacreu" userId="e36999d1-2b92-424a-9e8c-5fde0c5fbdd2" providerId="ADAL" clId="{B441C459-42E0-4465-B296-199851FC6E31}" dt="2024-09-11T11:12:14.001" v="3782" actId="6264"/>
          <ac:spMkLst>
            <pc:docMk/>
            <pc:sldMk cId="2467571924" sldId="1246"/>
            <ac:spMk id="6" creationId="{F74AA6C5-0EA6-37A6-D953-6979FB2E427F}"/>
          </ac:spMkLst>
        </pc:spChg>
        <pc:spChg chg="add del mod">
          <ac:chgData name="José Antonio Ureta Santacreu" userId="e36999d1-2b92-424a-9e8c-5fde0c5fbdd2" providerId="ADAL" clId="{B441C459-42E0-4465-B296-199851FC6E31}" dt="2024-09-11T11:12:14.001" v="3782" actId="6264"/>
          <ac:spMkLst>
            <pc:docMk/>
            <pc:sldMk cId="2467571924" sldId="1246"/>
            <ac:spMk id="8" creationId="{D61C9784-FC70-3FF4-76F5-664AD67D86E1}"/>
          </ac:spMkLst>
        </pc:spChg>
        <pc:spChg chg="add del mod">
          <ac:chgData name="José Antonio Ureta Santacreu" userId="e36999d1-2b92-424a-9e8c-5fde0c5fbdd2" providerId="ADAL" clId="{B441C459-42E0-4465-B296-199851FC6E31}" dt="2024-09-11T11:12:14.001" v="3782" actId="6264"/>
          <ac:spMkLst>
            <pc:docMk/>
            <pc:sldMk cId="2467571924" sldId="1246"/>
            <ac:spMk id="9" creationId="{AC486865-E58B-C382-8EE5-347512CE68E3}"/>
          </ac:spMkLst>
        </pc:spChg>
        <pc:spChg chg="add del mod">
          <ac:chgData name="José Antonio Ureta Santacreu" userId="e36999d1-2b92-424a-9e8c-5fde0c5fbdd2" providerId="ADAL" clId="{B441C459-42E0-4465-B296-199851FC6E31}" dt="2024-09-11T11:12:14.001" v="3782" actId="6264"/>
          <ac:spMkLst>
            <pc:docMk/>
            <pc:sldMk cId="2467571924" sldId="1246"/>
            <ac:spMk id="10" creationId="{1DDD0E9F-C006-CC6B-086E-5679FBE13DA9}"/>
          </ac:spMkLst>
        </pc:spChg>
        <pc:spChg chg="add del mod">
          <ac:chgData name="José Antonio Ureta Santacreu" userId="e36999d1-2b92-424a-9e8c-5fde0c5fbdd2" providerId="ADAL" clId="{B441C459-42E0-4465-B296-199851FC6E31}" dt="2024-09-11T11:12:14.001" v="3782" actId="6264"/>
          <ac:spMkLst>
            <pc:docMk/>
            <pc:sldMk cId="2467571924" sldId="1246"/>
            <ac:spMk id="11" creationId="{C490D6A5-DDC6-AB95-4F1F-8B8E779E7772}"/>
          </ac:spMkLst>
        </pc:spChg>
        <pc:graphicFrameChg chg="mod ord">
          <ac:chgData name="José Antonio Ureta Santacreu" userId="e36999d1-2b92-424a-9e8c-5fde0c5fbdd2" providerId="ADAL" clId="{B441C459-42E0-4465-B296-199851FC6E31}" dt="2024-09-12T15:42:19.067" v="5144"/>
          <ac:graphicFrameMkLst>
            <pc:docMk/>
            <pc:sldMk cId="2467571924" sldId="1246"/>
            <ac:graphicFrameMk id="7" creationId="{69A3C6FB-1444-D938-0699-A6962F4F03E5}"/>
          </ac:graphicFrameMkLst>
        </pc:graphicFrameChg>
      </pc:sldChg>
      <pc:sldChg chg="addSp delSp modSp new del mod">
        <pc:chgData name="José Antonio Ureta Santacreu" userId="e36999d1-2b92-424a-9e8c-5fde0c5fbdd2" providerId="ADAL" clId="{B441C459-42E0-4465-B296-199851FC6E31}" dt="2024-07-23T10:39:24.780" v="195" actId="2696"/>
        <pc:sldMkLst>
          <pc:docMk/>
          <pc:sldMk cId="1649042252" sldId="1247"/>
        </pc:sldMkLst>
        <pc:spChg chg="del mod">
          <ac:chgData name="José Antonio Ureta Santacreu" userId="e36999d1-2b92-424a-9e8c-5fde0c5fbdd2" providerId="ADAL" clId="{B441C459-42E0-4465-B296-199851FC6E31}" dt="2024-07-23T10:36:34.222" v="72" actId="478"/>
          <ac:spMkLst>
            <pc:docMk/>
            <pc:sldMk cId="1649042252" sldId="1247"/>
            <ac:spMk id="2" creationId="{03AE6E64-2575-9617-379A-B735D021724E}"/>
          </ac:spMkLst>
        </pc:spChg>
        <pc:spChg chg="add del">
          <ac:chgData name="José Antonio Ureta Santacreu" userId="e36999d1-2b92-424a-9e8c-5fde0c5fbdd2" providerId="ADAL" clId="{B441C459-42E0-4465-B296-199851FC6E31}" dt="2024-07-23T10:36:34.222" v="72" actId="478"/>
          <ac:spMkLst>
            <pc:docMk/>
            <pc:sldMk cId="1649042252" sldId="1247"/>
            <ac:spMk id="6" creationId="{248817AB-E0B6-7596-5C67-20AA72DDB208}"/>
          </ac:spMkLst>
        </pc:spChg>
        <pc:spChg chg="add mod">
          <ac:chgData name="José Antonio Ureta Santacreu" userId="e36999d1-2b92-424a-9e8c-5fde0c5fbdd2" providerId="ADAL" clId="{B441C459-42E0-4465-B296-199851FC6E31}" dt="2024-07-23T10:38:04.178" v="193" actId="20577"/>
          <ac:spMkLst>
            <pc:docMk/>
            <pc:sldMk cId="1649042252" sldId="1247"/>
            <ac:spMk id="7" creationId="{FE87C583-79F8-8D16-A6F6-8A57A91C5984}"/>
          </ac:spMkLst>
        </pc:spChg>
        <pc:picChg chg="add mod">
          <ac:chgData name="José Antonio Ureta Santacreu" userId="e36999d1-2b92-424a-9e8c-5fde0c5fbdd2" providerId="ADAL" clId="{B441C459-42E0-4465-B296-199851FC6E31}" dt="2024-07-23T10:38:13.700" v="194" actId="14100"/>
          <ac:picMkLst>
            <pc:docMk/>
            <pc:sldMk cId="1649042252" sldId="1247"/>
            <ac:picMk id="1028" creationId="{2DD6E617-8E73-77EC-615E-5D772AAAD6A3}"/>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4138801776" sldId="1247"/>
        </pc:sldMkLst>
        <pc:spChg chg="add del mod">
          <ac:chgData name="José Antonio Ureta Santacreu" userId="e36999d1-2b92-424a-9e8c-5fde0c5fbdd2" providerId="ADAL" clId="{B441C459-42E0-4465-B296-199851FC6E31}" dt="2024-09-11T11:12:14.001" v="3782" actId="6264"/>
          <ac:spMkLst>
            <pc:docMk/>
            <pc:sldMk cId="4138801776" sldId="1247"/>
            <ac:spMk id="2" creationId="{A04831F3-EA62-82A7-E911-62501AA8271E}"/>
          </ac:spMkLst>
        </pc:spChg>
        <pc:spChg chg="mod ord">
          <ac:chgData name="José Antonio Ureta Santacreu" userId="e36999d1-2b92-424a-9e8c-5fde0c5fbdd2" providerId="ADAL" clId="{B441C459-42E0-4465-B296-199851FC6E31}" dt="2024-09-11T11:12:14.001" v="3782" actId="6264"/>
          <ac:spMkLst>
            <pc:docMk/>
            <pc:sldMk cId="4138801776" sldId="1247"/>
            <ac:spMk id="3" creationId="{44540C46-86BE-8FFD-FE2A-A2300BB698BE}"/>
          </ac:spMkLst>
        </pc:spChg>
        <pc:spChg chg="mod ord">
          <ac:chgData name="José Antonio Ureta Santacreu" userId="e36999d1-2b92-424a-9e8c-5fde0c5fbdd2" providerId="ADAL" clId="{B441C459-42E0-4465-B296-199851FC6E31}" dt="2024-09-11T11:12:14.001" v="3782" actId="6264"/>
          <ac:spMkLst>
            <pc:docMk/>
            <pc:sldMk cId="4138801776" sldId="1247"/>
            <ac:spMk id="4" creationId="{8785D7CB-484F-BF52-AC66-5534A2E9167B}"/>
          </ac:spMkLst>
        </pc:spChg>
        <pc:spChg chg="mod ord">
          <ac:chgData name="José Antonio Ureta Santacreu" userId="e36999d1-2b92-424a-9e8c-5fde0c5fbdd2" providerId="ADAL" clId="{B441C459-42E0-4465-B296-199851FC6E31}" dt="2024-09-11T11:12:14.001" v="3782" actId="6264"/>
          <ac:spMkLst>
            <pc:docMk/>
            <pc:sldMk cId="4138801776" sldId="1247"/>
            <ac:spMk id="5" creationId="{4EF856F7-3452-1134-2609-9B658114832D}"/>
          </ac:spMkLst>
        </pc:spChg>
        <pc:spChg chg="add del mod">
          <ac:chgData name="José Antonio Ureta Santacreu" userId="e36999d1-2b92-424a-9e8c-5fde0c5fbdd2" providerId="ADAL" clId="{B441C459-42E0-4465-B296-199851FC6E31}" dt="2024-09-11T11:12:14.001" v="3782" actId="6264"/>
          <ac:spMkLst>
            <pc:docMk/>
            <pc:sldMk cId="4138801776" sldId="1247"/>
            <ac:spMk id="6" creationId="{DE382AC3-F6FD-8882-021E-FC7F0DE53170}"/>
          </ac:spMkLst>
        </pc:spChg>
        <pc:spChg chg="mod ord">
          <ac:chgData name="José Antonio Ureta Santacreu" userId="e36999d1-2b92-424a-9e8c-5fde0c5fbdd2" providerId="ADAL" clId="{B441C459-42E0-4465-B296-199851FC6E31}" dt="2024-09-11T11:12:14.001" v="3782" actId="6264"/>
          <ac:spMkLst>
            <pc:docMk/>
            <pc:sldMk cId="4138801776" sldId="1247"/>
            <ac:spMk id="7" creationId="{FE87C583-79F8-8D16-A6F6-8A57A91C5984}"/>
          </ac:spMkLst>
        </pc:spChg>
        <pc:spChg chg="add del mod">
          <ac:chgData name="José Antonio Ureta Santacreu" userId="e36999d1-2b92-424a-9e8c-5fde0c5fbdd2" providerId="ADAL" clId="{B441C459-42E0-4465-B296-199851FC6E31}" dt="2024-09-11T11:12:14.001" v="3782" actId="6264"/>
          <ac:spMkLst>
            <pc:docMk/>
            <pc:sldMk cId="4138801776" sldId="1247"/>
            <ac:spMk id="8" creationId="{21733C6A-B009-51EB-6861-A7ADB77FC3FF}"/>
          </ac:spMkLst>
        </pc:spChg>
        <pc:spChg chg="add del mod">
          <ac:chgData name="José Antonio Ureta Santacreu" userId="e36999d1-2b92-424a-9e8c-5fde0c5fbdd2" providerId="ADAL" clId="{B441C459-42E0-4465-B296-199851FC6E31}" dt="2024-09-11T11:12:14.001" v="3782" actId="6264"/>
          <ac:spMkLst>
            <pc:docMk/>
            <pc:sldMk cId="4138801776" sldId="1247"/>
            <ac:spMk id="9" creationId="{EE0A7519-50C1-2B59-71CB-B7711B19806F}"/>
          </ac:spMkLst>
        </pc:spChg>
      </pc:sldChg>
      <pc:sldChg chg="addSp delSp modSp mod chgLayout">
        <pc:chgData name="José Antonio Ureta Santacreu" userId="e36999d1-2b92-424a-9e8c-5fde0c5fbdd2" providerId="ADAL" clId="{B441C459-42E0-4465-B296-199851FC6E31}" dt="2024-09-12T11:03:25.296" v="4233" actId="20577"/>
        <pc:sldMkLst>
          <pc:docMk/>
          <pc:sldMk cId="3049210512" sldId="1248"/>
        </pc:sldMkLst>
        <pc:spChg chg="mod ord">
          <ac:chgData name="José Antonio Ureta Santacreu" userId="e36999d1-2b92-424a-9e8c-5fde0c5fbdd2" providerId="ADAL" clId="{B441C459-42E0-4465-B296-199851FC6E31}" dt="2024-09-12T11:03:25.296" v="4233" actId="20577"/>
          <ac:spMkLst>
            <pc:docMk/>
            <pc:sldMk cId="3049210512" sldId="1248"/>
            <ac:spMk id="2" creationId="{4F570026-53BF-8CCB-6D08-DD282616D4C8}"/>
          </ac:spMkLst>
        </pc:spChg>
        <pc:spChg chg="add del mod">
          <ac:chgData name="José Antonio Ureta Santacreu" userId="e36999d1-2b92-424a-9e8c-5fde0c5fbdd2" providerId="ADAL" clId="{B441C459-42E0-4465-B296-199851FC6E31}" dt="2024-09-11T11:12:14.001" v="3782" actId="6264"/>
          <ac:spMkLst>
            <pc:docMk/>
            <pc:sldMk cId="3049210512" sldId="1248"/>
            <ac:spMk id="3" creationId="{46C6A14F-8FCF-2E46-26DD-12B48ACE37AC}"/>
          </ac:spMkLst>
        </pc:spChg>
        <pc:spChg chg="mod ord">
          <ac:chgData name="José Antonio Ureta Santacreu" userId="e36999d1-2b92-424a-9e8c-5fde0c5fbdd2" providerId="ADAL" clId="{B441C459-42E0-4465-B296-199851FC6E31}" dt="2024-09-11T11:12:14.001" v="3782" actId="6264"/>
          <ac:spMkLst>
            <pc:docMk/>
            <pc:sldMk cId="3049210512" sldId="1248"/>
            <ac:spMk id="4" creationId="{914BBEFF-1AE2-0E88-97D6-1B639304FE25}"/>
          </ac:spMkLst>
        </pc:spChg>
        <pc:spChg chg="mod ord">
          <ac:chgData name="José Antonio Ureta Santacreu" userId="e36999d1-2b92-424a-9e8c-5fde0c5fbdd2" providerId="ADAL" clId="{B441C459-42E0-4465-B296-199851FC6E31}" dt="2024-09-11T11:12:14.001" v="3782" actId="6264"/>
          <ac:spMkLst>
            <pc:docMk/>
            <pc:sldMk cId="3049210512" sldId="1248"/>
            <ac:spMk id="5" creationId="{329FE833-702F-472D-AB78-0C85A1FB499D}"/>
          </ac:spMkLst>
        </pc:spChg>
        <pc:spChg chg="mod ord">
          <ac:chgData name="José Antonio Ureta Santacreu" userId="e36999d1-2b92-424a-9e8c-5fde0c5fbdd2" providerId="ADAL" clId="{B441C459-42E0-4465-B296-199851FC6E31}" dt="2024-09-11T11:12:14.001" v="3782" actId="6264"/>
          <ac:spMkLst>
            <pc:docMk/>
            <pc:sldMk cId="3049210512" sldId="1248"/>
            <ac:spMk id="6" creationId="{CFF4CABC-224D-82AD-CDED-95E5DA38FA94}"/>
          </ac:spMkLst>
        </pc:spChg>
        <pc:spChg chg="mod">
          <ac:chgData name="José Antonio Ureta Santacreu" userId="e36999d1-2b92-424a-9e8c-5fde0c5fbdd2" providerId="ADAL" clId="{B441C459-42E0-4465-B296-199851FC6E31}" dt="2024-09-12T11:02:36.050" v="4202" actId="14100"/>
          <ac:spMkLst>
            <pc:docMk/>
            <pc:sldMk cId="3049210512" sldId="1248"/>
            <ac:spMk id="8" creationId="{4CD73FB9-7936-4FF9-BE89-0F5416F20F82}"/>
          </ac:spMkLst>
        </pc:spChg>
        <pc:spChg chg="add del mod">
          <ac:chgData name="José Antonio Ureta Santacreu" userId="e36999d1-2b92-424a-9e8c-5fde0c5fbdd2" providerId="ADAL" clId="{B441C459-42E0-4465-B296-199851FC6E31}" dt="2024-09-11T11:12:14.001" v="3782" actId="6264"/>
          <ac:spMkLst>
            <pc:docMk/>
            <pc:sldMk cId="3049210512" sldId="1248"/>
            <ac:spMk id="10" creationId="{1504C5B1-AF66-DB10-2584-157D041D80C7}"/>
          </ac:spMkLst>
        </pc:spChg>
        <pc:spChg chg="add del mod">
          <ac:chgData name="José Antonio Ureta Santacreu" userId="e36999d1-2b92-424a-9e8c-5fde0c5fbdd2" providerId="ADAL" clId="{B441C459-42E0-4465-B296-199851FC6E31}" dt="2024-09-11T11:12:14.001" v="3782" actId="6264"/>
          <ac:spMkLst>
            <pc:docMk/>
            <pc:sldMk cId="3049210512" sldId="1248"/>
            <ac:spMk id="11" creationId="{92127308-1512-334D-77AE-842A68304AE6}"/>
          </ac:spMkLst>
        </pc:spChg>
        <pc:spChg chg="add del mod">
          <ac:chgData name="José Antonio Ureta Santacreu" userId="e36999d1-2b92-424a-9e8c-5fde0c5fbdd2" providerId="ADAL" clId="{B441C459-42E0-4465-B296-199851FC6E31}" dt="2024-09-11T11:12:14.001" v="3782" actId="6264"/>
          <ac:spMkLst>
            <pc:docMk/>
            <pc:sldMk cId="3049210512" sldId="1248"/>
            <ac:spMk id="12" creationId="{632EFCE2-F7C8-3D0B-2EA1-4B674A29B096}"/>
          </ac:spMkLst>
        </pc:spChg>
        <pc:spChg chg="add del mod">
          <ac:chgData name="José Antonio Ureta Santacreu" userId="e36999d1-2b92-424a-9e8c-5fde0c5fbdd2" providerId="ADAL" clId="{B441C459-42E0-4465-B296-199851FC6E31}" dt="2024-09-11T11:12:14.001" v="3782" actId="6264"/>
          <ac:spMkLst>
            <pc:docMk/>
            <pc:sldMk cId="3049210512" sldId="1248"/>
            <ac:spMk id="13" creationId="{BFC10412-B2F9-FF5A-8FC9-9991A7776B35}"/>
          </ac:spMkLst>
        </pc:spChg>
        <pc:graphicFrameChg chg="mod ord modGraphic">
          <ac:chgData name="José Antonio Ureta Santacreu" userId="e36999d1-2b92-424a-9e8c-5fde0c5fbdd2" providerId="ADAL" clId="{B441C459-42E0-4465-B296-199851FC6E31}" dt="2024-09-12T11:02:23.177" v="4201" actId="1076"/>
          <ac:graphicFrameMkLst>
            <pc:docMk/>
            <pc:sldMk cId="3049210512" sldId="1248"/>
            <ac:graphicFrameMk id="7" creationId="{9AD6C044-80A1-2910-4D32-4EBE8A32A4CE}"/>
          </ac:graphicFrameMkLst>
        </pc:graphicFrameChg>
      </pc:sldChg>
      <pc:sldChg chg="addSp delSp modSp mod chgLayout">
        <pc:chgData name="José Antonio Ureta Santacreu" userId="e36999d1-2b92-424a-9e8c-5fde0c5fbdd2" providerId="ADAL" clId="{B441C459-42E0-4465-B296-199851FC6E31}" dt="2024-09-12T11:18:37.946" v="4453" actId="1035"/>
        <pc:sldMkLst>
          <pc:docMk/>
          <pc:sldMk cId="3244894460" sldId="1249"/>
        </pc:sldMkLst>
        <pc:spChg chg="mod ord">
          <ac:chgData name="José Antonio Ureta Santacreu" userId="e36999d1-2b92-424a-9e8c-5fde0c5fbdd2" providerId="ADAL" clId="{B441C459-42E0-4465-B296-199851FC6E31}" dt="2024-09-11T11:12:14.001" v="3782" actId="6264"/>
          <ac:spMkLst>
            <pc:docMk/>
            <pc:sldMk cId="3244894460" sldId="1249"/>
            <ac:spMk id="2" creationId="{EF36111E-5588-4508-660C-AE106233FECC}"/>
          </ac:spMkLst>
        </pc:spChg>
        <pc:spChg chg="mod ord">
          <ac:chgData name="José Antonio Ureta Santacreu" userId="e36999d1-2b92-424a-9e8c-5fde0c5fbdd2" providerId="ADAL" clId="{B441C459-42E0-4465-B296-199851FC6E31}" dt="2024-09-11T11:12:14.001" v="3782" actId="6264"/>
          <ac:spMkLst>
            <pc:docMk/>
            <pc:sldMk cId="3244894460" sldId="1249"/>
            <ac:spMk id="3" creationId="{90743261-81A9-FE74-C5B0-F21B13569EE8}"/>
          </ac:spMkLst>
        </pc:spChg>
        <pc:spChg chg="mod ord">
          <ac:chgData name="José Antonio Ureta Santacreu" userId="e36999d1-2b92-424a-9e8c-5fde0c5fbdd2" providerId="ADAL" clId="{B441C459-42E0-4465-B296-199851FC6E31}" dt="2024-09-11T11:12:14.001" v="3782" actId="6264"/>
          <ac:spMkLst>
            <pc:docMk/>
            <pc:sldMk cId="3244894460" sldId="1249"/>
            <ac:spMk id="4" creationId="{77E382EB-CA6C-926A-85C2-E2D297E2418C}"/>
          </ac:spMkLst>
        </pc:spChg>
        <pc:spChg chg="mod ord">
          <ac:chgData name="José Antonio Ureta Santacreu" userId="e36999d1-2b92-424a-9e8c-5fde0c5fbdd2" providerId="ADAL" clId="{B441C459-42E0-4465-B296-199851FC6E31}" dt="2024-09-11T11:12:14.001" v="3782" actId="6264"/>
          <ac:spMkLst>
            <pc:docMk/>
            <pc:sldMk cId="3244894460" sldId="1249"/>
            <ac:spMk id="5" creationId="{9008053B-1025-A0BF-1E89-B03C6F270935}"/>
          </ac:spMkLst>
        </pc:spChg>
        <pc:spChg chg="add del mod">
          <ac:chgData name="José Antonio Ureta Santacreu" userId="e36999d1-2b92-424a-9e8c-5fde0c5fbdd2" providerId="ADAL" clId="{B441C459-42E0-4465-B296-199851FC6E31}" dt="2024-09-11T11:12:14.001" v="3782" actId="6264"/>
          <ac:spMkLst>
            <pc:docMk/>
            <pc:sldMk cId="3244894460" sldId="1249"/>
            <ac:spMk id="6" creationId="{41AD317B-E175-0C37-60AB-06F6F6F0A01C}"/>
          </ac:spMkLst>
        </pc:spChg>
        <pc:spChg chg="add del mod">
          <ac:chgData name="José Antonio Ureta Santacreu" userId="e36999d1-2b92-424a-9e8c-5fde0c5fbdd2" providerId="ADAL" clId="{B441C459-42E0-4465-B296-199851FC6E31}" dt="2024-09-11T11:12:14.001" v="3782" actId="6264"/>
          <ac:spMkLst>
            <pc:docMk/>
            <pc:sldMk cId="3244894460" sldId="1249"/>
            <ac:spMk id="7" creationId="{6918F8F0-1AA8-0553-E0A0-EB8E257A1205}"/>
          </ac:spMkLst>
        </pc:spChg>
        <pc:spChg chg="add del mod">
          <ac:chgData name="José Antonio Ureta Santacreu" userId="e36999d1-2b92-424a-9e8c-5fde0c5fbdd2" providerId="ADAL" clId="{B441C459-42E0-4465-B296-199851FC6E31}" dt="2024-09-11T11:12:14.001" v="3782" actId="6264"/>
          <ac:spMkLst>
            <pc:docMk/>
            <pc:sldMk cId="3244894460" sldId="1249"/>
            <ac:spMk id="8" creationId="{37B21AE1-2F32-FDF7-98D3-C0A628814E3B}"/>
          </ac:spMkLst>
        </pc:spChg>
        <pc:spChg chg="add del mod">
          <ac:chgData name="José Antonio Ureta Santacreu" userId="e36999d1-2b92-424a-9e8c-5fde0c5fbdd2" providerId="ADAL" clId="{B441C459-42E0-4465-B296-199851FC6E31}" dt="2024-09-11T11:12:14.001" v="3782" actId="6264"/>
          <ac:spMkLst>
            <pc:docMk/>
            <pc:sldMk cId="3244894460" sldId="1249"/>
            <ac:spMk id="10" creationId="{3DE2D2A5-7BA9-9EFB-4AE6-C2F52F6A5652}"/>
          </ac:spMkLst>
        </pc:spChg>
        <pc:spChg chg="mod">
          <ac:chgData name="José Antonio Ureta Santacreu" userId="e36999d1-2b92-424a-9e8c-5fde0c5fbdd2" providerId="ADAL" clId="{B441C459-42E0-4465-B296-199851FC6E31}" dt="2024-09-12T11:18:37.946" v="4453" actId="1035"/>
          <ac:spMkLst>
            <pc:docMk/>
            <pc:sldMk cId="3244894460" sldId="1249"/>
            <ac:spMk id="20" creationId="{57DBD6AF-BF92-7425-2ADD-71A8C7CF4A9F}"/>
          </ac:spMkLst>
        </pc:spChg>
      </pc:sldChg>
      <pc:sldChg chg="addSp delSp modSp mod chgLayout">
        <pc:chgData name="José Antonio Ureta Santacreu" userId="e36999d1-2b92-424a-9e8c-5fde0c5fbdd2" providerId="ADAL" clId="{B441C459-42E0-4465-B296-199851FC6E31}" dt="2024-09-12T11:20:42.193" v="4469" actId="404"/>
        <pc:sldMkLst>
          <pc:docMk/>
          <pc:sldMk cId="1618145011" sldId="1250"/>
        </pc:sldMkLst>
        <pc:spChg chg="mod ord">
          <ac:chgData name="José Antonio Ureta Santacreu" userId="e36999d1-2b92-424a-9e8c-5fde0c5fbdd2" providerId="ADAL" clId="{B441C459-42E0-4465-B296-199851FC6E31}" dt="2024-09-11T11:12:14.001" v="3782" actId="6264"/>
          <ac:spMkLst>
            <pc:docMk/>
            <pc:sldMk cId="1618145011" sldId="1250"/>
            <ac:spMk id="2" creationId="{CFFD1932-2707-C392-7B94-17161A635E54}"/>
          </ac:spMkLst>
        </pc:spChg>
        <pc:spChg chg="add del mod">
          <ac:chgData name="José Antonio Ureta Santacreu" userId="e36999d1-2b92-424a-9e8c-5fde0c5fbdd2" providerId="ADAL" clId="{B441C459-42E0-4465-B296-199851FC6E31}" dt="2024-09-11T11:12:14.001" v="3782" actId="6264"/>
          <ac:spMkLst>
            <pc:docMk/>
            <pc:sldMk cId="1618145011" sldId="1250"/>
            <ac:spMk id="3" creationId="{076CCBE5-6CB8-EB62-FBEA-CAFFEFFD16E8}"/>
          </ac:spMkLst>
        </pc:spChg>
        <pc:spChg chg="del mod">
          <ac:chgData name="José Antonio Ureta Santacreu" userId="e36999d1-2b92-424a-9e8c-5fde0c5fbdd2" providerId="ADAL" clId="{B441C459-42E0-4465-B296-199851FC6E31}" dt="2024-07-31T09:28:30.725" v="277" actId="1032"/>
          <ac:spMkLst>
            <pc:docMk/>
            <pc:sldMk cId="1618145011" sldId="1250"/>
            <ac:spMk id="3" creationId="{38611F3C-963B-969B-AF6F-2D39A51C56E3}"/>
          </ac:spMkLst>
        </pc:spChg>
        <pc:spChg chg="mod ord">
          <ac:chgData name="José Antonio Ureta Santacreu" userId="e36999d1-2b92-424a-9e8c-5fde0c5fbdd2" providerId="ADAL" clId="{B441C459-42E0-4465-B296-199851FC6E31}" dt="2024-09-11T11:12:14.001" v="3782" actId="6264"/>
          <ac:spMkLst>
            <pc:docMk/>
            <pc:sldMk cId="1618145011" sldId="1250"/>
            <ac:spMk id="4" creationId="{BB1CC103-B793-9B2B-C59C-E4097F9A8CE4}"/>
          </ac:spMkLst>
        </pc:spChg>
        <pc:spChg chg="mod ord">
          <ac:chgData name="José Antonio Ureta Santacreu" userId="e36999d1-2b92-424a-9e8c-5fde0c5fbdd2" providerId="ADAL" clId="{B441C459-42E0-4465-B296-199851FC6E31}" dt="2024-09-11T11:12:14.001" v="3782" actId="6264"/>
          <ac:spMkLst>
            <pc:docMk/>
            <pc:sldMk cId="1618145011" sldId="1250"/>
            <ac:spMk id="5" creationId="{176133E1-1E34-2BB6-283C-5091FA26B015}"/>
          </ac:spMkLst>
        </pc:spChg>
        <pc:spChg chg="mod ord">
          <ac:chgData name="José Antonio Ureta Santacreu" userId="e36999d1-2b92-424a-9e8c-5fde0c5fbdd2" providerId="ADAL" clId="{B441C459-42E0-4465-B296-199851FC6E31}" dt="2024-09-11T11:12:14.001" v="3782" actId="6264"/>
          <ac:spMkLst>
            <pc:docMk/>
            <pc:sldMk cId="1618145011" sldId="1250"/>
            <ac:spMk id="6" creationId="{5B426B5E-9D2D-6A2D-090E-052F088275D0}"/>
          </ac:spMkLst>
        </pc:spChg>
        <pc:spChg chg="add del mod">
          <ac:chgData name="José Antonio Ureta Santacreu" userId="e36999d1-2b92-424a-9e8c-5fde0c5fbdd2" providerId="ADAL" clId="{B441C459-42E0-4465-B296-199851FC6E31}" dt="2024-09-11T11:12:14.001" v="3782" actId="6264"/>
          <ac:spMkLst>
            <pc:docMk/>
            <pc:sldMk cId="1618145011" sldId="1250"/>
            <ac:spMk id="10" creationId="{8330A2F5-9BA4-A45A-3DD6-CBA4A4D125ED}"/>
          </ac:spMkLst>
        </pc:spChg>
        <pc:spChg chg="add del mod">
          <ac:chgData name="José Antonio Ureta Santacreu" userId="e36999d1-2b92-424a-9e8c-5fde0c5fbdd2" providerId="ADAL" clId="{B441C459-42E0-4465-B296-199851FC6E31}" dt="2024-09-11T11:12:14.001" v="3782" actId="6264"/>
          <ac:spMkLst>
            <pc:docMk/>
            <pc:sldMk cId="1618145011" sldId="1250"/>
            <ac:spMk id="11" creationId="{28C37705-FD03-0567-26E2-9201918F8A9A}"/>
          </ac:spMkLst>
        </pc:spChg>
        <pc:spChg chg="add del mod">
          <ac:chgData name="José Antonio Ureta Santacreu" userId="e36999d1-2b92-424a-9e8c-5fde0c5fbdd2" providerId="ADAL" clId="{B441C459-42E0-4465-B296-199851FC6E31}" dt="2024-09-11T11:12:14.001" v="3782" actId="6264"/>
          <ac:spMkLst>
            <pc:docMk/>
            <pc:sldMk cId="1618145011" sldId="1250"/>
            <ac:spMk id="12" creationId="{ED39A3AD-D0F6-F59B-9B46-B3963E79BCFA}"/>
          </ac:spMkLst>
        </pc:spChg>
        <pc:spChg chg="add del mod">
          <ac:chgData name="José Antonio Ureta Santacreu" userId="e36999d1-2b92-424a-9e8c-5fde0c5fbdd2" providerId="ADAL" clId="{B441C459-42E0-4465-B296-199851FC6E31}" dt="2024-09-11T11:12:14.001" v="3782" actId="6264"/>
          <ac:spMkLst>
            <pc:docMk/>
            <pc:sldMk cId="1618145011" sldId="1250"/>
            <ac:spMk id="13" creationId="{D03949D1-C5C1-7D83-0F4B-F35A43DECDC0}"/>
          </ac:spMkLst>
        </pc:spChg>
        <pc:graphicFrameChg chg="add mod ord modGraphic">
          <ac:chgData name="José Antonio Ureta Santacreu" userId="e36999d1-2b92-424a-9e8c-5fde0c5fbdd2" providerId="ADAL" clId="{B441C459-42E0-4465-B296-199851FC6E31}" dt="2024-09-12T11:20:42.193" v="4469" actId="404"/>
          <ac:graphicFrameMkLst>
            <pc:docMk/>
            <pc:sldMk cId="1618145011" sldId="1250"/>
            <ac:graphicFrameMk id="7" creationId="{3821230A-B220-52CE-81ED-22839999A184}"/>
          </ac:graphicFrameMkLst>
        </pc:graphicFrameChg>
        <pc:picChg chg="add mod">
          <ac:chgData name="José Antonio Ureta Santacreu" userId="e36999d1-2b92-424a-9e8c-5fde0c5fbdd2" providerId="ADAL" clId="{B441C459-42E0-4465-B296-199851FC6E31}" dt="2024-09-12T11:20:25.261" v="4468" actId="14100"/>
          <ac:picMkLst>
            <pc:docMk/>
            <pc:sldMk cId="1618145011" sldId="1250"/>
            <ac:picMk id="8" creationId="{491E38A0-FFFD-0105-335F-1CB6F13017ED}"/>
          </ac:picMkLst>
        </pc:picChg>
        <pc:picChg chg="add mod">
          <ac:chgData name="José Antonio Ureta Santacreu" userId="e36999d1-2b92-424a-9e8c-5fde0c5fbdd2" providerId="ADAL" clId="{B441C459-42E0-4465-B296-199851FC6E31}" dt="2024-09-02T11:22:57.710" v="2756" actId="1036"/>
          <ac:picMkLst>
            <pc:docMk/>
            <pc:sldMk cId="1618145011" sldId="1250"/>
            <ac:picMk id="9" creationId="{CD998388-5269-8DDF-555C-463463B62F76}"/>
          </ac:picMkLst>
        </pc:picChg>
      </pc:sldChg>
      <pc:sldChg chg="addSp delSp modSp mod chgLayout">
        <pc:chgData name="José Antonio Ureta Santacreu" userId="e36999d1-2b92-424a-9e8c-5fde0c5fbdd2" providerId="ADAL" clId="{B441C459-42E0-4465-B296-199851FC6E31}" dt="2024-09-11T11:12:14.001" v="3782" actId="6264"/>
        <pc:sldMkLst>
          <pc:docMk/>
          <pc:sldMk cId="467566133" sldId="1251"/>
        </pc:sldMkLst>
        <pc:spChg chg="mod ord">
          <ac:chgData name="José Antonio Ureta Santacreu" userId="e36999d1-2b92-424a-9e8c-5fde0c5fbdd2" providerId="ADAL" clId="{B441C459-42E0-4465-B296-199851FC6E31}" dt="2024-09-11T11:12:14.001" v="3782" actId="6264"/>
          <ac:spMkLst>
            <pc:docMk/>
            <pc:sldMk cId="467566133" sldId="1251"/>
            <ac:spMk id="2" creationId="{6502FF86-54CB-60D0-BEA4-7F41E14610F8}"/>
          </ac:spMkLst>
        </pc:spChg>
        <pc:spChg chg="mod ord">
          <ac:chgData name="José Antonio Ureta Santacreu" userId="e36999d1-2b92-424a-9e8c-5fde0c5fbdd2" providerId="ADAL" clId="{B441C459-42E0-4465-B296-199851FC6E31}" dt="2024-09-11T11:12:14.001" v="3782" actId="6264"/>
          <ac:spMkLst>
            <pc:docMk/>
            <pc:sldMk cId="467566133" sldId="1251"/>
            <ac:spMk id="3" creationId="{35A69D87-2B16-CE4D-D8DC-F5663251F3ED}"/>
          </ac:spMkLst>
        </pc:spChg>
        <pc:spChg chg="mod ord">
          <ac:chgData name="José Antonio Ureta Santacreu" userId="e36999d1-2b92-424a-9e8c-5fde0c5fbdd2" providerId="ADAL" clId="{B441C459-42E0-4465-B296-199851FC6E31}" dt="2024-09-11T11:12:14.001" v="3782" actId="6264"/>
          <ac:spMkLst>
            <pc:docMk/>
            <pc:sldMk cId="467566133" sldId="1251"/>
            <ac:spMk id="4" creationId="{BDBAFADB-9683-C758-1623-A8AD3362F6D0}"/>
          </ac:spMkLst>
        </pc:spChg>
        <pc:spChg chg="mod ord">
          <ac:chgData name="José Antonio Ureta Santacreu" userId="e36999d1-2b92-424a-9e8c-5fde0c5fbdd2" providerId="ADAL" clId="{B441C459-42E0-4465-B296-199851FC6E31}" dt="2024-09-11T11:12:14.001" v="3782" actId="6264"/>
          <ac:spMkLst>
            <pc:docMk/>
            <pc:sldMk cId="467566133" sldId="1251"/>
            <ac:spMk id="5" creationId="{764FEBDB-128B-EF0C-3563-F57059AD6226}"/>
          </ac:spMkLst>
        </pc:spChg>
        <pc:spChg chg="mod ord">
          <ac:chgData name="José Antonio Ureta Santacreu" userId="e36999d1-2b92-424a-9e8c-5fde0c5fbdd2" providerId="ADAL" clId="{B441C459-42E0-4465-B296-199851FC6E31}" dt="2024-09-11T11:12:14.001" v="3782" actId="6264"/>
          <ac:spMkLst>
            <pc:docMk/>
            <pc:sldMk cId="467566133" sldId="1251"/>
            <ac:spMk id="6" creationId="{B27D7093-1899-6187-6C07-F6B3CD368DDE}"/>
          </ac:spMkLst>
        </pc:spChg>
        <pc:spChg chg="mod ord">
          <ac:chgData name="José Antonio Ureta Santacreu" userId="e36999d1-2b92-424a-9e8c-5fde0c5fbdd2" providerId="ADAL" clId="{B441C459-42E0-4465-B296-199851FC6E31}" dt="2024-09-11T11:12:14.001" v="3782" actId="6264"/>
          <ac:spMkLst>
            <pc:docMk/>
            <pc:sldMk cId="467566133" sldId="1251"/>
            <ac:spMk id="7" creationId="{24D9A8E8-F9BE-E1CF-3E96-9602D26E1A96}"/>
          </ac:spMkLst>
        </pc:spChg>
        <pc:spChg chg="mod ord">
          <ac:chgData name="José Antonio Ureta Santacreu" userId="e36999d1-2b92-424a-9e8c-5fde0c5fbdd2" providerId="ADAL" clId="{B441C459-42E0-4465-B296-199851FC6E31}" dt="2024-09-11T11:12:14.001" v="3782" actId="6264"/>
          <ac:spMkLst>
            <pc:docMk/>
            <pc:sldMk cId="467566133" sldId="1251"/>
            <ac:spMk id="8" creationId="{3CF5446C-718A-8EAD-A502-2013D57D910B}"/>
          </ac:spMkLst>
        </pc:spChg>
        <pc:spChg chg="mod ord">
          <ac:chgData name="José Antonio Ureta Santacreu" userId="e36999d1-2b92-424a-9e8c-5fde0c5fbdd2" providerId="ADAL" clId="{B441C459-42E0-4465-B296-199851FC6E31}" dt="2024-09-11T11:12:14.001" v="3782" actId="6264"/>
          <ac:spMkLst>
            <pc:docMk/>
            <pc:sldMk cId="467566133" sldId="1251"/>
            <ac:spMk id="9" creationId="{096A2383-F2FB-479C-DE87-E272D91A5DAA}"/>
          </ac:spMkLst>
        </pc:spChg>
        <pc:spChg chg="add del mod">
          <ac:chgData name="José Antonio Ureta Santacreu" userId="e36999d1-2b92-424a-9e8c-5fde0c5fbdd2" providerId="ADAL" clId="{B441C459-42E0-4465-B296-199851FC6E31}" dt="2024-09-11T11:12:14.001" v="3782" actId="6264"/>
          <ac:spMkLst>
            <pc:docMk/>
            <pc:sldMk cId="467566133" sldId="1251"/>
            <ac:spMk id="10" creationId="{D78ECE73-1406-B3C5-DAAA-6FD428EBA0ED}"/>
          </ac:spMkLst>
        </pc:spChg>
        <pc:spChg chg="add del mod">
          <ac:chgData name="José Antonio Ureta Santacreu" userId="e36999d1-2b92-424a-9e8c-5fde0c5fbdd2" providerId="ADAL" clId="{B441C459-42E0-4465-B296-199851FC6E31}" dt="2024-09-11T11:12:14.001" v="3782" actId="6264"/>
          <ac:spMkLst>
            <pc:docMk/>
            <pc:sldMk cId="467566133" sldId="1251"/>
            <ac:spMk id="11" creationId="{50CB10BE-BDB2-F3F5-9674-9FED40553C35}"/>
          </ac:spMkLst>
        </pc:spChg>
        <pc:spChg chg="add del mod">
          <ac:chgData name="José Antonio Ureta Santacreu" userId="e36999d1-2b92-424a-9e8c-5fde0c5fbdd2" providerId="ADAL" clId="{B441C459-42E0-4465-B296-199851FC6E31}" dt="2024-09-11T11:12:14.001" v="3782" actId="6264"/>
          <ac:spMkLst>
            <pc:docMk/>
            <pc:sldMk cId="467566133" sldId="1251"/>
            <ac:spMk id="12" creationId="{2F8967C3-BE7A-2133-457A-D7B6D15295FE}"/>
          </ac:spMkLst>
        </pc:spChg>
        <pc:spChg chg="add del mod">
          <ac:chgData name="José Antonio Ureta Santacreu" userId="e36999d1-2b92-424a-9e8c-5fde0c5fbdd2" providerId="ADAL" clId="{B441C459-42E0-4465-B296-199851FC6E31}" dt="2024-09-11T11:12:14.001" v="3782" actId="6264"/>
          <ac:spMkLst>
            <pc:docMk/>
            <pc:sldMk cId="467566133" sldId="1251"/>
            <ac:spMk id="13" creationId="{3F58B90A-D747-F114-5797-B76CF02101FA}"/>
          </ac:spMkLst>
        </pc:spChg>
        <pc:spChg chg="add del mod">
          <ac:chgData name="José Antonio Ureta Santacreu" userId="e36999d1-2b92-424a-9e8c-5fde0c5fbdd2" providerId="ADAL" clId="{B441C459-42E0-4465-B296-199851FC6E31}" dt="2024-09-11T11:12:14.001" v="3782" actId="6264"/>
          <ac:spMkLst>
            <pc:docMk/>
            <pc:sldMk cId="467566133" sldId="1251"/>
            <ac:spMk id="14" creationId="{CE524338-D606-CCDA-41C8-B95DBBF44D26}"/>
          </ac:spMkLst>
        </pc:spChg>
        <pc:spChg chg="add del mod">
          <ac:chgData name="José Antonio Ureta Santacreu" userId="e36999d1-2b92-424a-9e8c-5fde0c5fbdd2" providerId="ADAL" clId="{B441C459-42E0-4465-B296-199851FC6E31}" dt="2024-09-11T11:12:14.001" v="3782" actId="6264"/>
          <ac:spMkLst>
            <pc:docMk/>
            <pc:sldMk cId="467566133" sldId="1251"/>
            <ac:spMk id="15" creationId="{D57E6F0A-E212-A9F9-ABA8-639C6C928C88}"/>
          </ac:spMkLst>
        </pc:spChg>
        <pc:spChg chg="add del mod">
          <ac:chgData name="José Antonio Ureta Santacreu" userId="e36999d1-2b92-424a-9e8c-5fde0c5fbdd2" providerId="ADAL" clId="{B441C459-42E0-4465-B296-199851FC6E31}" dt="2024-09-11T11:12:14.001" v="3782" actId="6264"/>
          <ac:spMkLst>
            <pc:docMk/>
            <pc:sldMk cId="467566133" sldId="1251"/>
            <ac:spMk id="16" creationId="{E5DE3B5B-EE3E-26C4-F777-FAE45B9D9D26}"/>
          </ac:spMkLst>
        </pc:spChg>
        <pc:spChg chg="add del mod">
          <ac:chgData name="José Antonio Ureta Santacreu" userId="e36999d1-2b92-424a-9e8c-5fde0c5fbdd2" providerId="ADAL" clId="{B441C459-42E0-4465-B296-199851FC6E31}" dt="2024-09-11T11:12:14.001" v="3782" actId="6264"/>
          <ac:spMkLst>
            <pc:docMk/>
            <pc:sldMk cId="467566133" sldId="1251"/>
            <ac:spMk id="17" creationId="{063CDB9B-16AF-76F3-1B6B-722FF0571927}"/>
          </ac:spMkLst>
        </pc:spChg>
      </pc:sldChg>
      <pc:sldChg chg="addSp delSp modSp mod chgLayout">
        <pc:chgData name="José Antonio Ureta Santacreu" userId="e36999d1-2b92-424a-9e8c-5fde0c5fbdd2" providerId="ADAL" clId="{B441C459-42E0-4465-B296-199851FC6E31}" dt="2024-09-11T11:12:14.001" v="3782" actId="6264"/>
        <pc:sldMkLst>
          <pc:docMk/>
          <pc:sldMk cId="2070501541" sldId="1252"/>
        </pc:sldMkLst>
        <pc:spChg chg="mod ord">
          <ac:chgData name="José Antonio Ureta Santacreu" userId="e36999d1-2b92-424a-9e8c-5fde0c5fbdd2" providerId="ADAL" clId="{B441C459-42E0-4465-B296-199851FC6E31}" dt="2024-09-11T11:12:14.001" v="3782" actId="6264"/>
          <ac:spMkLst>
            <pc:docMk/>
            <pc:sldMk cId="2070501541" sldId="1252"/>
            <ac:spMk id="2" creationId="{64B104E6-CE1B-8EA3-99A2-68B5124867A0}"/>
          </ac:spMkLst>
        </pc:spChg>
        <pc:spChg chg="mod ord">
          <ac:chgData name="José Antonio Ureta Santacreu" userId="e36999d1-2b92-424a-9e8c-5fde0c5fbdd2" providerId="ADAL" clId="{B441C459-42E0-4465-B296-199851FC6E31}" dt="2024-09-11T11:12:14.001" v="3782" actId="6264"/>
          <ac:spMkLst>
            <pc:docMk/>
            <pc:sldMk cId="2070501541" sldId="1252"/>
            <ac:spMk id="3" creationId="{D8AB38B9-ADC0-7CB0-826D-D54A980CC4A6}"/>
          </ac:spMkLst>
        </pc:spChg>
        <pc:spChg chg="mod ord">
          <ac:chgData name="José Antonio Ureta Santacreu" userId="e36999d1-2b92-424a-9e8c-5fde0c5fbdd2" providerId="ADAL" clId="{B441C459-42E0-4465-B296-199851FC6E31}" dt="2024-09-11T11:12:14.001" v="3782" actId="6264"/>
          <ac:spMkLst>
            <pc:docMk/>
            <pc:sldMk cId="2070501541" sldId="1252"/>
            <ac:spMk id="4" creationId="{1E6055D4-B01B-455B-F3B1-D1AC48FD08C7}"/>
          </ac:spMkLst>
        </pc:spChg>
        <pc:spChg chg="mod ord">
          <ac:chgData name="José Antonio Ureta Santacreu" userId="e36999d1-2b92-424a-9e8c-5fde0c5fbdd2" providerId="ADAL" clId="{B441C459-42E0-4465-B296-199851FC6E31}" dt="2024-09-11T11:12:14.001" v="3782" actId="6264"/>
          <ac:spMkLst>
            <pc:docMk/>
            <pc:sldMk cId="2070501541" sldId="1252"/>
            <ac:spMk id="5" creationId="{C6538535-5E65-7AFB-5BB6-F612082ACA25}"/>
          </ac:spMkLst>
        </pc:spChg>
        <pc:spChg chg="add del mod">
          <ac:chgData name="José Antonio Ureta Santacreu" userId="e36999d1-2b92-424a-9e8c-5fde0c5fbdd2" providerId="ADAL" clId="{B441C459-42E0-4465-B296-199851FC6E31}" dt="2024-09-11T11:12:14.001" v="3782" actId="6264"/>
          <ac:spMkLst>
            <pc:docMk/>
            <pc:sldMk cId="2070501541" sldId="1252"/>
            <ac:spMk id="7" creationId="{8CA0BABA-9A29-F955-BF29-EB280D75102B}"/>
          </ac:spMkLst>
        </pc:spChg>
        <pc:spChg chg="add del mod">
          <ac:chgData name="José Antonio Ureta Santacreu" userId="e36999d1-2b92-424a-9e8c-5fde0c5fbdd2" providerId="ADAL" clId="{B441C459-42E0-4465-B296-199851FC6E31}" dt="2024-09-11T11:12:14.001" v="3782" actId="6264"/>
          <ac:spMkLst>
            <pc:docMk/>
            <pc:sldMk cId="2070501541" sldId="1252"/>
            <ac:spMk id="8" creationId="{3E74D260-01A4-5074-6F0F-862951568577}"/>
          </ac:spMkLst>
        </pc:spChg>
        <pc:spChg chg="add del mod">
          <ac:chgData name="José Antonio Ureta Santacreu" userId="e36999d1-2b92-424a-9e8c-5fde0c5fbdd2" providerId="ADAL" clId="{B441C459-42E0-4465-B296-199851FC6E31}" dt="2024-09-11T11:12:14.001" v="3782" actId="6264"/>
          <ac:spMkLst>
            <pc:docMk/>
            <pc:sldMk cId="2070501541" sldId="1252"/>
            <ac:spMk id="9" creationId="{30ACBC99-0DDC-5B12-41D9-213D874FA3C6}"/>
          </ac:spMkLst>
        </pc:spChg>
        <pc:spChg chg="add del mod">
          <ac:chgData name="José Antonio Ureta Santacreu" userId="e36999d1-2b92-424a-9e8c-5fde0c5fbdd2" providerId="ADAL" clId="{B441C459-42E0-4465-B296-199851FC6E31}" dt="2024-09-11T11:12:14.001" v="3782" actId="6264"/>
          <ac:spMkLst>
            <pc:docMk/>
            <pc:sldMk cId="2070501541" sldId="1252"/>
            <ac:spMk id="10" creationId="{5AE26A87-6B71-F7AB-6783-01FF6B5CC1A6}"/>
          </ac:spMkLst>
        </pc:spChg>
      </pc:sldChg>
      <pc:sldChg chg="modSp del mod">
        <pc:chgData name="José Antonio Ureta Santacreu" userId="e36999d1-2b92-424a-9e8c-5fde0c5fbdd2" providerId="ADAL" clId="{B441C459-42E0-4465-B296-199851FC6E31}" dt="2024-09-02T11:09:19.112" v="2525" actId="47"/>
        <pc:sldMkLst>
          <pc:docMk/>
          <pc:sldMk cId="1416376973" sldId="1253"/>
        </pc:sldMkLst>
        <pc:spChg chg="mod">
          <ac:chgData name="José Antonio Ureta Santacreu" userId="e36999d1-2b92-424a-9e8c-5fde0c5fbdd2" providerId="ADAL" clId="{B441C459-42E0-4465-B296-199851FC6E31}" dt="2024-09-02T11:09:17.191" v="2524" actId="21"/>
          <ac:spMkLst>
            <pc:docMk/>
            <pc:sldMk cId="1416376973" sldId="1253"/>
            <ac:spMk id="2" creationId="{3531BFC3-B297-5912-05C7-ED8FEB977CF0}"/>
          </ac:spMkLst>
        </pc:spChg>
        <pc:graphicFrameChg chg="mod">
          <ac:chgData name="José Antonio Ureta Santacreu" userId="e36999d1-2b92-424a-9e8c-5fde0c5fbdd2" providerId="ADAL" clId="{B441C459-42E0-4465-B296-199851FC6E31}" dt="2024-09-02T11:09:04.963" v="2521"/>
          <ac:graphicFrameMkLst>
            <pc:docMk/>
            <pc:sldMk cId="1416376973" sldId="1253"/>
            <ac:graphicFrameMk id="14" creationId="{FA24686C-5A86-4B1C-59D2-F272783B4E02}"/>
          </ac:graphicFrameMkLst>
        </pc:graphicFrameChg>
      </pc:sldChg>
      <pc:sldChg chg="addSp delSp modSp mod chgLayout">
        <pc:chgData name="José Antonio Ureta Santacreu" userId="e36999d1-2b92-424a-9e8c-5fde0c5fbdd2" providerId="ADAL" clId="{B441C459-42E0-4465-B296-199851FC6E31}" dt="2024-09-12T15:50:38.204" v="5199" actId="2"/>
        <pc:sldMkLst>
          <pc:docMk/>
          <pc:sldMk cId="3579288200" sldId="1254"/>
        </pc:sldMkLst>
        <pc:spChg chg="mod ord">
          <ac:chgData name="José Antonio Ureta Santacreu" userId="e36999d1-2b92-424a-9e8c-5fde0c5fbdd2" providerId="ADAL" clId="{B441C459-42E0-4465-B296-199851FC6E31}" dt="2024-09-11T11:12:14.001" v="3782" actId="6264"/>
          <ac:spMkLst>
            <pc:docMk/>
            <pc:sldMk cId="3579288200" sldId="1254"/>
            <ac:spMk id="2" creationId="{B66ECDB5-8063-0B6F-7DBB-23362F3EA7C1}"/>
          </ac:spMkLst>
        </pc:spChg>
        <pc:spChg chg="mod ord">
          <ac:chgData name="José Antonio Ureta Santacreu" userId="e36999d1-2b92-424a-9e8c-5fde0c5fbdd2" providerId="ADAL" clId="{B441C459-42E0-4465-B296-199851FC6E31}" dt="2024-09-12T15:50:38.204" v="5199" actId="2"/>
          <ac:spMkLst>
            <pc:docMk/>
            <pc:sldMk cId="3579288200" sldId="1254"/>
            <ac:spMk id="3" creationId="{949B61F4-61D3-5164-7605-F60F74E5E368}"/>
          </ac:spMkLst>
        </pc:spChg>
        <pc:spChg chg="mod ord">
          <ac:chgData name="José Antonio Ureta Santacreu" userId="e36999d1-2b92-424a-9e8c-5fde0c5fbdd2" providerId="ADAL" clId="{B441C459-42E0-4465-B296-199851FC6E31}" dt="2024-09-11T11:12:14.001" v="3782" actId="6264"/>
          <ac:spMkLst>
            <pc:docMk/>
            <pc:sldMk cId="3579288200" sldId="1254"/>
            <ac:spMk id="4" creationId="{2F278346-AAD6-57A2-B39F-3B8B61A287E6}"/>
          </ac:spMkLst>
        </pc:spChg>
        <pc:spChg chg="mod ord">
          <ac:chgData name="José Antonio Ureta Santacreu" userId="e36999d1-2b92-424a-9e8c-5fde0c5fbdd2" providerId="ADAL" clId="{B441C459-42E0-4465-B296-199851FC6E31}" dt="2024-09-11T11:12:14.001" v="3782" actId="6264"/>
          <ac:spMkLst>
            <pc:docMk/>
            <pc:sldMk cId="3579288200" sldId="1254"/>
            <ac:spMk id="5" creationId="{597CDD69-11BF-D1D3-1023-B981F02BCD73}"/>
          </ac:spMkLst>
        </pc:spChg>
        <pc:spChg chg="mod ord">
          <ac:chgData name="José Antonio Ureta Santacreu" userId="e36999d1-2b92-424a-9e8c-5fde0c5fbdd2" providerId="ADAL" clId="{B441C459-42E0-4465-B296-199851FC6E31}" dt="2024-09-11T11:12:14.001" v="3782" actId="6264"/>
          <ac:spMkLst>
            <pc:docMk/>
            <pc:sldMk cId="3579288200" sldId="1254"/>
            <ac:spMk id="6" creationId="{91F95E13-5081-0776-3C34-C5923896E67F}"/>
          </ac:spMkLst>
        </pc:spChg>
        <pc:spChg chg="add del mod">
          <ac:chgData name="José Antonio Ureta Santacreu" userId="e36999d1-2b92-424a-9e8c-5fde0c5fbdd2" providerId="ADAL" clId="{B441C459-42E0-4465-B296-199851FC6E31}" dt="2024-09-11T11:12:14.001" v="3782" actId="6264"/>
          <ac:spMkLst>
            <pc:docMk/>
            <pc:sldMk cId="3579288200" sldId="1254"/>
            <ac:spMk id="7" creationId="{615A466D-3BD6-E735-1DD5-01D4693816D0}"/>
          </ac:spMkLst>
        </pc:spChg>
        <pc:spChg chg="add del mod">
          <ac:chgData name="José Antonio Ureta Santacreu" userId="e36999d1-2b92-424a-9e8c-5fde0c5fbdd2" providerId="ADAL" clId="{B441C459-42E0-4465-B296-199851FC6E31}" dt="2024-09-12T11:21:33.692" v="4553"/>
          <ac:spMkLst>
            <pc:docMk/>
            <pc:sldMk cId="3579288200" sldId="1254"/>
            <ac:spMk id="7" creationId="{C91B3B4E-DB56-1A90-6219-84B9F8DCA5E1}"/>
          </ac:spMkLst>
        </pc:spChg>
        <pc:spChg chg="add del mod">
          <ac:chgData name="José Antonio Ureta Santacreu" userId="e36999d1-2b92-424a-9e8c-5fde0c5fbdd2" providerId="ADAL" clId="{B441C459-42E0-4465-B296-199851FC6E31}" dt="2024-09-11T11:12:14.001" v="3782" actId="6264"/>
          <ac:spMkLst>
            <pc:docMk/>
            <pc:sldMk cId="3579288200" sldId="1254"/>
            <ac:spMk id="8" creationId="{407D8AFC-EFE4-D9E7-7C70-96CC965D7CFE}"/>
          </ac:spMkLst>
        </pc:spChg>
        <pc:spChg chg="add del mod">
          <ac:chgData name="José Antonio Ureta Santacreu" userId="e36999d1-2b92-424a-9e8c-5fde0c5fbdd2" providerId="ADAL" clId="{B441C459-42E0-4465-B296-199851FC6E31}" dt="2024-09-11T11:12:14.001" v="3782" actId="6264"/>
          <ac:spMkLst>
            <pc:docMk/>
            <pc:sldMk cId="3579288200" sldId="1254"/>
            <ac:spMk id="9" creationId="{7B145EBA-FA16-D81C-4C79-916C25ED8E68}"/>
          </ac:spMkLst>
        </pc:spChg>
        <pc:spChg chg="add del mod">
          <ac:chgData name="José Antonio Ureta Santacreu" userId="e36999d1-2b92-424a-9e8c-5fde0c5fbdd2" providerId="ADAL" clId="{B441C459-42E0-4465-B296-199851FC6E31}" dt="2024-09-11T11:12:14.001" v="3782" actId="6264"/>
          <ac:spMkLst>
            <pc:docMk/>
            <pc:sldMk cId="3579288200" sldId="1254"/>
            <ac:spMk id="10" creationId="{4095BEA0-1B91-2A51-CC51-431F84B86734}"/>
          </ac:spMkLst>
        </pc:spChg>
        <pc:spChg chg="add del mod">
          <ac:chgData name="José Antonio Ureta Santacreu" userId="e36999d1-2b92-424a-9e8c-5fde0c5fbdd2" providerId="ADAL" clId="{B441C459-42E0-4465-B296-199851FC6E31}" dt="2024-09-11T11:12:14.001" v="3782" actId="6264"/>
          <ac:spMkLst>
            <pc:docMk/>
            <pc:sldMk cId="3579288200" sldId="1254"/>
            <ac:spMk id="11" creationId="{2824DA12-04B8-8507-DF82-0EF7BA7CBD2C}"/>
          </ac:spMkLst>
        </pc:spChg>
        <pc:spChg chg="add del mod">
          <ac:chgData name="José Antonio Ureta Santacreu" userId="e36999d1-2b92-424a-9e8c-5fde0c5fbdd2" providerId="ADAL" clId="{B441C459-42E0-4465-B296-199851FC6E31}" dt="2024-09-11T11:12:14.001" v="3782" actId="6264"/>
          <ac:spMkLst>
            <pc:docMk/>
            <pc:sldMk cId="3579288200" sldId="1254"/>
            <ac:spMk id="12" creationId="{ED44E463-A775-EE41-8D79-20BDCCC63C06}"/>
          </ac:spMkLst>
        </pc:spChg>
        <pc:picChg chg="add mod">
          <ac:chgData name="José Antonio Ureta Santacreu" userId="e36999d1-2b92-424a-9e8c-5fde0c5fbdd2" providerId="ADAL" clId="{B441C459-42E0-4465-B296-199851FC6E31}" dt="2024-09-12T11:21:33.692" v="4553"/>
          <ac:picMkLst>
            <pc:docMk/>
            <pc:sldMk cId="3579288200" sldId="1254"/>
            <ac:picMk id="8" creationId="{C5211B47-4BC5-4BF9-F291-22A5BA01EFAD}"/>
          </ac:picMkLst>
        </pc:picChg>
        <pc:picChg chg="del mod ord">
          <ac:chgData name="José Antonio Ureta Santacreu" userId="e36999d1-2b92-424a-9e8c-5fde0c5fbdd2" providerId="ADAL" clId="{B441C459-42E0-4465-B296-199851FC6E31}" dt="2024-09-12T11:21:24.609" v="4551" actId="478"/>
          <ac:picMkLst>
            <pc:docMk/>
            <pc:sldMk cId="3579288200" sldId="1254"/>
            <ac:picMk id="7170" creationId="{7E28D3F4-A991-E6B1-F587-7A00FB0B3B1A}"/>
          </ac:picMkLst>
        </pc:picChg>
        <pc:picChg chg="del">
          <ac:chgData name="José Antonio Ureta Santacreu" userId="e36999d1-2b92-424a-9e8c-5fde0c5fbdd2" providerId="ADAL" clId="{B441C459-42E0-4465-B296-199851FC6E31}" dt="2024-09-12T11:21:31.782" v="4552" actId="21"/>
          <ac:picMkLst>
            <pc:docMk/>
            <pc:sldMk cId="3579288200" sldId="1254"/>
            <ac:picMk id="7172" creationId="{C5211B47-4BC5-4BF9-F291-22A5BA01EFAD}"/>
          </ac:picMkLst>
        </pc:picChg>
      </pc:sldChg>
      <pc:sldChg chg="addSp delSp modSp mod modClrScheme chgLayout">
        <pc:chgData name="José Antonio Ureta Santacreu" userId="e36999d1-2b92-424a-9e8c-5fde0c5fbdd2" providerId="ADAL" clId="{B441C459-42E0-4465-B296-199851FC6E31}" dt="2024-09-12T11:23:38.453" v="4561" actId="6264"/>
        <pc:sldMkLst>
          <pc:docMk/>
          <pc:sldMk cId="474668333" sldId="1255"/>
        </pc:sldMkLst>
        <pc:spChg chg="mod ord">
          <ac:chgData name="José Antonio Ureta Santacreu" userId="e36999d1-2b92-424a-9e8c-5fde0c5fbdd2" providerId="ADAL" clId="{B441C459-42E0-4465-B296-199851FC6E31}" dt="2024-09-12T11:23:38.453" v="4561" actId="6264"/>
          <ac:spMkLst>
            <pc:docMk/>
            <pc:sldMk cId="474668333" sldId="1255"/>
            <ac:spMk id="2" creationId="{679897C8-D0C8-B602-5F55-2B9BCA7CCD3E}"/>
          </ac:spMkLst>
        </pc:spChg>
        <pc:spChg chg="mod ord">
          <ac:chgData name="José Antonio Ureta Santacreu" userId="e36999d1-2b92-424a-9e8c-5fde0c5fbdd2" providerId="ADAL" clId="{B441C459-42E0-4465-B296-199851FC6E31}" dt="2024-09-12T11:23:38.453" v="4561" actId="6264"/>
          <ac:spMkLst>
            <pc:docMk/>
            <pc:sldMk cId="474668333" sldId="1255"/>
            <ac:spMk id="3" creationId="{C357AC47-E953-EE9C-3F70-CBAA9D068738}"/>
          </ac:spMkLst>
        </pc:spChg>
        <pc:spChg chg="mod ord">
          <ac:chgData name="José Antonio Ureta Santacreu" userId="e36999d1-2b92-424a-9e8c-5fde0c5fbdd2" providerId="ADAL" clId="{B441C459-42E0-4465-B296-199851FC6E31}" dt="2024-09-12T11:23:38.453" v="4561" actId="6264"/>
          <ac:spMkLst>
            <pc:docMk/>
            <pc:sldMk cId="474668333" sldId="1255"/>
            <ac:spMk id="4" creationId="{99DD37D0-DE9F-A718-E6CB-DCDDB9B793FD}"/>
          </ac:spMkLst>
        </pc:spChg>
        <pc:spChg chg="mod ord">
          <ac:chgData name="José Antonio Ureta Santacreu" userId="e36999d1-2b92-424a-9e8c-5fde0c5fbdd2" providerId="ADAL" clId="{B441C459-42E0-4465-B296-199851FC6E31}" dt="2024-09-12T11:23:38.453" v="4561" actId="6264"/>
          <ac:spMkLst>
            <pc:docMk/>
            <pc:sldMk cId="474668333" sldId="1255"/>
            <ac:spMk id="5" creationId="{FE598CE2-03EA-3737-E628-274BEC85ED5B}"/>
          </ac:spMkLst>
        </pc:spChg>
        <pc:spChg chg="mod ord">
          <ac:chgData name="José Antonio Ureta Santacreu" userId="e36999d1-2b92-424a-9e8c-5fde0c5fbdd2" providerId="ADAL" clId="{B441C459-42E0-4465-B296-199851FC6E31}" dt="2024-09-12T11:23:38.453" v="4561" actId="6264"/>
          <ac:spMkLst>
            <pc:docMk/>
            <pc:sldMk cId="474668333" sldId="1255"/>
            <ac:spMk id="6" creationId="{1FD5D848-569F-5599-EE65-80188A1C6C09}"/>
          </ac:spMkLst>
        </pc:spChg>
        <pc:spChg chg="add del mod ord">
          <ac:chgData name="José Antonio Ureta Santacreu" userId="e36999d1-2b92-424a-9e8c-5fde0c5fbdd2" providerId="ADAL" clId="{B441C459-42E0-4465-B296-199851FC6E31}" dt="2024-09-02T11:40:12.689" v="2804"/>
          <ac:spMkLst>
            <pc:docMk/>
            <pc:sldMk cId="474668333" sldId="1255"/>
            <ac:spMk id="7" creationId="{0546BE48-6171-03C0-5F6F-135A47D28AA8}"/>
          </ac:spMkLst>
        </pc:spChg>
        <pc:spChg chg="add del mod">
          <ac:chgData name="José Antonio Ureta Santacreu" userId="e36999d1-2b92-424a-9e8c-5fde0c5fbdd2" providerId="ADAL" clId="{B441C459-42E0-4465-B296-199851FC6E31}" dt="2024-09-11T11:12:14.001" v="3782" actId="6264"/>
          <ac:spMkLst>
            <pc:docMk/>
            <pc:sldMk cId="474668333" sldId="1255"/>
            <ac:spMk id="7" creationId="{184E48F9-94E8-7A31-8E29-16EE80F60CB7}"/>
          </ac:spMkLst>
        </pc:spChg>
        <pc:spChg chg="add del mod">
          <ac:chgData name="José Antonio Ureta Santacreu" userId="e36999d1-2b92-424a-9e8c-5fde0c5fbdd2" providerId="ADAL" clId="{B441C459-42E0-4465-B296-199851FC6E31}" dt="2024-09-12T11:23:38.453" v="4561" actId="6264"/>
          <ac:spMkLst>
            <pc:docMk/>
            <pc:sldMk cId="474668333" sldId="1255"/>
            <ac:spMk id="7" creationId="{8E6BB871-07DC-026A-710D-4ED191E5A65D}"/>
          </ac:spMkLst>
        </pc:spChg>
        <pc:spChg chg="add del mod">
          <ac:chgData name="José Antonio Ureta Santacreu" userId="e36999d1-2b92-424a-9e8c-5fde0c5fbdd2" providerId="ADAL" clId="{B441C459-42E0-4465-B296-199851FC6E31}" dt="2024-09-02T11:40:14.775" v="2805" actId="478"/>
          <ac:spMkLst>
            <pc:docMk/>
            <pc:sldMk cId="474668333" sldId="1255"/>
            <ac:spMk id="8" creationId="{09EF95A5-3449-2A88-141A-2D6AC274BC3E}"/>
          </ac:spMkLst>
        </pc:spChg>
        <pc:spChg chg="add del mod">
          <ac:chgData name="José Antonio Ureta Santacreu" userId="e36999d1-2b92-424a-9e8c-5fde0c5fbdd2" providerId="ADAL" clId="{B441C459-42E0-4465-B296-199851FC6E31}" dt="2024-09-11T11:12:14.001" v="3782" actId="6264"/>
          <ac:spMkLst>
            <pc:docMk/>
            <pc:sldMk cId="474668333" sldId="1255"/>
            <ac:spMk id="8" creationId="{6EBD2391-2B6F-E2C0-1204-7701B6101EF9}"/>
          </ac:spMkLst>
        </pc:spChg>
        <pc:spChg chg="add del mod">
          <ac:chgData name="José Antonio Ureta Santacreu" userId="e36999d1-2b92-424a-9e8c-5fde0c5fbdd2" providerId="ADAL" clId="{B441C459-42E0-4465-B296-199851FC6E31}" dt="2024-09-12T11:23:38.453" v="4561" actId="6264"/>
          <ac:spMkLst>
            <pc:docMk/>
            <pc:sldMk cId="474668333" sldId="1255"/>
            <ac:spMk id="8" creationId="{80473C4E-E3A3-4EC5-3A65-E60DD4BCC772}"/>
          </ac:spMkLst>
        </pc:spChg>
        <pc:spChg chg="add del mod">
          <ac:chgData name="José Antonio Ureta Santacreu" userId="e36999d1-2b92-424a-9e8c-5fde0c5fbdd2" providerId="ADAL" clId="{B441C459-42E0-4465-B296-199851FC6E31}" dt="2024-09-12T11:23:38.453" v="4561" actId="6264"/>
          <ac:spMkLst>
            <pc:docMk/>
            <pc:sldMk cId="474668333" sldId="1255"/>
            <ac:spMk id="9" creationId="{B04284B0-511E-D01C-190E-306563E01138}"/>
          </ac:spMkLst>
        </pc:spChg>
        <pc:spChg chg="add del mod">
          <ac:chgData name="José Antonio Ureta Santacreu" userId="e36999d1-2b92-424a-9e8c-5fde0c5fbdd2" providerId="ADAL" clId="{B441C459-42E0-4465-B296-199851FC6E31}" dt="2024-09-11T11:12:14.001" v="3782" actId="6264"/>
          <ac:spMkLst>
            <pc:docMk/>
            <pc:sldMk cId="474668333" sldId="1255"/>
            <ac:spMk id="9" creationId="{B8E636DB-36D0-3343-1EEB-F3B495666808}"/>
          </ac:spMkLst>
        </pc:spChg>
        <pc:spChg chg="add del mod">
          <ac:chgData name="José Antonio Ureta Santacreu" userId="e36999d1-2b92-424a-9e8c-5fde0c5fbdd2" providerId="ADAL" clId="{B441C459-42E0-4465-B296-199851FC6E31}" dt="2024-09-02T11:40:16.871" v="2806" actId="6264"/>
          <ac:spMkLst>
            <pc:docMk/>
            <pc:sldMk cId="474668333" sldId="1255"/>
            <ac:spMk id="9" creationId="{F88B93DC-CD97-5689-FEBA-3F3B7D9696CF}"/>
          </ac:spMkLst>
        </pc:spChg>
        <pc:spChg chg="add del mod">
          <ac:chgData name="José Antonio Ureta Santacreu" userId="e36999d1-2b92-424a-9e8c-5fde0c5fbdd2" providerId="ADAL" clId="{B441C459-42E0-4465-B296-199851FC6E31}" dt="2024-09-12T11:23:38.453" v="4561" actId="6264"/>
          <ac:spMkLst>
            <pc:docMk/>
            <pc:sldMk cId="474668333" sldId="1255"/>
            <ac:spMk id="10" creationId="{260EEC1C-1CDA-5F46-CB9E-D6382677DE6F}"/>
          </ac:spMkLst>
        </pc:spChg>
        <pc:spChg chg="add del mod">
          <ac:chgData name="José Antonio Ureta Santacreu" userId="e36999d1-2b92-424a-9e8c-5fde0c5fbdd2" providerId="ADAL" clId="{B441C459-42E0-4465-B296-199851FC6E31}" dt="2024-09-02T11:40:16.871" v="2806" actId="6264"/>
          <ac:spMkLst>
            <pc:docMk/>
            <pc:sldMk cId="474668333" sldId="1255"/>
            <ac:spMk id="10" creationId="{5C7B9AEA-F83F-A212-153A-9C7D806C69FC}"/>
          </ac:spMkLst>
        </pc:spChg>
        <pc:spChg chg="add del mod">
          <ac:chgData name="José Antonio Ureta Santacreu" userId="e36999d1-2b92-424a-9e8c-5fde0c5fbdd2" providerId="ADAL" clId="{B441C459-42E0-4465-B296-199851FC6E31}" dt="2024-09-11T11:12:14.001" v="3782" actId="6264"/>
          <ac:spMkLst>
            <pc:docMk/>
            <pc:sldMk cId="474668333" sldId="1255"/>
            <ac:spMk id="10" creationId="{AA5BDBCC-9137-9C77-3389-41F0EFCA431B}"/>
          </ac:spMkLst>
        </pc:spChg>
        <pc:spChg chg="add del mod">
          <ac:chgData name="José Antonio Ureta Santacreu" userId="e36999d1-2b92-424a-9e8c-5fde0c5fbdd2" providerId="ADAL" clId="{B441C459-42E0-4465-B296-199851FC6E31}" dt="2024-09-02T11:40:16.871" v="2806" actId="6264"/>
          <ac:spMkLst>
            <pc:docMk/>
            <pc:sldMk cId="474668333" sldId="1255"/>
            <ac:spMk id="11" creationId="{53B2545B-6E28-5AF4-7E28-81E4F1F78AB9}"/>
          </ac:spMkLst>
        </pc:spChg>
        <pc:spChg chg="add del mod">
          <ac:chgData name="José Antonio Ureta Santacreu" userId="e36999d1-2b92-424a-9e8c-5fde0c5fbdd2" providerId="ADAL" clId="{B441C459-42E0-4465-B296-199851FC6E31}" dt="2024-09-12T11:23:38.453" v="4561" actId="6264"/>
          <ac:spMkLst>
            <pc:docMk/>
            <pc:sldMk cId="474668333" sldId="1255"/>
            <ac:spMk id="11" creationId="{557AAF19-6312-659B-396C-3D29072AF8C6}"/>
          </ac:spMkLst>
        </pc:spChg>
        <pc:spChg chg="add del mod">
          <ac:chgData name="José Antonio Ureta Santacreu" userId="e36999d1-2b92-424a-9e8c-5fde0c5fbdd2" providerId="ADAL" clId="{B441C459-42E0-4465-B296-199851FC6E31}" dt="2024-09-11T11:12:14.001" v="3782" actId="6264"/>
          <ac:spMkLst>
            <pc:docMk/>
            <pc:sldMk cId="474668333" sldId="1255"/>
            <ac:spMk id="11" creationId="{A0FA05CC-79E7-79CD-5453-8FBF5F972F99}"/>
          </ac:spMkLst>
        </pc:spChg>
        <pc:spChg chg="add del mod">
          <ac:chgData name="José Antonio Ureta Santacreu" userId="e36999d1-2b92-424a-9e8c-5fde0c5fbdd2" providerId="ADAL" clId="{B441C459-42E0-4465-B296-199851FC6E31}" dt="2024-09-02T11:40:16.871" v="2806" actId="6264"/>
          <ac:spMkLst>
            <pc:docMk/>
            <pc:sldMk cId="474668333" sldId="1255"/>
            <ac:spMk id="12" creationId="{1058091A-CB1A-124D-8B8F-D9EDE589D14A}"/>
          </ac:spMkLst>
        </pc:spChg>
        <pc:spChg chg="add del mod">
          <ac:chgData name="José Antonio Ureta Santacreu" userId="e36999d1-2b92-424a-9e8c-5fde0c5fbdd2" providerId="ADAL" clId="{B441C459-42E0-4465-B296-199851FC6E31}" dt="2024-09-12T11:23:38.453" v="4561" actId="6264"/>
          <ac:spMkLst>
            <pc:docMk/>
            <pc:sldMk cId="474668333" sldId="1255"/>
            <ac:spMk id="12" creationId="{67F32B2C-B0D9-4185-92A6-3384175569C6}"/>
          </ac:spMkLst>
        </pc:spChg>
        <pc:spChg chg="add del mod">
          <ac:chgData name="José Antonio Ureta Santacreu" userId="e36999d1-2b92-424a-9e8c-5fde0c5fbdd2" providerId="ADAL" clId="{B441C459-42E0-4465-B296-199851FC6E31}" dt="2024-09-11T11:12:14.001" v="3782" actId="6264"/>
          <ac:spMkLst>
            <pc:docMk/>
            <pc:sldMk cId="474668333" sldId="1255"/>
            <ac:spMk id="12" creationId="{E9B1470D-0381-70D7-791C-470C897D0BBE}"/>
          </ac:spMkLst>
        </pc:spChg>
        <pc:spChg chg="add del mod">
          <ac:chgData name="José Antonio Ureta Santacreu" userId="e36999d1-2b92-424a-9e8c-5fde0c5fbdd2" providerId="ADAL" clId="{B441C459-42E0-4465-B296-199851FC6E31}" dt="2024-09-02T11:40:16.871" v="2806" actId="6264"/>
          <ac:spMkLst>
            <pc:docMk/>
            <pc:sldMk cId="474668333" sldId="1255"/>
            <ac:spMk id="13" creationId="{5A015615-3AAF-9DFA-A716-5190921B50D6}"/>
          </ac:spMkLst>
        </pc:spChg>
        <pc:spChg chg="add del mod ord">
          <ac:chgData name="José Antonio Ureta Santacreu" userId="e36999d1-2b92-424a-9e8c-5fde0c5fbdd2" providerId="ADAL" clId="{B441C459-42E0-4465-B296-199851FC6E31}" dt="2024-09-02T11:40:38.880" v="2807" actId="22"/>
          <ac:spMkLst>
            <pc:docMk/>
            <pc:sldMk cId="474668333" sldId="1255"/>
            <ac:spMk id="14" creationId="{073C7FE0-D64D-75CE-3443-60D5B6449A11}"/>
          </ac:spMkLst>
        </pc:spChg>
        <pc:picChg chg="add mod ord">
          <ac:chgData name="José Antonio Ureta Santacreu" userId="e36999d1-2b92-424a-9e8c-5fde0c5fbdd2" providerId="ADAL" clId="{B441C459-42E0-4465-B296-199851FC6E31}" dt="2024-09-12T11:23:38.453" v="4561" actId="6264"/>
          <ac:picMkLst>
            <pc:docMk/>
            <pc:sldMk cId="474668333" sldId="1255"/>
            <ac:picMk id="16" creationId="{18F71C71-1799-6E02-E2F6-10627C516AFE}"/>
          </ac:picMkLst>
        </pc:picChg>
      </pc:sldChg>
      <pc:sldChg chg="addSp delSp modSp mod modClrScheme chgLayout">
        <pc:chgData name="José Antonio Ureta Santacreu" userId="e36999d1-2b92-424a-9e8c-5fde0c5fbdd2" providerId="ADAL" clId="{B441C459-42E0-4465-B296-199851FC6E31}" dt="2024-09-11T11:12:14.001" v="3782" actId="6264"/>
        <pc:sldMkLst>
          <pc:docMk/>
          <pc:sldMk cId="1067893180" sldId="1256"/>
        </pc:sldMkLst>
        <pc:spChg chg="mod ord">
          <ac:chgData name="José Antonio Ureta Santacreu" userId="e36999d1-2b92-424a-9e8c-5fde0c5fbdd2" providerId="ADAL" clId="{B441C459-42E0-4465-B296-199851FC6E31}" dt="2024-09-11T11:12:14.001" v="3782" actId="6264"/>
          <ac:spMkLst>
            <pc:docMk/>
            <pc:sldMk cId="1067893180" sldId="1256"/>
            <ac:spMk id="2" creationId="{D9B31CE0-8430-D5E9-DA66-F2AB7C6F4543}"/>
          </ac:spMkLst>
        </pc:spChg>
        <pc:spChg chg="mod ord">
          <ac:chgData name="José Antonio Ureta Santacreu" userId="e36999d1-2b92-424a-9e8c-5fde0c5fbdd2" providerId="ADAL" clId="{B441C459-42E0-4465-B296-199851FC6E31}" dt="2024-09-11T11:12:14.001" v="3782" actId="6264"/>
          <ac:spMkLst>
            <pc:docMk/>
            <pc:sldMk cId="1067893180" sldId="1256"/>
            <ac:spMk id="3" creationId="{A2368848-4208-4AEE-B5A1-C395ACE45134}"/>
          </ac:spMkLst>
        </pc:spChg>
        <pc:spChg chg="mod ord">
          <ac:chgData name="José Antonio Ureta Santacreu" userId="e36999d1-2b92-424a-9e8c-5fde0c5fbdd2" providerId="ADAL" clId="{B441C459-42E0-4465-B296-199851FC6E31}" dt="2024-09-11T11:12:14.001" v="3782" actId="6264"/>
          <ac:spMkLst>
            <pc:docMk/>
            <pc:sldMk cId="1067893180" sldId="1256"/>
            <ac:spMk id="4" creationId="{B9A962BA-908F-4E68-21D3-CE2A65EE1F12}"/>
          </ac:spMkLst>
        </pc:spChg>
        <pc:spChg chg="mod ord">
          <ac:chgData name="José Antonio Ureta Santacreu" userId="e36999d1-2b92-424a-9e8c-5fde0c5fbdd2" providerId="ADAL" clId="{B441C459-42E0-4465-B296-199851FC6E31}" dt="2024-09-11T11:12:14.001" v="3782" actId="6264"/>
          <ac:spMkLst>
            <pc:docMk/>
            <pc:sldMk cId="1067893180" sldId="1256"/>
            <ac:spMk id="5" creationId="{B3127AD6-78B8-0076-C75B-0530E2754212}"/>
          </ac:spMkLst>
        </pc:spChg>
        <pc:spChg chg="add del mod">
          <ac:chgData name="José Antonio Ureta Santacreu" userId="e36999d1-2b92-424a-9e8c-5fde0c5fbdd2" providerId="ADAL" clId="{B441C459-42E0-4465-B296-199851FC6E31}" dt="2024-09-11T11:12:14.001" v="3782" actId="6264"/>
          <ac:spMkLst>
            <pc:docMk/>
            <pc:sldMk cId="1067893180" sldId="1256"/>
            <ac:spMk id="6" creationId="{50AA84A0-FC4E-DD3F-BF71-4FA7C0FF13C8}"/>
          </ac:spMkLst>
        </pc:spChg>
        <pc:spChg chg="add">
          <ac:chgData name="José Antonio Ureta Santacreu" userId="e36999d1-2b92-424a-9e8c-5fde0c5fbdd2" providerId="ADAL" clId="{B441C459-42E0-4465-B296-199851FC6E31}" dt="2024-09-02T11:30:11.893" v="2773"/>
          <ac:spMkLst>
            <pc:docMk/>
            <pc:sldMk cId="1067893180" sldId="1256"/>
            <ac:spMk id="6" creationId="{979AAC18-83BC-BD97-B9D0-EC3D0604CBBA}"/>
          </ac:spMkLst>
        </pc:spChg>
        <pc:spChg chg="add del mod">
          <ac:chgData name="José Antonio Ureta Santacreu" userId="e36999d1-2b92-424a-9e8c-5fde0c5fbdd2" providerId="ADAL" clId="{B441C459-42E0-4465-B296-199851FC6E31}" dt="2024-09-11T11:12:14.001" v="3782" actId="6264"/>
          <ac:spMkLst>
            <pc:docMk/>
            <pc:sldMk cId="1067893180" sldId="1256"/>
            <ac:spMk id="7" creationId="{007CD182-87AA-D4EB-51B7-F607F53CC4E1}"/>
          </ac:spMkLst>
        </pc:spChg>
        <pc:spChg chg="add del mod">
          <ac:chgData name="José Antonio Ureta Santacreu" userId="e36999d1-2b92-424a-9e8c-5fde0c5fbdd2" providerId="ADAL" clId="{B441C459-42E0-4465-B296-199851FC6E31}" dt="2024-09-11T11:12:14.001" v="3782" actId="6264"/>
          <ac:spMkLst>
            <pc:docMk/>
            <pc:sldMk cId="1067893180" sldId="1256"/>
            <ac:spMk id="8" creationId="{535DBB24-79DB-15C8-C408-97044D52C295}"/>
          </ac:spMkLst>
        </pc:spChg>
        <pc:spChg chg="add del mod ord">
          <ac:chgData name="José Antonio Ureta Santacreu" userId="e36999d1-2b92-424a-9e8c-5fde0c5fbdd2" providerId="ADAL" clId="{B441C459-42E0-4465-B296-199851FC6E31}" dt="2024-09-02T11:33:22.591" v="2780"/>
          <ac:spMkLst>
            <pc:docMk/>
            <pc:sldMk cId="1067893180" sldId="1256"/>
            <ac:spMk id="9" creationId="{24E00971-AAC1-2B0B-22FF-49F9745DC3A4}"/>
          </ac:spMkLst>
        </pc:spChg>
        <pc:spChg chg="add del mod">
          <ac:chgData name="José Antonio Ureta Santacreu" userId="e36999d1-2b92-424a-9e8c-5fde0c5fbdd2" providerId="ADAL" clId="{B441C459-42E0-4465-B296-199851FC6E31}" dt="2024-09-11T11:12:14.001" v="3782" actId="6264"/>
          <ac:spMkLst>
            <pc:docMk/>
            <pc:sldMk cId="1067893180" sldId="1256"/>
            <ac:spMk id="9" creationId="{553BC025-3B85-83FE-CD5E-84590F087DD5}"/>
          </ac:spMkLst>
        </pc:spChg>
        <pc:spChg chg="add mod ord">
          <ac:chgData name="José Antonio Ureta Santacreu" userId="e36999d1-2b92-424a-9e8c-5fde0c5fbdd2" providerId="ADAL" clId="{B441C459-42E0-4465-B296-199851FC6E31}" dt="2024-09-11T11:12:14.001" v="3782" actId="6264"/>
          <ac:spMkLst>
            <pc:docMk/>
            <pc:sldMk cId="1067893180" sldId="1256"/>
            <ac:spMk id="10" creationId="{9B358BF4-C877-B1E3-1BD6-936305FDA940}"/>
          </ac:spMkLst>
        </pc:spChg>
        <pc:spChg chg="add del mod">
          <ac:chgData name="José Antonio Ureta Santacreu" userId="e36999d1-2b92-424a-9e8c-5fde0c5fbdd2" providerId="ADAL" clId="{B441C459-42E0-4465-B296-199851FC6E31}" dt="2024-09-11T11:12:14.001" v="3782" actId="6264"/>
          <ac:spMkLst>
            <pc:docMk/>
            <pc:sldMk cId="1067893180" sldId="1256"/>
            <ac:spMk id="12" creationId="{5B392D87-5DDD-8528-DCE0-81359792846F}"/>
          </ac:spMkLst>
        </pc:spChg>
        <pc:picChg chg="add del mod modCrop">
          <ac:chgData name="José Antonio Ureta Santacreu" userId="e36999d1-2b92-424a-9e8c-5fde0c5fbdd2" providerId="ADAL" clId="{B441C459-42E0-4465-B296-199851FC6E31}" dt="2024-09-02T11:33:13.896" v="2778" actId="21"/>
          <ac:picMkLst>
            <pc:docMk/>
            <pc:sldMk cId="1067893180" sldId="1256"/>
            <ac:picMk id="8" creationId="{EAE24A89-68E0-256A-29F2-17D5308DD86D}"/>
          </ac:picMkLst>
        </pc:picChg>
        <pc:picChg chg="add del mod">
          <ac:chgData name="José Antonio Ureta Santacreu" userId="e36999d1-2b92-424a-9e8c-5fde0c5fbdd2" providerId="ADAL" clId="{B441C459-42E0-4465-B296-199851FC6E31}" dt="2024-09-02T11:33:28.309" v="2782" actId="478"/>
          <ac:picMkLst>
            <pc:docMk/>
            <pc:sldMk cId="1067893180" sldId="1256"/>
            <ac:picMk id="10" creationId="{EAE24A89-68E0-256A-29F2-17D5308DD86D}"/>
          </ac:picMkLst>
        </pc:picChg>
        <pc:picChg chg="add mod">
          <ac:chgData name="José Antonio Ureta Santacreu" userId="e36999d1-2b92-424a-9e8c-5fde0c5fbdd2" providerId="ADAL" clId="{B441C459-42E0-4465-B296-199851FC6E31}" dt="2024-09-02T11:33:42.824" v="2801" actId="1038"/>
          <ac:picMkLst>
            <pc:docMk/>
            <pc:sldMk cId="1067893180" sldId="1256"/>
            <ac:picMk id="13" creationId="{08828259-3860-1259-E0B9-FEBE8389CD94}"/>
          </ac:picMkLst>
        </pc:picChg>
      </pc:sldChg>
      <pc:sldChg chg="addSp delSp modSp mod ord modClrScheme chgLayout">
        <pc:chgData name="José Antonio Ureta Santacreu" userId="e36999d1-2b92-424a-9e8c-5fde0c5fbdd2" providerId="ADAL" clId="{B441C459-42E0-4465-B296-199851FC6E31}" dt="2024-09-11T11:12:14.001" v="3782" actId="6264"/>
        <pc:sldMkLst>
          <pc:docMk/>
          <pc:sldMk cId="3233189296" sldId="1257"/>
        </pc:sldMkLst>
        <pc:spChg chg="mod ord">
          <ac:chgData name="José Antonio Ureta Santacreu" userId="e36999d1-2b92-424a-9e8c-5fde0c5fbdd2" providerId="ADAL" clId="{B441C459-42E0-4465-B296-199851FC6E31}" dt="2024-09-11T11:12:14.001" v="3782" actId="6264"/>
          <ac:spMkLst>
            <pc:docMk/>
            <pc:sldMk cId="3233189296" sldId="1257"/>
            <ac:spMk id="2" creationId="{B8ECB1AF-26C2-B951-3440-EF30A913B472}"/>
          </ac:spMkLst>
        </pc:spChg>
        <pc:spChg chg="add del mod">
          <ac:chgData name="José Antonio Ureta Santacreu" userId="e36999d1-2b92-424a-9e8c-5fde0c5fbdd2" providerId="ADAL" clId="{B441C459-42E0-4465-B296-199851FC6E31}" dt="2024-09-11T11:12:14.001" v="3782" actId="6264"/>
          <ac:spMkLst>
            <pc:docMk/>
            <pc:sldMk cId="3233189296" sldId="1257"/>
            <ac:spMk id="3" creationId="{5B568973-8E00-8ED4-53E3-BDEB8A15125F}"/>
          </ac:spMkLst>
        </pc:spChg>
        <pc:spChg chg="mod ord">
          <ac:chgData name="José Antonio Ureta Santacreu" userId="e36999d1-2b92-424a-9e8c-5fde0c5fbdd2" providerId="ADAL" clId="{B441C459-42E0-4465-B296-199851FC6E31}" dt="2024-09-11T11:12:14.001" v="3782" actId="6264"/>
          <ac:spMkLst>
            <pc:docMk/>
            <pc:sldMk cId="3233189296" sldId="1257"/>
            <ac:spMk id="4" creationId="{F6AC56AB-BFA7-FAA2-1FAF-124163FCEEED}"/>
          </ac:spMkLst>
        </pc:spChg>
        <pc:spChg chg="mod ord">
          <ac:chgData name="José Antonio Ureta Santacreu" userId="e36999d1-2b92-424a-9e8c-5fde0c5fbdd2" providerId="ADAL" clId="{B441C459-42E0-4465-B296-199851FC6E31}" dt="2024-09-11T11:12:14.001" v="3782" actId="6264"/>
          <ac:spMkLst>
            <pc:docMk/>
            <pc:sldMk cId="3233189296" sldId="1257"/>
            <ac:spMk id="5" creationId="{74E0D70D-CF93-D2D9-C2B2-23EFCAA82035}"/>
          </ac:spMkLst>
        </pc:spChg>
        <pc:spChg chg="mod ord">
          <ac:chgData name="José Antonio Ureta Santacreu" userId="e36999d1-2b92-424a-9e8c-5fde0c5fbdd2" providerId="ADAL" clId="{B441C459-42E0-4465-B296-199851FC6E31}" dt="2024-09-11T11:12:14.001" v="3782" actId="6264"/>
          <ac:spMkLst>
            <pc:docMk/>
            <pc:sldMk cId="3233189296" sldId="1257"/>
            <ac:spMk id="6" creationId="{CF497432-A4FA-0B3A-FBA2-53F57E9B10F3}"/>
          </ac:spMkLst>
        </pc:spChg>
        <pc:spChg chg="add del mod">
          <ac:chgData name="José Antonio Ureta Santacreu" userId="e36999d1-2b92-424a-9e8c-5fde0c5fbdd2" providerId="ADAL" clId="{B441C459-42E0-4465-B296-199851FC6E31}" dt="2024-09-11T11:12:14.001" v="3782" actId="6264"/>
          <ac:spMkLst>
            <pc:docMk/>
            <pc:sldMk cId="3233189296" sldId="1257"/>
            <ac:spMk id="7" creationId="{3D17A51B-F3CF-E4FB-00F9-AB2211679969}"/>
          </ac:spMkLst>
        </pc:spChg>
        <pc:spChg chg="add del mod">
          <ac:chgData name="José Antonio Ureta Santacreu" userId="e36999d1-2b92-424a-9e8c-5fde0c5fbdd2" providerId="ADAL" clId="{B441C459-42E0-4465-B296-199851FC6E31}" dt="2024-07-31T09:36:55.698" v="301" actId="700"/>
          <ac:spMkLst>
            <pc:docMk/>
            <pc:sldMk cId="3233189296" sldId="1257"/>
            <ac:spMk id="7" creationId="{B822E6F5-6B1B-DD55-9854-7651E4D7E15C}"/>
          </ac:spMkLst>
        </pc:spChg>
        <pc:spChg chg="add del mod ord">
          <ac:chgData name="José Antonio Ureta Santacreu" userId="e36999d1-2b92-424a-9e8c-5fde0c5fbdd2" providerId="ADAL" clId="{B441C459-42E0-4465-B296-199851FC6E31}" dt="2024-07-31T09:37:43.709" v="303"/>
          <ac:spMkLst>
            <pc:docMk/>
            <pc:sldMk cId="3233189296" sldId="1257"/>
            <ac:spMk id="8" creationId="{1212E7E5-1C30-30B3-0647-A7EFE2C6424E}"/>
          </ac:spMkLst>
        </pc:spChg>
        <pc:spChg chg="add del mod">
          <ac:chgData name="José Antonio Ureta Santacreu" userId="e36999d1-2b92-424a-9e8c-5fde0c5fbdd2" providerId="ADAL" clId="{B441C459-42E0-4465-B296-199851FC6E31}" dt="2024-09-11T11:12:14.001" v="3782" actId="6264"/>
          <ac:spMkLst>
            <pc:docMk/>
            <pc:sldMk cId="3233189296" sldId="1257"/>
            <ac:spMk id="8" creationId="{2581EE08-7D90-EB13-54D4-06D24C6C9D9B}"/>
          </ac:spMkLst>
        </pc:spChg>
        <pc:spChg chg="add del mod">
          <ac:chgData name="José Antonio Ureta Santacreu" userId="e36999d1-2b92-424a-9e8c-5fde0c5fbdd2" providerId="ADAL" clId="{B441C459-42E0-4465-B296-199851FC6E31}" dt="2024-09-11T11:12:14.001" v="3782" actId="6264"/>
          <ac:spMkLst>
            <pc:docMk/>
            <pc:sldMk cId="3233189296" sldId="1257"/>
            <ac:spMk id="10" creationId="{70A5ADAA-299C-C0C6-EB48-112D85119B58}"/>
          </ac:spMkLst>
        </pc:spChg>
        <pc:spChg chg="add del mod">
          <ac:chgData name="José Antonio Ureta Santacreu" userId="e36999d1-2b92-424a-9e8c-5fde0c5fbdd2" providerId="ADAL" clId="{B441C459-42E0-4465-B296-199851FC6E31}" dt="2024-09-11T11:12:14.001" v="3782" actId="6264"/>
          <ac:spMkLst>
            <pc:docMk/>
            <pc:sldMk cId="3233189296" sldId="1257"/>
            <ac:spMk id="11" creationId="{793D9260-0384-90FC-2ACC-FD7A4A716C58}"/>
          </ac:spMkLst>
        </pc:spChg>
        <pc:spChg chg="add del mod">
          <ac:chgData name="José Antonio Ureta Santacreu" userId="e36999d1-2b92-424a-9e8c-5fde0c5fbdd2" providerId="ADAL" clId="{B441C459-42E0-4465-B296-199851FC6E31}" dt="2024-09-11T11:12:14.001" v="3782" actId="6264"/>
          <ac:spMkLst>
            <pc:docMk/>
            <pc:sldMk cId="3233189296" sldId="1257"/>
            <ac:spMk id="12" creationId="{15CFDAB5-408A-894D-18B1-F8899EC14712}"/>
          </ac:spMkLst>
        </pc:spChg>
        <pc:spChg chg="del">
          <ac:chgData name="José Antonio Ureta Santacreu" userId="e36999d1-2b92-424a-9e8c-5fde0c5fbdd2" providerId="ADAL" clId="{B441C459-42E0-4465-B296-199851FC6E31}" dt="2024-07-31T09:36:49.854" v="300" actId="478"/>
          <ac:spMkLst>
            <pc:docMk/>
            <pc:sldMk cId="3233189296" sldId="1257"/>
            <ac:spMk id="15" creationId="{8EAE8990-37BD-B662-850A-BB99A9A4781F}"/>
          </ac:spMkLst>
        </pc:spChg>
        <pc:spChg chg="mod ord">
          <ac:chgData name="José Antonio Ureta Santacreu" userId="e36999d1-2b92-424a-9e8c-5fde0c5fbdd2" providerId="ADAL" clId="{B441C459-42E0-4465-B296-199851FC6E31}" dt="2024-09-11T11:12:14.001" v="3782" actId="6264"/>
          <ac:spMkLst>
            <pc:docMk/>
            <pc:sldMk cId="3233189296" sldId="1257"/>
            <ac:spMk id="16" creationId="{0BAE3085-0B4E-7AD0-5982-233A5994002F}"/>
          </ac:spMkLst>
        </pc:spChg>
        <pc:spChg chg="del mod">
          <ac:chgData name="José Antonio Ureta Santacreu" userId="e36999d1-2b92-424a-9e8c-5fde0c5fbdd2" providerId="ADAL" clId="{B441C459-42E0-4465-B296-199851FC6E31}" dt="2024-07-31T09:36:49.854" v="300" actId="478"/>
          <ac:spMkLst>
            <pc:docMk/>
            <pc:sldMk cId="3233189296" sldId="1257"/>
            <ac:spMk id="17" creationId="{5D59D2F5-978A-7D93-F90E-5B66B8A1608A}"/>
          </ac:spMkLst>
        </pc:spChg>
        <pc:spChg chg="del mod ord">
          <ac:chgData name="José Antonio Ureta Santacreu" userId="e36999d1-2b92-424a-9e8c-5fde0c5fbdd2" providerId="ADAL" clId="{B441C459-42E0-4465-B296-199851FC6E31}" dt="2024-07-31T09:36:55.698" v="301" actId="700"/>
          <ac:spMkLst>
            <pc:docMk/>
            <pc:sldMk cId="3233189296" sldId="1257"/>
            <ac:spMk id="18" creationId="{82D10C5B-E736-AF2E-748A-300BB44ACA0C}"/>
          </ac:spMkLst>
        </pc:spChg>
        <pc:picChg chg="add mod ord">
          <ac:chgData name="José Antonio Ureta Santacreu" userId="e36999d1-2b92-424a-9e8c-5fde0c5fbdd2" providerId="ADAL" clId="{B441C459-42E0-4465-B296-199851FC6E31}" dt="2024-09-11T11:12:14.001" v="3782" actId="6264"/>
          <ac:picMkLst>
            <pc:docMk/>
            <pc:sldMk cId="3233189296" sldId="1257"/>
            <ac:picMk id="9" creationId="{4674A58B-0D51-616A-A96C-19F87982A3A0}"/>
          </ac:picMkLst>
        </pc:picChg>
      </pc:sldChg>
      <pc:sldChg chg="addSp delSp modSp new mod chgLayout">
        <pc:chgData name="José Antonio Ureta Santacreu" userId="e36999d1-2b92-424a-9e8c-5fde0c5fbdd2" providerId="ADAL" clId="{B441C459-42E0-4465-B296-199851FC6E31}" dt="2024-09-11T11:12:14.001" v="3782" actId="6264"/>
        <pc:sldMkLst>
          <pc:docMk/>
          <pc:sldMk cId="101584078" sldId="1258"/>
        </pc:sldMkLst>
        <pc:spChg chg="mod ord">
          <ac:chgData name="José Antonio Ureta Santacreu" userId="e36999d1-2b92-424a-9e8c-5fde0c5fbdd2" providerId="ADAL" clId="{B441C459-42E0-4465-B296-199851FC6E31}" dt="2024-09-11T11:12:14.001" v="3782" actId="6264"/>
          <ac:spMkLst>
            <pc:docMk/>
            <pc:sldMk cId="101584078" sldId="1258"/>
            <ac:spMk id="2" creationId="{60B1FF1F-606C-5F44-22C8-7EE63D1344C2}"/>
          </ac:spMkLst>
        </pc:spChg>
        <pc:spChg chg="mod ord">
          <ac:chgData name="José Antonio Ureta Santacreu" userId="e36999d1-2b92-424a-9e8c-5fde0c5fbdd2" providerId="ADAL" clId="{B441C459-42E0-4465-B296-199851FC6E31}" dt="2024-09-11T11:12:14.001" v="3782" actId="6264"/>
          <ac:spMkLst>
            <pc:docMk/>
            <pc:sldMk cId="101584078" sldId="1258"/>
            <ac:spMk id="3" creationId="{99065DCB-7CE3-2BA5-AE7D-B5A5A83BCC2E}"/>
          </ac:spMkLst>
        </pc:spChg>
        <pc:spChg chg="mod ord">
          <ac:chgData name="José Antonio Ureta Santacreu" userId="e36999d1-2b92-424a-9e8c-5fde0c5fbdd2" providerId="ADAL" clId="{B441C459-42E0-4465-B296-199851FC6E31}" dt="2024-09-11T11:12:14.001" v="3782" actId="6264"/>
          <ac:spMkLst>
            <pc:docMk/>
            <pc:sldMk cId="101584078" sldId="1258"/>
            <ac:spMk id="4" creationId="{DDE288A7-E99A-6F90-C073-E538B0896EA6}"/>
          </ac:spMkLst>
        </pc:spChg>
        <pc:spChg chg="mod ord">
          <ac:chgData name="José Antonio Ureta Santacreu" userId="e36999d1-2b92-424a-9e8c-5fde0c5fbdd2" providerId="ADAL" clId="{B441C459-42E0-4465-B296-199851FC6E31}" dt="2024-09-11T11:12:14.001" v="3782" actId="6264"/>
          <ac:spMkLst>
            <pc:docMk/>
            <pc:sldMk cId="101584078" sldId="1258"/>
            <ac:spMk id="5" creationId="{3BDDC7C8-284C-F232-A890-E8F502243F89}"/>
          </ac:spMkLst>
        </pc:spChg>
        <pc:spChg chg="add del mod">
          <ac:chgData name="José Antonio Ureta Santacreu" userId="e36999d1-2b92-424a-9e8c-5fde0c5fbdd2" providerId="ADAL" clId="{B441C459-42E0-4465-B296-199851FC6E31}" dt="2024-09-11T11:12:14.001" v="3782" actId="6264"/>
          <ac:spMkLst>
            <pc:docMk/>
            <pc:sldMk cId="101584078" sldId="1258"/>
            <ac:spMk id="6" creationId="{5B989A7B-21B0-B1DA-BFCF-E39360B6CCDB}"/>
          </ac:spMkLst>
        </pc:spChg>
        <pc:spChg chg="del">
          <ac:chgData name="José Antonio Ureta Santacreu" userId="e36999d1-2b92-424a-9e8c-5fde0c5fbdd2" providerId="ADAL" clId="{B441C459-42E0-4465-B296-199851FC6E31}" dt="2024-07-31T09:36:26.356" v="291"/>
          <ac:spMkLst>
            <pc:docMk/>
            <pc:sldMk cId="101584078" sldId="1258"/>
            <ac:spMk id="6" creationId="{8C4F4497-DB60-86C0-7D4E-07117B571AAD}"/>
          </ac:spMkLst>
        </pc:spChg>
        <pc:spChg chg="mod ord">
          <ac:chgData name="José Antonio Ureta Santacreu" userId="e36999d1-2b92-424a-9e8c-5fde0c5fbdd2" providerId="ADAL" clId="{B441C459-42E0-4465-B296-199851FC6E31}" dt="2024-09-11T11:12:14.001" v="3782" actId="6264"/>
          <ac:spMkLst>
            <pc:docMk/>
            <pc:sldMk cId="101584078" sldId="1258"/>
            <ac:spMk id="7" creationId="{BCCC0D54-C5C2-6E35-17FE-3EBB6A02A1D3}"/>
          </ac:spMkLst>
        </pc:spChg>
        <pc:spChg chg="add del mod">
          <ac:chgData name="José Antonio Ureta Santacreu" userId="e36999d1-2b92-424a-9e8c-5fde0c5fbdd2" providerId="ADAL" clId="{B441C459-42E0-4465-B296-199851FC6E31}" dt="2024-09-11T11:12:14.001" v="3782" actId="6264"/>
          <ac:spMkLst>
            <pc:docMk/>
            <pc:sldMk cId="101584078" sldId="1258"/>
            <ac:spMk id="9" creationId="{1131B996-F96C-F46B-E6EE-A54C5AB1C262}"/>
          </ac:spMkLst>
        </pc:spChg>
        <pc:spChg chg="add del mod">
          <ac:chgData name="José Antonio Ureta Santacreu" userId="e36999d1-2b92-424a-9e8c-5fde0c5fbdd2" providerId="ADAL" clId="{B441C459-42E0-4465-B296-199851FC6E31}" dt="2024-09-11T11:12:14.001" v="3782" actId="6264"/>
          <ac:spMkLst>
            <pc:docMk/>
            <pc:sldMk cId="101584078" sldId="1258"/>
            <ac:spMk id="10" creationId="{FFC45911-536D-6227-470B-2FCE79F88EE5}"/>
          </ac:spMkLst>
        </pc:spChg>
        <pc:spChg chg="add del mod">
          <ac:chgData name="José Antonio Ureta Santacreu" userId="e36999d1-2b92-424a-9e8c-5fde0c5fbdd2" providerId="ADAL" clId="{B441C459-42E0-4465-B296-199851FC6E31}" dt="2024-09-11T11:12:14.001" v="3782" actId="6264"/>
          <ac:spMkLst>
            <pc:docMk/>
            <pc:sldMk cId="101584078" sldId="1258"/>
            <ac:spMk id="11" creationId="{C27B5625-C841-A1D3-9FAB-1B44F452750C}"/>
          </ac:spMkLst>
        </pc:spChg>
        <pc:spChg chg="add del mod">
          <ac:chgData name="José Antonio Ureta Santacreu" userId="e36999d1-2b92-424a-9e8c-5fde0c5fbdd2" providerId="ADAL" clId="{B441C459-42E0-4465-B296-199851FC6E31}" dt="2024-09-11T11:12:14.001" v="3782" actId="6264"/>
          <ac:spMkLst>
            <pc:docMk/>
            <pc:sldMk cId="101584078" sldId="1258"/>
            <ac:spMk id="12" creationId="{111B3379-0DDB-745B-24D6-FF23ADED84FC}"/>
          </ac:spMkLst>
        </pc:spChg>
        <pc:spChg chg="add del mod">
          <ac:chgData name="José Antonio Ureta Santacreu" userId="e36999d1-2b92-424a-9e8c-5fde0c5fbdd2" providerId="ADAL" clId="{B441C459-42E0-4465-B296-199851FC6E31}" dt="2024-09-11T11:12:14.001" v="3782" actId="6264"/>
          <ac:spMkLst>
            <pc:docMk/>
            <pc:sldMk cId="101584078" sldId="1258"/>
            <ac:spMk id="13" creationId="{5EF07F4A-F301-4BFA-D047-F206B3A75722}"/>
          </ac:spMkLst>
        </pc:spChg>
        <pc:picChg chg="add mod ord">
          <ac:chgData name="José Antonio Ureta Santacreu" userId="e36999d1-2b92-424a-9e8c-5fde0c5fbdd2" providerId="ADAL" clId="{B441C459-42E0-4465-B296-199851FC6E31}" dt="2024-09-11T11:12:14.001" v="3782" actId="6264"/>
          <ac:picMkLst>
            <pc:docMk/>
            <pc:sldMk cId="101584078" sldId="1258"/>
            <ac:picMk id="8" creationId="{6ADB4943-8921-F4A7-AEA9-228F09183F34}"/>
          </ac:picMkLst>
        </pc:picChg>
      </pc:sldChg>
      <pc:sldChg chg="addSp delSp modSp new mod modClrScheme chgLayout">
        <pc:chgData name="José Antonio Ureta Santacreu" userId="e36999d1-2b92-424a-9e8c-5fde0c5fbdd2" providerId="ADAL" clId="{B441C459-42E0-4465-B296-199851FC6E31}" dt="2024-09-11T11:12:14.001" v="3782" actId="6264"/>
        <pc:sldMkLst>
          <pc:docMk/>
          <pc:sldMk cId="3005157023" sldId="1259"/>
        </pc:sldMkLst>
        <pc:spChg chg="mod ord">
          <ac:chgData name="José Antonio Ureta Santacreu" userId="e36999d1-2b92-424a-9e8c-5fde0c5fbdd2" providerId="ADAL" clId="{B441C459-42E0-4465-B296-199851FC6E31}" dt="2024-09-11T11:12:14.001" v="3782" actId="6264"/>
          <ac:spMkLst>
            <pc:docMk/>
            <pc:sldMk cId="3005157023" sldId="1259"/>
            <ac:spMk id="2" creationId="{70516E18-463E-5A71-AF88-F6EA24B5A8F3}"/>
          </ac:spMkLst>
        </pc:spChg>
        <pc:spChg chg="mod ord">
          <ac:chgData name="José Antonio Ureta Santacreu" userId="e36999d1-2b92-424a-9e8c-5fde0c5fbdd2" providerId="ADAL" clId="{B441C459-42E0-4465-B296-199851FC6E31}" dt="2024-09-11T11:12:14.001" v="3782" actId="6264"/>
          <ac:spMkLst>
            <pc:docMk/>
            <pc:sldMk cId="3005157023" sldId="1259"/>
            <ac:spMk id="3" creationId="{9C2A2552-704D-1390-82D0-A5EDBA31A772}"/>
          </ac:spMkLst>
        </pc:spChg>
        <pc:spChg chg="mod ord">
          <ac:chgData name="José Antonio Ureta Santacreu" userId="e36999d1-2b92-424a-9e8c-5fde0c5fbdd2" providerId="ADAL" clId="{B441C459-42E0-4465-B296-199851FC6E31}" dt="2024-09-11T11:12:14.001" v="3782" actId="6264"/>
          <ac:spMkLst>
            <pc:docMk/>
            <pc:sldMk cId="3005157023" sldId="1259"/>
            <ac:spMk id="4" creationId="{21AD334E-F97C-CB46-CA1E-AE8E20C99F81}"/>
          </ac:spMkLst>
        </pc:spChg>
        <pc:spChg chg="mod ord">
          <ac:chgData name="José Antonio Ureta Santacreu" userId="e36999d1-2b92-424a-9e8c-5fde0c5fbdd2" providerId="ADAL" clId="{B441C459-42E0-4465-B296-199851FC6E31}" dt="2024-09-11T11:12:14.001" v="3782" actId="6264"/>
          <ac:spMkLst>
            <pc:docMk/>
            <pc:sldMk cId="3005157023" sldId="1259"/>
            <ac:spMk id="5" creationId="{72BFF9DF-E4FC-328B-0C80-B8F21C100A2C}"/>
          </ac:spMkLst>
        </pc:spChg>
        <pc:spChg chg="add del mod ord">
          <ac:chgData name="José Antonio Ureta Santacreu" userId="e36999d1-2b92-424a-9e8c-5fde0c5fbdd2" providerId="ADAL" clId="{B441C459-42E0-4465-B296-199851FC6E31}" dt="2024-07-31T10:36:43.824" v="880"/>
          <ac:spMkLst>
            <pc:docMk/>
            <pc:sldMk cId="3005157023" sldId="1259"/>
            <ac:spMk id="6" creationId="{62CEF1E0-C4A9-EC22-231C-2489ACADAFBA}"/>
          </ac:spMkLst>
        </pc:spChg>
        <pc:spChg chg="add del mod">
          <ac:chgData name="José Antonio Ureta Santacreu" userId="e36999d1-2b92-424a-9e8c-5fde0c5fbdd2" providerId="ADAL" clId="{B441C459-42E0-4465-B296-199851FC6E31}" dt="2024-09-11T11:12:14.001" v="3782" actId="6264"/>
          <ac:spMkLst>
            <pc:docMk/>
            <pc:sldMk cId="3005157023" sldId="1259"/>
            <ac:spMk id="6" creationId="{E02D5476-E3BB-71D8-040E-9F4C9EC6764C}"/>
          </ac:spMkLst>
        </pc:spChg>
        <pc:spChg chg="add del mod">
          <ac:chgData name="José Antonio Ureta Santacreu" userId="e36999d1-2b92-424a-9e8c-5fde0c5fbdd2" providerId="ADAL" clId="{B441C459-42E0-4465-B296-199851FC6E31}" dt="2024-09-11T11:12:14.001" v="3782" actId="6264"/>
          <ac:spMkLst>
            <pc:docMk/>
            <pc:sldMk cId="3005157023" sldId="1259"/>
            <ac:spMk id="7" creationId="{F1BAA4B1-A0C3-952D-F614-76F055BED243}"/>
          </ac:spMkLst>
        </pc:spChg>
        <pc:spChg chg="add del mod">
          <ac:chgData name="José Antonio Ureta Santacreu" userId="e36999d1-2b92-424a-9e8c-5fde0c5fbdd2" providerId="ADAL" clId="{B441C459-42E0-4465-B296-199851FC6E31}" dt="2024-09-11T11:12:14.001" v="3782" actId="6264"/>
          <ac:spMkLst>
            <pc:docMk/>
            <pc:sldMk cId="3005157023" sldId="1259"/>
            <ac:spMk id="8" creationId="{E2F16196-DA79-F9FF-CB96-C85F08D85F2D}"/>
          </ac:spMkLst>
        </pc:spChg>
        <pc:spChg chg="add del mod">
          <ac:chgData name="José Antonio Ureta Santacreu" userId="e36999d1-2b92-424a-9e8c-5fde0c5fbdd2" providerId="ADAL" clId="{B441C459-42E0-4465-B296-199851FC6E31}" dt="2024-09-11T11:12:14.001" v="3782" actId="6264"/>
          <ac:spMkLst>
            <pc:docMk/>
            <pc:sldMk cId="3005157023" sldId="1259"/>
            <ac:spMk id="9" creationId="{1F00A047-5419-DDC1-B7CC-595296811228}"/>
          </ac:spMkLst>
        </pc:spChg>
        <pc:spChg chg="add del mod">
          <ac:chgData name="José Antonio Ureta Santacreu" userId="e36999d1-2b92-424a-9e8c-5fde0c5fbdd2" providerId="ADAL" clId="{B441C459-42E0-4465-B296-199851FC6E31}" dt="2024-09-11T11:12:14.001" v="3782" actId="6264"/>
          <ac:spMkLst>
            <pc:docMk/>
            <pc:sldMk cId="3005157023" sldId="1259"/>
            <ac:spMk id="10" creationId="{F622ADC4-A5A5-5287-4757-E3FCEAC48B7D}"/>
          </ac:spMkLst>
        </pc:spChg>
        <pc:picChg chg="add mod ord">
          <ac:chgData name="José Antonio Ureta Santacreu" userId="e36999d1-2b92-424a-9e8c-5fde0c5fbdd2" providerId="ADAL" clId="{B441C459-42E0-4465-B296-199851FC6E31}" dt="2024-09-11T11:12:14.001" v="3782" actId="6264"/>
          <ac:picMkLst>
            <pc:docMk/>
            <pc:sldMk cId="3005157023" sldId="1259"/>
            <ac:picMk id="1026" creationId="{2A3FCA57-BB0B-3291-3FD3-C461A44AF4EB}"/>
          </ac:picMkLst>
        </pc:picChg>
      </pc:sldChg>
      <pc:sldChg chg="addSp delSp modSp new mod chgLayout">
        <pc:chgData name="José Antonio Ureta Santacreu" userId="e36999d1-2b92-424a-9e8c-5fde0c5fbdd2" providerId="ADAL" clId="{B441C459-42E0-4465-B296-199851FC6E31}" dt="2024-09-11T11:12:14.001" v="3782" actId="6264"/>
        <pc:sldMkLst>
          <pc:docMk/>
          <pc:sldMk cId="3420494054" sldId="1260"/>
        </pc:sldMkLst>
        <pc:spChg chg="mod ord">
          <ac:chgData name="José Antonio Ureta Santacreu" userId="e36999d1-2b92-424a-9e8c-5fde0c5fbdd2" providerId="ADAL" clId="{B441C459-42E0-4465-B296-199851FC6E31}" dt="2024-09-11T11:12:14.001" v="3782" actId="6264"/>
          <ac:spMkLst>
            <pc:docMk/>
            <pc:sldMk cId="3420494054" sldId="1260"/>
            <ac:spMk id="2" creationId="{8E896088-7D3E-A3F7-ACF5-D6B9D702198C}"/>
          </ac:spMkLst>
        </pc:spChg>
        <pc:spChg chg="mod ord">
          <ac:chgData name="José Antonio Ureta Santacreu" userId="e36999d1-2b92-424a-9e8c-5fde0c5fbdd2" providerId="ADAL" clId="{B441C459-42E0-4465-B296-199851FC6E31}" dt="2024-09-11T11:12:14.001" v="3782" actId="6264"/>
          <ac:spMkLst>
            <pc:docMk/>
            <pc:sldMk cId="3420494054" sldId="1260"/>
            <ac:spMk id="3" creationId="{59774931-53CC-2B78-3F67-DEEDD67E0121}"/>
          </ac:spMkLst>
        </pc:spChg>
        <pc:spChg chg="mod ord">
          <ac:chgData name="José Antonio Ureta Santacreu" userId="e36999d1-2b92-424a-9e8c-5fde0c5fbdd2" providerId="ADAL" clId="{B441C459-42E0-4465-B296-199851FC6E31}" dt="2024-09-11T11:12:14.001" v="3782" actId="6264"/>
          <ac:spMkLst>
            <pc:docMk/>
            <pc:sldMk cId="3420494054" sldId="1260"/>
            <ac:spMk id="4" creationId="{3F779956-412D-1E6C-198A-87FAAA327E29}"/>
          </ac:spMkLst>
        </pc:spChg>
        <pc:spChg chg="mod ord">
          <ac:chgData name="José Antonio Ureta Santacreu" userId="e36999d1-2b92-424a-9e8c-5fde0c5fbdd2" providerId="ADAL" clId="{B441C459-42E0-4465-B296-199851FC6E31}" dt="2024-09-11T11:12:14.001" v="3782" actId="6264"/>
          <ac:spMkLst>
            <pc:docMk/>
            <pc:sldMk cId="3420494054" sldId="1260"/>
            <ac:spMk id="5" creationId="{912203A8-704C-5350-C0C2-6A273675505C}"/>
          </ac:spMkLst>
        </pc:spChg>
        <pc:spChg chg="add del mod">
          <ac:chgData name="José Antonio Ureta Santacreu" userId="e36999d1-2b92-424a-9e8c-5fde0c5fbdd2" providerId="ADAL" clId="{B441C459-42E0-4465-B296-199851FC6E31}" dt="2024-09-11T11:12:14.001" v="3782" actId="6264"/>
          <ac:spMkLst>
            <pc:docMk/>
            <pc:sldMk cId="3420494054" sldId="1260"/>
            <ac:spMk id="6" creationId="{A5D53F35-7019-A670-1A30-9D4D3F62BB52}"/>
          </ac:spMkLst>
        </pc:spChg>
        <pc:spChg chg="del">
          <ac:chgData name="José Antonio Ureta Santacreu" userId="e36999d1-2b92-424a-9e8c-5fde0c5fbdd2" providerId="ADAL" clId="{B441C459-42E0-4465-B296-199851FC6E31}" dt="2024-07-31T09:45:27.066" v="332"/>
          <ac:spMkLst>
            <pc:docMk/>
            <pc:sldMk cId="3420494054" sldId="1260"/>
            <ac:spMk id="6" creationId="{E5F4C546-471D-23ED-A315-88EBE349EA55}"/>
          </ac:spMkLst>
        </pc:spChg>
        <pc:spChg chg="mod ord">
          <ac:chgData name="José Antonio Ureta Santacreu" userId="e36999d1-2b92-424a-9e8c-5fde0c5fbdd2" providerId="ADAL" clId="{B441C459-42E0-4465-B296-199851FC6E31}" dt="2024-09-11T11:12:14.001" v="3782" actId="6264"/>
          <ac:spMkLst>
            <pc:docMk/>
            <pc:sldMk cId="3420494054" sldId="1260"/>
            <ac:spMk id="7" creationId="{AE012313-5092-E1BF-9BF3-4ACC7833C266}"/>
          </ac:spMkLst>
        </pc:spChg>
        <pc:spChg chg="add del mod">
          <ac:chgData name="José Antonio Ureta Santacreu" userId="e36999d1-2b92-424a-9e8c-5fde0c5fbdd2" providerId="ADAL" clId="{B441C459-42E0-4465-B296-199851FC6E31}" dt="2024-09-11T11:12:14.001" v="3782" actId="6264"/>
          <ac:spMkLst>
            <pc:docMk/>
            <pc:sldMk cId="3420494054" sldId="1260"/>
            <ac:spMk id="9" creationId="{2893EE63-9FAB-DDA5-827A-49FF7A6FB1E2}"/>
          </ac:spMkLst>
        </pc:spChg>
        <pc:spChg chg="add del mod">
          <ac:chgData name="José Antonio Ureta Santacreu" userId="e36999d1-2b92-424a-9e8c-5fde0c5fbdd2" providerId="ADAL" clId="{B441C459-42E0-4465-B296-199851FC6E31}" dt="2024-09-11T11:12:14.001" v="3782" actId="6264"/>
          <ac:spMkLst>
            <pc:docMk/>
            <pc:sldMk cId="3420494054" sldId="1260"/>
            <ac:spMk id="10" creationId="{AE57040F-3287-A1F4-26C8-C4E042C1AF82}"/>
          </ac:spMkLst>
        </pc:spChg>
        <pc:spChg chg="add del mod">
          <ac:chgData name="José Antonio Ureta Santacreu" userId="e36999d1-2b92-424a-9e8c-5fde0c5fbdd2" providerId="ADAL" clId="{B441C459-42E0-4465-B296-199851FC6E31}" dt="2024-09-11T11:12:14.001" v="3782" actId="6264"/>
          <ac:spMkLst>
            <pc:docMk/>
            <pc:sldMk cId="3420494054" sldId="1260"/>
            <ac:spMk id="11" creationId="{30CF4B2C-159B-EA7F-9924-323ADF349B16}"/>
          </ac:spMkLst>
        </pc:spChg>
        <pc:spChg chg="add del mod">
          <ac:chgData name="José Antonio Ureta Santacreu" userId="e36999d1-2b92-424a-9e8c-5fde0c5fbdd2" providerId="ADAL" clId="{B441C459-42E0-4465-B296-199851FC6E31}" dt="2024-09-11T11:12:14.001" v="3782" actId="6264"/>
          <ac:spMkLst>
            <pc:docMk/>
            <pc:sldMk cId="3420494054" sldId="1260"/>
            <ac:spMk id="12" creationId="{3C55BE15-23E3-E38D-8215-446D86C8BEFF}"/>
          </ac:spMkLst>
        </pc:spChg>
        <pc:spChg chg="add del mod">
          <ac:chgData name="José Antonio Ureta Santacreu" userId="e36999d1-2b92-424a-9e8c-5fde0c5fbdd2" providerId="ADAL" clId="{B441C459-42E0-4465-B296-199851FC6E31}" dt="2024-09-11T11:12:14.001" v="3782" actId="6264"/>
          <ac:spMkLst>
            <pc:docMk/>
            <pc:sldMk cId="3420494054" sldId="1260"/>
            <ac:spMk id="13" creationId="{11A54013-EB9C-6D13-56D1-5905DE39A4C7}"/>
          </ac:spMkLst>
        </pc:spChg>
        <pc:picChg chg="add mod ord">
          <ac:chgData name="José Antonio Ureta Santacreu" userId="e36999d1-2b92-424a-9e8c-5fde0c5fbdd2" providerId="ADAL" clId="{B441C459-42E0-4465-B296-199851FC6E31}" dt="2024-09-11T11:12:14.001" v="3782" actId="6264"/>
          <ac:picMkLst>
            <pc:docMk/>
            <pc:sldMk cId="3420494054" sldId="1260"/>
            <ac:picMk id="8" creationId="{837C3F7C-477C-4C9E-2A76-9AAB776D7D76}"/>
          </ac:picMkLst>
        </pc:picChg>
      </pc:sldChg>
      <pc:sldChg chg="addSp delSp modSp new mod modClrScheme chgLayout">
        <pc:chgData name="José Antonio Ureta Santacreu" userId="e36999d1-2b92-424a-9e8c-5fde0c5fbdd2" providerId="ADAL" clId="{B441C459-42E0-4465-B296-199851FC6E31}" dt="2024-09-12T15:53:07.926" v="5239"/>
        <pc:sldMkLst>
          <pc:docMk/>
          <pc:sldMk cId="1260027311" sldId="1261"/>
        </pc:sldMkLst>
        <pc:spChg chg="add del mod">
          <ac:chgData name="José Antonio Ureta Santacreu" userId="e36999d1-2b92-424a-9e8c-5fde0c5fbdd2" providerId="ADAL" clId="{B441C459-42E0-4465-B296-199851FC6E31}" dt="2024-09-11T11:12:14.001" v="3782" actId="6264"/>
          <ac:spMkLst>
            <pc:docMk/>
            <pc:sldMk cId="1260027311" sldId="1261"/>
            <ac:spMk id="2" creationId="{59A7AB63-3BD0-929A-8728-3E15D3AA24A8}"/>
          </ac:spMkLst>
        </pc:spChg>
        <pc:spChg chg="del mod ord">
          <ac:chgData name="José Antonio Ureta Santacreu" userId="e36999d1-2b92-424a-9e8c-5fde0c5fbdd2" providerId="ADAL" clId="{B441C459-42E0-4465-B296-199851FC6E31}" dt="2024-07-31T09:49:58.252" v="386" actId="700"/>
          <ac:spMkLst>
            <pc:docMk/>
            <pc:sldMk cId="1260027311" sldId="1261"/>
            <ac:spMk id="2" creationId="{C59D9786-E509-7D88-B70E-929DED5C6E66}"/>
          </ac:spMkLst>
        </pc:spChg>
        <pc:spChg chg="mod ord">
          <ac:chgData name="José Antonio Ureta Santacreu" userId="e36999d1-2b92-424a-9e8c-5fde0c5fbdd2" providerId="ADAL" clId="{B441C459-42E0-4465-B296-199851FC6E31}" dt="2024-09-11T11:12:14.001" v="3782" actId="6264"/>
          <ac:spMkLst>
            <pc:docMk/>
            <pc:sldMk cId="1260027311" sldId="1261"/>
            <ac:spMk id="3" creationId="{E8305692-CAE8-537E-F031-5D2439C093DE}"/>
          </ac:spMkLst>
        </pc:spChg>
        <pc:spChg chg="mod ord">
          <ac:chgData name="José Antonio Ureta Santacreu" userId="e36999d1-2b92-424a-9e8c-5fde0c5fbdd2" providerId="ADAL" clId="{B441C459-42E0-4465-B296-199851FC6E31}" dt="2024-09-11T11:12:14.001" v="3782" actId="6264"/>
          <ac:spMkLst>
            <pc:docMk/>
            <pc:sldMk cId="1260027311" sldId="1261"/>
            <ac:spMk id="4" creationId="{6F7319A8-3201-9ACD-C64C-77EA2A983065}"/>
          </ac:spMkLst>
        </pc:spChg>
        <pc:spChg chg="mod ord">
          <ac:chgData name="José Antonio Ureta Santacreu" userId="e36999d1-2b92-424a-9e8c-5fde0c5fbdd2" providerId="ADAL" clId="{B441C459-42E0-4465-B296-199851FC6E31}" dt="2024-09-11T11:12:14.001" v="3782" actId="6264"/>
          <ac:spMkLst>
            <pc:docMk/>
            <pc:sldMk cId="1260027311" sldId="1261"/>
            <ac:spMk id="5" creationId="{A6D30A12-EEA8-B6C0-E586-B15077CF8C19}"/>
          </ac:spMkLst>
        </pc:spChg>
        <pc:spChg chg="add mod ord">
          <ac:chgData name="José Antonio Ureta Santacreu" userId="e36999d1-2b92-424a-9e8c-5fde0c5fbdd2" providerId="ADAL" clId="{B441C459-42E0-4465-B296-199851FC6E31}" dt="2024-09-11T11:12:14.001" v="3782" actId="6264"/>
          <ac:spMkLst>
            <pc:docMk/>
            <pc:sldMk cId="1260027311" sldId="1261"/>
            <ac:spMk id="6" creationId="{BA17995F-8832-D626-57B2-7D9FD29FE001}"/>
          </ac:spMkLst>
        </pc:spChg>
        <pc:spChg chg="add del mod ord">
          <ac:chgData name="José Antonio Ureta Santacreu" userId="e36999d1-2b92-424a-9e8c-5fde0c5fbdd2" providerId="ADAL" clId="{B441C459-42E0-4465-B296-199851FC6E31}" dt="2024-07-31T09:51:20.808" v="404" actId="700"/>
          <ac:spMkLst>
            <pc:docMk/>
            <pc:sldMk cId="1260027311" sldId="1261"/>
            <ac:spMk id="7" creationId="{84211DF6-F490-616D-62B1-4F923902D632}"/>
          </ac:spMkLst>
        </pc:spChg>
        <pc:spChg chg="add del mod">
          <ac:chgData name="José Antonio Ureta Santacreu" userId="e36999d1-2b92-424a-9e8c-5fde0c5fbdd2" providerId="ADAL" clId="{B441C459-42E0-4465-B296-199851FC6E31}" dt="2024-09-11T11:12:14.001" v="3782" actId="6264"/>
          <ac:spMkLst>
            <pc:docMk/>
            <pc:sldMk cId="1260027311" sldId="1261"/>
            <ac:spMk id="7" creationId="{CBCA37B9-3939-ABDC-BC57-309D737E56E5}"/>
          </ac:spMkLst>
        </pc:spChg>
        <pc:spChg chg="add del mod ord">
          <ac:chgData name="José Antonio Ureta Santacreu" userId="e36999d1-2b92-424a-9e8c-5fde0c5fbdd2" providerId="ADAL" clId="{B441C459-42E0-4465-B296-199851FC6E31}" dt="2024-07-31T09:51:20.808" v="404" actId="700"/>
          <ac:spMkLst>
            <pc:docMk/>
            <pc:sldMk cId="1260027311" sldId="1261"/>
            <ac:spMk id="8" creationId="{B7A8D68D-277D-E2BC-1C43-F8ED34803836}"/>
          </ac:spMkLst>
        </pc:spChg>
        <pc:spChg chg="add del mod">
          <ac:chgData name="José Antonio Ureta Santacreu" userId="e36999d1-2b92-424a-9e8c-5fde0c5fbdd2" providerId="ADAL" clId="{B441C459-42E0-4465-B296-199851FC6E31}" dt="2024-09-11T11:12:14.001" v="3782" actId="6264"/>
          <ac:spMkLst>
            <pc:docMk/>
            <pc:sldMk cId="1260027311" sldId="1261"/>
            <ac:spMk id="8" creationId="{C675ACDC-1018-1755-208A-48433B26178D}"/>
          </ac:spMkLst>
        </pc:spChg>
        <pc:spChg chg="add del mod ord">
          <ac:chgData name="José Antonio Ureta Santacreu" userId="e36999d1-2b92-424a-9e8c-5fde0c5fbdd2" providerId="ADAL" clId="{B441C459-42E0-4465-B296-199851FC6E31}" dt="2024-07-31T09:51:28.559" v="405" actId="1032"/>
          <ac:spMkLst>
            <pc:docMk/>
            <pc:sldMk cId="1260027311" sldId="1261"/>
            <ac:spMk id="9" creationId="{D038D752-6DED-0438-5B7B-993C84CC27E0}"/>
          </ac:spMkLst>
        </pc:spChg>
        <pc:spChg chg="add del mod">
          <ac:chgData name="José Antonio Ureta Santacreu" userId="e36999d1-2b92-424a-9e8c-5fde0c5fbdd2" providerId="ADAL" clId="{B441C459-42E0-4465-B296-199851FC6E31}" dt="2024-09-11T11:12:14.001" v="3782" actId="6264"/>
          <ac:spMkLst>
            <pc:docMk/>
            <pc:sldMk cId="1260027311" sldId="1261"/>
            <ac:spMk id="9" creationId="{E002F8E8-2B38-8E92-06AE-3D69348D69BA}"/>
          </ac:spMkLst>
        </pc:spChg>
        <pc:spChg chg="add del mod">
          <ac:chgData name="José Antonio Ureta Santacreu" userId="e36999d1-2b92-424a-9e8c-5fde0c5fbdd2" providerId="ADAL" clId="{B441C459-42E0-4465-B296-199851FC6E31}" dt="2024-09-11T11:12:14.001" v="3782" actId="6264"/>
          <ac:spMkLst>
            <pc:docMk/>
            <pc:sldMk cId="1260027311" sldId="1261"/>
            <ac:spMk id="11" creationId="{613EEC90-86A2-5BCB-C2E2-A954FD333B00}"/>
          </ac:spMkLst>
        </pc:spChg>
        <pc:graphicFrameChg chg="add mod ord modGraphic">
          <ac:chgData name="José Antonio Ureta Santacreu" userId="e36999d1-2b92-424a-9e8c-5fde0c5fbdd2" providerId="ADAL" clId="{B441C459-42E0-4465-B296-199851FC6E31}" dt="2024-09-12T15:53:07.926" v="5239"/>
          <ac:graphicFrameMkLst>
            <pc:docMk/>
            <pc:sldMk cId="1260027311" sldId="1261"/>
            <ac:graphicFrameMk id="10" creationId="{3B14B1DA-38FD-88B1-067F-1327F0B9E0F8}"/>
          </ac:graphicFrameMkLst>
        </pc:graphicFrameChg>
      </pc:sldChg>
      <pc:sldChg chg="addSp delSp modSp new del mod modClrScheme chgLayout">
        <pc:chgData name="José Antonio Ureta Santacreu" userId="e36999d1-2b92-424a-9e8c-5fde0c5fbdd2" providerId="ADAL" clId="{B441C459-42E0-4465-B296-199851FC6E31}" dt="2024-07-31T10:08:47.522" v="540" actId="2696"/>
        <pc:sldMkLst>
          <pc:docMk/>
          <pc:sldMk cId="640958658" sldId="1262"/>
        </pc:sldMkLst>
        <pc:spChg chg="del">
          <ac:chgData name="José Antonio Ureta Santacreu" userId="e36999d1-2b92-424a-9e8c-5fde0c5fbdd2" providerId="ADAL" clId="{B441C459-42E0-4465-B296-199851FC6E31}" dt="2024-07-31T09:59:06.718" v="454" actId="700"/>
          <ac:spMkLst>
            <pc:docMk/>
            <pc:sldMk cId="640958658" sldId="1262"/>
            <ac:spMk id="2" creationId="{4239502E-2A37-D7EC-D908-DA4F4BE8A728}"/>
          </ac:spMkLst>
        </pc:spChg>
        <pc:spChg chg="mod ord">
          <ac:chgData name="José Antonio Ureta Santacreu" userId="e36999d1-2b92-424a-9e8c-5fde0c5fbdd2" providerId="ADAL" clId="{B441C459-42E0-4465-B296-199851FC6E31}" dt="2024-07-31T09:59:06.718" v="454" actId="700"/>
          <ac:spMkLst>
            <pc:docMk/>
            <pc:sldMk cId="640958658" sldId="1262"/>
            <ac:spMk id="3" creationId="{4F838428-5EC6-EA56-A840-C9CE9A22C1BB}"/>
          </ac:spMkLst>
        </pc:spChg>
        <pc:spChg chg="mod ord">
          <ac:chgData name="José Antonio Ureta Santacreu" userId="e36999d1-2b92-424a-9e8c-5fde0c5fbdd2" providerId="ADAL" clId="{B441C459-42E0-4465-B296-199851FC6E31}" dt="2024-07-31T09:59:06.718" v="454" actId="700"/>
          <ac:spMkLst>
            <pc:docMk/>
            <pc:sldMk cId="640958658" sldId="1262"/>
            <ac:spMk id="4" creationId="{DF589AF9-7635-05F3-87B2-2B77D8C5A4AF}"/>
          </ac:spMkLst>
        </pc:spChg>
        <pc:spChg chg="mod ord">
          <ac:chgData name="José Antonio Ureta Santacreu" userId="e36999d1-2b92-424a-9e8c-5fde0c5fbdd2" providerId="ADAL" clId="{B441C459-42E0-4465-B296-199851FC6E31}" dt="2024-07-31T09:59:06.718" v="454" actId="700"/>
          <ac:spMkLst>
            <pc:docMk/>
            <pc:sldMk cId="640958658" sldId="1262"/>
            <ac:spMk id="5" creationId="{17C8E0BE-B862-F47F-1B33-6668D257C0E0}"/>
          </ac:spMkLst>
        </pc:spChg>
        <pc:picChg chg="add mod">
          <ac:chgData name="José Antonio Ureta Santacreu" userId="e36999d1-2b92-424a-9e8c-5fde0c5fbdd2" providerId="ADAL" clId="{B441C459-42E0-4465-B296-199851FC6E31}" dt="2024-07-31T09:59:47.352" v="462" actId="408"/>
          <ac:picMkLst>
            <pc:docMk/>
            <pc:sldMk cId="640958658" sldId="1262"/>
            <ac:picMk id="7" creationId="{0636B107-139B-9B43-ACF3-DA3C017C99F3}"/>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2836256701" sldId="1262"/>
        </pc:sldMkLst>
        <pc:spChg chg="add del mod">
          <ac:chgData name="José Antonio Ureta Santacreu" userId="e36999d1-2b92-424a-9e8c-5fde0c5fbdd2" providerId="ADAL" clId="{B441C459-42E0-4465-B296-199851FC6E31}" dt="2024-09-11T11:12:14.001" v="3782" actId="6264"/>
          <ac:spMkLst>
            <pc:docMk/>
            <pc:sldMk cId="2836256701" sldId="1262"/>
            <ac:spMk id="2" creationId="{E3AE009D-1859-835B-DB24-A086A6BBFE40}"/>
          </ac:spMkLst>
        </pc:spChg>
        <pc:spChg chg="mod ord">
          <ac:chgData name="José Antonio Ureta Santacreu" userId="e36999d1-2b92-424a-9e8c-5fde0c5fbdd2" providerId="ADAL" clId="{B441C459-42E0-4465-B296-199851FC6E31}" dt="2024-09-11T11:12:14.001" v="3782" actId="6264"/>
          <ac:spMkLst>
            <pc:docMk/>
            <pc:sldMk cId="2836256701" sldId="1262"/>
            <ac:spMk id="3" creationId="{4F838428-5EC6-EA56-A840-C9CE9A22C1BB}"/>
          </ac:spMkLst>
        </pc:spChg>
        <pc:spChg chg="mod ord">
          <ac:chgData name="José Antonio Ureta Santacreu" userId="e36999d1-2b92-424a-9e8c-5fde0c5fbdd2" providerId="ADAL" clId="{B441C459-42E0-4465-B296-199851FC6E31}" dt="2024-09-11T11:12:14.001" v="3782" actId="6264"/>
          <ac:spMkLst>
            <pc:docMk/>
            <pc:sldMk cId="2836256701" sldId="1262"/>
            <ac:spMk id="4" creationId="{DF589AF9-7635-05F3-87B2-2B77D8C5A4AF}"/>
          </ac:spMkLst>
        </pc:spChg>
        <pc:spChg chg="mod ord">
          <ac:chgData name="José Antonio Ureta Santacreu" userId="e36999d1-2b92-424a-9e8c-5fde0c5fbdd2" providerId="ADAL" clId="{B441C459-42E0-4465-B296-199851FC6E31}" dt="2024-09-11T11:12:14.001" v="3782" actId="6264"/>
          <ac:spMkLst>
            <pc:docMk/>
            <pc:sldMk cId="2836256701" sldId="1262"/>
            <ac:spMk id="5" creationId="{17C8E0BE-B862-F47F-1B33-6668D257C0E0}"/>
          </ac:spMkLst>
        </pc:spChg>
        <pc:spChg chg="add del mod">
          <ac:chgData name="José Antonio Ureta Santacreu" userId="e36999d1-2b92-424a-9e8c-5fde0c5fbdd2" providerId="ADAL" clId="{B441C459-42E0-4465-B296-199851FC6E31}" dt="2024-09-11T11:12:14.001" v="3782" actId="6264"/>
          <ac:spMkLst>
            <pc:docMk/>
            <pc:sldMk cId="2836256701" sldId="1262"/>
            <ac:spMk id="6" creationId="{C117727B-429D-18D3-0A39-3C999A3B458B}"/>
          </ac:spMkLst>
        </pc:spChg>
        <pc:spChg chg="add del mod">
          <ac:chgData name="José Antonio Ureta Santacreu" userId="e36999d1-2b92-424a-9e8c-5fde0c5fbdd2" providerId="ADAL" clId="{B441C459-42E0-4465-B296-199851FC6E31}" dt="2024-09-11T11:12:14.001" v="3782" actId="6264"/>
          <ac:spMkLst>
            <pc:docMk/>
            <pc:sldMk cId="2836256701" sldId="1262"/>
            <ac:spMk id="8" creationId="{52612D4E-D412-C6C8-BD3A-8FFBF9108968}"/>
          </ac:spMkLst>
        </pc:spChg>
      </pc:sldChg>
      <pc:sldChg chg="addSp delSp modSp add mod chgLayout">
        <pc:chgData name="José Antonio Ureta Santacreu" userId="e36999d1-2b92-424a-9e8c-5fde0c5fbdd2" providerId="ADAL" clId="{B441C459-42E0-4465-B296-199851FC6E31}" dt="2024-09-11T11:12:14.001" v="3782" actId="6264"/>
        <pc:sldMkLst>
          <pc:docMk/>
          <pc:sldMk cId="246557744" sldId="1263"/>
        </pc:sldMkLst>
        <pc:spChg chg="mod ord">
          <ac:chgData name="José Antonio Ureta Santacreu" userId="e36999d1-2b92-424a-9e8c-5fde0c5fbdd2" providerId="ADAL" clId="{B441C459-42E0-4465-B296-199851FC6E31}" dt="2024-09-11T11:12:14.001" v="3782" actId="6264"/>
          <ac:spMkLst>
            <pc:docMk/>
            <pc:sldMk cId="246557744" sldId="1263"/>
            <ac:spMk id="2" creationId="{CB09191B-49A4-9BA2-030E-F28E37E12A31}"/>
          </ac:spMkLst>
        </pc:spChg>
        <pc:spChg chg="mod ord">
          <ac:chgData name="José Antonio Ureta Santacreu" userId="e36999d1-2b92-424a-9e8c-5fde0c5fbdd2" providerId="ADAL" clId="{B441C459-42E0-4465-B296-199851FC6E31}" dt="2024-09-11T11:12:14.001" v="3782" actId="6264"/>
          <ac:spMkLst>
            <pc:docMk/>
            <pc:sldMk cId="246557744" sldId="1263"/>
            <ac:spMk id="3" creationId="{3E2CDAE8-96B8-3EEB-4EF2-7CC2E8169361}"/>
          </ac:spMkLst>
        </pc:spChg>
        <pc:spChg chg="mod ord">
          <ac:chgData name="José Antonio Ureta Santacreu" userId="e36999d1-2b92-424a-9e8c-5fde0c5fbdd2" providerId="ADAL" clId="{B441C459-42E0-4465-B296-199851FC6E31}" dt="2024-09-11T11:12:14.001" v="3782" actId="6264"/>
          <ac:spMkLst>
            <pc:docMk/>
            <pc:sldMk cId="246557744" sldId="1263"/>
            <ac:spMk id="4" creationId="{5FCD6594-8CCC-F7B6-407B-8AC11D17988D}"/>
          </ac:spMkLst>
        </pc:spChg>
        <pc:spChg chg="add del mod">
          <ac:chgData name="José Antonio Ureta Santacreu" userId="e36999d1-2b92-424a-9e8c-5fde0c5fbdd2" providerId="ADAL" clId="{B441C459-42E0-4465-B296-199851FC6E31}" dt="2024-09-11T11:12:14.001" v="3782" actId="6264"/>
          <ac:spMkLst>
            <pc:docMk/>
            <pc:sldMk cId="246557744" sldId="1263"/>
            <ac:spMk id="5" creationId="{F6C943B3-E81D-8A08-E806-9283D40DC42D}"/>
          </ac:spMkLst>
        </pc:spChg>
        <pc:spChg chg="add del mod">
          <ac:chgData name="José Antonio Ureta Santacreu" userId="e36999d1-2b92-424a-9e8c-5fde0c5fbdd2" providerId="ADAL" clId="{B441C459-42E0-4465-B296-199851FC6E31}" dt="2024-09-11T11:12:14.001" v="3782" actId="6264"/>
          <ac:spMkLst>
            <pc:docMk/>
            <pc:sldMk cId="246557744" sldId="1263"/>
            <ac:spMk id="7" creationId="{36CD3615-C099-F84A-A10D-9B5C9693BB58}"/>
          </ac:spMkLst>
        </pc:spChg>
        <pc:spChg chg="add del mod">
          <ac:chgData name="José Antonio Ureta Santacreu" userId="e36999d1-2b92-424a-9e8c-5fde0c5fbdd2" providerId="ADAL" clId="{B441C459-42E0-4465-B296-199851FC6E31}" dt="2024-09-11T11:12:14.001" v="3782" actId="6264"/>
          <ac:spMkLst>
            <pc:docMk/>
            <pc:sldMk cId="246557744" sldId="1263"/>
            <ac:spMk id="8" creationId="{10EBC670-9C55-727D-B746-EB1663D5822F}"/>
          </ac:spMkLst>
        </pc:spChg>
      </pc:sldChg>
      <pc:sldChg chg="addSp modSp new del mod">
        <pc:chgData name="José Antonio Ureta Santacreu" userId="e36999d1-2b92-424a-9e8c-5fde0c5fbdd2" providerId="ADAL" clId="{B441C459-42E0-4465-B296-199851FC6E31}" dt="2024-07-31T10:08:47.522" v="540" actId="2696"/>
        <pc:sldMkLst>
          <pc:docMk/>
          <pc:sldMk cId="3454354341" sldId="1263"/>
        </pc:sldMkLst>
        <pc:picChg chg="add mod">
          <ac:chgData name="José Antonio Ureta Santacreu" userId="e36999d1-2b92-424a-9e8c-5fde0c5fbdd2" providerId="ADAL" clId="{B441C459-42E0-4465-B296-199851FC6E31}" dt="2024-07-31T09:59:53.976" v="463" actId="408"/>
          <ac:picMkLst>
            <pc:docMk/>
            <pc:sldMk cId="3454354341" sldId="1263"/>
            <ac:picMk id="6" creationId="{F52CCF9F-5F49-93CC-429D-6EA9E8AA82A6}"/>
          </ac:picMkLst>
        </pc:picChg>
      </pc:sldChg>
      <pc:sldChg chg="addSp modSp new del mod">
        <pc:chgData name="José Antonio Ureta Santacreu" userId="e36999d1-2b92-424a-9e8c-5fde0c5fbdd2" providerId="ADAL" clId="{B441C459-42E0-4465-B296-199851FC6E31}" dt="2024-07-31T10:08:47.522" v="540" actId="2696"/>
        <pc:sldMkLst>
          <pc:docMk/>
          <pc:sldMk cId="634547914" sldId="1264"/>
        </pc:sldMkLst>
        <pc:picChg chg="add mod">
          <ac:chgData name="José Antonio Ureta Santacreu" userId="e36999d1-2b92-424a-9e8c-5fde0c5fbdd2" providerId="ADAL" clId="{B441C459-42E0-4465-B296-199851FC6E31}" dt="2024-07-31T10:00:31.074" v="469" actId="408"/>
          <ac:picMkLst>
            <pc:docMk/>
            <pc:sldMk cId="634547914" sldId="1264"/>
            <ac:picMk id="6" creationId="{26B0E522-6BA7-5F2A-E5BB-8C2ED0A6BE11}"/>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3659525615" sldId="1264"/>
        </pc:sldMkLst>
        <pc:spChg chg="mod ord">
          <ac:chgData name="José Antonio Ureta Santacreu" userId="e36999d1-2b92-424a-9e8c-5fde0c5fbdd2" providerId="ADAL" clId="{B441C459-42E0-4465-B296-199851FC6E31}" dt="2024-09-11T11:12:14.001" v="3782" actId="6264"/>
          <ac:spMkLst>
            <pc:docMk/>
            <pc:sldMk cId="3659525615" sldId="1264"/>
            <ac:spMk id="2" creationId="{FD42405B-48BB-81E4-74C2-B48A7C7234FE}"/>
          </ac:spMkLst>
        </pc:spChg>
        <pc:spChg chg="mod ord">
          <ac:chgData name="José Antonio Ureta Santacreu" userId="e36999d1-2b92-424a-9e8c-5fde0c5fbdd2" providerId="ADAL" clId="{B441C459-42E0-4465-B296-199851FC6E31}" dt="2024-09-11T11:12:14.001" v="3782" actId="6264"/>
          <ac:spMkLst>
            <pc:docMk/>
            <pc:sldMk cId="3659525615" sldId="1264"/>
            <ac:spMk id="3" creationId="{62651D71-E639-7B2F-0E34-69BCA5BFD89C}"/>
          </ac:spMkLst>
        </pc:spChg>
        <pc:spChg chg="mod ord">
          <ac:chgData name="José Antonio Ureta Santacreu" userId="e36999d1-2b92-424a-9e8c-5fde0c5fbdd2" providerId="ADAL" clId="{B441C459-42E0-4465-B296-199851FC6E31}" dt="2024-09-11T11:12:14.001" v="3782" actId="6264"/>
          <ac:spMkLst>
            <pc:docMk/>
            <pc:sldMk cId="3659525615" sldId="1264"/>
            <ac:spMk id="4" creationId="{BAFD230F-E0D3-FC25-7025-E3E62FAF70B1}"/>
          </ac:spMkLst>
        </pc:spChg>
        <pc:spChg chg="add del mod">
          <ac:chgData name="José Antonio Ureta Santacreu" userId="e36999d1-2b92-424a-9e8c-5fde0c5fbdd2" providerId="ADAL" clId="{B441C459-42E0-4465-B296-199851FC6E31}" dt="2024-09-11T11:12:14.001" v="3782" actId="6264"/>
          <ac:spMkLst>
            <pc:docMk/>
            <pc:sldMk cId="3659525615" sldId="1264"/>
            <ac:spMk id="5" creationId="{817CB744-8365-1CFB-5D0C-5C51ACFB46C0}"/>
          </ac:spMkLst>
        </pc:spChg>
        <pc:spChg chg="add del mod">
          <ac:chgData name="José Antonio Ureta Santacreu" userId="e36999d1-2b92-424a-9e8c-5fde0c5fbdd2" providerId="ADAL" clId="{B441C459-42E0-4465-B296-199851FC6E31}" dt="2024-09-11T11:12:14.001" v="3782" actId="6264"/>
          <ac:spMkLst>
            <pc:docMk/>
            <pc:sldMk cId="3659525615" sldId="1264"/>
            <ac:spMk id="7" creationId="{D8799707-62D0-08B8-478E-9FDCB3FC207E}"/>
          </ac:spMkLst>
        </pc:spChg>
        <pc:spChg chg="add del mod">
          <ac:chgData name="José Antonio Ureta Santacreu" userId="e36999d1-2b92-424a-9e8c-5fde0c5fbdd2" providerId="ADAL" clId="{B441C459-42E0-4465-B296-199851FC6E31}" dt="2024-09-11T11:12:14.001" v="3782" actId="6264"/>
          <ac:spMkLst>
            <pc:docMk/>
            <pc:sldMk cId="3659525615" sldId="1264"/>
            <ac:spMk id="8" creationId="{51CBF5F7-47E3-062C-550C-8D20D7C492A4}"/>
          </ac:spMkLst>
        </pc:spChg>
      </pc:sldChg>
      <pc:sldChg chg="addSp modSp new del mod">
        <pc:chgData name="José Antonio Ureta Santacreu" userId="e36999d1-2b92-424a-9e8c-5fde0c5fbdd2" providerId="ADAL" clId="{B441C459-42E0-4465-B296-199851FC6E31}" dt="2024-07-31T10:08:47.522" v="540" actId="2696"/>
        <pc:sldMkLst>
          <pc:docMk/>
          <pc:sldMk cId="1216179024" sldId="1265"/>
        </pc:sldMkLst>
        <pc:picChg chg="add mod">
          <ac:chgData name="José Antonio Ureta Santacreu" userId="e36999d1-2b92-424a-9e8c-5fde0c5fbdd2" providerId="ADAL" clId="{B441C459-42E0-4465-B296-199851FC6E31}" dt="2024-07-31T10:01:12.200" v="476" actId="408"/>
          <ac:picMkLst>
            <pc:docMk/>
            <pc:sldMk cId="1216179024" sldId="1265"/>
            <ac:picMk id="6" creationId="{C15ABD4F-ADF2-4180-EEC2-5859E5121A20}"/>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1257448883" sldId="1265"/>
        </pc:sldMkLst>
        <pc:spChg chg="mod ord">
          <ac:chgData name="José Antonio Ureta Santacreu" userId="e36999d1-2b92-424a-9e8c-5fde0c5fbdd2" providerId="ADAL" clId="{B441C459-42E0-4465-B296-199851FC6E31}" dt="2024-09-11T11:12:14.001" v="3782" actId="6264"/>
          <ac:spMkLst>
            <pc:docMk/>
            <pc:sldMk cId="1257448883" sldId="1265"/>
            <ac:spMk id="2" creationId="{C8F403C0-294A-0361-A7F0-9FDC1B8D5EE4}"/>
          </ac:spMkLst>
        </pc:spChg>
        <pc:spChg chg="mod ord">
          <ac:chgData name="José Antonio Ureta Santacreu" userId="e36999d1-2b92-424a-9e8c-5fde0c5fbdd2" providerId="ADAL" clId="{B441C459-42E0-4465-B296-199851FC6E31}" dt="2024-09-11T11:12:14.001" v="3782" actId="6264"/>
          <ac:spMkLst>
            <pc:docMk/>
            <pc:sldMk cId="1257448883" sldId="1265"/>
            <ac:spMk id="3" creationId="{D544B850-B681-470B-9287-0A831948BB6C}"/>
          </ac:spMkLst>
        </pc:spChg>
        <pc:spChg chg="mod ord">
          <ac:chgData name="José Antonio Ureta Santacreu" userId="e36999d1-2b92-424a-9e8c-5fde0c5fbdd2" providerId="ADAL" clId="{B441C459-42E0-4465-B296-199851FC6E31}" dt="2024-09-11T11:12:14.001" v="3782" actId="6264"/>
          <ac:spMkLst>
            <pc:docMk/>
            <pc:sldMk cId="1257448883" sldId="1265"/>
            <ac:spMk id="4" creationId="{B4B5ED6F-4AEF-394A-F345-9285CEA1802C}"/>
          </ac:spMkLst>
        </pc:spChg>
        <pc:spChg chg="add del mod">
          <ac:chgData name="José Antonio Ureta Santacreu" userId="e36999d1-2b92-424a-9e8c-5fde0c5fbdd2" providerId="ADAL" clId="{B441C459-42E0-4465-B296-199851FC6E31}" dt="2024-09-11T11:12:14.001" v="3782" actId="6264"/>
          <ac:spMkLst>
            <pc:docMk/>
            <pc:sldMk cId="1257448883" sldId="1265"/>
            <ac:spMk id="5" creationId="{6AD5A515-ED92-77B7-BD9E-3348500E3E2A}"/>
          </ac:spMkLst>
        </pc:spChg>
        <pc:spChg chg="add del mod">
          <ac:chgData name="José Antonio Ureta Santacreu" userId="e36999d1-2b92-424a-9e8c-5fde0c5fbdd2" providerId="ADAL" clId="{B441C459-42E0-4465-B296-199851FC6E31}" dt="2024-09-11T11:12:14.001" v="3782" actId="6264"/>
          <ac:spMkLst>
            <pc:docMk/>
            <pc:sldMk cId="1257448883" sldId="1265"/>
            <ac:spMk id="7" creationId="{95B76736-A12E-7C44-6B36-2C2C95EE2510}"/>
          </ac:spMkLst>
        </pc:spChg>
        <pc:spChg chg="add del mod">
          <ac:chgData name="José Antonio Ureta Santacreu" userId="e36999d1-2b92-424a-9e8c-5fde0c5fbdd2" providerId="ADAL" clId="{B441C459-42E0-4465-B296-199851FC6E31}" dt="2024-09-11T11:12:14.001" v="3782" actId="6264"/>
          <ac:spMkLst>
            <pc:docMk/>
            <pc:sldMk cId="1257448883" sldId="1265"/>
            <ac:spMk id="8" creationId="{E649D171-992E-3A67-565D-2D9214737F86}"/>
          </ac:spMkLst>
        </pc:spChg>
      </pc:sldChg>
      <pc:sldChg chg="addSp modSp new del mod ord">
        <pc:chgData name="José Antonio Ureta Santacreu" userId="e36999d1-2b92-424a-9e8c-5fde0c5fbdd2" providerId="ADAL" clId="{B441C459-42E0-4465-B296-199851FC6E31}" dt="2024-07-31T10:08:47.522" v="540" actId="2696"/>
        <pc:sldMkLst>
          <pc:docMk/>
          <pc:sldMk cId="328727024" sldId="1266"/>
        </pc:sldMkLst>
        <pc:picChg chg="add mod">
          <ac:chgData name="José Antonio Ureta Santacreu" userId="e36999d1-2b92-424a-9e8c-5fde0c5fbdd2" providerId="ADAL" clId="{B441C459-42E0-4465-B296-199851FC6E31}" dt="2024-07-31T10:01:44.755" v="494" actId="408"/>
          <ac:picMkLst>
            <pc:docMk/>
            <pc:sldMk cId="328727024" sldId="1266"/>
            <ac:picMk id="6" creationId="{B14AF071-9CAE-4947-4491-2070CB6FF4F3}"/>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1291521779" sldId="1266"/>
        </pc:sldMkLst>
        <pc:spChg chg="mod ord">
          <ac:chgData name="José Antonio Ureta Santacreu" userId="e36999d1-2b92-424a-9e8c-5fde0c5fbdd2" providerId="ADAL" clId="{B441C459-42E0-4465-B296-199851FC6E31}" dt="2024-09-11T11:12:14.001" v="3782" actId="6264"/>
          <ac:spMkLst>
            <pc:docMk/>
            <pc:sldMk cId="1291521779" sldId="1266"/>
            <ac:spMk id="2" creationId="{028DF5B9-C657-B159-AA88-B6B3F1DE2506}"/>
          </ac:spMkLst>
        </pc:spChg>
        <pc:spChg chg="mod ord">
          <ac:chgData name="José Antonio Ureta Santacreu" userId="e36999d1-2b92-424a-9e8c-5fde0c5fbdd2" providerId="ADAL" clId="{B441C459-42E0-4465-B296-199851FC6E31}" dt="2024-09-11T11:12:14.001" v="3782" actId="6264"/>
          <ac:spMkLst>
            <pc:docMk/>
            <pc:sldMk cId="1291521779" sldId="1266"/>
            <ac:spMk id="3" creationId="{1EE4703C-2973-8A6F-A8FB-CA190D02AF52}"/>
          </ac:spMkLst>
        </pc:spChg>
        <pc:spChg chg="mod ord">
          <ac:chgData name="José Antonio Ureta Santacreu" userId="e36999d1-2b92-424a-9e8c-5fde0c5fbdd2" providerId="ADAL" clId="{B441C459-42E0-4465-B296-199851FC6E31}" dt="2024-09-11T11:12:14.001" v="3782" actId="6264"/>
          <ac:spMkLst>
            <pc:docMk/>
            <pc:sldMk cId="1291521779" sldId="1266"/>
            <ac:spMk id="4" creationId="{B90C170C-91A3-65DB-A2A7-2F261539476A}"/>
          </ac:spMkLst>
        </pc:spChg>
        <pc:spChg chg="add del mod">
          <ac:chgData name="José Antonio Ureta Santacreu" userId="e36999d1-2b92-424a-9e8c-5fde0c5fbdd2" providerId="ADAL" clId="{B441C459-42E0-4465-B296-199851FC6E31}" dt="2024-09-11T11:12:14.001" v="3782" actId="6264"/>
          <ac:spMkLst>
            <pc:docMk/>
            <pc:sldMk cId="1291521779" sldId="1266"/>
            <ac:spMk id="5" creationId="{74DCB8E7-7F8C-5CE0-D2B9-FE61D11F3F10}"/>
          </ac:spMkLst>
        </pc:spChg>
        <pc:spChg chg="add del mod">
          <ac:chgData name="José Antonio Ureta Santacreu" userId="e36999d1-2b92-424a-9e8c-5fde0c5fbdd2" providerId="ADAL" clId="{B441C459-42E0-4465-B296-199851FC6E31}" dt="2024-09-11T11:12:14.001" v="3782" actId="6264"/>
          <ac:spMkLst>
            <pc:docMk/>
            <pc:sldMk cId="1291521779" sldId="1266"/>
            <ac:spMk id="7" creationId="{E2C02D1F-EAD7-56F2-019B-7E281DD23E10}"/>
          </ac:spMkLst>
        </pc:spChg>
        <pc:spChg chg="add del mod">
          <ac:chgData name="José Antonio Ureta Santacreu" userId="e36999d1-2b92-424a-9e8c-5fde0c5fbdd2" providerId="ADAL" clId="{B441C459-42E0-4465-B296-199851FC6E31}" dt="2024-09-11T11:12:14.001" v="3782" actId="6264"/>
          <ac:spMkLst>
            <pc:docMk/>
            <pc:sldMk cId="1291521779" sldId="1266"/>
            <ac:spMk id="8" creationId="{3366E82E-1A0B-D411-5C41-58D80FE9CA0F}"/>
          </ac:spMkLst>
        </pc:spChg>
      </pc:sldChg>
      <pc:sldChg chg="addSp modSp new del mod">
        <pc:chgData name="José Antonio Ureta Santacreu" userId="e36999d1-2b92-424a-9e8c-5fde0c5fbdd2" providerId="ADAL" clId="{B441C459-42E0-4465-B296-199851FC6E31}" dt="2024-07-31T10:08:47.522" v="540" actId="2696"/>
        <pc:sldMkLst>
          <pc:docMk/>
          <pc:sldMk cId="1898772226" sldId="1267"/>
        </pc:sldMkLst>
        <pc:picChg chg="add mod">
          <ac:chgData name="José Antonio Ureta Santacreu" userId="e36999d1-2b92-424a-9e8c-5fde0c5fbdd2" providerId="ADAL" clId="{B441C459-42E0-4465-B296-199851FC6E31}" dt="2024-07-31T10:05:30.792" v="502" actId="408"/>
          <ac:picMkLst>
            <pc:docMk/>
            <pc:sldMk cId="1898772226" sldId="1267"/>
            <ac:picMk id="6" creationId="{7F9ECADE-EDA9-D13E-5682-BDFD6F12B4F1}"/>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2643476651" sldId="1267"/>
        </pc:sldMkLst>
        <pc:spChg chg="mod ord">
          <ac:chgData name="José Antonio Ureta Santacreu" userId="e36999d1-2b92-424a-9e8c-5fde0c5fbdd2" providerId="ADAL" clId="{B441C459-42E0-4465-B296-199851FC6E31}" dt="2024-09-11T11:12:14.001" v="3782" actId="6264"/>
          <ac:spMkLst>
            <pc:docMk/>
            <pc:sldMk cId="2643476651" sldId="1267"/>
            <ac:spMk id="2" creationId="{1704CE45-C701-4EF4-E7A5-945A2AAE857D}"/>
          </ac:spMkLst>
        </pc:spChg>
        <pc:spChg chg="mod ord">
          <ac:chgData name="José Antonio Ureta Santacreu" userId="e36999d1-2b92-424a-9e8c-5fde0c5fbdd2" providerId="ADAL" clId="{B441C459-42E0-4465-B296-199851FC6E31}" dt="2024-09-11T11:12:14.001" v="3782" actId="6264"/>
          <ac:spMkLst>
            <pc:docMk/>
            <pc:sldMk cId="2643476651" sldId="1267"/>
            <ac:spMk id="3" creationId="{E9BF767D-26B3-04BD-B0D1-2F289C7821C6}"/>
          </ac:spMkLst>
        </pc:spChg>
        <pc:spChg chg="mod ord">
          <ac:chgData name="José Antonio Ureta Santacreu" userId="e36999d1-2b92-424a-9e8c-5fde0c5fbdd2" providerId="ADAL" clId="{B441C459-42E0-4465-B296-199851FC6E31}" dt="2024-09-11T11:12:14.001" v="3782" actId="6264"/>
          <ac:spMkLst>
            <pc:docMk/>
            <pc:sldMk cId="2643476651" sldId="1267"/>
            <ac:spMk id="4" creationId="{51EEAC9C-6F78-DB29-9F01-21A9FFAB98A4}"/>
          </ac:spMkLst>
        </pc:spChg>
        <pc:spChg chg="add del mod">
          <ac:chgData name="José Antonio Ureta Santacreu" userId="e36999d1-2b92-424a-9e8c-5fde0c5fbdd2" providerId="ADAL" clId="{B441C459-42E0-4465-B296-199851FC6E31}" dt="2024-09-11T11:12:14.001" v="3782" actId="6264"/>
          <ac:spMkLst>
            <pc:docMk/>
            <pc:sldMk cId="2643476651" sldId="1267"/>
            <ac:spMk id="5" creationId="{FB97E268-F957-E675-0C13-436A3A048C25}"/>
          </ac:spMkLst>
        </pc:spChg>
        <pc:spChg chg="add del mod">
          <ac:chgData name="José Antonio Ureta Santacreu" userId="e36999d1-2b92-424a-9e8c-5fde0c5fbdd2" providerId="ADAL" clId="{B441C459-42E0-4465-B296-199851FC6E31}" dt="2024-09-11T11:12:14.001" v="3782" actId="6264"/>
          <ac:spMkLst>
            <pc:docMk/>
            <pc:sldMk cId="2643476651" sldId="1267"/>
            <ac:spMk id="7" creationId="{ED0C55AB-1161-A22D-B8B7-047E7EE566D8}"/>
          </ac:spMkLst>
        </pc:spChg>
        <pc:spChg chg="add del mod">
          <ac:chgData name="José Antonio Ureta Santacreu" userId="e36999d1-2b92-424a-9e8c-5fde0c5fbdd2" providerId="ADAL" clId="{B441C459-42E0-4465-B296-199851FC6E31}" dt="2024-09-11T11:12:14.001" v="3782" actId="6264"/>
          <ac:spMkLst>
            <pc:docMk/>
            <pc:sldMk cId="2643476651" sldId="1267"/>
            <ac:spMk id="8" creationId="{42FE1751-B278-F41C-6729-BCCCC4E63083}"/>
          </ac:spMkLst>
        </pc:spChg>
      </pc:sldChg>
      <pc:sldChg chg="addSp delSp modSp add mod chgLayout">
        <pc:chgData name="José Antonio Ureta Santacreu" userId="e36999d1-2b92-424a-9e8c-5fde0c5fbdd2" providerId="ADAL" clId="{B441C459-42E0-4465-B296-199851FC6E31}" dt="2024-09-11T11:12:14.001" v="3782" actId="6264"/>
        <pc:sldMkLst>
          <pc:docMk/>
          <pc:sldMk cId="573168677" sldId="1268"/>
        </pc:sldMkLst>
        <pc:spChg chg="mod ord">
          <ac:chgData name="José Antonio Ureta Santacreu" userId="e36999d1-2b92-424a-9e8c-5fde0c5fbdd2" providerId="ADAL" clId="{B441C459-42E0-4465-B296-199851FC6E31}" dt="2024-09-11T11:12:14.001" v="3782" actId="6264"/>
          <ac:spMkLst>
            <pc:docMk/>
            <pc:sldMk cId="573168677" sldId="1268"/>
            <ac:spMk id="2" creationId="{9ED2B2F7-B51B-245D-E96D-B9D9E012F28A}"/>
          </ac:spMkLst>
        </pc:spChg>
        <pc:spChg chg="mod ord">
          <ac:chgData name="José Antonio Ureta Santacreu" userId="e36999d1-2b92-424a-9e8c-5fde0c5fbdd2" providerId="ADAL" clId="{B441C459-42E0-4465-B296-199851FC6E31}" dt="2024-09-11T11:12:14.001" v="3782" actId="6264"/>
          <ac:spMkLst>
            <pc:docMk/>
            <pc:sldMk cId="573168677" sldId="1268"/>
            <ac:spMk id="3" creationId="{452BAD86-0DC6-01F4-6887-11235246BEF5}"/>
          </ac:spMkLst>
        </pc:spChg>
        <pc:spChg chg="mod ord">
          <ac:chgData name="José Antonio Ureta Santacreu" userId="e36999d1-2b92-424a-9e8c-5fde0c5fbdd2" providerId="ADAL" clId="{B441C459-42E0-4465-B296-199851FC6E31}" dt="2024-09-11T11:12:14.001" v="3782" actId="6264"/>
          <ac:spMkLst>
            <pc:docMk/>
            <pc:sldMk cId="573168677" sldId="1268"/>
            <ac:spMk id="4" creationId="{02B56099-DFBA-8D60-6C8A-63B42217A4CC}"/>
          </ac:spMkLst>
        </pc:spChg>
        <pc:spChg chg="add del mod">
          <ac:chgData name="José Antonio Ureta Santacreu" userId="e36999d1-2b92-424a-9e8c-5fde0c5fbdd2" providerId="ADAL" clId="{B441C459-42E0-4465-B296-199851FC6E31}" dt="2024-09-11T11:12:14.001" v="3782" actId="6264"/>
          <ac:spMkLst>
            <pc:docMk/>
            <pc:sldMk cId="573168677" sldId="1268"/>
            <ac:spMk id="6" creationId="{C3918711-59A8-E408-BD70-132D25C1AEC0}"/>
          </ac:spMkLst>
        </pc:spChg>
        <pc:spChg chg="add del mod">
          <ac:chgData name="José Antonio Ureta Santacreu" userId="e36999d1-2b92-424a-9e8c-5fde0c5fbdd2" providerId="ADAL" clId="{B441C459-42E0-4465-B296-199851FC6E31}" dt="2024-09-11T11:12:14.001" v="3782" actId="6264"/>
          <ac:spMkLst>
            <pc:docMk/>
            <pc:sldMk cId="573168677" sldId="1268"/>
            <ac:spMk id="7" creationId="{FAA5DBE4-5590-C392-50E9-47AB734BA253}"/>
          </ac:spMkLst>
        </pc:spChg>
        <pc:spChg chg="add del mod">
          <ac:chgData name="José Antonio Ureta Santacreu" userId="e36999d1-2b92-424a-9e8c-5fde0c5fbdd2" providerId="ADAL" clId="{B441C459-42E0-4465-B296-199851FC6E31}" dt="2024-09-11T11:12:14.001" v="3782" actId="6264"/>
          <ac:spMkLst>
            <pc:docMk/>
            <pc:sldMk cId="573168677" sldId="1268"/>
            <ac:spMk id="8" creationId="{17400894-C4BF-BE82-3D64-89238776493B}"/>
          </ac:spMkLst>
        </pc:spChg>
      </pc:sldChg>
      <pc:sldChg chg="addSp modSp new del mod modAnim">
        <pc:chgData name="José Antonio Ureta Santacreu" userId="e36999d1-2b92-424a-9e8c-5fde0c5fbdd2" providerId="ADAL" clId="{B441C459-42E0-4465-B296-199851FC6E31}" dt="2024-07-31T10:08:47.522" v="540" actId="2696"/>
        <pc:sldMkLst>
          <pc:docMk/>
          <pc:sldMk cId="3436870747" sldId="1268"/>
        </pc:sldMkLst>
        <pc:picChg chg="add mod">
          <ac:chgData name="José Antonio Ureta Santacreu" userId="e36999d1-2b92-424a-9e8c-5fde0c5fbdd2" providerId="ADAL" clId="{B441C459-42E0-4465-B296-199851FC6E31}" dt="2024-07-31T10:07:36.217" v="535" actId="1035"/>
          <ac:picMkLst>
            <pc:docMk/>
            <pc:sldMk cId="3436870747" sldId="1268"/>
            <ac:picMk id="5" creationId="{9C77FAD8-2F6E-4499-FA79-746D6BCB7B93}"/>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1314079346" sldId="1269"/>
        </pc:sldMkLst>
        <pc:spChg chg="mod ord">
          <ac:chgData name="José Antonio Ureta Santacreu" userId="e36999d1-2b92-424a-9e8c-5fde0c5fbdd2" providerId="ADAL" clId="{B441C459-42E0-4465-B296-199851FC6E31}" dt="2024-09-11T11:12:14.001" v="3782" actId="6264"/>
          <ac:spMkLst>
            <pc:docMk/>
            <pc:sldMk cId="1314079346" sldId="1269"/>
            <ac:spMk id="2" creationId="{C637C3F3-9954-5CAA-DBCC-5370EB9F1C7E}"/>
          </ac:spMkLst>
        </pc:spChg>
        <pc:spChg chg="mod ord">
          <ac:chgData name="José Antonio Ureta Santacreu" userId="e36999d1-2b92-424a-9e8c-5fde0c5fbdd2" providerId="ADAL" clId="{B441C459-42E0-4465-B296-199851FC6E31}" dt="2024-09-11T11:12:14.001" v="3782" actId="6264"/>
          <ac:spMkLst>
            <pc:docMk/>
            <pc:sldMk cId="1314079346" sldId="1269"/>
            <ac:spMk id="3" creationId="{61B621B9-8889-EB70-A67E-C70A7CC63CB6}"/>
          </ac:spMkLst>
        </pc:spChg>
        <pc:spChg chg="mod ord">
          <ac:chgData name="José Antonio Ureta Santacreu" userId="e36999d1-2b92-424a-9e8c-5fde0c5fbdd2" providerId="ADAL" clId="{B441C459-42E0-4465-B296-199851FC6E31}" dt="2024-09-11T11:12:14.001" v="3782" actId="6264"/>
          <ac:spMkLst>
            <pc:docMk/>
            <pc:sldMk cId="1314079346" sldId="1269"/>
            <ac:spMk id="4" creationId="{34680D61-0A6E-1597-2955-CA83FCEFD4DA}"/>
          </ac:spMkLst>
        </pc:spChg>
        <pc:spChg chg="add del mod">
          <ac:chgData name="José Antonio Ureta Santacreu" userId="e36999d1-2b92-424a-9e8c-5fde0c5fbdd2" providerId="ADAL" clId="{B441C459-42E0-4465-B296-199851FC6E31}" dt="2024-09-11T11:12:14.001" v="3782" actId="6264"/>
          <ac:spMkLst>
            <pc:docMk/>
            <pc:sldMk cId="1314079346" sldId="1269"/>
            <ac:spMk id="6" creationId="{E97B5F16-3EC0-48F8-2441-E2F98F538FD6}"/>
          </ac:spMkLst>
        </pc:spChg>
        <pc:spChg chg="add del mod">
          <ac:chgData name="José Antonio Ureta Santacreu" userId="e36999d1-2b92-424a-9e8c-5fde0c5fbdd2" providerId="ADAL" clId="{B441C459-42E0-4465-B296-199851FC6E31}" dt="2024-09-11T11:12:14.001" v="3782" actId="6264"/>
          <ac:spMkLst>
            <pc:docMk/>
            <pc:sldMk cId="1314079346" sldId="1269"/>
            <ac:spMk id="7" creationId="{EFC53BA0-2AAB-DDC6-68F4-82C19C2EC781}"/>
          </ac:spMkLst>
        </pc:spChg>
        <pc:spChg chg="add del mod">
          <ac:chgData name="José Antonio Ureta Santacreu" userId="e36999d1-2b92-424a-9e8c-5fde0c5fbdd2" providerId="ADAL" clId="{B441C459-42E0-4465-B296-199851FC6E31}" dt="2024-09-11T11:12:14.001" v="3782" actId="6264"/>
          <ac:spMkLst>
            <pc:docMk/>
            <pc:sldMk cId="1314079346" sldId="1269"/>
            <ac:spMk id="8" creationId="{9CAA6ABF-83E2-17CF-3959-7856F4CB836F}"/>
          </ac:spMkLst>
        </pc:spChg>
      </pc:sldChg>
      <pc:sldChg chg="addSp modSp new del mod modAnim">
        <pc:chgData name="José Antonio Ureta Santacreu" userId="e36999d1-2b92-424a-9e8c-5fde0c5fbdd2" providerId="ADAL" clId="{B441C459-42E0-4465-B296-199851FC6E31}" dt="2024-07-31T10:08:47.522" v="540" actId="2696"/>
        <pc:sldMkLst>
          <pc:docMk/>
          <pc:sldMk cId="2251248287" sldId="1269"/>
        </pc:sldMkLst>
        <pc:picChg chg="add mod">
          <ac:chgData name="José Antonio Ureta Santacreu" userId="e36999d1-2b92-424a-9e8c-5fde0c5fbdd2" providerId="ADAL" clId="{B441C459-42E0-4465-B296-199851FC6E31}" dt="2024-07-31T10:08:15.266" v="539" actId="14100"/>
          <ac:picMkLst>
            <pc:docMk/>
            <pc:sldMk cId="2251248287" sldId="1269"/>
            <ac:picMk id="5" creationId="{1B71CC49-141C-E7F5-A368-F32D68FB1A95}"/>
          </ac:picMkLst>
        </pc:picChg>
      </pc:sldChg>
      <pc:sldChg chg="addSp delSp modSp add mod chgLayout">
        <pc:chgData name="José Antonio Ureta Santacreu" userId="e36999d1-2b92-424a-9e8c-5fde0c5fbdd2" providerId="ADAL" clId="{B441C459-42E0-4465-B296-199851FC6E31}" dt="2024-09-11T11:12:14.001" v="3782" actId="6264"/>
        <pc:sldMkLst>
          <pc:docMk/>
          <pc:sldMk cId="3562724195" sldId="1270"/>
        </pc:sldMkLst>
        <pc:spChg chg="mod ord">
          <ac:chgData name="José Antonio Ureta Santacreu" userId="e36999d1-2b92-424a-9e8c-5fde0c5fbdd2" providerId="ADAL" clId="{B441C459-42E0-4465-B296-199851FC6E31}" dt="2024-09-11T11:12:14.001" v="3782" actId="6264"/>
          <ac:spMkLst>
            <pc:docMk/>
            <pc:sldMk cId="3562724195" sldId="1270"/>
            <ac:spMk id="2" creationId="{E165FB69-818C-A5D7-FB9D-8BEABE3D0B22}"/>
          </ac:spMkLst>
        </pc:spChg>
        <pc:spChg chg="mod ord">
          <ac:chgData name="José Antonio Ureta Santacreu" userId="e36999d1-2b92-424a-9e8c-5fde0c5fbdd2" providerId="ADAL" clId="{B441C459-42E0-4465-B296-199851FC6E31}" dt="2024-09-11T11:12:14.001" v="3782" actId="6264"/>
          <ac:spMkLst>
            <pc:docMk/>
            <pc:sldMk cId="3562724195" sldId="1270"/>
            <ac:spMk id="3" creationId="{8939833A-1CF9-5A15-E9F1-0D21D8D6C76F}"/>
          </ac:spMkLst>
        </pc:spChg>
        <pc:spChg chg="mod ord">
          <ac:chgData name="José Antonio Ureta Santacreu" userId="e36999d1-2b92-424a-9e8c-5fde0c5fbdd2" providerId="ADAL" clId="{B441C459-42E0-4465-B296-199851FC6E31}" dt="2024-09-11T11:12:14.001" v="3782" actId="6264"/>
          <ac:spMkLst>
            <pc:docMk/>
            <pc:sldMk cId="3562724195" sldId="1270"/>
            <ac:spMk id="4" creationId="{0BCFB211-2047-C8A4-72AE-199E0F68BE85}"/>
          </ac:spMkLst>
        </pc:spChg>
        <pc:spChg chg="add del mod">
          <ac:chgData name="José Antonio Ureta Santacreu" userId="e36999d1-2b92-424a-9e8c-5fde0c5fbdd2" providerId="ADAL" clId="{B441C459-42E0-4465-B296-199851FC6E31}" dt="2024-09-11T11:12:14.001" v="3782" actId="6264"/>
          <ac:spMkLst>
            <pc:docMk/>
            <pc:sldMk cId="3562724195" sldId="1270"/>
            <ac:spMk id="5" creationId="{B95F1F9B-99E5-21FA-50AF-9DE2F1CE0D74}"/>
          </ac:spMkLst>
        </pc:spChg>
        <pc:spChg chg="add del mod">
          <ac:chgData name="José Antonio Ureta Santacreu" userId="e36999d1-2b92-424a-9e8c-5fde0c5fbdd2" providerId="ADAL" clId="{B441C459-42E0-4465-B296-199851FC6E31}" dt="2024-09-11T11:12:14.001" v="3782" actId="6264"/>
          <ac:spMkLst>
            <pc:docMk/>
            <pc:sldMk cId="3562724195" sldId="1270"/>
            <ac:spMk id="6" creationId="{13F4EBAE-675C-9455-8F33-B3506AA89B74}"/>
          </ac:spMkLst>
        </pc:spChg>
        <pc:spChg chg="add del mod">
          <ac:chgData name="José Antonio Ureta Santacreu" userId="e36999d1-2b92-424a-9e8c-5fde0c5fbdd2" providerId="ADAL" clId="{B441C459-42E0-4465-B296-199851FC6E31}" dt="2024-09-11T11:12:14.001" v="3782" actId="6264"/>
          <ac:spMkLst>
            <pc:docMk/>
            <pc:sldMk cId="3562724195" sldId="1270"/>
            <ac:spMk id="7" creationId="{2CEC9F81-FCFD-9043-DD5F-974FD4A43147}"/>
          </ac:spMkLst>
        </pc:spChg>
        <pc:spChg chg="add del mod">
          <ac:chgData name="José Antonio Ureta Santacreu" userId="e36999d1-2b92-424a-9e8c-5fde0c5fbdd2" providerId="ADAL" clId="{B441C459-42E0-4465-B296-199851FC6E31}" dt="2024-09-11T11:12:14.001" v="3782" actId="6264"/>
          <ac:spMkLst>
            <pc:docMk/>
            <pc:sldMk cId="3562724195" sldId="1270"/>
            <ac:spMk id="9" creationId="{93D76CC3-288B-31D2-2106-B4A1B8D86A05}"/>
          </ac:spMkLst>
        </pc:spChg>
        <pc:spChg chg="add del mod">
          <ac:chgData name="José Antonio Ureta Santacreu" userId="e36999d1-2b92-424a-9e8c-5fde0c5fbdd2" providerId="ADAL" clId="{B441C459-42E0-4465-B296-199851FC6E31}" dt="2024-09-11T11:12:14.001" v="3782" actId="6264"/>
          <ac:spMkLst>
            <pc:docMk/>
            <pc:sldMk cId="3562724195" sldId="1270"/>
            <ac:spMk id="10" creationId="{8810B6B6-7CAD-2364-3C4F-2E5FAB28B59F}"/>
          </ac:spMkLst>
        </pc:spChg>
        <pc:graphicFrameChg chg="mod ord">
          <ac:chgData name="José Antonio Ureta Santacreu" userId="e36999d1-2b92-424a-9e8c-5fde0c5fbdd2" providerId="ADAL" clId="{B441C459-42E0-4465-B296-199851FC6E31}" dt="2024-09-11T11:12:14.001" v="3782" actId="6264"/>
          <ac:graphicFrameMkLst>
            <pc:docMk/>
            <pc:sldMk cId="3562724195" sldId="1270"/>
            <ac:graphicFrameMk id="8" creationId="{4EBD99B2-1D8F-5D6A-643C-E0D9A3EB033F}"/>
          </ac:graphicFrameMkLst>
        </pc:graphicFrameChg>
        <pc:picChg chg="mod ord">
          <ac:chgData name="José Antonio Ureta Santacreu" userId="e36999d1-2b92-424a-9e8c-5fde0c5fbdd2" providerId="ADAL" clId="{B441C459-42E0-4465-B296-199851FC6E31}" dt="2024-09-11T11:12:14.001" v="3782" actId="6264"/>
          <ac:picMkLst>
            <pc:docMk/>
            <pc:sldMk cId="3562724195" sldId="1270"/>
            <ac:picMk id="1026" creationId="{598D917A-5A06-DF33-4990-689C19561FCE}"/>
          </ac:picMkLst>
        </pc:picChg>
      </pc:sldChg>
      <pc:sldChg chg="addSp delSp modSp new mod chgLayout">
        <pc:chgData name="José Antonio Ureta Santacreu" userId="e36999d1-2b92-424a-9e8c-5fde0c5fbdd2" providerId="ADAL" clId="{B441C459-42E0-4465-B296-199851FC6E31}" dt="2024-09-11T11:12:14.001" v="3782" actId="6264"/>
        <pc:sldMkLst>
          <pc:docMk/>
          <pc:sldMk cId="285043945" sldId="1271"/>
        </pc:sldMkLst>
        <pc:spChg chg="mod ord">
          <ac:chgData name="José Antonio Ureta Santacreu" userId="e36999d1-2b92-424a-9e8c-5fde0c5fbdd2" providerId="ADAL" clId="{B441C459-42E0-4465-B296-199851FC6E31}" dt="2024-09-11T11:12:14.001" v="3782" actId="6264"/>
          <ac:spMkLst>
            <pc:docMk/>
            <pc:sldMk cId="285043945" sldId="1271"/>
            <ac:spMk id="2" creationId="{82D4193C-B93D-E306-F6AE-EBE1EA1E7933}"/>
          </ac:spMkLst>
        </pc:spChg>
        <pc:spChg chg="add del mod">
          <ac:chgData name="José Antonio Ureta Santacreu" userId="e36999d1-2b92-424a-9e8c-5fde0c5fbdd2" providerId="ADAL" clId="{B441C459-42E0-4465-B296-199851FC6E31}" dt="2024-09-11T11:12:14.001" v="3782" actId="6264"/>
          <ac:spMkLst>
            <pc:docMk/>
            <pc:sldMk cId="285043945" sldId="1271"/>
            <ac:spMk id="3" creationId="{AD4622CE-F3BF-0E14-DC62-74E8989E0B01}"/>
          </ac:spMkLst>
        </pc:spChg>
        <pc:spChg chg="del">
          <ac:chgData name="José Antonio Ureta Santacreu" userId="e36999d1-2b92-424a-9e8c-5fde0c5fbdd2" providerId="ADAL" clId="{B441C459-42E0-4465-B296-199851FC6E31}" dt="2024-07-31T11:22:40.869" v="1300"/>
          <ac:spMkLst>
            <pc:docMk/>
            <pc:sldMk cId="285043945" sldId="1271"/>
            <ac:spMk id="3" creationId="{D484C5C6-2F72-7426-3176-2D7258A2C247}"/>
          </ac:spMkLst>
        </pc:spChg>
        <pc:spChg chg="mod ord">
          <ac:chgData name="José Antonio Ureta Santacreu" userId="e36999d1-2b92-424a-9e8c-5fde0c5fbdd2" providerId="ADAL" clId="{B441C459-42E0-4465-B296-199851FC6E31}" dt="2024-09-11T11:12:14.001" v="3782" actId="6264"/>
          <ac:spMkLst>
            <pc:docMk/>
            <pc:sldMk cId="285043945" sldId="1271"/>
            <ac:spMk id="4" creationId="{EA7E8F69-D9BB-F7F6-A057-EA2602AEE91C}"/>
          </ac:spMkLst>
        </pc:spChg>
        <pc:spChg chg="mod ord">
          <ac:chgData name="José Antonio Ureta Santacreu" userId="e36999d1-2b92-424a-9e8c-5fde0c5fbdd2" providerId="ADAL" clId="{B441C459-42E0-4465-B296-199851FC6E31}" dt="2024-09-11T11:12:14.001" v="3782" actId="6264"/>
          <ac:spMkLst>
            <pc:docMk/>
            <pc:sldMk cId="285043945" sldId="1271"/>
            <ac:spMk id="5" creationId="{AF1B2100-1BB3-E33E-965B-8552D2A510F9}"/>
          </ac:spMkLst>
        </pc:spChg>
        <pc:spChg chg="mod ord">
          <ac:chgData name="José Antonio Ureta Santacreu" userId="e36999d1-2b92-424a-9e8c-5fde0c5fbdd2" providerId="ADAL" clId="{B441C459-42E0-4465-B296-199851FC6E31}" dt="2024-09-11T11:12:14.001" v="3782" actId="6264"/>
          <ac:spMkLst>
            <pc:docMk/>
            <pc:sldMk cId="285043945" sldId="1271"/>
            <ac:spMk id="6" creationId="{C9EC78F0-EA1C-6DCD-005A-A02CC5EC91E4}"/>
          </ac:spMkLst>
        </pc:spChg>
        <pc:spChg chg="add del mod">
          <ac:chgData name="José Antonio Ureta Santacreu" userId="e36999d1-2b92-424a-9e8c-5fde0c5fbdd2" providerId="ADAL" clId="{B441C459-42E0-4465-B296-199851FC6E31}" dt="2024-09-11T11:12:14.001" v="3782" actId="6264"/>
          <ac:spMkLst>
            <pc:docMk/>
            <pc:sldMk cId="285043945" sldId="1271"/>
            <ac:spMk id="7" creationId="{496628AB-84C0-257C-BE15-8654D62D7705}"/>
          </ac:spMkLst>
        </pc:spChg>
        <pc:spChg chg="add del mod">
          <ac:chgData name="José Antonio Ureta Santacreu" userId="e36999d1-2b92-424a-9e8c-5fde0c5fbdd2" providerId="ADAL" clId="{B441C459-42E0-4465-B296-199851FC6E31}" dt="2024-09-11T11:12:14.001" v="3782" actId="6264"/>
          <ac:spMkLst>
            <pc:docMk/>
            <pc:sldMk cId="285043945" sldId="1271"/>
            <ac:spMk id="9" creationId="{A2E1289F-8772-E668-3152-8748D236D6C5}"/>
          </ac:spMkLst>
        </pc:spChg>
        <pc:spChg chg="add del mod">
          <ac:chgData name="José Antonio Ureta Santacreu" userId="e36999d1-2b92-424a-9e8c-5fde0c5fbdd2" providerId="ADAL" clId="{B441C459-42E0-4465-B296-199851FC6E31}" dt="2024-09-11T11:12:14.001" v="3782" actId="6264"/>
          <ac:spMkLst>
            <pc:docMk/>
            <pc:sldMk cId="285043945" sldId="1271"/>
            <ac:spMk id="10" creationId="{8DB844A7-0A1A-3DD9-B115-DBEB963F4B80}"/>
          </ac:spMkLst>
        </pc:spChg>
        <pc:spChg chg="add del mod">
          <ac:chgData name="José Antonio Ureta Santacreu" userId="e36999d1-2b92-424a-9e8c-5fde0c5fbdd2" providerId="ADAL" clId="{B441C459-42E0-4465-B296-199851FC6E31}" dt="2024-09-11T11:12:14.001" v="3782" actId="6264"/>
          <ac:spMkLst>
            <pc:docMk/>
            <pc:sldMk cId="285043945" sldId="1271"/>
            <ac:spMk id="11" creationId="{4093B64B-3C29-2E90-2E53-A4D0D34A808A}"/>
          </ac:spMkLst>
        </pc:spChg>
        <pc:picChg chg="add mod ord">
          <ac:chgData name="José Antonio Ureta Santacreu" userId="e36999d1-2b92-424a-9e8c-5fde0c5fbdd2" providerId="ADAL" clId="{B441C459-42E0-4465-B296-199851FC6E31}" dt="2024-09-11T11:12:14.001" v="3782" actId="6264"/>
          <ac:picMkLst>
            <pc:docMk/>
            <pc:sldMk cId="285043945" sldId="1271"/>
            <ac:picMk id="8" creationId="{C96F815D-DD9E-3777-016B-3C82A1F77994}"/>
          </ac:picMkLst>
        </pc:picChg>
      </pc:sldChg>
      <pc:sldChg chg="addSp delSp modSp new mod chgLayout">
        <pc:chgData name="José Antonio Ureta Santacreu" userId="e36999d1-2b92-424a-9e8c-5fde0c5fbdd2" providerId="ADAL" clId="{B441C459-42E0-4465-B296-199851FC6E31}" dt="2024-09-12T10:35:19.479" v="3819" actId="403"/>
        <pc:sldMkLst>
          <pc:docMk/>
          <pc:sldMk cId="2226260061" sldId="1272"/>
        </pc:sldMkLst>
        <pc:spChg chg="mod ord">
          <ac:chgData name="José Antonio Ureta Santacreu" userId="e36999d1-2b92-424a-9e8c-5fde0c5fbdd2" providerId="ADAL" clId="{B441C459-42E0-4465-B296-199851FC6E31}" dt="2024-09-11T11:12:14.001" v="3782" actId="6264"/>
          <ac:spMkLst>
            <pc:docMk/>
            <pc:sldMk cId="2226260061" sldId="1272"/>
            <ac:spMk id="2" creationId="{63E1DBD9-0905-0D45-8292-67AFF21B6EED}"/>
          </ac:spMkLst>
        </pc:spChg>
        <pc:spChg chg="del">
          <ac:chgData name="José Antonio Ureta Santacreu" userId="e36999d1-2b92-424a-9e8c-5fde0c5fbdd2" providerId="ADAL" clId="{B441C459-42E0-4465-B296-199851FC6E31}" dt="2024-07-31T11:34:32.074" v="1484" actId="3680"/>
          <ac:spMkLst>
            <pc:docMk/>
            <pc:sldMk cId="2226260061" sldId="1272"/>
            <ac:spMk id="3" creationId="{2B58E925-3BC4-7737-9A1E-279FE6CBD274}"/>
          </ac:spMkLst>
        </pc:spChg>
        <pc:spChg chg="add del mod">
          <ac:chgData name="José Antonio Ureta Santacreu" userId="e36999d1-2b92-424a-9e8c-5fde0c5fbdd2" providerId="ADAL" clId="{B441C459-42E0-4465-B296-199851FC6E31}" dt="2024-09-11T11:12:14.001" v="3782" actId="6264"/>
          <ac:spMkLst>
            <pc:docMk/>
            <pc:sldMk cId="2226260061" sldId="1272"/>
            <ac:spMk id="3" creationId="{8F4E8B10-0FE0-0F82-E403-A576AC928E60}"/>
          </ac:spMkLst>
        </pc:spChg>
        <pc:spChg chg="mod ord">
          <ac:chgData name="José Antonio Ureta Santacreu" userId="e36999d1-2b92-424a-9e8c-5fde0c5fbdd2" providerId="ADAL" clId="{B441C459-42E0-4465-B296-199851FC6E31}" dt="2024-09-11T11:12:14.001" v="3782" actId="6264"/>
          <ac:spMkLst>
            <pc:docMk/>
            <pc:sldMk cId="2226260061" sldId="1272"/>
            <ac:spMk id="4" creationId="{820008C6-9C94-5F0A-64B2-CC10F9EF9867}"/>
          </ac:spMkLst>
        </pc:spChg>
        <pc:spChg chg="mod ord">
          <ac:chgData name="José Antonio Ureta Santacreu" userId="e36999d1-2b92-424a-9e8c-5fde0c5fbdd2" providerId="ADAL" clId="{B441C459-42E0-4465-B296-199851FC6E31}" dt="2024-09-11T11:12:14.001" v="3782" actId="6264"/>
          <ac:spMkLst>
            <pc:docMk/>
            <pc:sldMk cId="2226260061" sldId="1272"/>
            <ac:spMk id="5" creationId="{3209A447-A0BE-14A0-835F-BCD10582F38C}"/>
          </ac:spMkLst>
        </pc:spChg>
        <pc:spChg chg="mod ord">
          <ac:chgData name="José Antonio Ureta Santacreu" userId="e36999d1-2b92-424a-9e8c-5fde0c5fbdd2" providerId="ADAL" clId="{B441C459-42E0-4465-B296-199851FC6E31}" dt="2024-09-11T11:12:14.001" v="3782" actId="6264"/>
          <ac:spMkLst>
            <pc:docMk/>
            <pc:sldMk cId="2226260061" sldId="1272"/>
            <ac:spMk id="6" creationId="{B40F6C79-82AF-9591-7FFA-C2C8E53BFE64}"/>
          </ac:spMkLst>
        </pc:spChg>
        <pc:spChg chg="add del mod">
          <ac:chgData name="José Antonio Ureta Santacreu" userId="e36999d1-2b92-424a-9e8c-5fde0c5fbdd2" providerId="ADAL" clId="{B441C459-42E0-4465-B296-199851FC6E31}" dt="2024-09-11T11:12:14.001" v="3782" actId="6264"/>
          <ac:spMkLst>
            <pc:docMk/>
            <pc:sldMk cId="2226260061" sldId="1272"/>
            <ac:spMk id="8" creationId="{8C6FC890-22BF-6D12-3FF6-1C47F9889A84}"/>
          </ac:spMkLst>
        </pc:spChg>
        <pc:spChg chg="add del mod">
          <ac:chgData name="José Antonio Ureta Santacreu" userId="e36999d1-2b92-424a-9e8c-5fde0c5fbdd2" providerId="ADAL" clId="{B441C459-42E0-4465-B296-199851FC6E31}" dt="2024-09-11T11:12:14.001" v="3782" actId="6264"/>
          <ac:spMkLst>
            <pc:docMk/>
            <pc:sldMk cId="2226260061" sldId="1272"/>
            <ac:spMk id="9" creationId="{DAFD2490-B2A2-EF46-1BDF-AF7A9C45D303}"/>
          </ac:spMkLst>
        </pc:spChg>
        <pc:spChg chg="add del mod">
          <ac:chgData name="José Antonio Ureta Santacreu" userId="e36999d1-2b92-424a-9e8c-5fde0c5fbdd2" providerId="ADAL" clId="{B441C459-42E0-4465-B296-199851FC6E31}" dt="2024-09-11T11:12:14.001" v="3782" actId="6264"/>
          <ac:spMkLst>
            <pc:docMk/>
            <pc:sldMk cId="2226260061" sldId="1272"/>
            <ac:spMk id="10" creationId="{970719A2-57AB-D456-7261-CA059861C3CC}"/>
          </ac:spMkLst>
        </pc:spChg>
        <pc:spChg chg="add del mod">
          <ac:chgData name="José Antonio Ureta Santacreu" userId="e36999d1-2b92-424a-9e8c-5fde0c5fbdd2" providerId="ADAL" clId="{B441C459-42E0-4465-B296-199851FC6E31}" dt="2024-09-11T11:12:14.001" v="3782" actId="6264"/>
          <ac:spMkLst>
            <pc:docMk/>
            <pc:sldMk cId="2226260061" sldId="1272"/>
            <ac:spMk id="11" creationId="{B574D085-0017-4072-4A7F-62348856BF7A}"/>
          </ac:spMkLst>
        </pc:spChg>
        <pc:graphicFrameChg chg="add mod ord modGraphic">
          <ac:chgData name="José Antonio Ureta Santacreu" userId="e36999d1-2b92-424a-9e8c-5fde0c5fbdd2" providerId="ADAL" clId="{B441C459-42E0-4465-B296-199851FC6E31}" dt="2024-09-12T10:35:19.479" v="3819" actId="403"/>
          <ac:graphicFrameMkLst>
            <pc:docMk/>
            <pc:sldMk cId="2226260061" sldId="1272"/>
            <ac:graphicFrameMk id="7" creationId="{AAF4FA3E-884B-5162-BEBB-A330B80F2145}"/>
          </ac:graphicFrameMkLst>
        </pc:graphicFrameChg>
      </pc:sldChg>
      <pc:sldChg chg="addSp delSp modSp new mod ord modShow chgLayout">
        <pc:chgData name="José Antonio Ureta Santacreu" userId="e36999d1-2b92-424a-9e8c-5fde0c5fbdd2" providerId="ADAL" clId="{B441C459-42E0-4465-B296-199851FC6E31}" dt="2024-09-11T11:12:14.001" v="3782" actId="6264"/>
        <pc:sldMkLst>
          <pc:docMk/>
          <pc:sldMk cId="896121174" sldId="1273"/>
        </pc:sldMkLst>
        <pc:spChg chg="del mod">
          <ac:chgData name="José Antonio Ureta Santacreu" userId="e36999d1-2b92-424a-9e8c-5fde0c5fbdd2" providerId="ADAL" clId="{B441C459-42E0-4465-B296-199851FC6E31}" dt="2024-09-11T11:12:14.001" v="3782" actId="6264"/>
          <ac:spMkLst>
            <pc:docMk/>
            <pc:sldMk cId="896121174" sldId="1273"/>
            <ac:spMk id="2" creationId="{50844017-6592-AA11-CB68-29DFE086F7D6}"/>
          </ac:spMkLst>
        </pc:spChg>
        <pc:spChg chg="del">
          <ac:chgData name="José Antonio Ureta Santacreu" userId="e36999d1-2b92-424a-9e8c-5fde0c5fbdd2" providerId="ADAL" clId="{B441C459-42E0-4465-B296-199851FC6E31}" dt="2024-08-26T10:34:46.839" v="1820"/>
          <ac:spMkLst>
            <pc:docMk/>
            <pc:sldMk cId="896121174" sldId="1273"/>
            <ac:spMk id="3" creationId="{9FC34E1C-77FA-9B29-97B7-3193B3E12F04}"/>
          </ac:spMkLst>
        </pc:spChg>
        <pc:spChg chg="add del mod">
          <ac:chgData name="José Antonio Ureta Santacreu" userId="e36999d1-2b92-424a-9e8c-5fde0c5fbdd2" providerId="ADAL" clId="{B441C459-42E0-4465-B296-199851FC6E31}" dt="2024-09-11T11:12:14.001" v="3782" actId="6264"/>
          <ac:spMkLst>
            <pc:docMk/>
            <pc:sldMk cId="896121174" sldId="1273"/>
            <ac:spMk id="3" creationId="{C3372FEB-72B1-5238-ECE0-2D2DD44B7721}"/>
          </ac:spMkLst>
        </pc:spChg>
        <pc:spChg chg="mod ord">
          <ac:chgData name="José Antonio Ureta Santacreu" userId="e36999d1-2b92-424a-9e8c-5fde0c5fbdd2" providerId="ADAL" clId="{B441C459-42E0-4465-B296-199851FC6E31}" dt="2024-09-11T11:12:14.001" v="3782" actId="6264"/>
          <ac:spMkLst>
            <pc:docMk/>
            <pc:sldMk cId="896121174" sldId="1273"/>
            <ac:spMk id="4" creationId="{42BC31D8-EA1C-F2AF-3BA0-E80880596D23}"/>
          </ac:spMkLst>
        </pc:spChg>
        <pc:spChg chg="mod ord">
          <ac:chgData name="José Antonio Ureta Santacreu" userId="e36999d1-2b92-424a-9e8c-5fde0c5fbdd2" providerId="ADAL" clId="{B441C459-42E0-4465-B296-199851FC6E31}" dt="2024-09-11T11:12:14.001" v="3782" actId="6264"/>
          <ac:spMkLst>
            <pc:docMk/>
            <pc:sldMk cId="896121174" sldId="1273"/>
            <ac:spMk id="5" creationId="{ADD1C3ED-8046-D81A-7DD7-DD45C4BB2D38}"/>
          </ac:spMkLst>
        </pc:spChg>
        <pc:spChg chg="mod ord">
          <ac:chgData name="José Antonio Ureta Santacreu" userId="e36999d1-2b92-424a-9e8c-5fde0c5fbdd2" providerId="ADAL" clId="{B441C459-42E0-4465-B296-199851FC6E31}" dt="2024-09-11T11:12:14.001" v="3782" actId="6264"/>
          <ac:spMkLst>
            <pc:docMk/>
            <pc:sldMk cId="896121174" sldId="1273"/>
            <ac:spMk id="6" creationId="{1BDB4B41-C367-A792-0FA8-549CBE02138B}"/>
          </ac:spMkLst>
        </pc:spChg>
        <pc:spChg chg="add mod ord">
          <ac:chgData name="José Antonio Ureta Santacreu" userId="e36999d1-2b92-424a-9e8c-5fde0c5fbdd2" providerId="ADAL" clId="{B441C459-42E0-4465-B296-199851FC6E31}" dt="2024-09-11T11:12:14.001" v="3782" actId="6264"/>
          <ac:spMkLst>
            <pc:docMk/>
            <pc:sldMk cId="896121174" sldId="1273"/>
            <ac:spMk id="7" creationId="{732DAB7A-6417-D8EB-CE18-69E11AC1692A}"/>
          </ac:spMkLst>
        </pc:spChg>
        <pc:spChg chg="add del mod">
          <ac:chgData name="José Antonio Ureta Santacreu" userId="e36999d1-2b92-424a-9e8c-5fde0c5fbdd2" providerId="ADAL" clId="{B441C459-42E0-4465-B296-199851FC6E31}" dt="2024-09-11T11:12:14.001" v="3782" actId="6264"/>
          <ac:spMkLst>
            <pc:docMk/>
            <pc:sldMk cId="896121174" sldId="1273"/>
            <ac:spMk id="8" creationId="{AFE493E2-FBF8-BE8B-45A3-0ED6DED4BAE6}"/>
          </ac:spMkLst>
        </pc:spChg>
        <pc:spChg chg="add del mod">
          <ac:chgData name="José Antonio Ureta Santacreu" userId="e36999d1-2b92-424a-9e8c-5fde0c5fbdd2" providerId="ADAL" clId="{B441C459-42E0-4465-B296-199851FC6E31}" dt="2024-09-11T11:12:14.001" v="3782" actId="6264"/>
          <ac:spMkLst>
            <pc:docMk/>
            <pc:sldMk cId="896121174" sldId="1273"/>
            <ac:spMk id="9" creationId="{3AB7E87E-7F7C-445B-81C7-107EF5D43EF3}"/>
          </ac:spMkLst>
        </pc:spChg>
        <pc:spChg chg="add del mod">
          <ac:chgData name="José Antonio Ureta Santacreu" userId="e36999d1-2b92-424a-9e8c-5fde0c5fbdd2" providerId="ADAL" clId="{B441C459-42E0-4465-B296-199851FC6E31}" dt="2024-09-11T11:12:14.001" v="3782" actId="6264"/>
          <ac:spMkLst>
            <pc:docMk/>
            <pc:sldMk cId="896121174" sldId="1273"/>
            <ac:spMk id="10" creationId="{D516C748-061C-6B96-B7B3-5B4E9FD0A5B5}"/>
          </ac:spMkLst>
        </pc:spChg>
        <pc:spChg chg="add mod ord">
          <ac:chgData name="José Antonio Ureta Santacreu" userId="e36999d1-2b92-424a-9e8c-5fde0c5fbdd2" providerId="ADAL" clId="{B441C459-42E0-4465-B296-199851FC6E31}" dt="2024-09-11T11:12:14.001" v="3782" actId="6264"/>
          <ac:spMkLst>
            <pc:docMk/>
            <pc:sldMk cId="896121174" sldId="1273"/>
            <ac:spMk id="11" creationId="{ECB7D9ED-B0B8-4C45-38F4-4BCE4688F41C}"/>
          </ac:spMkLst>
        </pc:spChg>
      </pc:sldChg>
      <pc:sldChg chg="addSp delSp modSp new mod modClrScheme chgLayout">
        <pc:chgData name="José Antonio Ureta Santacreu" userId="e36999d1-2b92-424a-9e8c-5fde0c5fbdd2" providerId="ADAL" clId="{B441C459-42E0-4465-B296-199851FC6E31}" dt="2024-09-12T10:36:32.513" v="3868" actId="403"/>
        <pc:sldMkLst>
          <pc:docMk/>
          <pc:sldMk cId="3025488039" sldId="1274"/>
        </pc:sldMkLst>
        <pc:spChg chg="del mod ord">
          <ac:chgData name="José Antonio Ureta Santacreu" userId="e36999d1-2b92-424a-9e8c-5fde0c5fbdd2" providerId="ADAL" clId="{B441C459-42E0-4465-B296-199851FC6E31}" dt="2024-08-26T10:37:46.157" v="1839" actId="700"/>
          <ac:spMkLst>
            <pc:docMk/>
            <pc:sldMk cId="3025488039" sldId="1274"/>
            <ac:spMk id="2" creationId="{09731D15-3277-F1D4-CB87-815A610B7D56}"/>
          </ac:spMkLst>
        </pc:spChg>
        <pc:spChg chg="add del mod">
          <ac:chgData name="José Antonio Ureta Santacreu" userId="e36999d1-2b92-424a-9e8c-5fde0c5fbdd2" providerId="ADAL" clId="{B441C459-42E0-4465-B296-199851FC6E31}" dt="2024-09-11T11:12:14.001" v="3782" actId="6264"/>
          <ac:spMkLst>
            <pc:docMk/>
            <pc:sldMk cId="3025488039" sldId="1274"/>
            <ac:spMk id="2" creationId="{4BB68A9F-3491-D540-4EF4-285125D8A019}"/>
          </ac:spMkLst>
        </pc:spChg>
        <pc:spChg chg="mod ord">
          <ac:chgData name="José Antonio Ureta Santacreu" userId="e36999d1-2b92-424a-9e8c-5fde0c5fbdd2" providerId="ADAL" clId="{B441C459-42E0-4465-B296-199851FC6E31}" dt="2024-09-11T11:12:14.001" v="3782" actId="6264"/>
          <ac:spMkLst>
            <pc:docMk/>
            <pc:sldMk cId="3025488039" sldId="1274"/>
            <ac:spMk id="3" creationId="{9658774B-6814-485C-4D6C-61E1BC728666}"/>
          </ac:spMkLst>
        </pc:spChg>
        <pc:spChg chg="mod ord">
          <ac:chgData name="José Antonio Ureta Santacreu" userId="e36999d1-2b92-424a-9e8c-5fde0c5fbdd2" providerId="ADAL" clId="{B441C459-42E0-4465-B296-199851FC6E31}" dt="2024-09-11T11:12:14.001" v="3782" actId="6264"/>
          <ac:spMkLst>
            <pc:docMk/>
            <pc:sldMk cId="3025488039" sldId="1274"/>
            <ac:spMk id="4" creationId="{7DB02808-A39F-033D-9FB1-6E6A7B88B5BF}"/>
          </ac:spMkLst>
        </pc:spChg>
        <pc:spChg chg="mod ord">
          <ac:chgData name="José Antonio Ureta Santacreu" userId="e36999d1-2b92-424a-9e8c-5fde0c5fbdd2" providerId="ADAL" clId="{B441C459-42E0-4465-B296-199851FC6E31}" dt="2024-09-11T11:12:14.001" v="3782" actId="6264"/>
          <ac:spMkLst>
            <pc:docMk/>
            <pc:sldMk cId="3025488039" sldId="1274"/>
            <ac:spMk id="5" creationId="{70F63DF8-8FE3-F87E-2A6C-F0B5E472D792}"/>
          </ac:spMkLst>
        </pc:spChg>
        <pc:spChg chg="add mod ord">
          <ac:chgData name="José Antonio Ureta Santacreu" userId="e36999d1-2b92-424a-9e8c-5fde0c5fbdd2" providerId="ADAL" clId="{B441C459-42E0-4465-B296-199851FC6E31}" dt="2024-09-11T11:12:14.001" v="3782" actId="6264"/>
          <ac:spMkLst>
            <pc:docMk/>
            <pc:sldMk cId="3025488039" sldId="1274"/>
            <ac:spMk id="6" creationId="{46BE55F1-8F3C-525D-9962-3D9BEBA1F628}"/>
          </ac:spMkLst>
        </pc:spChg>
        <pc:spChg chg="add del mod ord">
          <ac:chgData name="José Antonio Ureta Santacreu" userId="e36999d1-2b92-424a-9e8c-5fde0c5fbdd2" providerId="ADAL" clId="{B441C459-42E0-4465-B296-199851FC6E31}" dt="2024-08-26T10:37:55.923" v="1840" actId="3680"/>
          <ac:spMkLst>
            <pc:docMk/>
            <pc:sldMk cId="3025488039" sldId="1274"/>
            <ac:spMk id="7" creationId="{0EA5C7DE-8140-03FD-46F7-F25439FA3B93}"/>
          </ac:spMkLst>
        </pc:spChg>
        <pc:spChg chg="add del mod">
          <ac:chgData name="José Antonio Ureta Santacreu" userId="e36999d1-2b92-424a-9e8c-5fde0c5fbdd2" providerId="ADAL" clId="{B441C459-42E0-4465-B296-199851FC6E31}" dt="2024-09-11T11:12:14.001" v="3782" actId="6264"/>
          <ac:spMkLst>
            <pc:docMk/>
            <pc:sldMk cId="3025488039" sldId="1274"/>
            <ac:spMk id="7" creationId="{70CC789B-00ED-A014-6C46-1C2FC53DD203}"/>
          </ac:spMkLst>
        </pc:spChg>
        <pc:spChg chg="add del mod">
          <ac:chgData name="José Antonio Ureta Santacreu" userId="e36999d1-2b92-424a-9e8c-5fde0c5fbdd2" providerId="ADAL" clId="{B441C459-42E0-4465-B296-199851FC6E31}" dt="2024-09-11T11:12:14.001" v="3782" actId="6264"/>
          <ac:spMkLst>
            <pc:docMk/>
            <pc:sldMk cId="3025488039" sldId="1274"/>
            <ac:spMk id="9" creationId="{6CA4AD29-3B1F-7BE0-50A4-15CC1DFF9F06}"/>
          </ac:spMkLst>
        </pc:spChg>
        <pc:spChg chg="add del mod">
          <ac:chgData name="José Antonio Ureta Santacreu" userId="e36999d1-2b92-424a-9e8c-5fde0c5fbdd2" providerId="ADAL" clId="{B441C459-42E0-4465-B296-199851FC6E31}" dt="2024-09-11T11:12:14.001" v="3782" actId="6264"/>
          <ac:spMkLst>
            <pc:docMk/>
            <pc:sldMk cId="3025488039" sldId="1274"/>
            <ac:spMk id="10" creationId="{64956B0B-3793-27DD-0B48-2C8ECA7052E2}"/>
          </ac:spMkLst>
        </pc:spChg>
        <pc:spChg chg="add del mod">
          <ac:chgData name="José Antonio Ureta Santacreu" userId="e36999d1-2b92-424a-9e8c-5fde0c5fbdd2" providerId="ADAL" clId="{B441C459-42E0-4465-B296-199851FC6E31}" dt="2024-09-11T11:12:14.001" v="3782" actId="6264"/>
          <ac:spMkLst>
            <pc:docMk/>
            <pc:sldMk cId="3025488039" sldId="1274"/>
            <ac:spMk id="11" creationId="{EB55AF5C-2D0B-9E24-071B-B9D431A7AEAA}"/>
          </ac:spMkLst>
        </pc:spChg>
        <pc:graphicFrameChg chg="add mod ord modGraphic">
          <ac:chgData name="José Antonio Ureta Santacreu" userId="e36999d1-2b92-424a-9e8c-5fde0c5fbdd2" providerId="ADAL" clId="{B441C459-42E0-4465-B296-199851FC6E31}" dt="2024-09-12T10:36:32.513" v="3868" actId="403"/>
          <ac:graphicFrameMkLst>
            <pc:docMk/>
            <pc:sldMk cId="3025488039" sldId="1274"/>
            <ac:graphicFrameMk id="8" creationId="{290B82BE-6FEE-4D90-04D5-317F8AA6C0F2}"/>
          </ac:graphicFrameMkLst>
        </pc:graphicFrameChg>
      </pc:sldChg>
      <pc:sldChg chg="addSp delSp modSp mod chgLayout">
        <pc:chgData name="José Antonio Ureta Santacreu" userId="e36999d1-2b92-424a-9e8c-5fde0c5fbdd2" providerId="ADAL" clId="{B441C459-42E0-4465-B296-199851FC6E31}" dt="2024-09-12T10:36:24.160" v="3866" actId="1036"/>
        <pc:sldMkLst>
          <pc:docMk/>
          <pc:sldMk cId="408298158" sldId="1275"/>
        </pc:sldMkLst>
        <pc:spChg chg="add del mod">
          <ac:chgData name="José Antonio Ureta Santacreu" userId="e36999d1-2b92-424a-9e8c-5fde0c5fbdd2" providerId="ADAL" clId="{B441C459-42E0-4465-B296-199851FC6E31}" dt="2024-09-11T11:12:14.001" v="3782" actId="6264"/>
          <ac:spMkLst>
            <pc:docMk/>
            <pc:sldMk cId="408298158" sldId="1275"/>
            <ac:spMk id="2" creationId="{281E7404-6B33-716E-A245-822628974512}"/>
          </ac:spMkLst>
        </pc:spChg>
        <pc:spChg chg="mod ord">
          <ac:chgData name="José Antonio Ureta Santacreu" userId="e36999d1-2b92-424a-9e8c-5fde0c5fbdd2" providerId="ADAL" clId="{B441C459-42E0-4465-B296-199851FC6E31}" dt="2024-09-11T11:12:14.001" v="3782" actId="6264"/>
          <ac:spMkLst>
            <pc:docMk/>
            <pc:sldMk cId="408298158" sldId="1275"/>
            <ac:spMk id="3" creationId="{9658774B-6814-485C-4D6C-61E1BC728666}"/>
          </ac:spMkLst>
        </pc:spChg>
        <pc:spChg chg="mod ord">
          <ac:chgData name="José Antonio Ureta Santacreu" userId="e36999d1-2b92-424a-9e8c-5fde0c5fbdd2" providerId="ADAL" clId="{B441C459-42E0-4465-B296-199851FC6E31}" dt="2024-09-11T11:12:14.001" v="3782" actId="6264"/>
          <ac:spMkLst>
            <pc:docMk/>
            <pc:sldMk cId="408298158" sldId="1275"/>
            <ac:spMk id="4" creationId="{7DB02808-A39F-033D-9FB1-6E6A7B88B5BF}"/>
          </ac:spMkLst>
        </pc:spChg>
        <pc:spChg chg="mod ord">
          <ac:chgData name="José Antonio Ureta Santacreu" userId="e36999d1-2b92-424a-9e8c-5fde0c5fbdd2" providerId="ADAL" clId="{B441C459-42E0-4465-B296-199851FC6E31}" dt="2024-09-11T11:12:14.001" v="3782" actId="6264"/>
          <ac:spMkLst>
            <pc:docMk/>
            <pc:sldMk cId="408298158" sldId="1275"/>
            <ac:spMk id="5" creationId="{70F63DF8-8FE3-F87E-2A6C-F0B5E472D792}"/>
          </ac:spMkLst>
        </pc:spChg>
        <pc:spChg chg="mod ord">
          <ac:chgData name="José Antonio Ureta Santacreu" userId="e36999d1-2b92-424a-9e8c-5fde0c5fbdd2" providerId="ADAL" clId="{B441C459-42E0-4465-B296-199851FC6E31}" dt="2024-09-11T11:12:14.001" v="3782" actId="6264"/>
          <ac:spMkLst>
            <pc:docMk/>
            <pc:sldMk cId="408298158" sldId="1275"/>
            <ac:spMk id="6" creationId="{46BE55F1-8F3C-525D-9962-3D9BEBA1F628}"/>
          </ac:spMkLst>
        </pc:spChg>
        <pc:spChg chg="add del mod">
          <ac:chgData name="José Antonio Ureta Santacreu" userId="e36999d1-2b92-424a-9e8c-5fde0c5fbdd2" providerId="ADAL" clId="{B441C459-42E0-4465-B296-199851FC6E31}" dt="2024-09-11T11:12:14.001" v="3782" actId="6264"/>
          <ac:spMkLst>
            <pc:docMk/>
            <pc:sldMk cId="408298158" sldId="1275"/>
            <ac:spMk id="7" creationId="{68D2E198-C833-46ED-FC43-EDA555DA3E60}"/>
          </ac:spMkLst>
        </pc:spChg>
        <pc:spChg chg="add del mod">
          <ac:chgData name="José Antonio Ureta Santacreu" userId="e36999d1-2b92-424a-9e8c-5fde0c5fbdd2" providerId="ADAL" clId="{B441C459-42E0-4465-B296-199851FC6E31}" dt="2024-09-11T11:12:14.001" v="3782" actId="6264"/>
          <ac:spMkLst>
            <pc:docMk/>
            <pc:sldMk cId="408298158" sldId="1275"/>
            <ac:spMk id="9" creationId="{BCF58BE1-6542-03C6-6287-1B0E661B652D}"/>
          </ac:spMkLst>
        </pc:spChg>
        <pc:spChg chg="add del mod">
          <ac:chgData name="José Antonio Ureta Santacreu" userId="e36999d1-2b92-424a-9e8c-5fde0c5fbdd2" providerId="ADAL" clId="{B441C459-42E0-4465-B296-199851FC6E31}" dt="2024-09-11T11:12:14.001" v="3782" actId="6264"/>
          <ac:spMkLst>
            <pc:docMk/>
            <pc:sldMk cId="408298158" sldId="1275"/>
            <ac:spMk id="10" creationId="{1FAD332F-DB1A-EBC5-BC6C-C63CEEB95090}"/>
          </ac:spMkLst>
        </pc:spChg>
        <pc:spChg chg="add del mod">
          <ac:chgData name="José Antonio Ureta Santacreu" userId="e36999d1-2b92-424a-9e8c-5fde0c5fbdd2" providerId="ADAL" clId="{B441C459-42E0-4465-B296-199851FC6E31}" dt="2024-09-11T11:12:14.001" v="3782" actId="6264"/>
          <ac:spMkLst>
            <pc:docMk/>
            <pc:sldMk cId="408298158" sldId="1275"/>
            <ac:spMk id="11" creationId="{F857F317-5813-D453-E0B8-2CE5229D0C3B}"/>
          </ac:spMkLst>
        </pc:spChg>
        <pc:graphicFrameChg chg="mod ord modGraphic">
          <ac:chgData name="José Antonio Ureta Santacreu" userId="e36999d1-2b92-424a-9e8c-5fde0c5fbdd2" providerId="ADAL" clId="{B441C459-42E0-4465-B296-199851FC6E31}" dt="2024-09-12T10:36:24.160" v="3866" actId="1036"/>
          <ac:graphicFrameMkLst>
            <pc:docMk/>
            <pc:sldMk cId="408298158" sldId="1275"/>
            <ac:graphicFrameMk id="8" creationId="{290B82BE-6FEE-4D90-04D5-317F8AA6C0F2}"/>
          </ac:graphicFrameMkLst>
        </pc:graphicFrameChg>
      </pc:sldChg>
      <pc:sldChg chg="addSp delSp modSp mod chgLayout">
        <pc:chgData name="José Antonio Ureta Santacreu" userId="e36999d1-2b92-424a-9e8c-5fde0c5fbdd2" providerId="ADAL" clId="{B441C459-42E0-4465-B296-199851FC6E31}" dt="2024-09-12T10:36:53.899" v="3887" actId="1036"/>
        <pc:sldMkLst>
          <pc:docMk/>
          <pc:sldMk cId="2097371150" sldId="1276"/>
        </pc:sldMkLst>
        <pc:spChg chg="mod">
          <ac:chgData name="José Antonio Ureta Santacreu" userId="e36999d1-2b92-424a-9e8c-5fde0c5fbdd2" providerId="ADAL" clId="{B441C459-42E0-4465-B296-199851FC6E31}" dt="2024-09-12T10:36:53.899" v="3887" actId="1036"/>
          <ac:spMkLst>
            <pc:docMk/>
            <pc:sldMk cId="2097371150" sldId="1276"/>
            <ac:spMk id="2" creationId="{6115DDB5-9AF6-A447-AA8C-811F47E120E3}"/>
          </ac:spMkLst>
        </pc:spChg>
        <pc:spChg chg="mod ord">
          <ac:chgData name="José Antonio Ureta Santacreu" userId="e36999d1-2b92-424a-9e8c-5fde0c5fbdd2" providerId="ADAL" clId="{B441C459-42E0-4465-B296-199851FC6E31}" dt="2024-09-11T11:12:14.001" v="3782" actId="6264"/>
          <ac:spMkLst>
            <pc:docMk/>
            <pc:sldMk cId="2097371150" sldId="1276"/>
            <ac:spMk id="3" creationId="{9658774B-6814-485C-4D6C-61E1BC728666}"/>
          </ac:spMkLst>
        </pc:spChg>
        <pc:spChg chg="mod ord">
          <ac:chgData name="José Antonio Ureta Santacreu" userId="e36999d1-2b92-424a-9e8c-5fde0c5fbdd2" providerId="ADAL" clId="{B441C459-42E0-4465-B296-199851FC6E31}" dt="2024-09-11T11:12:14.001" v="3782" actId="6264"/>
          <ac:spMkLst>
            <pc:docMk/>
            <pc:sldMk cId="2097371150" sldId="1276"/>
            <ac:spMk id="4" creationId="{7DB02808-A39F-033D-9FB1-6E6A7B88B5BF}"/>
          </ac:spMkLst>
        </pc:spChg>
        <pc:spChg chg="mod ord">
          <ac:chgData name="José Antonio Ureta Santacreu" userId="e36999d1-2b92-424a-9e8c-5fde0c5fbdd2" providerId="ADAL" clId="{B441C459-42E0-4465-B296-199851FC6E31}" dt="2024-09-11T11:12:14.001" v="3782" actId="6264"/>
          <ac:spMkLst>
            <pc:docMk/>
            <pc:sldMk cId="2097371150" sldId="1276"/>
            <ac:spMk id="5" creationId="{70F63DF8-8FE3-F87E-2A6C-F0B5E472D792}"/>
          </ac:spMkLst>
        </pc:spChg>
        <pc:spChg chg="mod ord">
          <ac:chgData name="José Antonio Ureta Santacreu" userId="e36999d1-2b92-424a-9e8c-5fde0c5fbdd2" providerId="ADAL" clId="{B441C459-42E0-4465-B296-199851FC6E31}" dt="2024-09-11T11:12:14.001" v="3782" actId="6264"/>
          <ac:spMkLst>
            <pc:docMk/>
            <pc:sldMk cId="2097371150" sldId="1276"/>
            <ac:spMk id="6" creationId="{46BE55F1-8F3C-525D-9962-3D9BEBA1F628}"/>
          </ac:spMkLst>
        </pc:spChg>
        <pc:spChg chg="add del mod">
          <ac:chgData name="José Antonio Ureta Santacreu" userId="e36999d1-2b92-424a-9e8c-5fde0c5fbdd2" providerId="ADAL" clId="{B441C459-42E0-4465-B296-199851FC6E31}" dt="2024-09-11T11:12:14.001" v="3782" actId="6264"/>
          <ac:spMkLst>
            <pc:docMk/>
            <pc:sldMk cId="2097371150" sldId="1276"/>
            <ac:spMk id="7" creationId="{AA8020BE-B8CF-4EDF-6F00-0AB14E46131E}"/>
          </ac:spMkLst>
        </pc:spChg>
        <pc:spChg chg="add del mod">
          <ac:chgData name="José Antonio Ureta Santacreu" userId="e36999d1-2b92-424a-9e8c-5fde0c5fbdd2" providerId="ADAL" clId="{B441C459-42E0-4465-B296-199851FC6E31}" dt="2024-09-11T11:12:14.001" v="3782" actId="6264"/>
          <ac:spMkLst>
            <pc:docMk/>
            <pc:sldMk cId="2097371150" sldId="1276"/>
            <ac:spMk id="9" creationId="{A69678B6-0FDB-4892-3A7F-F7B9EAB256EC}"/>
          </ac:spMkLst>
        </pc:spChg>
        <pc:spChg chg="add del mod">
          <ac:chgData name="José Antonio Ureta Santacreu" userId="e36999d1-2b92-424a-9e8c-5fde0c5fbdd2" providerId="ADAL" clId="{B441C459-42E0-4465-B296-199851FC6E31}" dt="2024-09-11T11:12:14.001" v="3782" actId="6264"/>
          <ac:spMkLst>
            <pc:docMk/>
            <pc:sldMk cId="2097371150" sldId="1276"/>
            <ac:spMk id="10" creationId="{7AC51847-42FD-A674-5CDE-073A109BE92C}"/>
          </ac:spMkLst>
        </pc:spChg>
        <pc:spChg chg="add del mod">
          <ac:chgData name="José Antonio Ureta Santacreu" userId="e36999d1-2b92-424a-9e8c-5fde0c5fbdd2" providerId="ADAL" clId="{B441C459-42E0-4465-B296-199851FC6E31}" dt="2024-09-11T11:12:14.001" v="3782" actId="6264"/>
          <ac:spMkLst>
            <pc:docMk/>
            <pc:sldMk cId="2097371150" sldId="1276"/>
            <ac:spMk id="11" creationId="{750C014A-1D56-A0FC-8CD6-975D184D55CC}"/>
          </ac:spMkLst>
        </pc:spChg>
        <pc:spChg chg="add del mod">
          <ac:chgData name="José Antonio Ureta Santacreu" userId="e36999d1-2b92-424a-9e8c-5fde0c5fbdd2" providerId="ADAL" clId="{B441C459-42E0-4465-B296-199851FC6E31}" dt="2024-09-11T11:12:14.001" v="3782" actId="6264"/>
          <ac:spMkLst>
            <pc:docMk/>
            <pc:sldMk cId="2097371150" sldId="1276"/>
            <ac:spMk id="12" creationId="{5758074E-A8A2-88A3-9924-9FE489F3618D}"/>
          </ac:spMkLst>
        </pc:spChg>
        <pc:graphicFrameChg chg="mod ord">
          <ac:chgData name="José Antonio Ureta Santacreu" userId="e36999d1-2b92-424a-9e8c-5fde0c5fbdd2" providerId="ADAL" clId="{B441C459-42E0-4465-B296-199851FC6E31}" dt="2024-09-12T10:36:42.700" v="3869" actId="1076"/>
          <ac:graphicFrameMkLst>
            <pc:docMk/>
            <pc:sldMk cId="2097371150" sldId="1276"/>
            <ac:graphicFrameMk id="8" creationId="{290B82BE-6FEE-4D90-04D5-317F8AA6C0F2}"/>
          </ac:graphicFrameMkLst>
        </pc:graphicFrameChg>
      </pc:sldChg>
      <pc:sldChg chg="addSp delSp modSp mod chgLayout">
        <pc:chgData name="José Antonio Ureta Santacreu" userId="e36999d1-2b92-424a-9e8c-5fde0c5fbdd2" providerId="ADAL" clId="{B441C459-42E0-4465-B296-199851FC6E31}" dt="2024-09-12T10:35:59.933" v="3840" actId="1035"/>
        <pc:sldMkLst>
          <pc:docMk/>
          <pc:sldMk cId="2460535060" sldId="1277"/>
        </pc:sldMkLst>
        <pc:spChg chg="mod ord">
          <ac:chgData name="José Antonio Ureta Santacreu" userId="e36999d1-2b92-424a-9e8c-5fde0c5fbdd2" providerId="ADAL" clId="{B441C459-42E0-4465-B296-199851FC6E31}" dt="2024-09-11T11:12:14.001" v="3782" actId="6264"/>
          <ac:spMkLst>
            <pc:docMk/>
            <pc:sldMk cId="2460535060" sldId="1277"/>
            <ac:spMk id="2" creationId="{63E1DBD9-0905-0D45-8292-67AFF21B6EED}"/>
          </ac:spMkLst>
        </pc:spChg>
        <pc:spChg chg="add del mod">
          <ac:chgData name="José Antonio Ureta Santacreu" userId="e36999d1-2b92-424a-9e8c-5fde0c5fbdd2" providerId="ADAL" clId="{B441C459-42E0-4465-B296-199851FC6E31}" dt="2024-09-11T11:12:14.001" v="3782" actId="6264"/>
          <ac:spMkLst>
            <pc:docMk/>
            <pc:sldMk cId="2460535060" sldId="1277"/>
            <ac:spMk id="3" creationId="{D5573625-E9A8-4EB6-2292-EA7FF4A7C6DC}"/>
          </ac:spMkLst>
        </pc:spChg>
        <pc:spChg chg="mod ord">
          <ac:chgData name="José Antonio Ureta Santacreu" userId="e36999d1-2b92-424a-9e8c-5fde0c5fbdd2" providerId="ADAL" clId="{B441C459-42E0-4465-B296-199851FC6E31}" dt="2024-09-11T11:12:14.001" v="3782" actId="6264"/>
          <ac:spMkLst>
            <pc:docMk/>
            <pc:sldMk cId="2460535060" sldId="1277"/>
            <ac:spMk id="4" creationId="{820008C6-9C94-5F0A-64B2-CC10F9EF9867}"/>
          </ac:spMkLst>
        </pc:spChg>
        <pc:spChg chg="mod ord">
          <ac:chgData name="José Antonio Ureta Santacreu" userId="e36999d1-2b92-424a-9e8c-5fde0c5fbdd2" providerId="ADAL" clId="{B441C459-42E0-4465-B296-199851FC6E31}" dt="2024-09-11T11:12:14.001" v="3782" actId="6264"/>
          <ac:spMkLst>
            <pc:docMk/>
            <pc:sldMk cId="2460535060" sldId="1277"/>
            <ac:spMk id="5" creationId="{3209A447-A0BE-14A0-835F-BCD10582F38C}"/>
          </ac:spMkLst>
        </pc:spChg>
        <pc:spChg chg="mod ord">
          <ac:chgData name="José Antonio Ureta Santacreu" userId="e36999d1-2b92-424a-9e8c-5fde0c5fbdd2" providerId="ADAL" clId="{B441C459-42E0-4465-B296-199851FC6E31}" dt="2024-09-11T11:12:14.001" v="3782" actId="6264"/>
          <ac:spMkLst>
            <pc:docMk/>
            <pc:sldMk cId="2460535060" sldId="1277"/>
            <ac:spMk id="6" creationId="{B40F6C79-82AF-9591-7FFA-C2C8E53BFE64}"/>
          </ac:spMkLst>
        </pc:spChg>
        <pc:spChg chg="add del mod">
          <ac:chgData name="José Antonio Ureta Santacreu" userId="e36999d1-2b92-424a-9e8c-5fde0c5fbdd2" providerId="ADAL" clId="{B441C459-42E0-4465-B296-199851FC6E31}" dt="2024-09-11T11:12:14.001" v="3782" actId="6264"/>
          <ac:spMkLst>
            <pc:docMk/>
            <pc:sldMk cId="2460535060" sldId="1277"/>
            <ac:spMk id="8" creationId="{54B79019-00D7-7E32-12EC-736FF6D9EEAB}"/>
          </ac:spMkLst>
        </pc:spChg>
        <pc:spChg chg="add del mod">
          <ac:chgData name="José Antonio Ureta Santacreu" userId="e36999d1-2b92-424a-9e8c-5fde0c5fbdd2" providerId="ADAL" clId="{B441C459-42E0-4465-B296-199851FC6E31}" dt="2024-09-11T11:12:14.001" v="3782" actId="6264"/>
          <ac:spMkLst>
            <pc:docMk/>
            <pc:sldMk cId="2460535060" sldId="1277"/>
            <ac:spMk id="9" creationId="{D3556E9D-34FA-4BBA-E3CE-0CC2837108CC}"/>
          </ac:spMkLst>
        </pc:spChg>
        <pc:spChg chg="add del mod">
          <ac:chgData name="José Antonio Ureta Santacreu" userId="e36999d1-2b92-424a-9e8c-5fde0c5fbdd2" providerId="ADAL" clId="{B441C459-42E0-4465-B296-199851FC6E31}" dt="2024-09-11T11:12:14.001" v="3782" actId="6264"/>
          <ac:spMkLst>
            <pc:docMk/>
            <pc:sldMk cId="2460535060" sldId="1277"/>
            <ac:spMk id="10" creationId="{CFDF3659-6A52-A1FA-FAB9-D5A30F2096E4}"/>
          </ac:spMkLst>
        </pc:spChg>
        <pc:spChg chg="add del mod">
          <ac:chgData name="José Antonio Ureta Santacreu" userId="e36999d1-2b92-424a-9e8c-5fde0c5fbdd2" providerId="ADAL" clId="{B441C459-42E0-4465-B296-199851FC6E31}" dt="2024-09-11T11:12:14.001" v="3782" actId="6264"/>
          <ac:spMkLst>
            <pc:docMk/>
            <pc:sldMk cId="2460535060" sldId="1277"/>
            <ac:spMk id="11" creationId="{FE089AA8-D877-AE23-7AC3-54A72EF9323B}"/>
          </ac:spMkLst>
        </pc:spChg>
        <pc:graphicFrameChg chg="mod ord modGraphic">
          <ac:chgData name="José Antonio Ureta Santacreu" userId="e36999d1-2b92-424a-9e8c-5fde0c5fbdd2" providerId="ADAL" clId="{B441C459-42E0-4465-B296-199851FC6E31}" dt="2024-09-12T10:35:59.933" v="3840" actId="1035"/>
          <ac:graphicFrameMkLst>
            <pc:docMk/>
            <pc:sldMk cId="2460535060" sldId="1277"/>
            <ac:graphicFrameMk id="7" creationId="{AAF4FA3E-884B-5162-BEBB-A330B80F2145}"/>
          </ac:graphicFrameMkLst>
        </pc:graphicFrameChg>
      </pc:sldChg>
      <pc:sldChg chg="modSp add del mod">
        <pc:chgData name="José Antonio Ureta Santacreu" userId="e36999d1-2b92-424a-9e8c-5fde0c5fbdd2" providerId="ADAL" clId="{B441C459-42E0-4465-B296-199851FC6E31}" dt="2024-09-02T10:54:14.452" v="2274" actId="47"/>
        <pc:sldMkLst>
          <pc:docMk/>
          <pc:sldMk cId="301301035" sldId="1278"/>
        </pc:sldMkLst>
        <pc:spChg chg="mod">
          <ac:chgData name="José Antonio Ureta Santacreu" userId="e36999d1-2b92-424a-9e8c-5fde0c5fbdd2" providerId="ADAL" clId="{B441C459-42E0-4465-B296-199851FC6E31}" dt="2024-09-02T10:54:08.337" v="2272" actId="21"/>
          <ac:spMkLst>
            <pc:docMk/>
            <pc:sldMk cId="301301035" sldId="1278"/>
            <ac:spMk id="2" creationId="{A260F1EA-D979-BB63-10F6-B01248234563}"/>
          </ac:spMkLst>
        </pc:spChg>
      </pc:sldChg>
      <pc:sldChg chg="addSp delSp modSp add mod chgLayout">
        <pc:chgData name="José Antonio Ureta Santacreu" userId="e36999d1-2b92-424a-9e8c-5fde0c5fbdd2" providerId="ADAL" clId="{B441C459-42E0-4465-B296-199851FC6E31}" dt="2024-09-11T11:12:14.001" v="3782" actId="6264"/>
        <pc:sldMkLst>
          <pc:docMk/>
          <pc:sldMk cId="940867524" sldId="1279"/>
        </pc:sldMkLst>
        <pc:spChg chg="mod ord">
          <ac:chgData name="José Antonio Ureta Santacreu" userId="e36999d1-2b92-424a-9e8c-5fde0c5fbdd2" providerId="ADAL" clId="{B441C459-42E0-4465-B296-199851FC6E31}" dt="2024-09-11T11:12:14.001" v="3782" actId="6264"/>
          <ac:spMkLst>
            <pc:docMk/>
            <pc:sldMk cId="940867524" sldId="1279"/>
            <ac:spMk id="2" creationId="{C5ADA680-AF6B-0BE2-D71A-0F2D94013675}"/>
          </ac:spMkLst>
        </pc:spChg>
        <pc:spChg chg="add del mod">
          <ac:chgData name="José Antonio Ureta Santacreu" userId="e36999d1-2b92-424a-9e8c-5fde0c5fbdd2" providerId="ADAL" clId="{B441C459-42E0-4465-B296-199851FC6E31}" dt="2024-09-11T11:12:14.001" v="3782" actId="6264"/>
          <ac:spMkLst>
            <pc:docMk/>
            <pc:sldMk cId="940867524" sldId="1279"/>
            <ac:spMk id="3" creationId="{5D30B628-3553-7A04-C029-FD8B89AFEE26}"/>
          </ac:spMkLst>
        </pc:spChg>
        <pc:spChg chg="del mod">
          <ac:chgData name="José Antonio Ureta Santacreu" userId="e36999d1-2b92-424a-9e8c-5fde0c5fbdd2" providerId="ADAL" clId="{B441C459-42E0-4465-B296-199851FC6E31}" dt="2024-09-02T10:58:58.674" v="2442" actId="1032"/>
          <ac:spMkLst>
            <pc:docMk/>
            <pc:sldMk cId="940867524" sldId="1279"/>
            <ac:spMk id="3" creationId="{91FDBAD5-F624-AED3-B79E-2DC0DFFB8564}"/>
          </ac:spMkLst>
        </pc:spChg>
        <pc:spChg chg="add del mod">
          <ac:chgData name="José Antonio Ureta Santacreu" userId="e36999d1-2b92-424a-9e8c-5fde0c5fbdd2" providerId="ADAL" clId="{B441C459-42E0-4465-B296-199851FC6E31}" dt="2024-09-11T11:12:14.001" v="3782" actId="6264"/>
          <ac:spMkLst>
            <pc:docMk/>
            <pc:sldMk cId="940867524" sldId="1279"/>
            <ac:spMk id="5" creationId="{344DEAAB-F9FF-76C6-260F-9C98E53D3CBD}"/>
          </ac:spMkLst>
        </pc:spChg>
        <pc:spChg chg="add del mod">
          <ac:chgData name="José Antonio Ureta Santacreu" userId="e36999d1-2b92-424a-9e8c-5fde0c5fbdd2" providerId="ADAL" clId="{B441C459-42E0-4465-B296-199851FC6E31}" dt="2024-09-11T11:12:14.001" v="3782" actId="6264"/>
          <ac:spMkLst>
            <pc:docMk/>
            <pc:sldMk cId="940867524" sldId="1279"/>
            <ac:spMk id="6" creationId="{44CE57B7-DBCF-FD21-1B3B-026D2466FFC5}"/>
          </ac:spMkLst>
        </pc:spChg>
        <pc:spChg chg="add del mod">
          <ac:chgData name="José Antonio Ureta Santacreu" userId="e36999d1-2b92-424a-9e8c-5fde0c5fbdd2" providerId="ADAL" clId="{B441C459-42E0-4465-B296-199851FC6E31}" dt="2024-09-11T11:12:14.001" v="3782" actId="6264"/>
          <ac:spMkLst>
            <pc:docMk/>
            <pc:sldMk cId="940867524" sldId="1279"/>
            <ac:spMk id="7" creationId="{FAD1E73B-5A54-65F1-1F2F-96B8B898BC38}"/>
          </ac:spMkLst>
        </pc:spChg>
        <pc:spChg chg="mod ord">
          <ac:chgData name="José Antonio Ureta Santacreu" userId="e36999d1-2b92-424a-9e8c-5fde0c5fbdd2" providerId="ADAL" clId="{B441C459-42E0-4465-B296-199851FC6E31}" dt="2024-09-11T11:12:14.001" v="3782" actId="6264"/>
          <ac:spMkLst>
            <pc:docMk/>
            <pc:sldMk cId="940867524" sldId="1279"/>
            <ac:spMk id="9" creationId="{D88AD4C0-F583-7CF2-50C2-4055F164198F}"/>
          </ac:spMkLst>
        </pc:spChg>
        <pc:spChg chg="mod ord">
          <ac:chgData name="José Antonio Ureta Santacreu" userId="e36999d1-2b92-424a-9e8c-5fde0c5fbdd2" providerId="ADAL" clId="{B441C459-42E0-4465-B296-199851FC6E31}" dt="2024-09-11T11:12:14.001" v="3782" actId="6264"/>
          <ac:spMkLst>
            <pc:docMk/>
            <pc:sldMk cId="940867524" sldId="1279"/>
            <ac:spMk id="10" creationId="{56793643-57B3-CC4A-DD0F-467EEDBC7E0A}"/>
          </ac:spMkLst>
        </pc:spChg>
        <pc:spChg chg="mod ord">
          <ac:chgData name="José Antonio Ureta Santacreu" userId="e36999d1-2b92-424a-9e8c-5fde0c5fbdd2" providerId="ADAL" clId="{B441C459-42E0-4465-B296-199851FC6E31}" dt="2024-09-11T11:12:14.001" v="3782" actId="6264"/>
          <ac:spMkLst>
            <pc:docMk/>
            <pc:sldMk cId="940867524" sldId="1279"/>
            <ac:spMk id="11" creationId="{387B3875-65CB-14F4-27BA-4E7A80EA9D3D}"/>
          </ac:spMkLst>
        </pc:spChg>
        <pc:spChg chg="add del mod">
          <ac:chgData name="José Antonio Ureta Santacreu" userId="e36999d1-2b92-424a-9e8c-5fde0c5fbdd2" providerId="ADAL" clId="{B441C459-42E0-4465-B296-199851FC6E31}" dt="2024-09-11T11:12:14.001" v="3782" actId="6264"/>
          <ac:spMkLst>
            <pc:docMk/>
            <pc:sldMk cId="940867524" sldId="1279"/>
            <ac:spMk id="12" creationId="{F0A87810-8BCB-B0E4-71FF-BF686F35E963}"/>
          </ac:spMkLst>
        </pc:spChg>
        <pc:spChg chg="add del mod">
          <ac:chgData name="José Antonio Ureta Santacreu" userId="e36999d1-2b92-424a-9e8c-5fde0c5fbdd2" providerId="ADAL" clId="{B441C459-42E0-4465-B296-199851FC6E31}" dt="2024-09-11T11:12:14.001" v="3782" actId="6264"/>
          <ac:spMkLst>
            <pc:docMk/>
            <pc:sldMk cId="940867524" sldId="1279"/>
            <ac:spMk id="13" creationId="{4817A0BC-54D5-2D43-4973-BE22E7341594}"/>
          </ac:spMkLst>
        </pc:spChg>
        <pc:graphicFrameChg chg="add mod ord modGraphic">
          <ac:chgData name="José Antonio Ureta Santacreu" userId="e36999d1-2b92-424a-9e8c-5fde0c5fbdd2" providerId="ADAL" clId="{B441C459-42E0-4465-B296-199851FC6E31}" dt="2024-09-11T11:12:14.001" v="3782" actId="6264"/>
          <ac:graphicFrameMkLst>
            <pc:docMk/>
            <pc:sldMk cId="940867524" sldId="1279"/>
            <ac:graphicFrameMk id="4" creationId="{F55943C7-5A73-26E5-8627-929139676073}"/>
          </ac:graphicFrameMkLst>
        </pc:graphicFrameChg>
        <pc:picChg chg="mod ord">
          <ac:chgData name="José Antonio Ureta Santacreu" userId="e36999d1-2b92-424a-9e8c-5fde0c5fbdd2" providerId="ADAL" clId="{B441C459-42E0-4465-B296-199851FC6E31}" dt="2024-09-11T11:12:14.001" v="3782" actId="6264"/>
          <ac:picMkLst>
            <pc:docMk/>
            <pc:sldMk cId="940867524" sldId="1279"/>
            <ac:picMk id="8" creationId="{28416E78-05C5-700D-7163-59C225EC147E}"/>
          </ac:picMkLst>
        </pc:picChg>
      </pc:sldChg>
      <pc:sldChg chg="addSp delSp modSp new mod chgLayout">
        <pc:chgData name="José Antonio Ureta Santacreu" userId="e36999d1-2b92-424a-9e8c-5fde0c5fbdd2" providerId="ADAL" clId="{B441C459-42E0-4465-B296-199851FC6E31}" dt="2024-09-12T11:19:52.183" v="4463" actId="113"/>
        <pc:sldMkLst>
          <pc:docMk/>
          <pc:sldMk cId="3530545804" sldId="1280"/>
        </pc:sldMkLst>
        <pc:spChg chg="mod ord">
          <ac:chgData name="José Antonio Ureta Santacreu" userId="e36999d1-2b92-424a-9e8c-5fde0c5fbdd2" providerId="ADAL" clId="{B441C459-42E0-4465-B296-199851FC6E31}" dt="2024-09-11T11:12:14.001" v="3782" actId="6264"/>
          <ac:spMkLst>
            <pc:docMk/>
            <pc:sldMk cId="3530545804" sldId="1280"/>
            <ac:spMk id="2" creationId="{9BA0197E-8AC4-AD33-A7F7-F6566509C317}"/>
          </ac:spMkLst>
        </pc:spChg>
        <pc:spChg chg="add del mod">
          <ac:chgData name="José Antonio Ureta Santacreu" userId="e36999d1-2b92-424a-9e8c-5fde0c5fbdd2" providerId="ADAL" clId="{B441C459-42E0-4465-B296-199851FC6E31}" dt="2024-09-11T11:12:14.001" v="3782" actId="6264"/>
          <ac:spMkLst>
            <pc:docMk/>
            <pc:sldMk cId="3530545804" sldId="1280"/>
            <ac:spMk id="3" creationId="{4A372DF6-BEF7-535E-1C4B-E1F9A0DD92B5}"/>
          </ac:spMkLst>
        </pc:spChg>
        <pc:spChg chg="del">
          <ac:chgData name="José Antonio Ureta Santacreu" userId="e36999d1-2b92-424a-9e8c-5fde0c5fbdd2" providerId="ADAL" clId="{B441C459-42E0-4465-B296-199851FC6E31}" dt="2024-09-02T11:03:57.424" v="2464" actId="3680"/>
          <ac:spMkLst>
            <pc:docMk/>
            <pc:sldMk cId="3530545804" sldId="1280"/>
            <ac:spMk id="3" creationId="{DA38819F-4BF9-F4EA-606D-581F1E5E1A32}"/>
          </ac:spMkLst>
        </pc:spChg>
        <pc:spChg chg="mod ord">
          <ac:chgData name="José Antonio Ureta Santacreu" userId="e36999d1-2b92-424a-9e8c-5fde0c5fbdd2" providerId="ADAL" clId="{B441C459-42E0-4465-B296-199851FC6E31}" dt="2024-09-11T11:12:14.001" v="3782" actId="6264"/>
          <ac:spMkLst>
            <pc:docMk/>
            <pc:sldMk cId="3530545804" sldId="1280"/>
            <ac:spMk id="4" creationId="{5BBFE765-9A73-673F-85ED-5D2E3C860BF3}"/>
          </ac:spMkLst>
        </pc:spChg>
        <pc:spChg chg="mod ord">
          <ac:chgData name="José Antonio Ureta Santacreu" userId="e36999d1-2b92-424a-9e8c-5fde0c5fbdd2" providerId="ADAL" clId="{B441C459-42E0-4465-B296-199851FC6E31}" dt="2024-09-11T11:12:14.001" v="3782" actId="6264"/>
          <ac:spMkLst>
            <pc:docMk/>
            <pc:sldMk cId="3530545804" sldId="1280"/>
            <ac:spMk id="5" creationId="{4B0794F6-5A3D-6374-5273-BE2729D6A154}"/>
          </ac:spMkLst>
        </pc:spChg>
        <pc:spChg chg="mod ord">
          <ac:chgData name="José Antonio Ureta Santacreu" userId="e36999d1-2b92-424a-9e8c-5fde0c5fbdd2" providerId="ADAL" clId="{B441C459-42E0-4465-B296-199851FC6E31}" dt="2024-09-11T11:12:14.001" v="3782" actId="6264"/>
          <ac:spMkLst>
            <pc:docMk/>
            <pc:sldMk cId="3530545804" sldId="1280"/>
            <ac:spMk id="6" creationId="{C04C37E8-C743-BE02-B9AD-B88D6B758B08}"/>
          </ac:spMkLst>
        </pc:spChg>
        <pc:spChg chg="add del mod">
          <ac:chgData name="José Antonio Ureta Santacreu" userId="e36999d1-2b92-424a-9e8c-5fde0c5fbdd2" providerId="ADAL" clId="{B441C459-42E0-4465-B296-199851FC6E31}" dt="2024-09-11T11:12:14.001" v="3782" actId="6264"/>
          <ac:spMkLst>
            <pc:docMk/>
            <pc:sldMk cId="3530545804" sldId="1280"/>
            <ac:spMk id="8" creationId="{5C82F928-CBC3-2613-990D-7F9236D481F7}"/>
          </ac:spMkLst>
        </pc:spChg>
        <pc:spChg chg="add del">
          <ac:chgData name="José Antonio Ureta Santacreu" userId="e36999d1-2b92-424a-9e8c-5fde0c5fbdd2" providerId="ADAL" clId="{B441C459-42E0-4465-B296-199851FC6E31}" dt="2024-09-02T11:04:54.241" v="2479" actId="22"/>
          <ac:spMkLst>
            <pc:docMk/>
            <pc:sldMk cId="3530545804" sldId="1280"/>
            <ac:spMk id="9" creationId="{30E64325-EA5F-4C83-4E3E-587FE906681B}"/>
          </ac:spMkLst>
        </pc:spChg>
        <pc:spChg chg="add del mod">
          <ac:chgData name="José Antonio Ureta Santacreu" userId="e36999d1-2b92-424a-9e8c-5fde0c5fbdd2" providerId="ADAL" clId="{B441C459-42E0-4465-B296-199851FC6E31}" dt="2024-09-11T11:12:14.001" v="3782" actId="6264"/>
          <ac:spMkLst>
            <pc:docMk/>
            <pc:sldMk cId="3530545804" sldId="1280"/>
            <ac:spMk id="9" creationId="{6539B5B7-30B3-AF4E-7D7C-D003485B27AB}"/>
          </ac:spMkLst>
        </pc:spChg>
        <pc:spChg chg="add del mod">
          <ac:chgData name="José Antonio Ureta Santacreu" userId="e36999d1-2b92-424a-9e8c-5fde0c5fbdd2" providerId="ADAL" clId="{B441C459-42E0-4465-B296-199851FC6E31}" dt="2024-09-11T11:12:14.001" v="3782" actId="6264"/>
          <ac:spMkLst>
            <pc:docMk/>
            <pc:sldMk cId="3530545804" sldId="1280"/>
            <ac:spMk id="10" creationId="{FE499088-8BD9-AD21-C659-566547832D26}"/>
          </ac:spMkLst>
        </pc:spChg>
        <pc:spChg chg="add del mod">
          <ac:chgData name="José Antonio Ureta Santacreu" userId="e36999d1-2b92-424a-9e8c-5fde0c5fbdd2" providerId="ADAL" clId="{B441C459-42E0-4465-B296-199851FC6E31}" dt="2024-09-11T11:12:14.001" v="3782" actId="6264"/>
          <ac:spMkLst>
            <pc:docMk/>
            <pc:sldMk cId="3530545804" sldId="1280"/>
            <ac:spMk id="11" creationId="{80A54222-F8DF-85C3-1ED3-18FE98274CD5}"/>
          </ac:spMkLst>
        </pc:spChg>
        <pc:spChg chg="add del">
          <ac:chgData name="José Antonio Ureta Santacreu" userId="e36999d1-2b92-424a-9e8c-5fde0c5fbdd2" providerId="ADAL" clId="{B441C459-42E0-4465-B296-199851FC6E31}" dt="2024-09-02T11:05:09.540" v="2484" actId="22"/>
          <ac:spMkLst>
            <pc:docMk/>
            <pc:sldMk cId="3530545804" sldId="1280"/>
            <ac:spMk id="11" creationId="{A24C55E4-F556-5C0A-AA4E-841896E4552E}"/>
          </ac:spMkLst>
        </pc:spChg>
        <pc:graphicFrameChg chg="add mod ord modGraphic">
          <ac:chgData name="José Antonio Ureta Santacreu" userId="e36999d1-2b92-424a-9e8c-5fde0c5fbdd2" providerId="ADAL" clId="{B441C459-42E0-4465-B296-199851FC6E31}" dt="2024-09-12T11:19:52.183" v="4463" actId="113"/>
          <ac:graphicFrameMkLst>
            <pc:docMk/>
            <pc:sldMk cId="3530545804" sldId="1280"/>
            <ac:graphicFrameMk id="7" creationId="{9548C9FE-E0B9-2B8C-3514-982382B4EB75}"/>
          </ac:graphicFrameMkLst>
        </pc:graphicFrameChg>
      </pc:sldChg>
      <pc:sldChg chg="addSp delSp modSp mod chgLayout">
        <pc:chgData name="José Antonio Ureta Santacreu" userId="e36999d1-2b92-424a-9e8c-5fde0c5fbdd2" providerId="ADAL" clId="{B441C459-42E0-4465-B296-199851FC6E31}" dt="2024-09-11T11:12:14.001" v="3782" actId="6264"/>
        <pc:sldMkLst>
          <pc:docMk/>
          <pc:sldMk cId="78308405" sldId="1281"/>
        </pc:sldMkLst>
        <pc:spChg chg="mod ord">
          <ac:chgData name="José Antonio Ureta Santacreu" userId="e36999d1-2b92-424a-9e8c-5fde0c5fbdd2" providerId="ADAL" clId="{B441C459-42E0-4465-B296-199851FC6E31}" dt="2024-09-11T11:12:14.001" v="3782" actId="6264"/>
          <ac:spMkLst>
            <pc:docMk/>
            <pc:sldMk cId="78308405" sldId="1281"/>
            <ac:spMk id="2" creationId="{83CFFD9C-887E-D9AF-809D-8BF5D080409A}"/>
          </ac:spMkLst>
        </pc:spChg>
        <pc:spChg chg="add del mod">
          <ac:chgData name="José Antonio Ureta Santacreu" userId="e36999d1-2b92-424a-9e8c-5fde0c5fbdd2" providerId="ADAL" clId="{B441C459-42E0-4465-B296-199851FC6E31}" dt="2024-09-11T11:12:14.001" v="3782" actId="6264"/>
          <ac:spMkLst>
            <pc:docMk/>
            <pc:sldMk cId="78308405" sldId="1281"/>
            <ac:spMk id="3" creationId="{174BE3E0-81BD-326D-B8C3-6E1C01AF000F}"/>
          </ac:spMkLst>
        </pc:spChg>
        <pc:spChg chg="add del mod">
          <ac:chgData name="José Antonio Ureta Santacreu" userId="e36999d1-2b92-424a-9e8c-5fde0c5fbdd2" providerId="ADAL" clId="{B441C459-42E0-4465-B296-199851FC6E31}" dt="2024-09-11T11:12:14.001" v="3782" actId="6264"/>
          <ac:spMkLst>
            <pc:docMk/>
            <pc:sldMk cId="78308405" sldId="1281"/>
            <ac:spMk id="4" creationId="{FC01A552-219B-9969-F187-1906BAE7707A}"/>
          </ac:spMkLst>
        </pc:spChg>
        <pc:spChg chg="add del mod">
          <ac:chgData name="José Antonio Ureta Santacreu" userId="e36999d1-2b92-424a-9e8c-5fde0c5fbdd2" providerId="ADAL" clId="{B441C459-42E0-4465-B296-199851FC6E31}" dt="2024-09-11T11:12:14.001" v="3782" actId="6264"/>
          <ac:spMkLst>
            <pc:docMk/>
            <pc:sldMk cId="78308405" sldId="1281"/>
            <ac:spMk id="5" creationId="{02C27CC0-7529-0819-BBAC-118FCAAA035B}"/>
          </ac:spMkLst>
        </pc:spChg>
        <pc:spChg chg="add del mod">
          <ac:chgData name="José Antonio Ureta Santacreu" userId="e36999d1-2b92-424a-9e8c-5fde0c5fbdd2" providerId="ADAL" clId="{B441C459-42E0-4465-B296-199851FC6E31}" dt="2024-09-11T11:12:14.001" v="3782" actId="6264"/>
          <ac:spMkLst>
            <pc:docMk/>
            <pc:sldMk cId="78308405" sldId="1281"/>
            <ac:spMk id="6" creationId="{C4A48C97-24CD-059B-607B-139380DBFA18}"/>
          </ac:spMkLst>
        </pc:spChg>
        <pc:spChg chg="mod ord">
          <ac:chgData name="José Antonio Ureta Santacreu" userId="e36999d1-2b92-424a-9e8c-5fde0c5fbdd2" providerId="ADAL" clId="{B441C459-42E0-4465-B296-199851FC6E31}" dt="2024-09-11T11:12:14.001" v="3782" actId="6264"/>
          <ac:spMkLst>
            <pc:docMk/>
            <pc:sldMk cId="78308405" sldId="1281"/>
            <ac:spMk id="7" creationId="{FFB2C202-7C9F-8C7A-E98D-E5A4DBE928EA}"/>
          </ac:spMkLst>
        </pc:spChg>
        <pc:spChg chg="mod ord">
          <ac:chgData name="José Antonio Ureta Santacreu" userId="e36999d1-2b92-424a-9e8c-5fde0c5fbdd2" providerId="ADAL" clId="{B441C459-42E0-4465-B296-199851FC6E31}" dt="2024-09-11T11:12:14.001" v="3782" actId="6264"/>
          <ac:spMkLst>
            <pc:docMk/>
            <pc:sldMk cId="78308405" sldId="1281"/>
            <ac:spMk id="8" creationId="{6553103C-723D-52AF-F82D-799F39D91938}"/>
          </ac:spMkLst>
        </pc:spChg>
        <pc:spChg chg="mod ord">
          <ac:chgData name="José Antonio Ureta Santacreu" userId="e36999d1-2b92-424a-9e8c-5fde0c5fbdd2" providerId="ADAL" clId="{B441C459-42E0-4465-B296-199851FC6E31}" dt="2024-09-11T11:12:14.001" v="3782" actId="6264"/>
          <ac:spMkLst>
            <pc:docMk/>
            <pc:sldMk cId="78308405" sldId="1281"/>
            <ac:spMk id="9" creationId="{12DF799C-2717-2631-F483-3C0FD7D0FAEA}"/>
          </ac:spMkLst>
        </pc:spChg>
        <pc:spChg chg="add del mod">
          <ac:chgData name="José Antonio Ureta Santacreu" userId="e36999d1-2b92-424a-9e8c-5fde0c5fbdd2" providerId="ADAL" clId="{B441C459-42E0-4465-B296-199851FC6E31}" dt="2024-09-11T11:12:14.001" v="3782" actId="6264"/>
          <ac:spMkLst>
            <pc:docMk/>
            <pc:sldMk cId="78308405" sldId="1281"/>
            <ac:spMk id="10" creationId="{ABE52B74-A56F-3B8B-3AB3-57B143738ECF}"/>
          </ac:spMkLst>
        </pc:spChg>
        <pc:graphicFrameChg chg="mod ord">
          <ac:chgData name="José Antonio Ureta Santacreu" userId="e36999d1-2b92-424a-9e8c-5fde0c5fbdd2" providerId="ADAL" clId="{B441C459-42E0-4465-B296-199851FC6E31}" dt="2024-09-11T11:12:14.001" v="3782" actId="6264"/>
          <ac:graphicFrameMkLst>
            <pc:docMk/>
            <pc:sldMk cId="78308405" sldId="1281"/>
            <ac:graphicFrameMk id="11" creationId="{CC9D21DB-13A7-28D7-B60D-B60396D8948A}"/>
          </ac:graphicFrameMkLst>
        </pc:graphicFrameChg>
      </pc:sldChg>
      <pc:sldChg chg="addSp delSp modSp add mod ord modClrScheme chgLayout">
        <pc:chgData name="José Antonio Ureta Santacreu" userId="e36999d1-2b92-424a-9e8c-5fde0c5fbdd2" providerId="ADAL" clId="{B441C459-42E0-4465-B296-199851FC6E31}" dt="2024-09-11T11:12:14.001" v="3782" actId="6264"/>
        <pc:sldMkLst>
          <pc:docMk/>
          <pc:sldMk cId="3601808511" sldId="1282"/>
        </pc:sldMkLst>
        <pc:spChg chg="del mod ord">
          <ac:chgData name="José Antonio Ureta Santacreu" userId="e36999d1-2b92-424a-9e8c-5fde0c5fbdd2" providerId="ADAL" clId="{B441C459-42E0-4465-B296-199851FC6E31}" dt="2024-09-10T14:17:38.119" v="3668" actId="478"/>
          <ac:spMkLst>
            <pc:docMk/>
            <pc:sldMk cId="3601808511" sldId="1282"/>
            <ac:spMk id="2"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3601808511" sldId="1282"/>
            <ac:spMk id="2" creationId="{6DEF5071-16D6-C704-2B81-BA326F35B542}"/>
          </ac:spMkLst>
        </pc:spChg>
        <pc:spChg chg="del mod ord">
          <ac:chgData name="José Antonio Ureta Santacreu" userId="e36999d1-2b92-424a-9e8c-5fde0c5fbdd2" providerId="ADAL" clId="{B441C459-42E0-4465-B296-199851FC6E31}" dt="2024-09-10T14:17:38.119" v="3668" actId="478"/>
          <ac:spMkLst>
            <pc:docMk/>
            <pc:sldMk cId="3601808511" sldId="1282"/>
            <ac:spMk id="3" creationId="{00000000-0000-0000-0000-000000000000}"/>
          </ac:spMkLst>
        </pc:spChg>
        <pc:spChg chg="add del mod">
          <ac:chgData name="José Antonio Ureta Santacreu" userId="e36999d1-2b92-424a-9e8c-5fde0c5fbdd2" providerId="ADAL" clId="{B441C459-42E0-4465-B296-199851FC6E31}" dt="2024-09-11T11:12:14.001" v="3782" actId="6264"/>
          <ac:spMkLst>
            <pc:docMk/>
            <pc:sldMk cId="3601808511" sldId="1282"/>
            <ac:spMk id="3" creationId="{66CB9C55-8F8A-2372-3186-CF4DE5151981}"/>
          </ac:spMkLst>
        </pc:spChg>
        <pc:spChg chg="add mod ord">
          <ac:chgData name="José Antonio Ureta Santacreu" userId="e36999d1-2b92-424a-9e8c-5fde0c5fbdd2" providerId="ADAL" clId="{B441C459-42E0-4465-B296-199851FC6E31}" dt="2024-09-11T11:12:14.001" v="3782" actId="6264"/>
          <ac:spMkLst>
            <pc:docMk/>
            <pc:sldMk cId="3601808511" sldId="1282"/>
            <ac:spMk id="4" creationId="{7BF34CCE-586D-F58E-660A-5A523D3F9AF7}"/>
          </ac:spMkLst>
        </pc:spChg>
        <pc:spChg chg="add del mod">
          <ac:chgData name="José Antonio Ureta Santacreu" userId="e36999d1-2b92-424a-9e8c-5fde0c5fbdd2" providerId="ADAL" clId="{B441C459-42E0-4465-B296-199851FC6E31}" dt="2024-09-10T14:14:14.313" v="3590" actId="6264"/>
          <ac:spMkLst>
            <pc:docMk/>
            <pc:sldMk cId="3601808511" sldId="1282"/>
            <ac:spMk id="5" creationId="{0DDDEAC5-F59A-629E-33BC-4EC45102BF2E}"/>
          </ac:spMkLst>
        </pc:spChg>
        <pc:spChg chg="add del mod">
          <ac:chgData name="José Antonio Ureta Santacreu" userId="e36999d1-2b92-424a-9e8c-5fde0c5fbdd2" providerId="ADAL" clId="{B441C459-42E0-4465-B296-199851FC6E31}" dt="2024-09-11T11:12:14.001" v="3782" actId="6264"/>
          <ac:spMkLst>
            <pc:docMk/>
            <pc:sldMk cId="3601808511" sldId="1282"/>
            <ac:spMk id="5" creationId="{B0881410-DC86-4170-3533-90CB21D90283}"/>
          </ac:spMkLst>
        </pc:spChg>
        <pc:spChg chg="add del mod">
          <ac:chgData name="José Antonio Ureta Santacreu" userId="e36999d1-2b92-424a-9e8c-5fde0c5fbdd2" providerId="ADAL" clId="{B441C459-42E0-4465-B296-199851FC6E31}" dt="2024-09-11T11:12:14.001" v="3782" actId="6264"/>
          <ac:spMkLst>
            <pc:docMk/>
            <pc:sldMk cId="3601808511" sldId="1282"/>
            <ac:spMk id="6" creationId="{39B17CFD-303F-69DA-B503-16F3D3233320}"/>
          </ac:spMkLst>
        </pc:spChg>
        <pc:spChg chg="add del mod">
          <ac:chgData name="José Antonio Ureta Santacreu" userId="e36999d1-2b92-424a-9e8c-5fde0c5fbdd2" providerId="ADAL" clId="{B441C459-42E0-4465-B296-199851FC6E31}" dt="2024-09-10T14:14:14.313" v="3590" actId="6264"/>
          <ac:spMkLst>
            <pc:docMk/>
            <pc:sldMk cId="3601808511" sldId="1282"/>
            <ac:spMk id="6" creationId="{62BC4B3E-C8D9-CD7C-0D6B-16588D11BF78}"/>
          </ac:spMkLst>
        </pc:spChg>
        <pc:spChg chg="add del mod">
          <ac:chgData name="José Antonio Ureta Santacreu" userId="e36999d1-2b92-424a-9e8c-5fde0c5fbdd2" providerId="ADAL" clId="{B441C459-42E0-4465-B296-199851FC6E31}" dt="2024-09-10T14:14:14.313" v="3590" actId="6264"/>
          <ac:spMkLst>
            <pc:docMk/>
            <pc:sldMk cId="3601808511" sldId="1282"/>
            <ac:spMk id="7" creationId="{08BDEA16-A255-024A-718A-17F8D446CA43}"/>
          </ac:spMkLst>
        </pc:spChg>
        <pc:spChg chg="add del mod">
          <ac:chgData name="José Antonio Ureta Santacreu" userId="e36999d1-2b92-424a-9e8c-5fde0c5fbdd2" providerId="ADAL" clId="{B441C459-42E0-4465-B296-199851FC6E31}" dt="2024-09-11T11:12:14.001" v="3782" actId="6264"/>
          <ac:spMkLst>
            <pc:docMk/>
            <pc:sldMk cId="3601808511" sldId="1282"/>
            <ac:spMk id="7" creationId="{8AE2CC8B-3F3F-958E-20E6-D2C19DB26395}"/>
          </ac:spMkLst>
        </pc:spChg>
        <pc:spChg chg="add mod ord">
          <ac:chgData name="José Antonio Ureta Santacreu" userId="e36999d1-2b92-424a-9e8c-5fde0c5fbdd2" providerId="ADAL" clId="{B441C459-42E0-4465-B296-199851FC6E31}" dt="2024-09-11T11:12:14.001" v="3782" actId="6264"/>
          <ac:spMkLst>
            <pc:docMk/>
            <pc:sldMk cId="3601808511" sldId="1282"/>
            <ac:spMk id="8" creationId="{130A5E18-AC0D-A5A1-BFCD-8A9ABF3B62AB}"/>
          </ac:spMkLst>
        </pc:spChg>
        <pc:spChg chg="add del mod ord">
          <ac:chgData name="José Antonio Ureta Santacreu" userId="e36999d1-2b92-424a-9e8c-5fde0c5fbdd2" providerId="ADAL" clId="{B441C459-42E0-4465-B296-199851FC6E31}" dt="2024-09-10T14:14:48.280" v="3604"/>
          <ac:spMkLst>
            <pc:docMk/>
            <pc:sldMk cId="3601808511" sldId="1282"/>
            <ac:spMk id="9" creationId="{379D7EA6-DF8F-3E08-1F0A-4E70986011C6}"/>
          </ac:spMkLst>
        </pc:spChg>
        <pc:spChg chg="del">
          <ac:chgData name="José Antonio Ureta Santacreu" userId="e36999d1-2b92-424a-9e8c-5fde0c5fbdd2" providerId="ADAL" clId="{B441C459-42E0-4465-B296-199851FC6E31}" dt="2024-09-10T14:16:53.207" v="3650" actId="478"/>
          <ac:spMkLst>
            <pc:docMk/>
            <pc:sldMk cId="3601808511" sldId="1282"/>
            <ac:spMk id="11" creationId="{00000000-0000-0000-0000-000000000000}"/>
          </ac:spMkLst>
        </pc:spChg>
        <pc:spChg chg="add del mod">
          <ac:chgData name="José Antonio Ureta Santacreu" userId="e36999d1-2b92-424a-9e8c-5fde0c5fbdd2" providerId="ADAL" clId="{B441C459-42E0-4465-B296-199851FC6E31}" dt="2024-09-10T14:14:50.289" v="3605" actId="6264"/>
          <ac:spMkLst>
            <pc:docMk/>
            <pc:sldMk cId="3601808511" sldId="1282"/>
            <ac:spMk id="13" creationId="{90C8DF1E-09A6-CBA9-20BA-8AF9A9DF0B9A}"/>
          </ac:spMkLst>
        </pc:spChg>
        <pc:spChg chg="del">
          <ac:chgData name="José Antonio Ureta Santacreu" userId="e36999d1-2b92-424a-9e8c-5fde0c5fbdd2" providerId="ADAL" clId="{B441C459-42E0-4465-B296-199851FC6E31}" dt="2024-09-10T14:14:17.922" v="3591" actId="478"/>
          <ac:spMkLst>
            <pc:docMk/>
            <pc:sldMk cId="3601808511" sldId="1282"/>
            <ac:spMk id="14" creationId="{00000000-0000-0000-0000-000000000000}"/>
          </ac:spMkLst>
        </pc:spChg>
        <pc:spChg chg="del mod">
          <ac:chgData name="José Antonio Ureta Santacreu" userId="e36999d1-2b92-424a-9e8c-5fde0c5fbdd2" providerId="ADAL" clId="{B441C459-42E0-4465-B296-199851FC6E31}" dt="2024-09-10T14:14:17.933" v="3593"/>
          <ac:spMkLst>
            <pc:docMk/>
            <pc:sldMk cId="3601808511" sldId="1282"/>
            <ac:spMk id="15" creationId="{00000000-0000-0000-0000-000000000000}"/>
          </ac:spMkLst>
        </pc:spChg>
        <pc:spChg chg="add del mod">
          <ac:chgData name="José Antonio Ureta Santacreu" userId="e36999d1-2b92-424a-9e8c-5fde0c5fbdd2" providerId="ADAL" clId="{B441C459-42E0-4465-B296-199851FC6E31}" dt="2024-09-10T14:14:50.289" v="3605" actId="6264"/>
          <ac:spMkLst>
            <pc:docMk/>
            <pc:sldMk cId="3601808511" sldId="1282"/>
            <ac:spMk id="16" creationId="{429AFE64-9469-CE4C-05FA-1649A41204E2}"/>
          </ac:spMkLst>
        </pc:spChg>
        <pc:spChg chg="add del mod">
          <ac:chgData name="José Antonio Ureta Santacreu" userId="e36999d1-2b92-424a-9e8c-5fde0c5fbdd2" providerId="ADAL" clId="{B441C459-42E0-4465-B296-199851FC6E31}" dt="2024-09-10T14:14:50.289" v="3605" actId="6264"/>
          <ac:spMkLst>
            <pc:docMk/>
            <pc:sldMk cId="3601808511" sldId="1282"/>
            <ac:spMk id="17" creationId="{7DC58DBF-168A-4B07-1064-1F908AD40A32}"/>
          </ac:spMkLst>
        </pc:spChg>
        <pc:spChg chg="add del mod">
          <ac:chgData name="José Antonio Ureta Santacreu" userId="e36999d1-2b92-424a-9e8c-5fde0c5fbdd2" providerId="ADAL" clId="{B441C459-42E0-4465-B296-199851FC6E31}" dt="2024-09-10T14:14:50.289" v="3605" actId="6264"/>
          <ac:spMkLst>
            <pc:docMk/>
            <pc:sldMk cId="3601808511" sldId="1282"/>
            <ac:spMk id="18" creationId="{C2BC83D2-CC9E-2D5A-EBE4-D5BCC2B40A3A}"/>
          </ac:spMkLst>
        </pc:spChg>
        <pc:spChg chg="add del mod">
          <ac:chgData name="José Antonio Ureta Santacreu" userId="e36999d1-2b92-424a-9e8c-5fde0c5fbdd2" providerId="ADAL" clId="{B441C459-42E0-4465-B296-199851FC6E31}" dt="2024-09-10T14:14:50.289" v="3605" actId="6264"/>
          <ac:spMkLst>
            <pc:docMk/>
            <pc:sldMk cId="3601808511" sldId="1282"/>
            <ac:spMk id="19" creationId="{6814D5B7-821B-2471-4E36-70A8670201E5}"/>
          </ac:spMkLst>
        </pc:spChg>
        <pc:spChg chg="add del mod">
          <ac:chgData name="José Antonio Ureta Santacreu" userId="e36999d1-2b92-424a-9e8c-5fde0c5fbdd2" providerId="ADAL" clId="{B441C459-42E0-4465-B296-199851FC6E31}" dt="2024-09-10T14:14:51.620" v="3607" actId="6264"/>
          <ac:spMkLst>
            <pc:docMk/>
            <pc:sldMk cId="3601808511" sldId="1282"/>
            <ac:spMk id="20" creationId="{A8298915-63A3-772A-9486-95D590E67E58}"/>
          </ac:spMkLst>
        </pc:spChg>
        <pc:spChg chg="add del mod">
          <ac:chgData name="José Antonio Ureta Santacreu" userId="e36999d1-2b92-424a-9e8c-5fde0c5fbdd2" providerId="ADAL" clId="{B441C459-42E0-4465-B296-199851FC6E31}" dt="2024-09-10T14:14:51.620" v="3607" actId="6264"/>
          <ac:spMkLst>
            <pc:docMk/>
            <pc:sldMk cId="3601808511" sldId="1282"/>
            <ac:spMk id="21" creationId="{5D74906A-2404-F2C8-2648-6B53C4F43A65}"/>
          </ac:spMkLst>
        </pc:spChg>
        <pc:spChg chg="add del mod">
          <ac:chgData name="José Antonio Ureta Santacreu" userId="e36999d1-2b92-424a-9e8c-5fde0c5fbdd2" providerId="ADAL" clId="{B441C459-42E0-4465-B296-199851FC6E31}" dt="2024-09-10T14:14:51.620" v="3607" actId="6264"/>
          <ac:spMkLst>
            <pc:docMk/>
            <pc:sldMk cId="3601808511" sldId="1282"/>
            <ac:spMk id="22" creationId="{AC56C60A-18F7-3575-A5D6-7CE3C799B8BB}"/>
          </ac:spMkLst>
        </pc:spChg>
        <pc:spChg chg="add del mod">
          <ac:chgData name="José Antonio Ureta Santacreu" userId="e36999d1-2b92-424a-9e8c-5fde0c5fbdd2" providerId="ADAL" clId="{B441C459-42E0-4465-B296-199851FC6E31}" dt="2024-09-10T14:14:51.620" v="3607" actId="6264"/>
          <ac:spMkLst>
            <pc:docMk/>
            <pc:sldMk cId="3601808511" sldId="1282"/>
            <ac:spMk id="23" creationId="{20369B62-F1B4-89FD-DC29-F132DF6F87ED}"/>
          </ac:spMkLst>
        </pc:spChg>
        <pc:spChg chg="add del mod">
          <ac:chgData name="José Antonio Ureta Santacreu" userId="e36999d1-2b92-424a-9e8c-5fde0c5fbdd2" providerId="ADAL" clId="{B441C459-42E0-4465-B296-199851FC6E31}" dt="2024-09-10T14:14:51.620" v="3607" actId="6264"/>
          <ac:spMkLst>
            <pc:docMk/>
            <pc:sldMk cId="3601808511" sldId="1282"/>
            <ac:spMk id="24" creationId="{F225EE35-E8B4-7791-BBA1-AF3F5A22908B}"/>
          </ac:spMkLst>
        </pc:spChg>
        <pc:spChg chg="add del mod">
          <ac:chgData name="José Antonio Ureta Santacreu" userId="e36999d1-2b92-424a-9e8c-5fde0c5fbdd2" providerId="ADAL" clId="{B441C459-42E0-4465-B296-199851FC6E31}" dt="2024-09-10T14:15:41.325" v="3634" actId="6264"/>
          <ac:spMkLst>
            <pc:docMk/>
            <pc:sldMk cId="3601808511" sldId="1282"/>
            <ac:spMk id="25" creationId="{DAD1A701-D602-A06B-C5EF-0AF746FFC2F6}"/>
          </ac:spMkLst>
        </pc:spChg>
        <pc:spChg chg="add del mod">
          <ac:chgData name="José Antonio Ureta Santacreu" userId="e36999d1-2b92-424a-9e8c-5fde0c5fbdd2" providerId="ADAL" clId="{B441C459-42E0-4465-B296-199851FC6E31}" dt="2024-09-10T14:15:41.325" v="3634" actId="6264"/>
          <ac:spMkLst>
            <pc:docMk/>
            <pc:sldMk cId="3601808511" sldId="1282"/>
            <ac:spMk id="26" creationId="{CC1D3FA8-FAFF-4FC4-8103-B04CE190AA72}"/>
          </ac:spMkLst>
        </pc:spChg>
        <pc:spChg chg="add del mod">
          <ac:chgData name="José Antonio Ureta Santacreu" userId="e36999d1-2b92-424a-9e8c-5fde0c5fbdd2" providerId="ADAL" clId="{B441C459-42E0-4465-B296-199851FC6E31}" dt="2024-09-10T14:15:41.325" v="3634" actId="6264"/>
          <ac:spMkLst>
            <pc:docMk/>
            <pc:sldMk cId="3601808511" sldId="1282"/>
            <ac:spMk id="27" creationId="{2A1E417C-D07C-E272-E049-20C66F5D77EC}"/>
          </ac:spMkLst>
        </pc:spChg>
        <pc:spChg chg="add del mod">
          <ac:chgData name="José Antonio Ureta Santacreu" userId="e36999d1-2b92-424a-9e8c-5fde0c5fbdd2" providerId="ADAL" clId="{B441C459-42E0-4465-B296-199851FC6E31}" dt="2024-09-10T14:15:41.325" v="3634" actId="6264"/>
          <ac:spMkLst>
            <pc:docMk/>
            <pc:sldMk cId="3601808511" sldId="1282"/>
            <ac:spMk id="28" creationId="{F9D3C2E1-A93C-AC62-D3FD-3FBF1CF8DC63}"/>
          </ac:spMkLst>
        </pc:spChg>
        <pc:spChg chg="add del mod">
          <ac:chgData name="José Antonio Ureta Santacreu" userId="e36999d1-2b92-424a-9e8c-5fde0c5fbdd2" providerId="ADAL" clId="{B441C459-42E0-4465-B296-199851FC6E31}" dt="2024-09-10T14:15:41.325" v="3634" actId="6264"/>
          <ac:spMkLst>
            <pc:docMk/>
            <pc:sldMk cId="3601808511" sldId="1282"/>
            <ac:spMk id="29" creationId="{5EC5E54D-6424-77DF-C405-7A14706A9446}"/>
          </ac:spMkLst>
        </pc:spChg>
        <pc:spChg chg="add mod ord">
          <ac:chgData name="José Antonio Ureta Santacreu" userId="e36999d1-2b92-424a-9e8c-5fde0c5fbdd2" providerId="ADAL" clId="{B441C459-42E0-4465-B296-199851FC6E31}" dt="2024-09-11T11:12:14.001" v="3782" actId="6264"/>
          <ac:spMkLst>
            <pc:docMk/>
            <pc:sldMk cId="3601808511" sldId="1282"/>
            <ac:spMk id="30" creationId="{5484FB43-16A7-9098-B62A-4390F3A1F0C7}"/>
          </ac:spMkLst>
        </pc:spChg>
        <pc:spChg chg="add mod ord">
          <ac:chgData name="José Antonio Ureta Santacreu" userId="e36999d1-2b92-424a-9e8c-5fde0c5fbdd2" providerId="ADAL" clId="{B441C459-42E0-4465-B296-199851FC6E31}" dt="2024-09-11T11:12:14.001" v="3782" actId="6264"/>
          <ac:spMkLst>
            <pc:docMk/>
            <pc:sldMk cId="3601808511" sldId="1282"/>
            <ac:spMk id="31" creationId="{9529F959-12BF-4056-B5D6-B076C127D5A0}"/>
          </ac:spMkLst>
        </pc:spChg>
        <pc:spChg chg="add mod">
          <ac:chgData name="José Antonio Ureta Santacreu" userId="e36999d1-2b92-424a-9e8c-5fde0c5fbdd2" providerId="ADAL" clId="{B441C459-42E0-4465-B296-199851FC6E31}" dt="2024-09-10T14:17:38.934" v="3669"/>
          <ac:spMkLst>
            <pc:docMk/>
            <pc:sldMk cId="3601808511" sldId="1282"/>
            <ac:spMk id="32" creationId="{48B75966-C6EF-E7BD-EAAC-2945BCAA597B}"/>
          </ac:spMkLst>
        </pc:spChg>
        <pc:spChg chg="del">
          <ac:chgData name="José Antonio Ureta Santacreu" userId="e36999d1-2b92-424a-9e8c-5fde0c5fbdd2" providerId="ADAL" clId="{B441C459-42E0-4465-B296-199851FC6E31}" dt="2024-09-10T14:14:22.364" v="3595" actId="478"/>
          <ac:spMkLst>
            <pc:docMk/>
            <pc:sldMk cId="3601808511" sldId="1282"/>
            <ac:spMk id="409" creationId="{00000000-0000-0000-0000-000000000000}"/>
          </ac:spMkLst>
        </pc:spChg>
        <pc:spChg chg="del">
          <ac:chgData name="José Antonio Ureta Santacreu" userId="e36999d1-2b92-424a-9e8c-5fde0c5fbdd2" providerId="ADAL" clId="{B441C459-42E0-4465-B296-199851FC6E31}" dt="2024-09-10T14:14:20.452" v="3594" actId="478"/>
          <ac:spMkLst>
            <pc:docMk/>
            <pc:sldMk cId="3601808511" sldId="1282"/>
            <ac:spMk id="410" creationId="{00000000-0000-0000-0000-000000000000}"/>
          </ac:spMkLst>
        </pc:spChg>
        <pc:spChg chg="del mod">
          <ac:chgData name="José Antonio Ureta Santacreu" userId="e36999d1-2b92-424a-9e8c-5fde0c5fbdd2" providerId="ADAL" clId="{B441C459-42E0-4465-B296-199851FC6E31}" dt="2024-09-10T14:14:36.177" v="3598" actId="478"/>
          <ac:spMkLst>
            <pc:docMk/>
            <pc:sldMk cId="3601808511" sldId="1282"/>
            <ac:spMk id="411" creationId="{00000000-0000-0000-0000-000000000000}"/>
          </ac:spMkLst>
        </pc:spChg>
        <pc:picChg chg="add mod ord">
          <ac:chgData name="José Antonio Ureta Santacreu" userId="e36999d1-2b92-424a-9e8c-5fde0c5fbdd2" providerId="ADAL" clId="{B441C459-42E0-4465-B296-199851FC6E31}" dt="2024-09-11T11:12:14.001" v="3782" actId="6264"/>
          <ac:picMkLst>
            <pc:docMk/>
            <pc:sldMk cId="3601808511" sldId="1282"/>
            <ac:picMk id="10" creationId="{00000000-0000-0000-0000-000000000000}"/>
          </ac:picMkLst>
        </pc:picChg>
        <pc:picChg chg="del">
          <ac:chgData name="José Antonio Ureta Santacreu" userId="e36999d1-2b92-424a-9e8c-5fde0c5fbdd2" providerId="ADAL" clId="{B441C459-42E0-4465-B296-199851FC6E31}" dt="2024-09-10T14:16:48.214" v="3649" actId="478"/>
          <ac:picMkLst>
            <pc:docMk/>
            <pc:sldMk cId="3601808511" sldId="1282"/>
            <ac:picMk id="12" creationId="{00000000-0000-0000-0000-000000000000}"/>
          </ac:picMkLst>
        </pc:picChg>
        <pc:picChg chg="del">
          <ac:chgData name="José Antonio Ureta Santacreu" userId="e36999d1-2b92-424a-9e8c-5fde0c5fbdd2" providerId="ADAL" clId="{B441C459-42E0-4465-B296-199851FC6E31}" dt="2024-09-10T14:14:45.734" v="3603" actId="21"/>
          <ac:picMkLst>
            <pc:docMk/>
            <pc:sldMk cId="3601808511" sldId="1282"/>
            <ac:picMk id="408" creationId="{00000000-0000-0000-0000-000000000000}"/>
          </ac:picMkLst>
        </pc:picChg>
      </pc:sldChg>
      <pc:sldChg chg="addSp delSp modSp new mod modClrScheme chgLayout">
        <pc:chgData name="José Antonio Ureta Santacreu" userId="e36999d1-2b92-424a-9e8c-5fde0c5fbdd2" providerId="ADAL" clId="{B441C459-42E0-4465-B296-199851FC6E31}" dt="2024-09-12T11:27:31.391" v="4654" actId="700"/>
        <pc:sldMkLst>
          <pc:docMk/>
          <pc:sldMk cId="2907903549" sldId="1283"/>
        </pc:sldMkLst>
        <pc:spChg chg="mod ord">
          <ac:chgData name="José Antonio Ureta Santacreu" userId="e36999d1-2b92-424a-9e8c-5fde0c5fbdd2" providerId="ADAL" clId="{B441C459-42E0-4465-B296-199851FC6E31}" dt="2024-09-12T11:27:31.391" v="4654" actId="700"/>
          <ac:spMkLst>
            <pc:docMk/>
            <pc:sldMk cId="2907903549" sldId="1283"/>
            <ac:spMk id="2" creationId="{6B00483C-5D35-63FA-8F26-4BF4CEDC2F97}"/>
          </ac:spMkLst>
        </pc:spChg>
        <pc:spChg chg="mod ord">
          <ac:chgData name="José Antonio Ureta Santacreu" userId="e36999d1-2b92-424a-9e8c-5fde0c5fbdd2" providerId="ADAL" clId="{B441C459-42E0-4465-B296-199851FC6E31}" dt="2024-09-12T11:27:31.391" v="4654" actId="700"/>
          <ac:spMkLst>
            <pc:docMk/>
            <pc:sldMk cId="2907903549" sldId="1283"/>
            <ac:spMk id="3" creationId="{DAC0F95C-2409-8385-7DCA-7F64620386AA}"/>
          </ac:spMkLst>
        </pc:spChg>
        <pc:spChg chg="del">
          <ac:chgData name="José Antonio Ureta Santacreu" userId="e36999d1-2b92-424a-9e8c-5fde0c5fbdd2" providerId="ADAL" clId="{B441C459-42E0-4465-B296-199851FC6E31}" dt="2024-09-12T11:26:08.327" v="4631"/>
          <ac:spMkLst>
            <pc:docMk/>
            <pc:sldMk cId="2907903549" sldId="1283"/>
            <ac:spMk id="4" creationId="{19105B8C-5D10-53AF-98E4-B4D70EB2A378}"/>
          </ac:spMkLst>
        </pc:spChg>
        <pc:spChg chg="mod ord">
          <ac:chgData name="José Antonio Ureta Santacreu" userId="e36999d1-2b92-424a-9e8c-5fde0c5fbdd2" providerId="ADAL" clId="{B441C459-42E0-4465-B296-199851FC6E31}" dt="2024-09-12T11:27:31.391" v="4654" actId="700"/>
          <ac:spMkLst>
            <pc:docMk/>
            <pc:sldMk cId="2907903549" sldId="1283"/>
            <ac:spMk id="5" creationId="{5CE5D39E-3634-97FF-52F3-306910B0261F}"/>
          </ac:spMkLst>
        </pc:spChg>
        <pc:spChg chg="mod ord">
          <ac:chgData name="José Antonio Ureta Santacreu" userId="e36999d1-2b92-424a-9e8c-5fde0c5fbdd2" providerId="ADAL" clId="{B441C459-42E0-4465-B296-199851FC6E31}" dt="2024-09-12T11:27:31.391" v="4654" actId="700"/>
          <ac:spMkLst>
            <pc:docMk/>
            <pc:sldMk cId="2907903549" sldId="1283"/>
            <ac:spMk id="6" creationId="{25DD927C-32FF-E3E9-027F-5C8E2C959544}"/>
          </ac:spMkLst>
        </pc:spChg>
        <pc:spChg chg="mod ord">
          <ac:chgData name="José Antonio Ureta Santacreu" userId="e36999d1-2b92-424a-9e8c-5fde0c5fbdd2" providerId="ADAL" clId="{B441C459-42E0-4465-B296-199851FC6E31}" dt="2024-09-12T11:27:31.391" v="4654" actId="700"/>
          <ac:spMkLst>
            <pc:docMk/>
            <pc:sldMk cId="2907903549" sldId="1283"/>
            <ac:spMk id="7" creationId="{2D005A48-B103-3A19-0EF7-18A8EBC94220}"/>
          </ac:spMkLst>
        </pc:spChg>
        <pc:picChg chg="add mod ord">
          <ac:chgData name="José Antonio Ureta Santacreu" userId="e36999d1-2b92-424a-9e8c-5fde0c5fbdd2" providerId="ADAL" clId="{B441C459-42E0-4465-B296-199851FC6E31}" dt="2024-09-12T11:27:31.391" v="4654" actId="700"/>
          <ac:picMkLst>
            <pc:docMk/>
            <pc:sldMk cId="2907903549" sldId="1283"/>
            <ac:picMk id="1026" creationId="{BB8B7116-E507-97F6-08C5-0EB15D432511}"/>
          </ac:picMkLst>
        </pc:picChg>
      </pc:sldChg>
      <pc:sldChg chg="addSp delSp modSp new del mod">
        <pc:chgData name="José Antonio Ureta Santacreu" userId="e36999d1-2b92-424a-9e8c-5fde0c5fbdd2" providerId="ADAL" clId="{B441C459-42E0-4465-B296-199851FC6E31}" dt="2024-09-12T15:16:29.957" v="4735" actId="47"/>
        <pc:sldMkLst>
          <pc:docMk/>
          <pc:sldMk cId="3611505416" sldId="1284"/>
        </pc:sldMkLst>
        <pc:graphicFrameChg chg="add del mod modGraphic">
          <ac:chgData name="José Antonio Ureta Santacreu" userId="e36999d1-2b92-424a-9e8c-5fde0c5fbdd2" providerId="ADAL" clId="{B441C459-42E0-4465-B296-199851FC6E31}" dt="2024-09-12T15:16:22.791" v="4733" actId="21"/>
          <ac:graphicFrameMkLst>
            <pc:docMk/>
            <pc:sldMk cId="3611505416" sldId="1284"/>
            <ac:graphicFrameMk id="5" creationId="{818457E7-EBB1-5F88-48DF-3A5F4E9F849C}"/>
          </ac:graphicFrameMkLst>
        </pc:graphicFrameChg>
      </pc:sldChg>
      <pc:sldMasterChg chg="delSldLayout">
        <pc:chgData name="José Antonio Ureta Santacreu" userId="e36999d1-2b92-424a-9e8c-5fde0c5fbdd2" providerId="ADAL" clId="{B441C459-42E0-4465-B296-199851FC6E31}" dt="2024-07-31T10:09:23.692" v="542" actId="47"/>
        <pc:sldMasterMkLst>
          <pc:docMk/>
          <pc:sldMasterMk cId="124638484" sldId="2147483777"/>
        </pc:sldMasterMkLst>
        <pc:sldLayoutChg chg="del">
          <pc:chgData name="José Antonio Ureta Santacreu" userId="e36999d1-2b92-424a-9e8c-5fde0c5fbdd2" providerId="ADAL" clId="{B441C459-42E0-4465-B296-199851FC6E31}" dt="2024-07-31T10:09:23.692" v="542" actId="47"/>
          <pc:sldLayoutMkLst>
            <pc:docMk/>
            <pc:sldMasterMk cId="124638484" sldId="2147483777"/>
            <pc:sldLayoutMk cId="3509643847" sldId="2147483798"/>
          </pc:sldLayoutMkLst>
        </pc:sldLayoutChg>
      </pc:sldMasterChg>
      <pc:sldMasterChg chg="modSldLayout">
        <pc:chgData name="José Antonio Ureta Santacreu" userId="e36999d1-2b92-424a-9e8c-5fde0c5fbdd2" providerId="ADAL" clId="{B441C459-42E0-4465-B296-199851FC6E31}" dt="2024-09-11T10:59:55.900" v="3683"/>
        <pc:sldMasterMkLst>
          <pc:docMk/>
          <pc:sldMasterMk cId="1981337283" sldId="2147483797"/>
        </pc:sldMasterMkLst>
        <pc:sldLayoutChg chg="addSp">
          <pc:chgData name="José Antonio Ureta Santacreu" userId="e36999d1-2b92-424a-9e8c-5fde0c5fbdd2" providerId="ADAL" clId="{B441C459-42E0-4465-B296-199851FC6E31}" dt="2024-09-11T10:59:55.900" v="3683"/>
          <pc:sldLayoutMkLst>
            <pc:docMk/>
            <pc:sldMasterMk cId="1981337283" sldId="2147483797"/>
            <pc:sldLayoutMk cId="3348409516" sldId="2147483803"/>
          </pc:sldLayoutMkLst>
          <pc:cxnChg chg="add">
            <ac:chgData name="José Antonio Ureta Santacreu" userId="e36999d1-2b92-424a-9e8c-5fde0c5fbdd2" providerId="ADAL" clId="{B441C459-42E0-4465-B296-199851FC6E31}" dt="2024-09-11T10:59:55.900" v="3683"/>
            <ac:cxnSpMkLst>
              <pc:docMk/>
              <pc:sldMasterMk cId="1981337283" sldId="2147483797"/>
              <pc:sldLayoutMk cId="3348409516" sldId="2147483803"/>
              <ac:cxnSpMk id="2" creationId="{B45343CA-A87C-AE12-B97B-3865E1BAA2D9}"/>
            </ac:cxnSpMkLst>
          </pc:cxnChg>
          <pc:cxnChg chg="add">
            <ac:chgData name="José Antonio Ureta Santacreu" userId="e36999d1-2b92-424a-9e8c-5fde0c5fbdd2" providerId="ADAL" clId="{B441C459-42E0-4465-B296-199851FC6E31}" dt="2024-09-11T10:59:55.900" v="3683"/>
            <ac:cxnSpMkLst>
              <pc:docMk/>
              <pc:sldMasterMk cId="1981337283" sldId="2147483797"/>
              <pc:sldLayoutMk cId="3348409516" sldId="2147483803"/>
              <ac:cxnSpMk id="13" creationId="{4E21C7D8-6719-26ED-D75C-8D250EE1D60A}"/>
            </ac:cxnSpMkLst>
          </pc:cxnChg>
        </pc:sldLayoutChg>
        <pc:sldLayoutChg chg="addSp">
          <pc:chgData name="José Antonio Ureta Santacreu" userId="e36999d1-2b92-424a-9e8c-5fde0c5fbdd2" providerId="ADAL" clId="{B441C459-42E0-4465-B296-199851FC6E31}" dt="2024-09-11T10:59:55.900" v="3683"/>
          <pc:sldLayoutMkLst>
            <pc:docMk/>
            <pc:sldMasterMk cId="1981337283" sldId="2147483797"/>
            <pc:sldLayoutMk cId="1281885106" sldId="2147483807"/>
          </pc:sldLayoutMkLst>
          <pc:spChg chg="add">
            <ac:chgData name="José Antonio Ureta Santacreu" userId="e36999d1-2b92-424a-9e8c-5fde0c5fbdd2" providerId="ADAL" clId="{B441C459-42E0-4465-B296-199851FC6E31}" dt="2024-09-11T10:59:55.900" v="3683"/>
            <ac:spMkLst>
              <pc:docMk/>
              <pc:sldMasterMk cId="1981337283" sldId="2147483797"/>
              <pc:sldLayoutMk cId="1281885106" sldId="2147483807"/>
              <ac:spMk id="6" creationId="{A7EB8B59-7DEA-A33D-AAB9-43841BD21EDA}"/>
            </ac:spMkLst>
          </pc:spChg>
        </pc:sldLayoutChg>
      </pc:sldMasterChg>
      <pc:sldMasterChg chg="modSldLayout">
        <pc:chgData name="José Antonio Ureta Santacreu" userId="e36999d1-2b92-424a-9e8c-5fde0c5fbdd2" providerId="ADAL" clId="{B441C459-42E0-4465-B296-199851FC6E31}" dt="2024-09-12T10:40:24.149" v="4131" actId="1076"/>
        <pc:sldMasterMkLst>
          <pc:docMk/>
          <pc:sldMasterMk cId="460478265" sldId="2147483810"/>
        </pc:sldMasterMkLst>
        <pc:sldLayoutChg chg="addSp delSp modSp">
          <pc:chgData name="José Antonio Ureta Santacreu" userId="e36999d1-2b92-424a-9e8c-5fde0c5fbdd2" providerId="ADAL" clId="{B441C459-42E0-4465-B296-199851FC6E31}" dt="2024-09-11T11:05:45.904" v="3740"/>
          <pc:sldLayoutMkLst>
            <pc:docMk/>
            <pc:sldMasterMk cId="460478265" sldId="2147483810"/>
            <pc:sldLayoutMk cId="911337567" sldId="2147483812"/>
          </pc:sldLayoutMkLst>
          <pc:spChg chg="add mod">
            <ac:chgData name="José Antonio Ureta Santacreu" userId="e36999d1-2b92-424a-9e8c-5fde0c5fbdd2" providerId="ADAL" clId="{B441C459-42E0-4465-B296-199851FC6E31}" dt="2024-09-11T11:05:45.904" v="3740"/>
            <ac:spMkLst>
              <pc:docMk/>
              <pc:sldMasterMk cId="460478265" sldId="2147483810"/>
              <pc:sldLayoutMk cId="911337567" sldId="2147483812"/>
              <ac:spMk id="2" creationId="{827052F6-95FC-24B4-EC86-FC17A93D29E2}"/>
            </ac:spMkLst>
          </pc:spChg>
          <pc:spChg chg="del">
            <ac:chgData name="José Antonio Ureta Santacreu" userId="e36999d1-2b92-424a-9e8c-5fde0c5fbdd2" providerId="ADAL" clId="{B441C459-42E0-4465-B296-199851FC6E31}" dt="2024-09-11T11:05:45.027" v="3739"/>
            <ac:spMkLst>
              <pc:docMk/>
              <pc:sldMasterMk cId="460478265" sldId="2147483810"/>
              <pc:sldLayoutMk cId="911337567" sldId="2147483812"/>
              <ac:spMk id="3" creationId="{0B7E5C0C-AF2F-45DB-A41F-668029C74FB6}"/>
            </ac:spMkLst>
          </pc:spChg>
          <pc:spChg chg="del">
            <ac:chgData name="José Antonio Ureta Santacreu" userId="e36999d1-2b92-424a-9e8c-5fde0c5fbdd2" providerId="ADAL" clId="{B441C459-42E0-4465-B296-199851FC6E31}" dt="2024-09-11T11:05:45.027" v="3739"/>
            <ac:spMkLst>
              <pc:docMk/>
              <pc:sldMasterMk cId="460478265" sldId="2147483810"/>
              <pc:sldLayoutMk cId="911337567" sldId="2147483812"/>
              <ac:spMk id="4" creationId="{99A252AC-3676-4D96-AAC5-9E46C555E29D}"/>
            </ac:spMkLst>
          </pc:spChg>
          <pc:spChg chg="del">
            <ac:chgData name="José Antonio Ureta Santacreu" userId="e36999d1-2b92-424a-9e8c-5fde0c5fbdd2" providerId="ADAL" clId="{B441C459-42E0-4465-B296-199851FC6E31}" dt="2024-09-11T11:05:45.027" v="3739"/>
            <ac:spMkLst>
              <pc:docMk/>
              <pc:sldMasterMk cId="460478265" sldId="2147483810"/>
              <pc:sldLayoutMk cId="911337567" sldId="2147483812"/>
              <ac:spMk id="5" creationId="{12758F49-0F44-4F28-90C7-6F9E0BB2E99F}"/>
            </ac:spMkLst>
          </pc:spChg>
          <pc:spChg chg="add mod">
            <ac:chgData name="José Antonio Ureta Santacreu" userId="e36999d1-2b92-424a-9e8c-5fde0c5fbdd2" providerId="ADAL" clId="{B441C459-42E0-4465-B296-199851FC6E31}" dt="2024-09-11T11:05:45.904" v="3740"/>
            <ac:spMkLst>
              <pc:docMk/>
              <pc:sldMasterMk cId="460478265" sldId="2147483810"/>
              <pc:sldLayoutMk cId="911337567" sldId="2147483812"/>
              <ac:spMk id="6" creationId="{57A5463D-6E03-B970-0F38-F4D86E6D918F}"/>
            </ac:spMkLst>
          </pc:spChg>
          <pc:spChg chg="add mod">
            <ac:chgData name="José Antonio Ureta Santacreu" userId="e36999d1-2b92-424a-9e8c-5fde0c5fbdd2" providerId="ADAL" clId="{B441C459-42E0-4465-B296-199851FC6E31}" dt="2024-09-11T11:05:45.904" v="3740"/>
            <ac:spMkLst>
              <pc:docMk/>
              <pc:sldMasterMk cId="460478265" sldId="2147483810"/>
              <pc:sldLayoutMk cId="911337567" sldId="2147483812"/>
              <ac:spMk id="7" creationId="{80A8DD27-0D73-5795-5C2F-0C0F24DD3B49}"/>
            </ac:spMkLst>
          </pc:spChg>
        </pc:sldLayoutChg>
        <pc:sldLayoutChg chg="addSp delSp modSp">
          <pc:chgData name="José Antonio Ureta Santacreu" userId="e36999d1-2b92-424a-9e8c-5fde0c5fbdd2" providerId="ADAL" clId="{B441C459-42E0-4465-B296-199851FC6E31}" dt="2024-09-11T11:05:50.701" v="3742"/>
          <pc:sldLayoutMkLst>
            <pc:docMk/>
            <pc:sldMasterMk cId="460478265" sldId="2147483810"/>
            <pc:sldLayoutMk cId="2134764981" sldId="2147483813"/>
          </pc:sldLayoutMkLst>
          <pc:spChg chg="add mod">
            <ac:chgData name="José Antonio Ureta Santacreu" userId="e36999d1-2b92-424a-9e8c-5fde0c5fbdd2" providerId="ADAL" clId="{B441C459-42E0-4465-B296-199851FC6E31}" dt="2024-09-11T11:05:50.701" v="3742"/>
            <ac:spMkLst>
              <pc:docMk/>
              <pc:sldMasterMk cId="460478265" sldId="2147483810"/>
              <pc:sldLayoutMk cId="2134764981" sldId="2147483813"/>
              <ac:spMk id="2" creationId="{B6551922-C99A-043C-AE65-871F4F8DAC34}"/>
            </ac:spMkLst>
          </pc:spChg>
          <pc:spChg chg="del">
            <ac:chgData name="José Antonio Ureta Santacreu" userId="e36999d1-2b92-424a-9e8c-5fde0c5fbdd2" providerId="ADAL" clId="{B441C459-42E0-4465-B296-199851FC6E31}" dt="2024-09-11T11:05:50.166" v="3741"/>
            <ac:spMkLst>
              <pc:docMk/>
              <pc:sldMasterMk cId="460478265" sldId="2147483810"/>
              <pc:sldLayoutMk cId="2134764981" sldId="2147483813"/>
              <ac:spMk id="3" creationId="{0B7E5C0C-AF2F-45DB-A41F-668029C74FB6}"/>
            </ac:spMkLst>
          </pc:spChg>
          <pc:spChg chg="del">
            <ac:chgData name="José Antonio Ureta Santacreu" userId="e36999d1-2b92-424a-9e8c-5fde0c5fbdd2" providerId="ADAL" clId="{B441C459-42E0-4465-B296-199851FC6E31}" dt="2024-09-11T11:05:50.166" v="3741"/>
            <ac:spMkLst>
              <pc:docMk/>
              <pc:sldMasterMk cId="460478265" sldId="2147483810"/>
              <pc:sldLayoutMk cId="2134764981" sldId="2147483813"/>
              <ac:spMk id="4" creationId="{99A252AC-3676-4D96-AAC5-9E46C555E29D}"/>
            </ac:spMkLst>
          </pc:spChg>
          <pc:spChg chg="del">
            <ac:chgData name="José Antonio Ureta Santacreu" userId="e36999d1-2b92-424a-9e8c-5fde0c5fbdd2" providerId="ADAL" clId="{B441C459-42E0-4465-B296-199851FC6E31}" dt="2024-09-11T11:05:50.166" v="3741"/>
            <ac:spMkLst>
              <pc:docMk/>
              <pc:sldMasterMk cId="460478265" sldId="2147483810"/>
              <pc:sldLayoutMk cId="2134764981" sldId="2147483813"/>
              <ac:spMk id="5" creationId="{12758F49-0F44-4F28-90C7-6F9E0BB2E99F}"/>
            </ac:spMkLst>
          </pc:spChg>
          <pc:spChg chg="add mod">
            <ac:chgData name="José Antonio Ureta Santacreu" userId="e36999d1-2b92-424a-9e8c-5fde0c5fbdd2" providerId="ADAL" clId="{B441C459-42E0-4465-B296-199851FC6E31}" dt="2024-09-11T11:05:50.701" v="3742"/>
            <ac:spMkLst>
              <pc:docMk/>
              <pc:sldMasterMk cId="460478265" sldId="2147483810"/>
              <pc:sldLayoutMk cId="2134764981" sldId="2147483813"/>
              <ac:spMk id="7" creationId="{4910C3B3-3424-CCE0-D856-A3C080BABDBA}"/>
            </ac:spMkLst>
          </pc:spChg>
          <pc:spChg chg="add mod">
            <ac:chgData name="José Antonio Ureta Santacreu" userId="e36999d1-2b92-424a-9e8c-5fde0c5fbdd2" providerId="ADAL" clId="{B441C459-42E0-4465-B296-199851FC6E31}" dt="2024-09-11T11:05:50.701" v="3742"/>
            <ac:spMkLst>
              <pc:docMk/>
              <pc:sldMasterMk cId="460478265" sldId="2147483810"/>
              <pc:sldLayoutMk cId="2134764981" sldId="2147483813"/>
              <ac:spMk id="8" creationId="{108A85EB-B4F8-5CC8-7BF2-2495EA55E496}"/>
            </ac:spMkLst>
          </pc:spChg>
        </pc:sldLayoutChg>
        <pc:sldLayoutChg chg="addSp">
          <pc:chgData name="José Antonio Ureta Santacreu" userId="e36999d1-2b92-424a-9e8c-5fde0c5fbdd2" providerId="ADAL" clId="{B441C459-42E0-4465-B296-199851FC6E31}" dt="2024-09-11T11:05:26.966" v="3738"/>
          <pc:sldLayoutMkLst>
            <pc:docMk/>
            <pc:sldMasterMk cId="460478265" sldId="2147483810"/>
            <pc:sldLayoutMk cId="2263820380" sldId="2147483816"/>
          </pc:sldLayoutMkLst>
          <pc:cxnChg chg="add">
            <ac:chgData name="José Antonio Ureta Santacreu" userId="e36999d1-2b92-424a-9e8c-5fde0c5fbdd2" providerId="ADAL" clId="{B441C459-42E0-4465-B296-199851FC6E31}" dt="2024-09-11T11:05:26.966" v="3738"/>
            <ac:cxnSpMkLst>
              <pc:docMk/>
              <pc:sldMasterMk cId="460478265" sldId="2147483810"/>
              <pc:sldLayoutMk cId="2263820380" sldId="2147483816"/>
              <ac:cxnSpMk id="2" creationId="{C5BFB29C-1994-9540-E7F2-0BC6E1FF6B57}"/>
            </ac:cxnSpMkLst>
          </pc:cxnChg>
          <pc:cxnChg chg="add">
            <ac:chgData name="José Antonio Ureta Santacreu" userId="e36999d1-2b92-424a-9e8c-5fde0c5fbdd2" providerId="ADAL" clId="{B441C459-42E0-4465-B296-199851FC6E31}" dt="2024-09-11T11:05:26.966" v="3738"/>
            <ac:cxnSpMkLst>
              <pc:docMk/>
              <pc:sldMasterMk cId="460478265" sldId="2147483810"/>
              <pc:sldLayoutMk cId="2263820380" sldId="2147483816"/>
              <ac:cxnSpMk id="13" creationId="{659CA295-58E6-3973-D43D-20FC7504F1FA}"/>
            </ac:cxnSpMkLst>
          </pc:cxnChg>
        </pc:sldLayoutChg>
        <pc:sldLayoutChg chg="addSp delSp modSp mod">
          <pc:chgData name="José Antonio Ureta Santacreu" userId="e36999d1-2b92-424a-9e8c-5fde0c5fbdd2" providerId="ADAL" clId="{B441C459-42E0-4465-B296-199851FC6E31}" dt="2024-09-12T10:40:24.149" v="4131" actId="1076"/>
          <pc:sldLayoutMkLst>
            <pc:docMk/>
            <pc:sldMasterMk cId="460478265" sldId="2147483810"/>
            <pc:sldLayoutMk cId="4138503247" sldId="2147483820"/>
          </pc:sldLayoutMkLst>
          <pc:spChg chg="mod">
            <ac:chgData name="José Antonio Ureta Santacreu" userId="e36999d1-2b92-424a-9e8c-5fde0c5fbdd2" providerId="ADAL" clId="{B441C459-42E0-4465-B296-199851FC6E31}" dt="2024-09-12T10:40:18.150" v="4130" actId="14100"/>
            <ac:spMkLst>
              <pc:docMk/>
              <pc:sldMasterMk cId="460478265" sldId="2147483810"/>
              <pc:sldLayoutMk cId="4138503247" sldId="2147483820"/>
              <ac:spMk id="4" creationId="{37F17658-CB0D-49B5-9AE6-0CB8725FD99E}"/>
            </ac:spMkLst>
          </pc:spChg>
          <pc:spChg chg="add del">
            <ac:chgData name="José Antonio Ureta Santacreu" userId="e36999d1-2b92-424a-9e8c-5fde0c5fbdd2" providerId="ADAL" clId="{B441C459-42E0-4465-B296-199851FC6E31}" dt="2024-09-12T10:38:28.037" v="3948" actId="478"/>
            <ac:spMkLst>
              <pc:docMk/>
              <pc:sldMasterMk cId="460478265" sldId="2147483810"/>
              <pc:sldLayoutMk cId="4138503247" sldId="2147483820"/>
              <ac:spMk id="6" creationId="{7BB4CF45-0878-9231-CCD0-824314822FD0}"/>
            </ac:spMkLst>
          </pc:spChg>
          <pc:spChg chg="mod">
            <ac:chgData name="José Antonio Ureta Santacreu" userId="e36999d1-2b92-424a-9e8c-5fde0c5fbdd2" providerId="ADAL" clId="{B441C459-42E0-4465-B296-199851FC6E31}" dt="2024-09-12T10:40:18.150" v="4130" actId="14100"/>
            <ac:spMkLst>
              <pc:docMk/>
              <pc:sldMasterMk cId="460478265" sldId="2147483810"/>
              <pc:sldLayoutMk cId="4138503247" sldId="2147483820"/>
              <ac:spMk id="8" creationId="{E79FC5D0-7DB8-4887-9100-23E1F7D1B2DC}"/>
            </ac:spMkLst>
          </pc:spChg>
          <pc:spChg chg="mod">
            <ac:chgData name="José Antonio Ureta Santacreu" userId="e36999d1-2b92-424a-9e8c-5fde0c5fbdd2" providerId="ADAL" clId="{B441C459-42E0-4465-B296-199851FC6E31}" dt="2024-09-12T10:40:24.149" v="4131" actId="1076"/>
            <ac:spMkLst>
              <pc:docMk/>
              <pc:sldMasterMk cId="460478265" sldId="2147483810"/>
              <pc:sldLayoutMk cId="4138503247" sldId="2147483820"/>
              <ac:spMk id="11" creationId="{CB6FA8EC-6417-4EFA-AE1F-B2CEC37146BA}"/>
            </ac:spMkLst>
          </pc:spChg>
        </pc:sldLayoutChg>
        <pc:sldLayoutChg chg="addSp delSp modSp">
          <pc:chgData name="José Antonio Ureta Santacreu" userId="e36999d1-2b92-424a-9e8c-5fde0c5fbdd2" providerId="ADAL" clId="{B441C459-42E0-4465-B296-199851FC6E31}" dt="2024-09-11T11:05:59.089" v="3744"/>
          <pc:sldLayoutMkLst>
            <pc:docMk/>
            <pc:sldMasterMk cId="460478265" sldId="2147483810"/>
            <pc:sldLayoutMk cId="1332643702" sldId="2147483821"/>
          </pc:sldLayoutMkLst>
          <pc:spChg chg="add mod">
            <ac:chgData name="José Antonio Ureta Santacreu" userId="e36999d1-2b92-424a-9e8c-5fde0c5fbdd2" providerId="ADAL" clId="{B441C459-42E0-4465-B296-199851FC6E31}" dt="2024-09-11T11:05:59.089" v="3744"/>
            <ac:spMkLst>
              <pc:docMk/>
              <pc:sldMasterMk cId="460478265" sldId="2147483810"/>
              <pc:sldLayoutMk cId="1332643702" sldId="2147483821"/>
              <ac:spMk id="4" creationId="{C2BDD11F-8EC6-BB2E-57A0-04F6ADD92F84}"/>
            </ac:spMkLst>
          </pc:spChg>
          <pc:spChg chg="del">
            <ac:chgData name="José Antonio Ureta Santacreu" userId="e36999d1-2b92-424a-9e8c-5fde0c5fbdd2" providerId="ADAL" clId="{B441C459-42E0-4465-B296-199851FC6E31}" dt="2024-09-11T11:05:58.523" v="3743"/>
            <ac:spMkLst>
              <pc:docMk/>
              <pc:sldMasterMk cId="460478265" sldId="2147483810"/>
              <pc:sldLayoutMk cId="1332643702" sldId="2147483821"/>
              <ac:spMk id="5" creationId="{609CFB72-2574-4BA5-9594-2E87C0D3BF38}"/>
            </ac:spMkLst>
          </pc:spChg>
          <pc:spChg chg="del">
            <ac:chgData name="José Antonio Ureta Santacreu" userId="e36999d1-2b92-424a-9e8c-5fde0c5fbdd2" providerId="ADAL" clId="{B441C459-42E0-4465-B296-199851FC6E31}" dt="2024-09-11T11:05:58.523" v="3743"/>
            <ac:spMkLst>
              <pc:docMk/>
              <pc:sldMasterMk cId="460478265" sldId="2147483810"/>
              <pc:sldLayoutMk cId="1332643702" sldId="2147483821"/>
              <ac:spMk id="6" creationId="{501E3E9F-4398-43BF-B94B-F7B43B6CF727}"/>
            </ac:spMkLst>
          </pc:spChg>
          <pc:spChg chg="del">
            <ac:chgData name="José Antonio Ureta Santacreu" userId="e36999d1-2b92-424a-9e8c-5fde0c5fbdd2" providerId="ADAL" clId="{B441C459-42E0-4465-B296-199851FC6E31}" dt="2024-09-11T11:05:58.523" v="3743"/>
            <ac:spMkLst>
              <pc:docMk/>
              <pc:sldMasterMk cId="460478265" sldId="2147483810"/>
              <pc:sldLayoutMk cId="1332643702" sldId="2147483821"/>
              <ac:spMk id="7" creationId="{47D5AB4C-C118-4DC9-99F6-3AC3919BB201}"/>
            </ac:spMkLst>
          </pc:spChg>
          <pc:spChg chg="add mod">
            <ac:chgData name="José Antonio Ureta Santacreu" userId="e36999d1-2b92-424a-9e8c-5fde0c5fbdd2" providerId="ADAL" clId="{B441C459-42E0-4465-B296-199851FC6E31}" dt="2024-09-11T11:05:59.089" v="3744"/>
            <ac:spMkLst>
              <pc:docMk/>
              <pc:sldMasterMk cId="460478265" sldId="2147483810"/>
              <pc:sldLayoutMk cId="1332643702" sldId="2147483821"/>
              <ac:spMk id="9" creationId="{87FF5090-80A9-DEC3-4A71-4D1FBB2F4168}"/>
            </ac:spMkLst>
          </pc:spChg>
          <pc:spChg chg="add mod">
            <ac:chgData name="José Antonio Ureta Santacreu" userId="e36999d1-2b92-424a-9e8c-5fde0c5fbdd2" providerId="ADAL" clId="{B441C459-42E0-4465-B296-199851FC6E31}" dt="2024-09-11T11:05:59.089" v="3744"/>
            <ac:spMkLst>
              <pc:docMk/>
              <pc:sldMasterMk cId="460478265" sldId="2147483810"/>
              <pc:sldLayoutMk cId="1332643702" sldId="2147483821"/>
              <ac:spMk id="10" creationId="{7A6910F6-9D1A-E377-6512-99ECF1BCE8D5}"/>
            </ac:spMkLst>
          </pc:spChg>
        </pc:sldLayoutChg>
      </pc:sldMasterChg>
    </pc:docChg>
  </pc:docChgLst>
  <pc:docChgLst>
    <pc:chgData name="José Antonio Ureta Santacreu" userId="e36999d1-2b92-424a-9e8c-5fde0c5fbdd2" providerId="ADAL" clId="{7D8E3005-6D19-4F2A-9BE0-A2C92552758E}"/>
    <pc:docChg chg="undo custSel addSld delSld modSld sldOrd">
      <pc:chgData name="José Antonio Ureta Santacreu" userId="e36999d1-2b92-424a-9e8c-5fde0c5fbdd2" providerId="ADAL" clId="{7D8E3005-6D19-4F2A-9BE0-A2C92552758E}" dt="2024-09-19T09:30:53.562" v="5238" actId="729"/>
      <pc:docMkLst>
        <pc:docMk/>
      </pc:docMkLst>
      <pc:sldChg chg="del">
        <pc:chgData name="José Antonio Ureta Santacreu" userId="e36999d1-2b92-424a-9e8c-5fde0c5fbdd2" providerId="ADAL" clId="{7D8E3005-6D19-4F2A-9BE0-A2C92552758E}" dt="2024-07-24T11:51:22.553" v="51" actId="47"/>
        <pc:sldMkLst>
          <pc:docMk/>
          <pc:sldMk cId="978019923" sldId="258"/>
        </pc:sldMkLst>
      </pc:sldChg>
      <pc:sldChg chg="del">
        <pc:chgData name="José Antonio Ureta Santacreu" userId="e36999d1-2b92-424a-9e8c-5fde0c5fbdd2" providerId="ADAL" clId="{7D8E3005-6D19-4F2A-9BE0-A2C92552758E}" dt="2024-07-24T11:51:22.553" v="51" actId="47"/>
        <pc:sldMkLst>
          <pc:docMk/>
          <pc:sldMk cId="3238602929" sldId="259"/>
        </pc:sldMkLst>
      </pc:sldChg>
      <pc:sldChg chg="modSp mod">
        <pc:chgData name="José Antonio Ureta Santacreu" userId="e36999d1-2b92-424a-9e8c-5fde0c5fbdd2" providerId="ADAL" clId="{7D8E3005-6D19-4F2A-9BE0-A2C92552758E}" dt="2024-09-19T09:21:45.366" v="4966" actId="27636"/>
        <pc:sldMkLst>
          <pc:docMk/>
          <pc:sldMk cId="3784393299" sldId="259"/>
        </pc:sldMkLst>
        <pc:spChg chg="mod">
          <ac:chgData name="José Antonio Ureta Santacreu" userId="e36999d1-2b92-424a-9e8c-5fde0c5fbdd2" providerId="ADAL" clId="{7D8E3005-6D19-4F2A-9BE0-A2C92552758E}" dt="2024-09-19T09:21:45.366" v="4966" actId="27636"/>
          <ac:spMkLst>
            <pc:docMk/>
            <pc:sldMk cId="3784393299" sldId="259"/>
            <ac:spMk id="3" creationId="{723D6021-B400-0320-1042-EA45F677753F}"/>
          </ac:spMkLst>
        </pc:spChg>
      </pc:sldChg>
      <pc:sldChg chg="del">
        <pc:chgData name="José Antonio Ureta Santacreu" userId="e36999d1-2b92-424a-9e8c-5fde0c5fbdd2" providerId="ADAL" clId="{7D8E3005-6D19-4F2A-9BE0-A2C92552758E}" dt="2024-07-24T11:51:22.553" v="51" actId="47"/>
        <pc:sldMkLst>
          <pc:docMk/>
          <pc:sldMk cId="2403386146" sldId="260"/>
        </pc:sldMkLst>
      </pc:sldChg>
      <pc:sldChg chg="del">
        <pc:chgData name="José Antonio Ureta Santacreu" userId="e36999d1-2b92-424a-9e8c-5fde0c5fbdd2" providerId="ADAL" clId="{7D8E3005-6D19-4F2A-9BE0-A2C92552758E}" dt="2024-07-24T11:51:22.553" v="51" actId="47"/>
        <pc:sldMkLst>
          <pc:docMk/>
          <pc:sldMk cId="3684905294" sldId="261"/>
        </pc:sldMkLst>
      </pc:sldChg>
      <pc:sldChg chg="del">
        <pc:chgData name="José Antonio Ureta Santacreu" userId="e36999d1-2b92-424a-9e8c-5fde0c5fbdd2" providerId="ADAL" clId="{7D8E3005-6D19-4F2A-9BE0-A2C92552758E}" dt="2024-07-24T11:51:22.553" v="51" actId="47"/>
        <pc:sldMkLst>
          <pc:docMk/>
          <pc:sldMk cId="2049381636" sldId="262"/>
        </pc:sldMkLst>
      </pc:sldChg>
      <pc:sldChg chg="mod modShow">
        <pc:chgData name="José Antonio Ureta Santacreu" userId="e36999d1-2b92-424a-9e8c-5fde0c5fbdd2" providerId="ADAL" clId="{7D8E3005-6D19-4F2A-9BE0-A2C92552758E}" dt="2024-07-30T09:32:40.952" v="800" actId="729"/>
        <pc:sldMkLst>
          <pc:docMk/>
          <pc:sldMk cId="2716384860" sldId="263"/>
        </pc:sldMkLst>
      </pc:sldChg>
      <pc:sldChg chg="del mod ord modShow">
        <pc:chgData name="José Antonio Ureta Santacreu" userId="e36999d1-2b92-424a-9e8c-5fde0c5fbdd2" providerId="ADAL" clId="{7D8E3005-6D19-4F2A-9BE0-A2C92552758E}" dt="2024-07-30T09:43:27.158" v="971" actId="2696"/>
        <pc:sldMkLst>
          <pc:docMk/>
          <pc:sldMk cId="343904988" sldId="264"/>
        </pc:sldMkLst>
      </pc:sldChg>
      <pc:sldChg chg="modSp add del">
        <pc:chgData name="José Antonio Ureta Santacreu" userId="e36999d1-2b92-424a-9e8c-5fde0c5fbdd2" providerId="ADAL" clId="{7D8E3005-6D19-4F2A-9BE0-A2C92552758E}" dt="2024-09-05T10:19:31.233" v="4473" actId="47"/>
        <pc:sldMkLst>
          <pc:docMk/>
          <pc:sldMk cId="2103338479" sldId="264"/>
        </pc:sldMkLst>
        <pc:graphicFrameChg chg="mod">
          <ac:chgData name="José Antonio Ureta Santacreu" userId="e36999d1-2b92-424a-9e8c-5fde0c5fbdd2" providerId="ADAL" clId="{7D8E3005-6D19-4F2A-9BE0-A2C92552758E}" dt="2024-09-05T10:19:08.629" v="4461"/>
          <ac:graphicFrameMkLst>
            <pc:docMk/>
            <pc:sldMk cId="2103338479" sldId="264"/>
            <ac:graphicFrameMk id="4" creationId="{EFF7561F-3523-426E-AC30-D6629F0D8230}"/>
          </ac:graphicFrameMkLst>
        </pc:graphicFrameChg>
      </pc:sldChg>
      <pc:sldChg chg="del">
        <pc:chgData name="José Antonio Ureta Santacreu" userId="e36999d1-2b92-424a-9e8c-5fde0c5fbdd2" providerId="ADAL" clId="{7D8E3005-6D19-4F2A-9BE0-A2C92552758E}" dt="2024-07-24T11:52:04.568" v="54" actId="47"/>
        <pc:sldMkLst>
          <pc:docMk/>
          <pc:sldMk cId="1404877973" sldId="265"/>
        </pc:sldMkLst>
      </pc:sldChg>
      <pc:sldChg chg="del">
        <pc:chgData name="José Antonio Ureta Santacreu" userId="e36999d1-2b92-424a-9e8c-5fde0c5fbdd2" providerId="ADAL" clId="{7D8E3005-6D19-4F2A-9BE0-A2C92552758E}" dt="2024-07-24T11:51:22.553" v="51" actId="47"/>
        <pc:sldMkLst>
          <pc:docMk/>
          <pc:sldMk cId="278873915" sldId="266"/>
        </pc:sldMkLst>
      </pc:sldChg>
      <pc:sldChg chg="del">
        <pc:chgData name="José Antonio Ureta Santacreu" userId="e36999d1-2b92-424a-9e8c-5fde0c5fbdd2" providerId="ADAL" clId="{7D8E3005-6D19-4F2A-9BE0-A2C92552758E}" dt="2024-07-24T11:54:46.407" v="60" actId="47"/>
        <pc:sldMkLst>
          <pc:docMk/>
          <pc:sldMk cId="1413657626" sldId="267"/>
        </pc:sldMkLst>
      </pc:sldChg>
      <pc:sldChg chg="del">
        <pc:chgData name="José Antonio Ureta Santacreu" userId="e36999d1-2b92-424a-9e8c-5fde0c5fbdd2" providerId="ADAL" clId="{7D8E3005-6D19-4F2A-9BE0-A2C92552758E}" dt="2024-07-24T11:54:46.407" v="60" actId="47"/>
        <pc:sldMkLst>
          <pc:docMk/>
          <pc:sldMk cId="2857482861" sldId="269"/>
        </pc:sldMkLst>
      </pc:sldChg>
      <pc:sldChg chg="del">
        <pc:chgData name="José Antonio Ureta Santacreu" userId="e36999d1-2b92-424a-9e8c-5fde0c5fbdd2" providerId="ADAL" clId="{7D8E3005-6D19-4F2A-9BE0-A2C92552758E}" dt="2024-07-24T11:54:46.407" v="60" actId="47"/>
        <pc:sldMkLst>
          <pc:docMk/>
          <pc:sldMk cId="1033878959" sldId="271"/>
        </pc:sldMkLst>
      </pc:sldChg>
      <pc:sldChg chg="del">
        <pc:chgData name="José Antonio Ureta Santacreu" userId="e36999d1-2b92-424a-9e8c-5fde0c5fbdd2" providerId="ADAL" clId="{7D8E3005-6D19-4F2A-9BE0-A2C92552758E}" dt="2024-07-24T11:56:55.774" v="68" actId="47"/>
        <pc:sldMkLst>
          <pc:docMk/>
          <pc:sldMk cId="2456579995" sldId="272"/>
        </pc:sldMkLst>
      </pc:sldChg>
      <pc:sldChg chg="del">
        <pc:chgData name="José Antonio Ureta Santacreu" userId="e36999d1-2b92-424a-9e8c-5fde0c5fbdd2" providerId="ADAL" clId="{7D8E3005-6D19-4F2A-9BE0-A2C92552758E}" dt="2024-07-24T11:56:55.774" v="68" actId="47"/>
        <pc:sldMkLst>
          <pc:docMk/>
          <pc:sldMk cId="3637581644" sldId="273"/>
        </pc:sldMkLst>
      </pc:sldChg>
      <pc:sldChg chg="del">
        <pc:chgData name="José Antonio Ureta Santacreu" userId="e36999d1-2b92-424a-9e8c-5fde0c5fbdd2" providerId="ADAL" clId="{7D8E3005-6D19-4F2A-9BE0-A2C92552758E}" dt="2024-07-24T11:56:55.774" v="68" actId="47"/>
        <pc:sldMkLst>
          <pc:docMk/>
          <pc:sldMk cId="4042182867" sldId="274"/>
        </pc:sldMkLst>
      </pc:sldChg>
      <pc:sldChg chg="del">
        <pc:chgData name="José Antonio Ureta Santacreu" userId="e36999d1-2b92-424a-9e8c-5fde0c5fbdd2" providerId="ADAL" clId="{7D8E3005-6D19-4F2A-9BE0-A2C92552758E}" dt="2024-07-24T11:53:21.446" v="58" actId="2696"/>
        <pc:sldMkLst>
          <pc:docMk/>
          <pc:sldMk cId="673723975" sldId="275"/>
        </pc:sldMkLst>
      </pc:sldChg>
      <pc:sldChg chg="addSp modSp add">
        <pc:chgData name="José Antonio Ureta Santacreu" userId="e36999d1-2b92-424a-9e8c-5fde0c5fbdd2" providerId="ADAL" clId="{7D8E3005-6D19-4F2A-9BE0-A2C92552758E}" dt="2024-07-30T09:28:19.503" v="782"/>
        <pc:sldMkLst>
          <pc:docMk/>
          <pc:sldMk cId="4095110368" sldId="275"/>
        </pc:sldMkLst>
        <pc:spChg chg="add mod">
          <ac:chgData name="José Antonio Ureta Santacreu" userId="e36999d1-2b92-424a-9e8c-5fde0c5fbdd2" providerId="ADAL" clId="{7D8E3005-6D19-4F2A-9BE0-A2C92552758E}" dt="2024-07-30T09:28:19.503" v="782"/>
          <ac:spMkLst>
            <pc:docMk/>
            <pc:sldMk cId="4095110368" sldId="275"/>
            <ac:spMk id="6" creationId="{E2A38B31-1D49-D4CB-59DF-D6518C119640}"/>
          </ac:spMkLst>
        </pc:spChg>
      </pc:sldChg>
      <pc:sldChg chg="del">
        <pc:chgData name="José Antonio Ureta Santacreu" userId="e36999d1-2b92-424a-9e8c-5fde0c5fbdd2" providerId="ADAL" clId="{7D8E3005-6D19-4F2A-9BE0-A2C92552758E}" dt="2024-07-24T11:56:55.774" v="68" actId="47"/>
        <pc:sldMkLst>
          <pc:docMk/>
          <pc:sldMk cId="1538887231" sldId="279"/>
        </pc:sldMkLst>
      </pc:sldChg>
      <pc:sldChg chg="del">
        <pc:chgData name="José Antonio Ureta Santacreu" userId="e36999d1-2b92-424a-9e8c-5fde0c5fbdd2" providerId="ADAL" clId="{7D8E3005-6D19-4F2A-9BE0-A2C92552758E}" dt="2024-07-24T11:54:46.407" v="60" actId="47"/>
        <pc:sldMkLst>
          <pc:docMk/>
          <pc:sldMk cId="3934049435" sldId="281"/>
        </pc:sldMkLst>
      </pc:sldChg>
      <pc:sldChg chg="del">
        <pc:chgData name="José Antonio Ureta Santacreu" userId="e36999d1-2b92-424a-9e8c-5fde0c5fbdd2" providerId="ADAL" clId="{7D8E3005-6D19-4F2A-9BE0-A2C92552758E}" dt="2024-07-24T11:56:55.774" v="68" actId="47"/>
        <pc:sldMkLst>
          <pc:docMk/>
          <pc:sldMk cId="2425819641" sldId="283"/>
        </pc:sldMkLst>
      </pc:sldChg>
      <pc:sldChg chg="del">
        <pc:chgData name="José Antonio Ureta Santacreu" userId="e36999d1-2b92-424a-9e8c-5fde0c5fbdd2" providerId="ADAL" clId="{7D8E3005-6D19-4F2A-9BE0-A2C92552758E}" dt="2024-07-24T11:54:46.407" v="60" actId="47"/>
        <pc:sldMkLst>
          <pc:docMk/>
          <pc:sldMk cId="1221489577" sldId="285"/>
        </pc:sldMkLst>
      </pc:sldChg>
      <pc:sldChg chg="del">
        <pc:chgData name="José Antonio Ureta Santacreu" userId="e36999d1-2b92-424a-9e8c-5fde0c5fbdd2" providerId="ADAL" clId="{7D8E3005-6D19-4F2A-9BE0-A2C92552758E}" dt="2024-07-24T11:53:21.446" v="58" actId="2696"/>
        <pc:sldMkLst>
          <pc:docMk/>
          <pc:sldMk cId="1669545318" sldId="300"/>
        </pc:sldMkLst>
      </pc:sldChg>
      <pc:sldChg chg="addSp modSp add mod">
        <pc:chgData name="José Antonio Ureta Santacreu" userId="e36999d1-2b92-424a-9e8c-5fde0c5fbdd2" providerId="ADAL" clId="{7D8E3005-6D19-4F2A-9BE0-A2C92552758E}" dt="2024-07-30T09:28:58.293" v="797" actId="20577"/>
        <pc:sldMkLst>
          <pc:docMk/>
          <pc:sldMk cId="4159931023" sldId="300"/>
        </pc:sldMkLst>
        <pc:spChg chg="mod">
          <ac:chgData name="José Antonio Ureta Santacreu" userId="e36999d1-2b92-424a-9e8c-5fde0c5fbdd2" providerId="ADAL" clId="{7D8E3005-6D19-4F2A-9BE0-A2C92552758E}" dt="2024-07-30T09:28:58.293" v="797" actId="20577"/>
          <ac:spMkLst>
            <pc:docMk/>
            <pc:sldMk cId="4159931023" sldId="300"/>
            <ac:spMk id="4" creationId="{26FBC0F1-1118-85FF-736E-56730FB8597B}"/>
          </ac:spMkLst>
        </pc:spChg>
        <pc:spChg chg="add mod">
          <ac:chgData name="José Antonio Ureta Santacreu" userId="e36999d1-2b92-424a-9e8c-5fde0c5fbdd2" providerId="ADAL" clId="{7D8E3005-6D19-4F2A-9BE0-A2C92552758E}" dt="2024-07-30T09:28:49.667" v="794"/>
          <ac:spMkLst>
            <pc:docMk/>
            <pc:sldMk cId="4159931023" sldId="300"/>
            <ac:spMk id="7" creationId="{EF246E49-053B-DB8F-AC3B-40E334EC55AA}"/>
          </ac:spMkLst>
        </pc:spChg>
      </pc:sldChg>
      <pc:sldChg chg="del">
        <pc:chgData name="José Antonio Ureta Santacreu" userId="e36999d1-2b92-424a-9e8c-5fde0c5fbdd2" providerId="ADAL" clId="{7D8E3005-6D19-4F2A-9BE0-A2C92552758E}" dt="2024-07-24T11:54:46.407" v="60" actId="47"/>
        <pc:sldMkLst>
          <pc:docMk/>
          <pc:sldMk cId="2292263241" sldId="303"/>
        </pc:sldMkLst>
      </pc:sldChg>
      <pc:sldChg chg="del">
        <pc:chgData name="José Antonio Ureta Santacreu" userId="e36999d1-2b92-424a-9e8c-5fde0c5fbdd2" providerId="ADAL" clId="{7D8E3005-6D19-4F2A-9BE0-A2C92552758E}" dt="2024-07-24T11:54:46.407" v="60" actId="47"/>
        <pc:sldMkLst>
          <pc:docMk/>
          <pc:sldMk cId="695821524" sldId="305"/>
        </pc:sldMkLst>
      </pc:sldChg>
      <pc:sldChg chg="del">
        <pc:chgData name="José Antonio Ureta Santacreu" userId="e36999d1-2b92-424a-9e8c-5fde0c5fbdd2" providerId="ADAL" clId="{7D8E3005-6D19-4F2A-9BE0-A2C92552758E}" dt="2024-07-24T11:54:46.407" v="60" actId="47"/>
        <pc:sldMkLst>
          <pc:docMk/>
          <pc:sldMk cId="2867283465" sldId="307"/>
        </pc:sldMkLst>
      </pc:sldChg>
      <pc:sldChg chg="addSp delSp modSp mod modClrScheme modShow chgLayout">
        <pc:chgData name="José Antonio Ureta Santacreu" userId="e36999d1-2b92-424a-9e8c-5fde0c5fbdd2" providerId="ADAL" clId="{7D8E3005-6D19-4F2A-9BE0-A2C92552758E}" dt="2024-09-04T11:12:50.871" v="4007" actId="729"/>
        <pc:sldMkLst>
          <pc:docMk/>
          <pc:sldMk cId="2132635803" sldId="313"/>
        </pc:sldMkLst>
        <pc:spChg chg="mod ord">
          <ac:chgData name="José Antonio Ureta Santacreu" userId="e36999d1-2b92-424a-9e8c-5fde0c5fbdd2" providerId="ADAL" clId="{7D8E3005-6D19-4F2A-9BE0-A2C92552758E}" dt="2024-09-04T11:12:36.009" v="4006" actId="700"/>
          <ac:spMkLst>
            <pc:docMk/>
            <pc:sldMk cId="2132635803" sldId="313"/>
            <ac:spMk id="2" creationId="{EFF119FA-0417-336E-3C2C-C4F338D92464}"/>
          </ac:spMkLst>
        </pc:spChg>
        <pc:spChg chg="mod ord">
          <ac:chgData name="José Antonio Ureta Santacreu" userId="e36999d1-2b92-424a-9e8c-5fde0c5fbdd2" providerId="ADAL" clId="{7D8E3005-6D19-4F2A-9BE0-A2C92552758E}" dt="2024-09-04T11:12:36.009" v="4006" actId="700"/>
          <ac:spMkLst>
            <pc:docMk/>
            <pc:sldMk cId="2132635803" sldId="313"/>
            <ac:spMk id="3" creationId="{AA75FBA9-CB2D-25F4-E011-B874EEB57E92}"/>
          </ac:spMkLst>
        </pc:spChg>
        <pc:spChg chg="mod ord">
          <ac:chgData name="José Antonio Ureta Santacreu" userId="e36999d1-2b92-424a-9e8c-5fde0c5fbdd2" providerId="ADAL" clId="{7D8E3005-6D19-4F2A-9BE0-A2C92552758E}" dt="2024-09-04T11:12:36.009" v="4006" actId="700"/>
          <ac:spMkLst>
            <pc:docMk/>
            <pc:sldMk cId="2132635803" sldId="313"/>
            <ac:spMk id="4" creationId="{0DDD8B56-001A-C37B-2467-001FB2B542CC}"/>
          </ac:spMkLst>
        </pc:spChg>
        <pc:spChg chg="mod ord">
          <ac:chgData name="José Antonio Ureta Santacreu" userId="e36999d1-2b92-424a-9e8c-5fde0c5fbdd2" providerId="ADAL" clId="{7D8E3005-6D19-4F2A-9BE0-A2C92552758E}" dt="2024-09-04T11:12:36.009" v="4006" actId="700"/>
          <ac:spMkLst>
            <pc:docMk/>
            <pc:sldMk cId="2132635803" sldId="313"/>
            <ac:spMk id="5" creationId="{A6E6C191-2A11-061B-0AD7-2EE8F410B30B}"/>
          </ac:spMkLst>
        </pc:spChg>
        <pc:spChg chg="add del mod">
          <ac:chgData name="José Antonio Ureta Santacreu" userId="e36999d1-2b92-424a-9e8c-5fde0c5fbdd2" providerId="ADAL" clId="{7D8E3005-6D19-4F2A-9BE0-A2C92552758E}" dt="2024-09-04T11:12:36.009" v="4006" actId="700"/>
          <ac:spMkLst>
            <pc:docMk/>
            <pc:sldMk cId="2132635803" sldId="313"/>
            <ac:spMk id="7" creationId="{83E93046-5D7F-17C1-52EC-E3BC3DE7BA0B}"/>
          </ac:spMkLst>
        </pc:spChg>
        <pc:graphicFrameChg chg="mod ord">
          <ac:chgData name="José Antonio Ureta Santacreu" userId="e36999d1-2b92-424a-9e8c-5fde0c5fbdd2" providerId="ADAL" clId="{7D8E3005-6D19-4F2A-9BE0-A2C92552758E}" dt="2024-09-04T11:12:36.009" v="4006" actId="700"/>
          <ac:graphicFrameMkLst>
            <pc:docMk/>
            <pc:sldMk cId="2132635803" sldId="313"/>
            <ac:graphicFrameMk id="8" creationId="{1534E7A7-32CD-621F-5BCA-71AC42F3A665}"/>
          </ac:graphicFrameMkLst>
        </pc:graphicFrameChg>
        <pc:picChg chg="del">
          <ac:chgData name="José Antonio Ureta Santacreu" userId="e36999d1-2b92-424a-9e8c-5fde0c5fbdd2" providerId="ADAL" clId="{7D8E3005-6D19-4F2A-9BE0-A2C92552758E}" dt="2024-09-04T11:12:31.424" v="4005" actId="478"/>
          <ac:picMkLst>
            <pc:docMk/>
            <pc:sldMk cId="2132635803" sldId="313"/>
            <ac:picMk id="12" creationId="{790A384E-9053-A289-DFF3-8A98744E8E69}"/>
          </ac:picMkLst>
        </pc:picChg>
      </pc:sldChg>
      <pc:sldChg chg="addSp delSp modSp mod modClrScheme chgLayout">
        <pc:chgData name="José Antonio Ureta Santacreu" userId="e36999d1-2b92-424a-9e8c-5fde0c5fbdd2" providerId="ADAL" clId="{7D8E3005-6D19-4F2A-9BE0-A2C92552758E}" dt="2024-09-04T11:29:30.781" v="4129"/>
        <pc:sldMkLst>
          <pc:docMk/>
          <pc:sldMk cId="3560941779" sldId="314"/>
        </pc:sldMkLst>
        <pc:spChg chg="mod ord">
          <ac:chgData name="José Antonio Ureta Santacreu" userId="e36999d1-2b92-424a-9e8c-5fde0c5fbdd2" providerId="ADAL" clId="{7D8E3005-6D19-4F2A-9BE0-A2C92552758E}" dt="2024-09-04T11:29:28.073" v="4128" actId="700"/>
          <ac:spMkLst>
            <pc:docMk/>
            <pc:sldMk cId="3560941779" sldId="314"/>
            <ac:spMk id="2" creationId="{59981A69-9C9D-D0F3-E9BC-95FB4BB91E64}"/>
          </ac:spMkLst>
        </pc:spChg>
        <pc:spChg chg="mod ord">
          <ac:chgData name="José Antonio Ureta Santacreu" userId="e36999d1-2b92-424a-9e8c-5fde0c5fbdd2" providerId="ADAL" clId="{7D8E3005-6D19-4F2A-9BE0-A2C92552758E}" dt="2024-09-04T11:29:28.073" v="4128" actId="700"/>
          <ac:spMkLst>
            <pc:docMk/>
            <pc:sldMk cId="3560941779" sldId="314"/>
            <ac:spMk id="3" creationId="{CF1CDBD7-598D-E71C-1029-66CDF3B5F78B}"/>
          </ac:spMkLst>
        </pc:spChg>
        <pc:spChg chg="mod ord">
          <ac:chgData name="José Antonio Ureta Santacreu" userId="e36999d1-2b92-424a-9e8c-5fde0c5fbdd2" providerId="ADAL" clId="{7D8E3005-6D19-4F2A-9BE0-A2C92552758E}" dt="2024-09-04T11:29:28.073" v="4128" actId="700"/>
          <ac:spMkLst>
            <pc:docMk/>
            <pc:sldMk cId="3560941779" sldId="314"/>
            <ac:spMk id="4" creationId="{F3EA98ED-51D3-5C21-6840-459AA7262318}"/>
          </ac:spMkLst>
        </pc:spChg>
        <pc:spChg chg="mod ord">
          <ac:chgData name="José Antonio Ureta Santacreu" userId="e36999d1-2b92-424a-9e8c-5fde0c5fbdd2" providerId="ADAL" clId="{7D8E3005-6D19-4F2A-9BE0-A2C92552758E}" dt="2024-09-04T11:29:28.073" v="4128" actId="700"/>
          <ac:spMkLst>
            <pc:docMk/>
            <pc:sldMk cId="3560941779" sldId="314"/>
            <ac:spMk id="5" creationId="{D3E22E23-A547-6450-4F4A-D27656991983}"/>
          </ac:spMkLst>
        </pc:spChg>
        <pc:spChg chg="add del mod ord">
          <ac:chgData name="José Antonio Ureta Santacreu" userId="e36999d1-2b92-424a-9e8c-5fde0c5fbdd2" providerId="ADAL" clId="{7D8E3005-6D19-4F2A-9BE0-A2C92552758E}" dt="2024-09-04T11:29:28.073" v="4128" actId="700"/>
          <ac:spMkLst>
            <pc:docMk/>
            <pc:sldMk cId="3560941779" sldId="314"/>
            <ac:spMk id="7" creationId="{2D770E36-EF83-7AE0-1123-32730D7FF805}"/>
          </ac:spMkLst>
        </pc:spChg>
        <pc:spChg chg="add del mod ord">
          <ac:chgData name="José Antonio Ureta Santacreu" userId="e36999d1-2b92-424a-9e8c-5fde0c5fbdd2" providerId="ADAL" clId="{7D8E3005-6D19-4F2A-9BE0-A2C92552758E}" dt="2024-09-04T11:29:30.781" v="4129"/>
          <ac:spMkLst>
            <pc:docMk/>
            <pc:sldMk cId="3560941779" sldId="314"/>
            <ac:spMk id="8" creationId="{C04FD61C-AC6D-6FCF-080B-34D87BA7F11B}"/>
          </ac:spMkLst>
        </pc:spChg>
        <pc:graphicFrameChg chg="mod ord">
          <ac:chgData name="José Antonio Ureta Santacreu" userId="e36999d1-2b92-424a-9e8c-5fde0c5fbdd2" providerId="ADAL" clId="{7D8E3005-6D19-4F2A-9BE0-A2C92552758E}" dt="2024-09-04T11:29:28.073" v="4128" actId="700"/>
          <ac:graphicFrameMkLst>
            <pc:docMk/>
            <pc:sldMk cId="3560941779" sldId="314"/>
            <ac:graphicFrameMk id="17" creationId="{1623549F-920E-BD5F-071B-00841022DE3E}"/>
          </ac:graphicFrameMkLst>
        </pc:graphicFrameChg>
        <pc:picChg chg="del">
          <ac:chgData name="José Antonio Ureta Santacreu" userId="e36999d1-2b92-424a-9e8c-5fde0c5fbdd2" providerId="ADAL" clId="{7D8E3005-6D19-4F2A-9BE0-A2C92552758E}" dt="2024-09-04T11:29:23.986" v="4127" actId="478"/>
          <ac:picMkLst>
            <pc:docMk/>
            <pc:sldMk cId="3560941779" sldId="314"/>
            <ac:picMk id="14" creationId="{69123D8D-3DCD-17E0-6A9A-CF9B339E8E93}"/>
          </ac:picMkLst>
        </pc:picChg>
        <pc:picChg chg="add mod">
          <ac:chgData name="José Antonio Ureta Santacreu" userId="e36999d1-2b92-424a-9e8c-5fde0c5fbdd2" providerId="ADAL" clId="{7D8E3005-6D19-4F2A-9BE0-A2C92552758E}" dt="2024-09-04T11:29:30.781" v="4129"/>
          <ac:picMkLst>
            <pc:docMk/>
            <pc:sldMk cId="3560941779" sldId="314"/>
            <ac:picMk id="2050" creationId="{A26860DA-B265-C99E-8C7D-8875E229D1A9}"/>
          </ac:picMkLst>
        </pc:picChg>
      </pc:sldChg>
      <pc:sldChg chg="addSp delSp modSp mod">
        <pc:chgData name="José Antonio Ureta Santacreu" userId="e36999d1-2b92-424a-9e8c-5fde0c5fbdd2" providerId="ADAL" clId="{7D8E3005-6D19-4F2A-9BE0-A2C92552758E}" dt="2024-09-04T11:20:54.086" v="4114" actId="12100"/>
        <pc:sldMkLst>
          <pc:docMk/>
          <pc:sldMk cId="3710413059" sldId="318"/>
        </pc:sldMkLst>
        <pc:spChg chg="add del mod">
          <ac:chgData name="José Antonio Ureta Santacreu" userId="e36999d1-2b92-424a-9e8c-5fde0c5fbdd2" providerId="ADAL" clId="{7D8E3005-6D19-4F2A-9BE0-A2C92552758E}" dt="2024-09-04T11:13:56.618" v="4009"/>
          <ac:spMkLst>
            <pc:docMk/>
            <pc:sldMk cId="3710413059" sldId="318"/>
            <ac:spMk id="3" creationId="{92D27EF7-EEBD-521B-4A25-5915558B19DC}"/>
          </ac:spMkLst>
        </pc:spChg>
        <pc:spChg chg="del mod">
          <ac:chgData name="José Antonio Ureta Santacreu" userId="e36999d1-2b92-424a-9e8c-5fde0c5fbdd2" providerId="ADAL" clId="{7D8E3005-6D19-4F2A-9BE0-A2C92552758E}" dt="2024-09-04T11:19:09.143" v="4101" actId="478"/>
          <ac:spMkLst>
            <pc:docMk/>
            <pc:sldMk cId="3710413059" sldId="318"/>
            <ac:spMk id="9" creationId="{BE98C7CD-1797-2A4C-DBAA-0CC1ADA9A9BB}"/>
          </ac:spMkLst>
        </pc:spChg>
        <pc:graphicFrameChg chg="mod">
          <ac:chgData name="José Antonio Ureta Santacreu" userId="e36999d1-2b92-424a-9e8c-5fde0c5fbdd2" providerId="ADAL" clId="{7D8E3005-6D19-4F2A-9BE0-A2C92552758E}" dt="2024-09-04T11:20:54.086" v="4114" actId="12100"/>
          <ac:graphicFrameMkLst>
            <pc:docMk/>
            <pc:sldMk cId="3710413059" sldId="318"/>
            <ac:graphicFrameMk id="7" creationId="{3235D71D-3A98-29FC-EACB-6605772A975F}"/>
          </ac:graphicFrameMkLst>
        </pc:graphicFrameChg>
        <pc:picChg chg="add mod">
          <ac:chgData name="José Antonio Ureta Santacreu" userId="e36999d1-2b92-424a-9e8c-5fde0c5fbdd2" providerId="ADAL" clId="{7D8E3005-6D19-4F2A-9BE0-A2C92552758E}" dt="2024-09-04T11:13:56.618" v="4009"/>
          <ac:picMkLst>
            <pc:docMk/>
            <pc:sldMk cId="3710413059" sldId="318"/>
            <ac:picMk id="8" creationId="{5D50018C-A5F5-D720-CD87-35FCC46456A8}"/>
          </ac:picMkLst>
        </pc:picChg>
        <pc:picChg chg="del">
          <ac:chgData name="José Antonio Ureta Santacreu" userId="e36999d1-2b92-424a-9e8c-5fde0c5fbdd2" providerId="ADAL" clId="{7D8E3005-6D19-4F2A-9BE0-A2C92552758E}" dt="2024-09-04T11:13:53.331" v="4008" actId="478"/>
          <ac:picMkLst>
            <pc:docMk/>
            <pc:sldMk cId="3710413059" sldId="318"/>
            <ac:picMk id="10" creationId="{1930BC12-8D71-7405-115D-7BF0440B86B0}"/>
          </ac:picMkLst>
        </pc:picChg>
      </pc:sldChg>
      <pc:sldChg chg="del">
        <pc:chgData name="José Antonio Ureta Santacreu" userId="e36999d1-2b92-424a-9e8c-5fde0c5fbdd2" providerId="ADAL" clId="{7D8E3005-6D19-4F2A-9BE0-A2C92552758E}" dt="2024-07-24T11:56:55.774" v="68" actId="47"/>
        <pc:sldMkLst>
          <pc:docMk/>
          <pc:sldMk cId="3936020262" sldId="320"/>
        </pc:sldMkLst>
      </pc:sldChg>
      <pc:sldChg chg="addSp delSp modSp mod modClrScheme chgLayout">
        <pc:chgData name="José Antonio Ureta Santacreu" userId="e36999d1-2b92-424a-9e8c-5fde0c5fbdd2" providerId="ADAL" clId="{7D8E3005-6D19-4F2A-9BE0-A2C92552758E}" dt="2024-09-04T11:47:10.013" v="4289" actId="12100"/>
        <pc:sldMkLst>
          <pc:docMk/>
          <pc:sldMk cId="1147980676" sldId="321"/>
        </pc:sldMkLst>
        <pc:spChg chg="mod ord">
          <ac:chgData name="José Antonio Ureta Santacreu" userId="e36999d1-2b92-424a-9e8c-5fde0c5fbdd2" providerId="ADAL" clId="{7D8E3005-6D19-4F2A-9BE0-A2C92552758E}" dt="2024-09-04T11:46:56.948" v="4287" actId="700"/>
          <ac:spMkLst>
            <pc:docMk/>
            <pc:sldMk cId="1147980676" sldId="321"/>
            <ac:spMk id="2" creationId="{D3DC13FB-5723-DEB6-A56E-D149B876128D}"/>
          </ac:spMkLst>
        </pc:spChg>
        <pc:spChg chg="mod ord">
          <ac:chgData name="José Antonio Ureta Santacreu" userId="e36999d1-2b92-424a-9e8c-5fde0c5fbdd2" providerId="ADAL" clId="{7D8E3005-6D19-4F2A-9BE0-A2C92552758E}" dt="2024-09-04T11:46:56.948" v="4287" actId="700"/>
          <ac:spMkLst>
            <pc:docMk/>
            <pc:sldMk cId="1147980676" sldId="321"/>
            <ac:spMk id="3" creationId="{1AC34247-4067-E04E-2A79-966CA45B15E7}"/>
          </ac:spMkLst>
        </pc:spChg>
        <pc:spChg chg="mod ord">
          <ac:chgData name="José Antonio Ureta Santacreu" userId="e36999d1-2b92-424a-9e8c-5fde0c5fbdd2" providerId="ADAL" clId="{7D8E3005-6D19-4F2A-9BE0-A2C92552758E}" dt="2024-09-04T11:46:56.948" v="4287" actId="700"/>
          <ac:spMkLst>
            <pc:docMk/>
            <pc:sldMk cId="1147980676" sldId="321"/>
            <ac:spMk id="4" creationId="{5618C719-0E22-8C4F-9FA2-F03D96F89121}"/>
          </ac:spMkLst>
        </pc:spChg>
        <pc:spChg chg="mod ord">
          <ac:chgData name="José Antonio Ureta Santacreu" userId="e36999d1-2b92-424a-9e8c-5fde0c5fbdd2" providerId="ADAL" clId="{7D8E3005-6D19-4F2A-9BE0-A2C92552758E}" dt="2024-09-04T11:46:56.948" v="4287" actId="700"/>
          <ac:spMkLst>
            <pc:docMk/>
            <pc:sldMk cId="1147980676" sldId="321"/>
            <ac:spMk id="5" creationId="{F6B61F87-2F14-E2D5-8C0E-2BD2D5FB0E79}"/>
          </ac:spMkLst>
        </pc:spChg>
        <pc:spChg chg="add del mod">
          <ac:chgData name="José Antonio Ureta Santacreu" userId="e36999d1-2b92-424a-9e8c-5fde0c5fbdd2" providerId="ADAL" clId="{7D8E3005-6D19-4F2A-9BE0-A2C92552758E}" dt="2024-09-04T11:46:53.037" v="4286"/>
          <ac:spMkLst>
            <pc:docMk/>
            <pc:sldMk cId="1147980676" sldId="321"/>
            <ac:spMk id="9" creationId="{D8007C47-A867-DD24-329C-C1476E6D4C59}"/>
          </ac:spMkLst>
        </pc:spChg>
        <pc:graphicFrameChg chg="mod ord">
          <ac:chgData name="José Antonio Ureta Santacreu" userId="e36999d1-2b92-424a-9e8c-5fde0c5fbdd2" providerId="ADAL" clId="{7D8E3005-6D19-4F2A-9BE0-A2C92552758E}" dt="2024-09-04T11:47:10.013" v="4289" actId="12100"/>
          <ac:graphicFrameMkLst>
            <pc:docMk/>
            <pc:sldMk cId="1147980676" sldId="321"/>
            <ac:graphicFrameMk id="8" creationId="{C89C612F-7FE2-97B7-1EF7-9C8974780620}"/>
          </ac:graphicFrameMkLst>
        </pc:graphicFrameChg>
        <pc:picChg chg="del">
          <ac:chgData name="José Antonio Ureta Santacreu" userId="e36999d1-2b92-424a-9e8c-5fde0c5fbdd2" providerId="ADAL" clId="{7D8E3005-6D19-4F2A-9BE0-A2C92552758E}" dt="2024-09-04T11:46:50.632" v="4285" actId="478"/>
          <ac:picMkLst>
            <pc:docMk/>
            <pc:sldMk cId="1147980676" sldId="321"/>
            <ac:picMk id="7" creationId="{A538E509-4754-32D0-47F5-05DF780EED6F}"/>
          </ac:picMkLst>
        </pc:picChg>
        <pc:picChg chg="add mod ord">
          <ac:chgData name="José Antonio Ureta Santacreu" userId="e36999d1-2b92-424a-9e8c-5fde0c5fbdd2" providerId="ADAL" clId="{7D8E3005-6D19-4F2A-9BE0-A2C92552758E}" dt="2024-09-04T11:46:56.948" v="4287" actId="700"/>
          <ac:picMkLst>
            <pc:docMk/>
            <pc:sldMk cId="1147980676" sldId="321"/>
            <ac:picMk id="4098" creationId="{89D87DAC-D0BE-7AE6-3C58-01A1FBD8ED44}"/>
          </ac:picMkLst>
        </pc:picChg>
      </pc:sldChg>
      <pc:sldChg chg="modSp mod ord modShow">
        <pc:chgData name="José Antonio Ureta Santacreu" userId="e36999d1-2b92-424a-9e8c-5fde0c5fbdd2" providerId="ADAL" clId="{7D8E3005-6D19-4F2A-9BE0-A2C92552758E}" dt="2024-09-04T11:12:50.871" v="4007" actId="729"/>
        <pc:sldMkLst>
          <pc:docMk/>
          <pc:sldMk cId="2906390905" sldId="322"/>
        </pc:sldMkLst>
        <pc:graphicFrameChg chg="mod">
          <ac:chgData name="José Antonio Ureta Santacreu" userId="e36999d1-2b92-424a-9e8c-5fde0c5fbdd2" providerId="ADAL" clId="{7D8E3005-6D19-4F2A-9BE0-A2C92552758E}" dt="2024-09-04T11:09:06.420" v="3925" actId="12100"/>
          <ac:graphicFrameMkLst>
            <pc:docMk/>
            <pc:sldMk cId="2906390905" sldId="322"/>
            <ac:graphicFrameMk id="7" creationId="{697ABEAC-0446-E4EA-FBAE-03E6EEB0914F}"/>
          </ac:graphicFrameMkLst>
        </pc:graphicFrameChg>
      </pc:sldChg>
      <pc:sldChg chg="addSp modSp add mod">
        <pc:chgData name="José Antonio Ureta Santacreu" userId="e36999d1-2b92-424a-9e8c-5fde0c5fbdd2" providerId="ADAL" clId="{7D8E3005-6D19-4F2A-9BE0-A2C92552758E}" dt="2024-07-30T09:07:14.647" v="614" actId="1037"/>
        <pc:sldMkLst>
          <pc:docMk/>
          <pc:sldMk cId="887891242" sldId="381"/>
        </pc:sldMkLst>
        <pc:spChg chg="add mod">
          <ac:chgData name="José Antonio Ureta Santacreu" userId="e36999d1-2b92-424a-9e8c-5fde0c5fbdd2" providerId="ADAL" clId="{7D8E3005-6D19-4F2A-9BE0-A2C92552758E}" dt="2024-07-30T09:07:14.647" v="614" actId="1037"/>
          <ac:spMkLst>
            <pc:docMk/>
            <pc:sldMk cId="887891242" sldId="381"/>
            <ac:spMk id="3" creationId="{757C1F41-5087-FCC6-DEEC-64F41DD904F9}"/>
          </ac:spMkLst>
        </pc:spChg>
      </pc:sldChg>
      <pc:sldChg chg="del">
        <pc:chgData name="José Antonio Ureta Santacreu" userId="e36999d1-2b92-424a-9e8c-5fde0c5fbdd2" providerId="ADAL" clId="{7D8E3005-6D19-4F2A-9BE0-A2C92552758E}" dt="2024-07-24T11:47:42.723" v="41" actId="2696"/>
        <pc:sldMkLst>
          <pc:docMk/>
          <pc:sldMk cId="1024268122" sldId="381"/>
        </pc:sldMkLst>
      </pc:sldChg>
      <pc:sldChg chg="del">
        <pc:chgData name="José Antonio Ureta Santacreu" userId="e36999d1-2b92-424a-9e8c-5fde0c5fbdd2" providerId="ADAL" clId="{7D8E3005-6D19-4F2A-9BE0-A2C92552758E}" dt="2024-07-24T11:47:42.723" v="41" actId="2696"/>
        <pc:sldMkLst>
          <pc:docMk/>
          <pc:sldMk cId="1561952552" sldId="385"/>
        </pc:sldMkLst>
      </pc:sldChg>
      <pc:sldChg chg="addSp modSp add mod">
        <pc:chgData name="José Antonio Ureta Santacreu" userId="e36999d1-2b92-424a-9e8c-5fde0c5fbdd2" providerId="ADAL" clId="{7D8E3005-6D19-4F2A-9BE0-A2C92552758E}" dt="2024-07-30T09:07:20.061" v="617" actId="1035"/>
        <pc:sldMkLst>
          <pc:docMk/>
          <pc:sldMk cId="3769790689" sldId="385"/>
        </pc:sldMkLst>
        <pc:spChg chg="add mod">
          <ac:chgData name="José Antonio Ureta Santacreu" userId="e36999d1-2b92-424a-9e8c-5fde0c5fbdd2" providerId="ADAL" clId="{7D8E3005-6D19-4F2A-9BE0-A2C92552758E}" dt="2024-07-30T09:07:20.061" v="617" actId="1035"/>
          <ac:spMkLst>
            <pc:docMk/>
            <pc:sldMk cId="3769790689" sldId="385"/>
            <ac:spMk id="2" creationId="{6E74E45E-5CC2-0514-A6CF-2588EFA17697}"/>
          </ac:spMkLst>
        </pc:spChg>
      </pc:sldChg>
      <pc:sldChg chg="del">
        <pc:chgData name="José Antonio Ureta Santacreu" userId="e36999d1-2b92-424a-9e8c-5fde0c5fbdd2" providerId="ADAL" clId="{7D8E3005-6D19-4F2A-9BE0-A2C92552758E}" dt="2024-07-24T11:47:42.723" v="41" actId="2696"/>
        <pc:sldMkLst>
          <pc:docMk/>
          <pc:sldMk cId="421750622" sldId="386"/>
        </pc:sldMkLst>
      </pc:sldChg>
      <pc:sldChg chg="addSp modSp add">
        <pc:chgData name="José Antonio Ureta Santacreu" userId="e36999d1-2b92-424a-9e8c-5fde0c5fbdd2" providerId="ADAL" clId="{7D8E3005-6D19-4F2A-9BE0-A2C92552758E}" dt="2024-07-30T09:07:28.100" v="619"/>
        <pc:sldMkLst>
          <pc:docMk/>
          <pc:sldMk cId="3606209477" sldId="386"/>
        </pc:sldMkLst>
        <pc:spChg chg="add mod">
          <ac:chgData name="José Antonio Ureta Santacreu" userId="e36999d1-2b92-424a-9e8c-5fde0c5fbdd2" providerId="ADAL" clId="{7D8E3005-6D19-4F2A-9BE0-A2C92552758E}" dt="2024-07-30T09:07:28.100" v="619"/>
          <ac:spMkLst>
            <pc:docMk/>
            <pc:sldMk cId="3606209477" sldId="386"/>
            <ac:spMk id="17" creationId="{7FE4A790-6465-053B-4231-9440DB87329B}"/>
          </ac:spMkLst>
        </pc:spChg>
      </pc:sldChg>
      <pc:sldChg chg="del">
        <pc:chgData name="José Antonio Ureta Santacreu" userId="e36999d1-2b92-424a-9e8c-5fde0c5fbdd2" providerId="ADAL" clId="{7D8E3005-6D19-4F2A-9BE0-A2C92552758E}" dt="2024-07-24T11:49:20.071" v="45" actId="47"/>
        <pc:sldMkLst>
          <pc:docMk/>
          <pc:sldMk cId="3759539183" sldId="400"/>
        </pc:sldMkLst>
      </pc:sldChg>
      <pc:sldChg chg="del">
        <pc:chgData name="José Antonio Ureta Santacreu" userId="e36999d1-2b92-424a-9e8c-5fde0c5fbdd2" providerId="ADAL" clId="{7D8E3005-6D19-4F2A-9BE0-A2C92552758E}" dt="2024-07-24T11:49:20.071" v="45" actId="47"/>
        <pc:sldMkLst>
          <pc:docMk/>
          <pc:sldMk cId="1696799541" sldId="404"/>
        </pc:sldMkLst>
      </pc:sldChg>
      <pc:sldChg chg="del">
        <pc:chgData name="José Antonio Ureta Santacreu" userId="e36999d1-2b92-424a-9e8c-5fde0c5fbdd2" providerId="ADAL" clId="{7D8E3005-6D19-4F2A-9BE0-A2C92552758E}" dt="2024-07-24T11:49:20.071" v="45" actId="47"/>
        <pc:sldMkLst>
          <pc:docMk/>
          <pc:sldMk cId="3498336680" sldId="405"/>
        </pc:sldMkLst>
      </pc:sldChg>
      <pc:sldChg chg="del">
        <pc:chgData name="José Antonio Ureta Santacreu" userId="e36999d1-2b92-424a-9e8c-5fde0c5fbdd2" providerId="ADAL" clId="{7D8E3005-6D19-4F2A-9BE0-A2C92552758E}" dt="2024-07-24T11:49:20.071" v="45" actId="47"/>
        <pc:sldMkLst>
          <pc:docMk/>
          <pc:sldMk cId="3009845874" sldId="408"/>
        </pc:sldMkLst>
      </pc:sldChg>
      <pc:sldChg chg="addSp modSp add">
        <pc:chgData name="José Antonio Ureta Santacreu" userId="e36999d1-2b92-424a-9e8c-5fde0c5fbdd2" providerId="ADAL" clId="{7D8E3005-6D19-4F2A-9BE0-A2C92552758E}" dt="2024-07-30T09:07:51.630" v="626"/>
        <pc:sldMkLst>
          <pc:docMk/>
          <pc:sldMk cId="1667298887" sldId="409"/>
        </pc:sldMkLst>
        <pc:spChg chg="add mod">
          <ac:chgData name="José Antonio Ureta Santacreu" userId="e36999d1-2b92-424a-9e8c-5fde0c5fbdd2" providerId="ADAL" clId="{7D8E3005-6D19-4F2A-9BE0-A2C92552758E}" dt="2024-07-30T09:07:51.630" v="626"/>
          <ac:spMkLst>
            <pc:docMk/>
            <pc:sldMk cId="1667298887" sldId="409"/>
            <ac:spMk id="5" creationId="{999ABDDE-B307-0D24-D81D-8B9E0AE92265}"/>
          </ac:spMkLst>
        </pc:spChg>
      </pc:sldChg>
      <pc:sldChg chg="del">
        <pc:chgData name="José Antonio Ureta Santacreu" userId="e36999d1-2b92-424a-9e8c-5fde0c5fbdd2" providerId="ADAL" clId="{7D8E3005-6D19-4F2A-9BE0-A2C92552758E}" dt="2024-07-24T11:49:31.510" v="46" actId="2696"/>
        <pc:sldMkLst>
          <pc:docMk/>
          <pc:sldMk cId="3762233155" sldId="409"/>
        </pc:sldMkLst>
      </pc:sldChg>
      <pc:sldChg chg="addSp modSp add mod modShow">
        <pc:chgData name="José Antonio Ureta Santacreu" userId="e36999d1-2b92-424a-9e8c-5fde0c5fbdd2" providerId="ADAL" clId="{7D8E3005-6D19-4F2A-9BE0-A2C92552758E}" dt="2024-07-30T09:07:48.454" v="625"/>
        <pc:sldMkLst>
          <pc:docMk/>
          <pc:sldMk cId="2896514759" sldId="410"/>
        </pc:sldMkLst>
        <pc:spChg chg="add mod">
          <ac:chgData name="José Antonio Ureta Santacreu" userId="e36999d1-2b92-424a-9e8c-5fde0c5fbdd2" providerId="ADAL" clId="{7D8E3005-6D19-4F2A-9BE0-A2C92552758E}" dt="2024-07-30T09:07:48.454" v="625"/>
          <ac:spMkLst>
            <pc:docMk/>
            <pc:sldMk cId="2896514759" sldId="410"/>
            <ac:spMk id="5" creationId="{A9C1DF24-C92F-CACC-4F34-E448EBCCABA1}"/>
          </ac:spMkLst>
        </pc:spChg>
      </pc:sldChg>
      <pc:sldChg chg="del">
        <pc:chgData name="José Antonio Ureta Santacreu" userId="e36999d1-2b92-424a-9e8c-5fde0c5fbdd2" providerId="ADAL" clId="{7D8E3005-6D19-4F2A-9BE0-A2C92552758E}" dt="2024-07-24T11:49:31.510" v="46" actId="2696"/>
        <pc:sldMkLst>
          <pc:docMk/>
          <pc:sldMk cId="4112470455" sldId="410"/>
        </pc:sldMkLst>
      </pc:sldChg>
      <pc:sldChg chg="del">
        <pc:chgData name="José Antonio Ureta Santacreu" userId="e36999d1-2b92-424a-9e8c-5fde0c5fbdd2" providerId="ADAL" clId="{7D8E3005-6D19-4F2A-9BE0-A2C92552758E}" dt="2024-07-24T11:49:20.071" v="45" actId="47"/>
        <pc:sldMkLst>
          <pc:docMk/>
          <pc:sldMk cId="602884094" sldId="415"/>
        </pc:sldMkLst>
      </pc:sldChg>
      <pc:sldChg chg="addSp modSp add">
        <pc:chgData name="José Antonio Ureta Santacreu" userId="e36999d1-2b92-424a-9e8c-5fde0c5fbdd2" providerId="ADAL" clId="{7D8E3005-6D19-4F2A-9BE0-A2C92552758E}" dt="2024-07-30T09:07:30.178" v="620"/>
        <pc:sldMkLst>
          <pc:docMk/>
          <pc:sldMk cId="2191854077" sldId="416"/>
        </pc:sldMkLst>
        <pc:spChg chg="add mod">
          <ac:chgData name="José Antonio Ureta Santacreu" userId="e36999d1-2b92-424a-9e8c-5fde0c5fbdd2" providerId="ADAL" clId="{7D8E3005-6D19-4F2A-9BE0-A2C92552758E}" dt="2024-07-30T09:07:30.178" v="620"/>
          <ac:spMkLst>
            <pc:docMk/>
            <pc:sldMk cId="2191854077" sldId="416"/>
            <ac:spMk id="2" creationId="{9FA3115A-82FE-E784-6232-35D6D9F7FD14}"/>
          </ac:spMkLst>
        </pc:spChg>
      </pc:sldChg>
      <pc:sldChg chg="del">
        <pc:chgData name="José Antonio Ureta Santacreu" userId="e36999d1-2b92-424a-9e8c-5fde0c5fbdd2" providerId="ADAL" clId="{7D8E3005-6D19-4F2A-9BE0-A2C92552758E}" dt="2024-07-24T11:48:31.235" v="43" actId="2696"/>
        <pc:sldMkLst>
          <pc:docMk/>
          <pc:sldMk cId="2751818114" sldId="416"/>
        </pc:sldMkLst>
      </pc:sldChg>
      <pc:sldChg chg="addSp modSp add">
        <pc:chgData name="José Antonio Ureta Santacreu" userId="e36999d1-2b92-424a-9e8c-5fde0c5fbdd2" providerId="ADAL" clId="{7D8E3005-6D19-4F2A-9BE0-A2C92552758E}" dt="2024-07-30T09:07:32.322" v="621"/>
        <pc:sldMkLst>
          <pc:docMk/>
          <pc:sldMk cId="1894293921" sldId="417"/>
        </pc:sldMkLst>
        <pc:spChg chg="add mod">
          <ac:chgData name="José Antonio Ureta Santacreu" userId="e36999d1-2b92-424a-9e8c-5fde0c5fbdd2" providerId="ADAL" clId="{7D8E3005-6D19-4F2A-9BE0-A2C92552758E}" dt="2024-07-30T09:07:32.322" v="621"/>
          <ac:spMkLst>
            <pc:docMk/>
            <pc:sldMk cId="1894293921" sldId="417"/>
            <ac:spMk id="2" creationId="{07FCF029-EAE0-48DF-EA67-92B9CA6CBD41}"/>
          </ac:spMkLst>
        </pc:spChg>
      </pc:sldChg>
      <pc:sldChg chg="del">
        <pc:chgData name="José Antonio Ureta Santacreu" userId="e36999d1-2b92-424a-9e8c-5fde0c5fbdd2" providerId="ADAL" clId="{7D8E3005-6D19-4F2A-9BE0-A2C92552758E}" dt="2024-07-24T11:48:31.235" v="43" actId="2696"/>
        <pc:sldMkLst>
          <pc:docMk/>
          <pc:sldMk cId="3791599659" sldId="417"/>
        </pc:sldMkLst>
      </pc:sldChg>
      <pc:sldChg chg="del">
        <pc:chgData name="José Antonio Ureta Santacreu" userId="e36999d1-2b92-424a-9e8c-5fde0c5fbdd2" providerId="ADAL" clId="{7D8E3005-6D19-4F2A-9BE0-A2C92552758E}" dt="2024-07-24T11:48:31.235" v="43" actId="2696"/>
        <pc:sldMkLst>
          <pc:docMk/>
          <pc:sldMk cId="2092086486" sldId="418"/>
        </pc:sldMkLst>
      </pc:sldChg>
      <pc:sldChg chg="addSp modSp add">
        <pc:chgData name="José Antonio Ureta Santacreu" userId="e36999d1-2b92-424a-9e8c-5fde0c5fbdd2" providerId="ADAL" clId="{7D8E3005-6D19-4F2A-9BE0-A2C92552758E}" dt="2024-07-30T09:07:34.192" v="622"/>
        <pc:sldMkLst>
          <pc:docMk/>
          <pc:sldMk cId="2809468302" sldId="418"/>
        </pc:sldMkLst>
        <pc:spChg chg="add mod">
          <ac:chgData name="José Antonio Ureta Santacreu" userId="e36999d1-2b92-424a-9e8c-5fde0c5fbdd2" providerId="ADAL" clId="{7D8E3005-6D19-4F2A-9BE0-A2C92552758E}" dt="2024-07-30T09:07:34.192" v="622"/>
          <ac:spMkLst>
            <pc:docMk/>
            <pc:sldMk cId="2809468302" sldId="418"/>
            <ac:spMk id="2" creationId="{5CE79899-B0D2-BB48-3AE7-408D4E8A55AA}"/>
          </ac:spMkLst>
        </pc:spChg>
      </pc:sldChg>
      <pc:sldChg chg="del">
        <pc:chgData name="José Antonio Ureta Santacreu" userId="e36999d1-2b92-424a-9e8c-5fde0c5fbdd2" providerId="ADAL" clId="{7D8E3005-6D19-4F2A-9BE0-A2C92552758E}" dt="2024-07-24T11:49:20.071" v="45" actId="47"/>
        <pc:sldMkLst>
          <pc:docMk/>
          <pc:sldMk cId="262441693" sldId="419"/>
        </pc:sldMkLst>
      </pc:sldChg>
      <pc:sldChg chg="del">
        <pc:chgData name="José Antonio Ureta Santacreu" userId="e36999d1-2b92-424a-9e8c-5fde0c5fbdd2" providerId="ADAL" clId="{7D8E3005-6D19-4F2A-9BE0-A2C92552758E}" dt="2024-07-24T11:49:20.071" v="45" actId="47"/>
        <pc:sldMkLst>
          <pc:docMk/>
          <pc:sldMk cId="2230747214" sldId="424"/>
        </pc:sldMkLst>
      </pc:sldChg>
      <pc:sldChg chg="del">
        <pc:chgData name="José Antonio Ureta Santacreu" userId="e36999d1-2b92-424a-9e8c-5fde0c5fbdd2" providerId="ADAL" clId="{7D8E3005-6D19-4F2A-9BE0-A2C92552758E}" dt="2024-07-24T11:49:20.071" v="45" actId="47"/>
        <pc:sldMkLst>
          <pc:docMk/>
          <pc:sldMk cId="3926749612" sldId="426"/>
        </pc:sldMkLst>
      </pc:sldChg>
      <pc:sldChg chg="add">
        <pc:chgData name="José Antonio Ureta Santacreu" userId="e36999d1-2b92-424a-9e8c-5fde0c5fbdd2" providerId="ADAL" clId="{7D8E3005-6D19-4F2A-9BE0-A2C92552758E}" dt="2024-09-05T10:26:04.575" v="4495"/>
        <pc:sldMkLst>
          <pc:docMk/>
          <pc:sldMk cId="28519167" sldId="676"/>
        </pc:sldMkLst>
      </pc:sldChg>
      <pc:sldChg chg="add del">
        <pc:chgData name="José Antonio Ureta Santacreu" userId="e36999d1-2b92-424a-9e8c-5fde0c5fbdd2" providerId="ADAL" clId="{7D8E3005-6D19-4F2A-9BE0-A2C92552758E}" dt="2024-09-05T10:25:45.805" v="4493" actId="2696"/>
        <pc:sldMkLst>
          <pc:docMk/>
          <pc:sldMk cId="94141248" sldId="676"/>
        </pc:sldMkLst>
      </pc:sldChg>
      <pc:sldChg chg="del mod modShow">
        <pc:chgData name="José Antonio Ureta Santacreu" userId="e36999d1-2b92-424a-9e8c-5fde0c5fbdd2" providerId="ADAL" clId="{7D8E3005-6D19-4F2A-9BE0-A2C92552758E}" dt="2024-07-30T09:43:27.158" v="971" actId="2696"/>
        <pc:sldMkLst>
          <pc:docMk/>
          <pc:sldMk cId="1799475109" sldId="676"/>
        </pc:sldMkLst>
      </pc:sldChg>
      <pc:sldChg chg="add">
        <pc:chgData name="José Antonio Ureta Santacreu" userId="e36999d1-2b92-424a-9e8c-5fde0c5fbdd2" providerId="ADAL" clId="{7D8E3005-6D19-4F2A-9BE0-A2C92552758E}" dt="2024-09-04T11:41:57.609" v="4283"/>
        <pc:sldMkLst>
          <pc:docMk/>
          <pc:sldMk cId="1998128338" sldId="677"/>
        </pc:sldMkLst>
      </pc:sldChg>
      <pc:sldChg chg="del">
        <pc:chgData name="José Antonio Ureta Santacreu" userId="e36999d1-2b92-424a-9e8c-5fde0c5fbdd2" providerId="ADAL" clId="{7D8E3005-6D19-4F2A-9BE0-A2C92552758E}" dt="2024-09-04T11:41:50.786" v="4282" actId="2696"/>
        <pc:sldMkLst>
          <pc:docMk/>
          <pc:sldMk cId="3316670370" sldId="677"/>
        </pc:sldMkLst>
      </pc:sldChg>
      <pc:sldChg chg="add">
        <pc:chgData name="José Antonio Ureta Santacreu" userId="e36999d1-2b92-424a-9e8c-5fde0c5fbdd2" providerId="ADAL" clId="{7D8E3005-6D19-4F2A-9BE0-A2C92552758E}" dt="2024-09-04T11:41:57.609" v="4283"/>
        <pc:sldMkLst>
          <pc:docMk/>
          <pc:sldMk cId="1772428257" sldId="678"/>
        </pc:sldMkLst>
      </pc:sldChg>
      <pc:sldChg chg="modSp del mod modAnim">
        <pc:chgData name="José Antonio Ureta Santacreu" userId="e36999d1-2b92-424a-9e8c-5fde0c5fbdd2" providerId="ADAL" clId="{7D8E3005-6D19-4F2A-9BE0-A2C92552758E}" dt="2024-09-04T11:41:50.786" v="4282" actId="2696"/>
        <pc:sldMkLst>
          <pc:docMk/>
          <pc:sldMk cId="2763957364" sldId="678"/>
        </pc:sldMkLst>
        <pc:spChg chg="mod">
          <ac:chgData name="José Antonio Ureta Santacreu" userId="e36999d1-2b92-424a-9e8c-5fde0c5fbdd2" providerId="ADAL" clId="{7D8E3005-6D19-4F2A-9BE0-A2C92552758E}" dt="2024-08-27T10:28:03.922" v="3661" actId="120"/>
          <ac:spMkLst>
            <pc:docMk/>
            <pc:sldMk cId="2763957364" sldId="678"/>
            <ac:spMk id="3" creationId="{8DB13E41-E569-7820-B474-1F37E060EE83}"/>
          </ac:spMkLst>
        </pc:spChg>
      </pc:sldChg>
      <pc:sldChg chg="modSp mod">
        <pc:chgData name="José Antonio Ureta Santacreu" userId="e36999d1-2b92-424a-9e8c-5fde0c5fbdd2" providerId="ADAL" clId="{7D8E3005-6D19-4F2A-9BE0-A2C92552758E}" dt="2024-09-19T09:21:45.190" v="4956" actId="27636"/>
        <pc:sldMkLst>
          <pc:docMk/>
          <pc:sldMk cId="1745182156" sldId="690"/>
        </pc:sldMkLst>
        <pc:spChg chg="mod">
          <ac:chgData name="José Antonio Ureta Santacreu" userId="e36999d1-2b92-424a-9e8c-5fde0c5fbdd2" providerId="ADAL" clId="{7D8E3005-6D19-4F2A-9BE0-A2C92552758E}" dt="2024-09-19T09:21:45.190" v="4955" actId="27636"/>
          <ac:spMkLst>
            <pc:docMk/>
            <pc:sldMk cId="1745182156" sldId="690"/>
            <ac:spMk id="5" creationId="{8DFF026E-BBE2-7161-CAEB-306305B7227D}"/>
          </ac:spMkLst>
        </pc:spChg>
        <pc:spChg chg="mod">
          <ac:chgData name="José Antonio Ureta Santacreu" userId="e36999d1-2b92-424a-9e8c-5fde0c5fbdd2" providerId="ADAL" clId="{7D8E3005-6D19-4F2A-9BE0-A2C92552758E}" dt="2024-09-19T09:21:45.190" v="4956" actId="27636"/>
          <ac:spMkLst>
            <pc:docMk/>
            <pc:sldMk cId="1745182156" sldId="690"/>
            <ac:spMk id="16" creationId="{60C9B8A9-0FD7-6A58-F14C-C55B95894FB8}"/>
          </ac:spMkLst>
        </pc:spChg>
      </pc:sldChg>
      <pc:sldChg chg="add del">
        <pc:chgData name="José Antonio Ureta Santacreu" userId="e36999d1-2b92-424a-9e8c-5fde0c5fbdd2" providerId="ADAL" clId="{7D8E3005-6D19-4F2A-9BE0-A2C92552758E}" dt="2024-09-05T10:23:15.207" v="4490" actId="47"/>
        <pc:sldMkLst>
          <pc:docMk/>
          <pc:sldMk cId="1850779092" sldId="717"/>
        </pc:sldMkLst>
      </pc:sldChg>
      <pc:sldChg chg="del">
        <pc:chgData name="José Antonio Ureta Santacreu" userId="e36999d1-2b92-424a-9e8c-5fde0c5fbdd2" providerId="ADAL" clId="{7D8E3005-6D19-4F2A-9BE0-A2C92552758E}" dt="2024-07-30T09:43:27.158" v="971" actId="2696"/>
        <pc:sldMkLst>
          <pc:docMk/>
          <pc:sldMk cId="2316903230" sldId="717"/>
        </pc:sldMkLst>
      </pc:sldChg>
      <pc:sldChg chg="modSp mod modShow">
        <pc:chgData name="José Antonio Ureta Santacreu" userId="e36999d1-2b92-424a-9e8c-5fde0c5fbdd2" providerId="ADAL" clId="{7D8E3005-6D19-4F2A-9BE0-A2C92552758E}" dt="2024-07-30T10:02:40.242" v="1022"/>
        <pc:sldMkLst>
          <pc:docMk/>
          <pc:sldMk cId="1635718964" sldId="725"/>
        </pc:sldMkLst>
        <pc:graphicFrameChg chg="mod">
          <ac:chgData name="José Antonio Ureta Santacreu" userId="e36999d1-2b92-424a-9e8c-5fde0c5fbdd2" providerId="ADAL" clId="{7D8E3005-6D19-4F2A-9BE0-A2C92552758E}" dt="2024-07-30T10:02:40.242" v="1022"/>
          <ac:graphicFrameMkLst>
            <pc:docMk/>
            <pc:sldMk cId="1635718964" sldId="725"/>
            <ac:graphicFrameMk id="4" creationId="{28622E48-EE8F-B995-6CA5-728703A082DA}"/>
          </ac:graphicFrameMkLst>
        </pc:graphicFrameChg>
      </pc:sldChg>
      <pc:sldChg chg="addSp delSp modSp mod ord modShow chgLayout">
        <pc:chgData name="José Antonio Ureta Santacreu" userId="e36999d1-2b92-424a-9e8c-5fde0c5fbdd2" providerId="ADAL" clId="{7D8E3005-6D19-4F2A-9BE0-A2C92552758E}" dt="2024-07-30T11:29:08.127" v="2124" actId="6264"/>
        <pc:sldMkLst>
          <pc:docMk/>
          <pc:sldMk cId="2812849270" sldId="733"/>
        </pc:sldMkLst>
        <pc:spChg chg="mod ord">
          <ac:chgData name="José Antonio Ureta Santacreu" userId="e36999d1-2b92-424a-9e8c-5fde0c5fbdd2" providerId="ADAL" clId="{7D8E3005-6D19-4F2A-9BE0-A2C92552758E}" dt="2024-07-30T11:29:08.127" v="2124" actId="6264"/>
          <ac:spMkLst>
            <pc:docMk/>
            <pc:sldMk cId="2812849270" sldId="733"/>
            <ac:spMk id="2" creationId="{14821783-DAC9-AA6A-B399-EE346F068A4E}"/>
          </ac:spMkLst>
        </pc:spChg>
        <pc:spChg chg="mod ord">
          <ac:chgData name="José Antonio Ureta Santacreu" userId="e36999d1-2b92-424a-9e8c-5fde0c5fbdd2" providerId="ADAL" clId="{7D8E3005-6D19-4F2A-9BE0-A2C92552758E}" dt="2024-07-30T11:29:08.127" v="2124" actId="6264"/>
          <ac:spMkLst>
            <pc:docMk/>
            <pc:sldMk cId="2812849270" sldId="733"/>
            <ac:spMk id="3" creationId="{DBE2C884-0009-3533-9791-0CC5C80BD735}"/>
          </ac:spMkLst>
        </pc:spChg>
        <pc:spChg chg="mod ord">
          <ac:chgData name="José Antonio Ureta Santacreu" userId="e36999d1-2b92-424a-9e8c-5fde0c5fbdd2" providerId="ADAL" clId="{7D8E3005-6D19-4F2A-9BE0-A2C92552758E}" dt="2024-07-30T11:29:08.127" v="2124" actId="6264"/>
          <ac:spMkLst>
            <pc:docMk/>
            <pc:sldMk cId="2812849270" sldId="733"/>
            <ac:spMk id="4" creationId="{F223BC60-759C-EB60-4B8C-16F516E2622F}"/>
          </ac:spMkLst>
        </pc:spChg>
        <pc:spChg chg="mod ord">
          <ac:chgData name="José Antonio Ureta Santacreu" userId="e36999d1-2b92-424a-9e8c-5fde0c5fbdd2" providerId="ADAL" clId="{7D8E3005-6D19-4F2A-9BE0-A2C92552758E}" dt="2024-07-30T11:29:08.127" v="2124" actId="6264"/>
          <ac:spMkLst>
            <pc:docMk/>
            <pc:sldMk cId="2812849270" sldId="733"/>
            <ac:spMk id="5" creationId="{D1E6C8BB-FBCE-8E50-EECA-7B0BC392A91B}"/>
          </ac:spMkLst>
        </pc:spChg>
        <pc:spChg chg="add del mod">
          <ac:chgData name="José Antonio Ureta Santacreu" userId="e36999d1-2b92-424a-9e8c-5fde0c5fbdd2" providerId="ADAL" clId="{7D8E3005-6D19-4F2A-9BE0-A2C92552758E}" dt="2024-07-30T11:29:08.127" v="2124" actId="6264"/>
          <ac:spMkLst>
            <pc:docMk/>
            <pc:sldMk cId="2812849270" sldId="733"/>
            <ac:spMk id="6" creationId="{1043C5E9-D061-64FC-81E5-3D5F5DB45D22}"/>
          </ac:spMkLst>
        </pc:spChg>
        <pc:spChg chg="add del mod">
          <ac:chgData name="José Antonio Ureta Santacreu" userId="e36999d1-2b92-424a-9e8c-5fde0c5fbdd2" providerId="ADAL" clId="{7D8E3005-6D19-4F2A-9BE0-A2C92552758E}" dt="2024-07-30T11:29:08.127" v="2124" actId="6264"/>
          <ac:spMkLst>
            <pc:docMk/>
            <pc:sldMk cId="2812849270" sldId="733"/>
            <ac:spMk id="8" creationId="{5750EC88-4810-8E98-43AE-5F3E744DFF08}"/>
          </ac:spMkLst>
        </pc:spChg>
        <pc:spChg chg="add del mod">
          <ac:chgData name="José Antonio Ureta Santacreu" userId="e36999d1-2b92-424a-9e8c-5fde0c5fbdd2" providerId="ADAL" clId="{7D8E3005-6D19-4F2A-9BE0-A2C92552758E}" dt="2024-07-30T11:29:08.127" v="2124" actId="6264"/>
          <ac:spMkLst>
            <pc:docMk/>
            <pc:sldMk cId="2812849270" sldId="733"/>
            <ac:spMk id="9" creationId="{E394C2CE-1C6A-A914-DE74-D1FE5D7D2181}"/>
          </ac:spMkLst>
        </pc:spChg>
        <pc:spChg chg="add del mod">
          <ac:chgData name="José Antonio Ureta Santacreu" userId="e36999d1-2b92-424a-9e8c-5fde0c5fbdd2" providerId="ADAL" clId="{7D8E3005-6D19-4F2A-9BE0-A2C92552758E}" dt="2024-07-30T11:29:08.127" v="2124" actId="6264"/>
          <ac:spMkLst>
            <pc:docMk/>
            <pc:sldMk cId="2812849270" sldId="733"/>
            <ac:spMk id="10" creationId="{EB05E8CA-CD09-8DE0-63BC-FF874173F00D}"/>
          </ac:spMkLst>
        </pc:spChg>
      </pc:sldChg>
      <pc:sldChg chg="modSp mod ord modShow">
        <pc:chgData name="José Antonio Ureta Santacreu" userId="e36999d1-2b92-424a-9e8c-5fde0c5fbdd2" providerId="ADAL" clId="{7D8E3005-6D19-4F2A-9BE0-A2C92552758E}" dt="2024-07-30T11:28:21.861" v="2121"/>
        <pc:sldMkLst>
          <pc:docMk/>
          <pc:sldMk cId="2878506573" sldId="737"/>
        </pc:sldMkLst>
        <pc:graphicFrameChg chg="mod modGraphic">
          <ac:chgData name="José Antonio Ureta Santacreu" userId="e36999d1-2b92-424a-9e8c-5fde0c5fbdd2" providerId="ADAL" clId="{7D8E3005-6D19-4F2A-9BE0-A2C92552758E}" dt="2024-07-30T10:38:06.843" v="1837"/>
          <ac:graphicFrameMkLst>
            <pc:docMk/>
            <pc:sldMk cId="2878506573" sldId="737"/>
            <ac:graphicFrameMk id="3" creationId="{B7F255F8-DAF9-D615-8345-B8C4A416172E}"/>
          </ac:graphicFrameMkLst>
        </pc:graphicFrameChg>
        <pc:graphicFrameChg chg="modGraphic">
          <ac:chgData name="José Antonio Ureta Santacreu" userId="e36999d1-2b92-424a-9e8c-5fde0c5fbdd2" providerId="ADAL" clId="{7D8E3005-6D19-4F2A-9BE0-A2C92552758E}" dt="2024-07-30T10:38:25.485" v="1838" actId="12385"/>
          <ac:graphicFrameMkLst>
            <pc:docMk/>
            <pc:sldMk cId="2878506573" sldId="737"/>
            <ac:graphicFrameMk id="4" creationId="{069EB552-01C5-ED04-473F-D6711BAAB308}"/>
          </ac:graphicFrameMkLst>
        </pc:graphicFrameChg>
      </pc:sldChg>
      <pc:sldChg chg="mod modShow">
        <pc:chgData name="José Antonio Ureta Santacreu" userId="e36999d1-2b92-424a-9e8c-5fde0c5fbdd2" providerId="ADAL" clId="{7D8E3005-6D19-4F2A-9BE0-A2C92552758E}" dt="2024-07-30T10:37:11.246" v="1832" actId="729"/>
        <pc:sldMkLst>
          <pc:docMk/>
          <pc:sldMk cId="2597676834" sldId="741"/>
        </pc:sldMkLst>
      </pc:sldChg>
      <pc:sldChg chg="modSp mod ord modShow">
        <pc:chgData name="José Antonio Ureta Santacreu" userId="e36999d1-2b92-424a-9e8c-5fde0c5fbdd2" providerId="ADAL" clId="{7D8E3005-6D19-4F2A-9BE0-A2C92552758E}" dt="2024-09-19T09:21:45.380" v="4967" actId="27636"/>
        <pc:sldMkLst>
          <pc:docMk/>
          <pc:sldMk cId="3954050567" sldId="742"/>
        </pc:sldMkLst>
        <pc:spChg chg="mod">
          <ac:chgData name="José Antonio Ureta Santacreu" userId="e36999d1-2b92-424a-9e8c-5fde0c5fbdd2" providerId="ADAL" clId="{7D8E3005-6D19-4F2A-9BE0-A2C92552758E}" dt="2024-09-19T09:21:45.380" v="4967" actId="27636"/>
          <ac:spMkLst>
            <pc:docMk/>
            <pc:sldMk cId="3954050567" sldId="742"/>
            <ac:spMk id="14" creationId="{18CBF352-2905-6D4C-C672-82020C40D4E0}"/>
          </ac:spMkLst>
        </pc:spChg>
      </pc:sldChg>
      <pc:sldChg chg="modSp mod">
        <pc:chgData name="José Antonio Ureta Santacreu" userId="e36999d1-2b92-424a-9e8c-5fde0c5fbdd2" providerId="ADAL" clId="{7D8E3005-6D19-4F2A-9BE0-A2C92552758E}" dt="2024-09-19T09:21:45.152" v="4952" actId="27636"/>
        <pc:sldMkLst>
          <pc:docMk/>
          <pc:sldMk cId="1430510902" sldId="745"/>
        </pc:sldMkLst>
        <pc:spChg chg="mod">
          <ac:chgData name="José Antonio Ureta Santacreu" userId="e36999d1-2b92-424a-9e8c-5fde0c5fbdd2" providerId="ADAL" clId="{7D8E3005-6D19-4F2A-9BE0-A2C92552758E}" dt="2024-09-19T09:21:45.145" v="4951" actId="27636"/>
          <ac:spMkLst>
            <pc:docMk/>
            <pc:sldMk cId="1430510902" sldId="745"/>
            <ac:spMk id="5" creationId="{4347F63F-C5FB-67C0-F4CF-E10779682225}"/>
          </ac:spMkLst>
        </pc:spChg>
        <pc:spChg chg="mod">
          <ac:chgData name="José Antonio Ureta Santacreu" userId="e36999d1-2b92-424a-9e8c-5fde0c5fbdd2" providerId="ADAL" clId="{7D8E3005-6D19-4F2A-9BE0-A2C92552758E}" dt="2024-09-19T09:21:45.152" v="4952" actId="27636"/>
          <ac:spMkLst>
            <pc:docMk/>
            <pc:sldMk cId="1430510902" sldId="745"/>
            <ac:spMk id="12" creationId="{FF6983F0-FD2B-DA91-CC61-2FB78535C321}"/>
          </ac:spMkLst>
        </pc:spChg>
      </pc:sldChg>
      <pc:sldChg chg="modSp mod">
        <pc:chgData name="José Antonio Ureta Santacreu" userId="e36999d1-2b92-424a-9e8c-5fde0c5fbdd2" providerId="ADAL" clId="{7D8E3005-6D19-4F2A-9BE0-A2C92552758E}" dt="2024-09-19T09:21:45.163" v="4953" actId="27636"/>
        <pc:sldMkLst>
          <pc:docMk/>
          <pc:sldMk cId="1268529493" sldId="761"/>
        </pc:sldMkLst>
        <pc:spChg chg="mod">
          <ac:chgData name="José Antonio Ureta Santacreu" userId="e36999d1-2b92-424a-9e8c-5fde0c5fbdd2" providerId="ADAL" clId="{7D8E3005-6D19-4F2A-9BE0-A2C92552758E}" dt="2024-09-19T09:21:45.163" v="4953" actId="27636"/>
          <ac:spMkLst>
            <pc:docMk/>
            <pc:sldMk cId="1268529493" sldId="761"/>
            <ac:spMk id="5" creationId="{98699CCE-A51B-9CDC-0AF0-A046F78AC702}"/>
          </ac:spMkLst>
        </pc:spChg>
      </pc:sldChg>
      <pc:sldChg chg="addSp delSp modSp mod">
        <pc:chgData name="José Antonio Ureta Santacreu" userId="e36999d1-2b92-424a-9e8c-5fde0c5fbdd2" providerId="ADAL" clId="{7D8E3005-6D19-4F2A-9BE0-A2C92552758E}" dt="2024-09-19T09:21:45.180" v="4954" actId="27636"/>
        <pc:sldMkLst>
          <pc:docMk/>
          <pc:sldMk cId="2280314011" sldId="764"/>
        </pc:sldMkLst>
        <pc:spChg chg="add mod">
          <ac:chgData name="José Antonio Ureta Santacreu" userId="e36999d1-2b92-424a-9e8c-5fde0c5fbdd2" providerId="ADAL" clId="{7D8E3005-6D19-4F2A-9BE0-A2C92552758E}" dt="2024-08-27T10:46:15.718" v="3799" actId="478"/>
          <ac:spMkLst>
            <pc:docMk/>
            <pc:sldMk cId="2280314011" sldId="764"/>
            <ac:spMk id="4" creationId="{50BC2D40-76ED-0723-867D-B72B08451015}"/>
          </ac:spMkLst>
        </pc:spChg>
        <pc:spChg chg="del mod">
          <ac:chgData name="José Antonio Ureta Santacreu" userId="e36999d1-2b92-424a-9e8c-5fde0c5fbdd2" providerId="ADAL" clId="{7D8E3005-6D19-4F2A-9BE0-A2C92552758E}" dt="2024-08-27T10:44:36.282" v="3763" actId="478"/>
          <ac:spMkLst>
            <pc:docMk/>
            <pc:sldMk cId="2280314011" sldId="764"/>
            <ac:spMk id="5" creationId="{F93EBF61-7F72-04A2-3569-332BC2D74F71}"/>
          </ac:spMkLst>
        </pc:spChg>
        <pc:spChg chg="mod">
          <ac:chgData name="José Antonio Ureta Santacreu" userId="e36999d1-2b92-424a-9e8c-5fde0c5fbdd2" providerId="ADAL" clId="{7D8E3005-6D19-4F2A-9BE0-A2C92552758E}" dt="2024-09-19T09:21:45.180" v="4954" actId="27636"/>
          <ac:spMkLst>
            <pc:docMk/>
            <pc:sldMk cId="2280314011" sldId="764"/>
            <ac:spMk id="8" creationId="{3D165ED8-A38F-47F1-556E-6C0D61FAD121}"/>
          </ac:spMkLst>
        </pc:spChg>
        <pc:spChg chg="del mod">
          <ac:chgData name="José Antonio Ureta Santacreu" userId="e36999d1-2b92-424a-9e8c-5fde0c5fbdd2" providerId="ADAL" clId="{7D8E3005-6D19-4F2A-9BE0-A2C92552758E}" dt="2024-08-27T10:46:13.988" v="3798" actId="478"/>
          <ac:spMkLst>
            <pc:docMk/>
            <pc:sldMk cId="2280314011" sldId="764"/>
            <ac:spMk id="11" creationId="{A980FFEC-AA72-9DE4-26F6-B7822ABC60D7}"/>
          </ac:spMkLst>
        </pc:spChg>
        <pc:picChg chg="del mod">
          <ac:chgData name="José Antonio Ureta Santacreu" userId="e36999d1-2b92-424a-9e8c-5fde0c5fbdd2" providerId="ADAL" clId="{7D8E3005-6D19-4F2A-9BE0-A2C92552758E}" dt="2024-08-27T10:46:15.718" v="3799" actId="478"/>
          <ac:picMkLst>
            <pc:docMk/>
            <pc:sldMk cId="2280314011" sldId="764"/>
            <ac:picMk id="28" creationId="{E33A0E2F-E494-89F2-1E93-A780DCFB0C2E}"/>
          </ac:picMkLst>
        </pc:picChg>
        <pc:picChg chg="add mod">
          <ac:chgData name="José Antonio Ureta Santacreu" userId="e36999d1-2b92-424a-9e8c-5fde0c5fbdd2" providerId="ADAL" clId="{7D8E3005-6D19-4F2A-9BE0-A2C92552758E}" dt="2024-08-27T10:46:32.718" v="3822" actId="1038"/>
          <ac:picMkLst>
            <pc:docMk/>
            <pc:sldMk cId="2280314011" sldId="764"/>
            <ac:picMk id="2050" creationId="{28C91561-A2A6-4865-6162-22C84E0D4198}"/>
          </ac:picMkLst>
        </pc:picChg>
      </pc:sldChg>
      <pc:sldChg chg="modSp mod">
        <pc:chgData name="José Antonio Ureta Santacreu" userId="e36999d1-2b92-424a-9e8c-5fde0c5fbdd2" providerId="ADAL" clId="{7D8E3005-6D19-4F2A-9BE0-A2C92552758E}" dt="2024-09-19T09:21:45.222" v="4957" actId="27636"/>
        <pc:sldMkLst>
          <pc:docMk/>
          <pc:sldMk cId="1032194021" sldId="766"/>
        </pc:sldMkLst>
        <pc:spChg chg="mod">
          <ac:chgData name="José Antonio Ureta Santacreu" userId="e36999d1-2b92-424a-9e8c-5fde0c5fbdd2" providerId="ADAL" clId="{7D8E3005-6D19-4F2A-9BE0-A2C92552758E}" dt="2024-09-19T09:21:45.222" v="4957" actId="27636"/>
          <ac:spMkLst>
            <pc:docMk/>
            <pc:sldMk cId="1032194021" sldId="766"/>
            <ac:spMk id="3" creationId="{9AF57B93-0631-EE65-9C56-DE3187C27FF8}"/>
          </ac:spMkLst>
        </pc:spChg>
      </pc:sldChg>
      <pc:sldChg chg="addSp modSp">
        <pc:chgData name="José Antonio Ureta Santacreu" userId="e36999d1-2b92-424a-9e8c-5fde0c5fbdd2" providerId="ADAL" clId="{7D8E3005-6D19-4F2A-9BE0-A2C92552758E}" dt="2024-08-27T10:32:55.637" v="3693" actId="20577"/>
        <pc:sldMkLst>
          <pc:docMk/>
          <pc:sldMk cId="423743977" sldId="777"/>
        </pc:sldMkLst>
        <pc:graphicFrameChg chg="mod">
          <ac:chgData name="José Antonio Ureta Santacreu" userId="e36999d1-2b92-424a-9e8c-5fde0c5fbdd2" providerId="ADAL" clId="{7D8E3005-6D19-4F2A-9BE0-A2C92552758E}" dt="2024-08-27T10:32:55.637" v="3693" actId="20577"/>
          <ac:graphicFrameMkLst>
            <pc:docMk/>
            <pc:sldMk cId="423743977" sldId="777"/>
            <ac:graphicFrameMk id="8" creationId="{D7549FD1-A48D-4E13-9A3B-B66A61553C5B}"/>
          </ac:graphicFrameMkLst>
        </pc:graphicFrameChg>
        <pc:picChg chg="add mod">
          <ac:chgData name="José Antonio Ureta Santacreu" userId="e36999d1-2b92-424a-9e8c-5fde0c5fbdd2" providerId="ADAL" clId="{7D8E3005-6D19-4F2A-9BE0-A2C92552758E}" dt="2024-08-27T10:31:28.590" v="3667" actId="1076"/>
          <ac:picMkLst>
            <pc:docMk/>
            <pc:sldMk cId="423743977" sldId="777"/>
            <ac:picMk id="1026" creationId="{B4B81878-2CC3-7FD1-47B3-15B613E961EE}"/>
          </ac:picMkLst>
        </pc:picChg>
      </pc:sldChg>
      <pc:sldChg chg="modSp del mod">
        <pc:chgData name="José Antonio Ureta Santacreu" userId="e36999d1-2b92-424a-9e8c-5fde0c5fbdd2" providerId="ADAL" clId="{7D8E3005-6D19-4F2A-9BE0-A2C92552758E}" dt="2024-08-27T10:42:05.882" v="3719" actId="47"/>
        <pc:sldMkLst>
          <pc:docMk/>
          <pc:sldMk cId="3029041876" sldId="788"/>
        </pc:sldMkLst>
        <pc:spChg chg="mod">
          <ac:chgData name="José Antonio Ureta Santacreu" userId="e36999d1-2b92-424a-9e8c-5fde0c5fbdd2" providerId="ADAL" clId="{7D8E3005-6D19-4F2A-9BE0-A2C92552758E}" dt="2024-08-27T10:42:03.307" v="3718" actId="21"/>
          <ac:spMkLst>
            <pc:docMk/>
            <pc:sldMk cId="3029041876" sldId="788"/>
            <ac:spMk id="6" creationId="{24E4D20B-2AD1-F379-730A-4A0A98329F75}"/>
          </ac:spMkLst>
        </pc:spChg>
      </pc:sldChg>
      <pc:sldChg chg="addSp modSp add mod ord">
        <pc:chgData name="José Antonio Ureta Santacreu" userId="e36999d1-2b92-424a-9e8c-5fde0c5fbdd2" providerId="ADAL" clId="{7D8E3005-6D19-4F2A-9BE0-A2C92552758E}" dt="2024-09-05T10:56:04.778" v="4884" actId="1037"/>
        <pc:sldMkLst>
          <pc:docMk/>
          <pc:sldMk cId="1489756189" sldId="808"/>
        </pc:sldMkLst>
        <pc:spChg chg="mod">
          <ac:chgData name="José Antonio Ureta Santacreu" userId="e36999d1-2b92-424a-9e8c-5fde0c5fbdd2" providerId="ADAL" clId="{7D8E3005-6D19-4F2A-9BE0-A2C92552758E}" dt="2024-09-05T10:42:00.366" v="4552" actId="20577"/>
          <ac:spMkLst>
            <pc:docMk/>
            <pc:sldMk cId="1489756189" sldId="808"/>
            <ac:spMk id="2" creationId="{C9033118-05A9-4E4F-B014-7A03D1E0808A}"/>
          </ac:spMkLst>
        </pc:spChg>
        <pc:spChg chg="add mod ord">
          <ac:chgData name="José Antonio Ureta Santacreu" userId="e36999d1-2b92-424a-9e8c-5fde0c5fbdd2" providerId="ADAL" clId="{7D8E3005-6D19-4F2A-9BE0-A2C92552758E}" dt="2024-09-05T10:56:04.778" v="4884" actId="1037"/>
          <ac:spMkLst>
            <pc:docMk/>
            <pc:sldMk cId="1489756189" sldId="808"/>
            <ac:spMk id="7" creationId="{58788161-8C7C-7885-7B29-A1DD5CF31D20}"/>
          </ac:spMkLst>
        </pc:spChg>
        <pc:graphicFrameChg chg="mod modGraphic">
          <ac:chgData name="José Antonio Ureta Santacreu" userId="e36999d1-2b92-424a-9e8c-5fde0c5fbdd2" providerId="ADAL" clId="{7D8E3005-6D19-4F2A-9BE0-A2C92552758E}" dt="2024-09-05T10:54:55.804" v="4857" actId="108"/>
          <ac:graphicFrameMkLst>
            <pc:docMk/>
            <pc:sldMk cId="1489756189" sldId="808"/>
            <ac:graphicFrameMk id="6" creationId="{40388320-3B80-4F4A-A148-59BC718279AC}"/>
          </ac:graphicFrameMkLst>
        </pc:graphicFrameChg>
      </pc:sldChg>
      <pc:sldChg chg="add del">
        <pc:chgData name="José Antonio Ureta Santacreu" userId="e36999d1-2b92-424a-9e8c-5fde0c5fbdd2" providerId="ADAL" clId="{7D8E3005-6D19-4F2A-9BE0-A2C92552758E}" dt="2024-09-05T10:22:39.431" v="4488" actId="2696"/>
        <pc:sldMkLst>
          <pc:docMk/>
          <pc:sldMk cId="2866860631" sldId="808"/>
        </pc:sldMkLst>
      </pc:sldChg>
      <pc:sldChg chg="modSp del mod modShow">
        <pc:chgData name="José Antonio Ureta Santacreu" userId="e36999d1-2b92-424a-9e8c-5fde0c5fbdd2" providerId="ADAL" clId="{7D8E3005-6D19-4F2A-9BE0-A2C92552758E}" dt="2024-07-30T09:43:27.158" v="971" actId="2696"/>
        <pc:sldMkLst>
          <pc:docMk/>
          <pc:sldMk cId="3147883218" sldId="808"/>
        </pc:sldMkLst>
        <pc:spChg chg="mod">
          <ac:chgData name="José Antonio Ureta Santacreu" userId="e36999d1-2b92-424a-9e8c-5fde0c5fbdd2" providerId="ADAL" clId="{7D8E3005-6D19-4F2A-9BE0-A2C92552758E}" dt="2024-07-30T09:39:14.421" v="952" actId="20577"/>
          <ac:spMkLst>
            <pc:docMk/>
            <pc:sldMk cId="3147883218" sldId="808"/>
            <ac:spMk id="2" creationId="{C9033118-05A9-4E4F-B014-7A03D1E0808A}"/>
          </ac:spMkLst>
        </pc:spChg>
        <pc:graphicFrameChg chg="mod">
          <ac:chgData name="José Antonio Ureta Santacreu" userId="e36999d1-2b92-424a-9e8c-5fde0c5fbdd2" providerId="ADAL" clId="{7D8E3005-6D19-4F2A-9BE0-A2C92552758E}" dt="2024-07-30T09:40:25.779" v="967" actId="20577"/>
          <ac:graphicFrameMkLst>
            <pc:docMk/>
            <pc:sldMk cId="3147883218" sldId="808"/>
            <ac:graphicFrameMk id="6" creationId="{40388320-3B80-4F4A-A148-59BC718279AC}"/>
          </ac:graphicFrameMkLst>
        </pc:graphicFrameChg>
      </pc:sldChg>
      <pc:sldChg chg="mod modShow">
        <pc:chgData name="José Antonio Ureta Santacreu" userId="e36999d1-2b92-424a-9e8c-5fde0c5fbdd2" providerId="ADAL" clId="{7D8E3005-6D19-4F2A-9BE0-A2C92552758E}" dt="2024-07-30T09:32:44.837" v="801" actId="729"/>
        <pc:sldMkLst>
          <pc:docMk/>
          <pc:sldMk cId="3324387772" sldId="815"/>
        </pc:sldMkLst>
      </pc:sldChg>
      <pc:sldChg chg="addSp delSp modSp mod modShow">
        <pc:chgData name="José Antonio Ureta Santacreu" userId="e36999d1-2b92-424a-9e8c-5fde0c5fbdd2" providerId="ADAL" clId="{7D8E3005-6D19-4F2A-9BE0-A2C92552758E}" dt="2024-07-29T11:46:46.193" v="502" actId="20577"/>
        <pc:sldMkLst>
          <pc:docMk/>
          <pc:sldMk cId="731926037" sldId="817"/>
        </pc:sldMkLst>
        <pc:spChg chg="mod">
          <ac:chgData name="José Antonio Ureta Santacreu" userId="e36999d1-2b92-424a-9e8c-5fde0c5fbdd2" providerId="ADAL" clId="{7D8E3005-6D19-4F2A-9BE0-A2C92552758E}" dt="2024-07-29T11:46:46.193" v="502" actId="20577"/>
          <ac:spMkLst>
            <pc:docMk/>
            <pc:sldMk cId="731926037" sldId="817"/>
            <ac:spMk id="4" creationId="{AF94EA36-A084-4BEE-B7BD-D9321D635E99}"/>
          </ac:spMkLst>
        </pc:spChg>
        <pc:spChg chg="add mod">
          <ac:chgData name="José Antonio Ureta Santacreu" userId="e36999d1-2b92-424a-9e8c-5fde0c5fbdd2" providerId="ADAL" clId="{7D8E3005-6D19-4F2A-9BE0-A2C92552758E}" dt="2024-07-29T11:46:38.930" v="486" actId="1076"/>
          <ac:spMkLst>
            <pc:docMk/>
            <pc:sldMk cId="731926037" sldId="817"/>
            <ac:spMk id="8" creationId="{5A6DD2E4-462E-BE1D-CC2F-3A6A2059D884}"/>
          </ac:spMkLst>
        </pc:spChg>
        <pc:picChg chg="add mod">
          <ac:chgData name="José Antonio Ureta Santacreu" userId="e36999d1-2b92-424a-9e8c-5fde0c5fbdd2" providerId="ADAL" clId="{7D8E3005-6D19-4F2A-9BE0-A2C92552758E}" dt="2024-07-29T11:46:21.310" v="483" actId="1076"/>
          <ac:picMkLst>
            <pc:docMk/>
            <pc:sldMk cId="731926037" sldId="817"/>
            <ac:picMk id="7" creationId="{77955F36-6B12-A4D0-9B6B-55C62729ACD4}"/>
          </ac:picMkLst>
        </pc:picChg>
        <pc:picChg chg="del">
          <ac:chgData name="José Antonio Ureta Santacreu" userId="e36999d1-2b92-424a-9e8c-5fde0c5fbdd2" providerId="ADAL" clId="{7D8E3005-6D19-4F2A-9BE0-A2C92552758E}" dt="2024-07-29T11:45:17.198" v="477" actId="478"/>
          <ac:picMkLst>
            <pc:docMk/>
            <pc:sldMk cId="731926037" sldId="817"/>
            <ac:picMk id="1026" creationId="{54FBAA44-6745-4392-B646-C8556043F05C}"/>
          </ac:picMkLst>
        </pc:picChg>
      </pc:sldChg>
      <pc:sldChg chg="mod modShow">
        <pc:chgData name="José Antonio Ureta Santacreu" userId="e36999d1-2b92-424a-9e8c-5fde0c5fbdd2" providerId="ADAL" clId="{7D8E3005-6D19-4F2A-9BE0-A2C92552758E}" dt="2024-07-30T09:29:23.795" v="798" actId="729"/>
        <pc:sldMkLst>
          <pc:docMk/>
          <pc:sldMk cId="1749019545" sldId="821"/>
        </pc:sldMkLst>
      </pc:sldChg>
      <pc:sldChg chg="del">
        <pc:chgData name="José Antonio Ureta Santacreu" userId="e36999d1-2b92-424a-9e8c-5fde0c5fbdd2" providerId="ADAL" clId="{7D8E3005-6D19-4F2A-9BE0-A2C92552758E}" dt="2024-07-24T11:46:44.710" v="40" actId="47"/>
        <pc:sldMkLst>
          <pc:docMk/>
          <pc:sldMk cId="2315148979" sldId="822"/>
        </pc:sldMkLst>
      </pc:sldChg>
      <pc:sldChg chg="modSp">
        <pc:chgData name="José Antonio Ureta Santacreu" userId="e36999d1-2b92-424a-9e8c-5fde0c5fbdd2" providerId="ADAL" clId="{7D8E3005-6D19-4F2A-9BE0-A2C92552758E}" dt="2024-08-27T10:53:09.853" v="3857" actId="12100"/>
        <pc:sldMkLst>
          <pc:docMk/>
          <pc:sldMk cId="3220129292" sldId="823"/>
        </pc:sldMkLst>
        <pc:graphicFrameChg chg="mod">
          <ac:chgData name="José Antonio Ureta Santacreu" userId="e36999d1-2b92-424a-9e8c-5fde0c5fbdd2" providerId="ADAL" clId="{7D8E3005-6D19-4F2A-9BE0-A2C92552758E}" dt="2024-08-27T10:53:09.853" v="3857" actId="12100"/>
          <ac:graphicFrameMkLst>
            <pc:docMk/>
            <pc:sldMk cId="3220129292" sldId="823"/>
            <ac:graphicFrameMk id="10" creationId="{4B6D2A57-68C7-126D-8B00-7454FDF16774}"/>
          </ac:graphicFrameMkLst>
        </pc:graphicFrameChg>
      </pc:sldChg>
      <pc:sldChg chg="addSp delSp modSp mod modShow">
        <pc:chgData name="José Antonio Ureta Santacreu" userId="e36999d1-2b92-424a-9e8c-5fde0c5fbdd2" providerId="ADAL" clId="{7D8E3005-6D19-4F2A-9BE0-A2C92552758E}" dt="2024-07-29T11:30:46.794" v="158" actId="729"/>
        <pc:sldMkLst>
          <pc:docMk/>
          <pc:sldMk cId="910368630" sldId="830"/>
        </pc:sldMkLst>
        <pc:spChg chg="mod">
          <ac:chgData name="José Antonio Ureta Santacreu" userId="e36999d1-2b92-424a-9e8c-5fde0c5fbdd2" providerId="ADAL" clId="{7D8E3005-6D19-4F2A-9BE0-A2C92552758E}" dt="2024-07-24T11:44:10.791" v="24" actId="20577"/>
          <ac:spMkLst>
            <pc:docMk/>
            <pc:sldMk cId="910368630" sldId="830"/>
            <ac:spMk id="2" creationId="{D37B7C85-7FF9-41AA-8627-92B3DACD70DC}"/>
          </ac:spMkLst>
        </pc:spChg>
        <pc:spChg chg="mod">
          <ac:chgData name="José Antonio Ureta Santacreu" userId="e36999d1-2b92-424a-9e8c-5fde0c5fbdd2" providerId="ADAL" clId="{7D8E3005-6D19-4F2A-9BE0-A2C92552758E}" dt="2024-07-24T11:46:01.629" v="35" actId="207"/>
          <ac:spMkLst>
            <pc:docMk/>
            <pc:sldMk cId="910368630" sldId="830"/>
            <ac:spMk id="6" creationId="{0A8B5E65-E1CE-431E-94CB-7B857E8401BD}"/>
          </ac:spMkLst>
        </pc:spChg>
        <pc:spChg chg="mod">
          <ac:chgData name="José Antonio Ureta Santacreu" userId="e36999d1-2b92-424a-9e8c-5fde0c5fbdd2" providerId="ADAL" clId="{7D8E3005-6D19-4F2A-9BE0-A2C92552758E}" dt="2024-07-24T11:46:12.310" v="39" actId="20577"/>
          <ac:spMkLst>
            <pc:docMk/>
            <pc:sldMk cId="910368630" sldId="830"/>
            <ac:spMk id="12" creationId="{90E38DF2-B3CD-4E3E-8E3B-2B62DB981D75}"/>
          </ac:spMkLst>
        </pc:spChg>
        <pc:picChg chg="add mod">
          <ac:chgData name="José Antonio Ureta Santacreu" userId="e36999d1-2b92-424a-9e8c-5fde0c5fbdd2" providerId="ADAL" clId="{7D8E3005-6D19-4F2A-9BE0-A2C92552758E}" dt="2024-07-24T11:45:41.059" v="33" actId="552"/>
          <ac:picMkLst>
            <pc:docMk/>
            <pc:sldMk cId="910368630" sldId="830"/>
            <ac:picMk id="7" creationId="{36E18989-9DCC-4E47-86EB-050F94330B48}"/>
          </ac:picMkLst>
        </pc:picChg>
        <pc:picChg chg="add mod">
          <ac:chgData name="José Antonio Ureta Santacreu" userId="e36999d1-2b92-424a-9e8c-5fde0c5fbdd2" providerId="ADAL" clId="{7D8E3005-6D19-4F2A-9BE0-A2C92552758E}" dt="2024-07-24T11:44:06.700" v="22" actId="14100"/>
          <ac:picMkLst>
            <pc:docMk/>
            <pc:sldMk cId="910368630" sldId="830"/>
            <ac:picMk id="1026" creationId="{2ADE09AE-8525-36C4-BA1A-E1623E0128BE}"/>
          </ac:picMkLst>
        </pc:picChg>
        <pc:picChg chg="mod">
          <ac:chgData name="José Antonio Ureta Santacreu" userId="e36999d1-2b92-424a-9e8c-5fde0c5fbdd2" providerId="ADAL" clId="{7D8E3005-6D19-4F2A-9BE0-A2C92552758E}" dt="2024-07-24T11:45:41.059" v="33" actId="552"/>
          <ac:picMkLst>
            <pc:docMk/>
            <pc:sldMk cId="910368630" sldId="830"/>
            <ac:picMk id="1028" creationId="{9BA0A28E-5540-4B24-BD06-6E3396EA3EAA}"/>
          </ac:picMkLst>
        </pc:picChg>
        <pc:picChg chg="del mod">
          <ac:chgData name="José Antonio Ureta Santacreu" userId="e36999d1-2b92-424a-9e8c-5fde0c5fbdd2" providerId="ADAL" clId="{7D8E3005-6D19-4F2A-9BE0-A2C92552758E}" dt="2024-07-24T11:45:13.508" v="28" actId="478"/>
          <ac:picMkLst>
            <pc:docMk/>
            <pc:sldMk cId="910368630" sldId="830"/>
            <ac:picMk id="1030" creationId="{ABBA49E2-69A2-43DF-A30A-782F65E51180}"/>
          </ac:picMkLst>
        </pc:picChg>
        <pc:picChg chg="del">
          <ac:chgData name="José Antonio Ureta Santacreu" userId="e36999d1-2b92-424a-9e8c-5fde0c5fbdd2" providerId="ADAL" clId="{7D8E3005-6D19-4F2A-9BE0-A2C92552758E}" dt="2024-07-24T11:43:59.075" v="20" actId="478"/>
          <ac:picMkLst>
            <pc:docMk/>
            <pc:sldMk cId="910368630" sldId="830"/>
            <ac:picMk id="3074" creationId="{15104CCA-49CA-4F69-768A-3292E688CD02}"/>
          </ac:picMkLst>
        </pc:picChg>
      </pc:sldChg>
      <pc:sldChg chg="mod modShow">
        <pc:chgData name="José Antonio Ureta Santacreu" userId="e36999d1-2b92-424a-9e8c-5fde0c5fbdd2" providerId="ADAL" clId="{7D8E3005-6D19-4F2A-9BE0-A2C92552758E}" dt="2024-07-30T09:32:30.738" v="799" actId="729"/>
        <pc:sldMkLst>
          <pc:docMk/>
          <pc:sldMk cId="3571537935" sldId="836"/>
        </pc:sldMkLst>
      </pc:sldChg>
      <pc:sldChg chg="del">
        <pc:chgData name="José Antonio Ureta Santacreu" userId="e36999d1-2b92-424a-9e8c-5fde0c5fbdd2" providerId="ADAL" clId="{7D8E3005-6D19-4F2A-9BE0-A2C92552758E}" dt="2024-07-24T11:52:04.568" v="54" actId="47"/>
        <pc:sldMkLst>
          <pc:docMk/>
          <pc:sldMk cId="3166988122" sldId="853"/>
        </pc:sldMkLst>
      </pc:sldChg>
      <pc:sldChg chg="del">
        <pc:chgData name="José Antonio Ureta Santacreu" userId="e36999d1-2b92-424a-9e8c-5fde0c5fbdd2" providerId="ADAL" clId="{7D8E3005-6D19-4F2A-9BE0-A2C92552758E}" dt="2024-07-24T11:52:24.421" v="55" actId="47"/>
        <pc:sldMkLst>
          <pc:docMk/>
          <pc:sldMk cId="2117553179" sldId="855"/>
        </pc:sldMkLst>
      </pc:sldChg>
      <pc:sldChg chg="del">
        <pc:chgData name="José Antonio Ureta Santacreu" userId="e36999d1-2b92-424a-9e8c-5fde0c5fbdd2" providerId="ADAL" clId="{7D8E3005-6D19-4F2A-9BE0-A2C92552758E}" dt="2024-07-24T11:52:38.892" v="56" actId="47"/>
        <pc:sldMkLst>
          <pc:docMk/>
          <pc:sldMk cId="2222189156" sldId="859"/>
        </pc:sldMkLst>
      </pc:sldChg>
      <pc:sldChg chg="del">
        <pc:chgData name="José Antonio Ureta Santacreu" userId="e36999d1-2b92-424a-9e8c-5fde0c5fbdd2" providerId="ADAL" clId="{7D8E3005-6D19-4F2A-9BE0-A2C92552758E}" dt="2024-07-24T11:52:24.421" v="55" actId="47"/>
        <pc:sldMkLst>
          <pc:docMk/>
          <pc:sldMk cId="3592052697" sldId="861"/>
        </pc:sldMkLst>
      </pc:sldChg>
      <pc:sldChg chg="del">
        <pc:chgData name="José Antonio Ureta Santacreu" userId="e36999d1-2b92-424a-9e8c-5fde0c5fbdd2" providerId="ADAL" clId="{7D8E3005-6D19-4F2A-9BE0-A2C92552758E}" dt="2024-07-24T11:52:38.892" v="56" actId="47"/>
        <pc:sldMkLst>
          <pc:docMk/>
          <pc:sldMk cId="1509518486" sldId="862"/>
        </pc:sldMkLst>
      </pc:sldChg>
      <pc:sldChg chg="del">
        <pc:chgData name="José Antonio Ureta Santacreu" userId="e36999d1-2b92-424a-9e8c-5fde0c5fbdd2" providerId="ADAL" clId="{7D8E3005-6D19-4F2A-9BE0-A2C92552758E}" dt="2024-07-24T11:52:24.421" v="55" actId="47"/>
        <pc:sldMkLst>
          <pc:docMk/>
          <pc:sldMk cId="2538564728" sldId="863"/>
        </pc:sldMkLst>
      </pc:sldChg>
      <pc:sldChg chg="del">
        <pc:chgData name="José Antonio Ureta Santacreu" userId="e36999d1-2b92-424a-9e8c-5fde0c5fbdd2" providerId="ADAL" clId="{7D8E3005-6D19-4F2A-9BE0-A2C92552758E}" dt="2024-07-24T11:52:24.421" v="55" actId="47"/>
        <pc:sldMkLst>
          <pc:docMk/>
          <pc:sldMk cId="2640063697" sldId="864"/>
        </pc:sldMkLst>
      </pc:sldChg>
      <pc:sldChg chg="del">
        <pc:chgData name="José Antonio Ureta Santacreu" userId="e36999d1-2b92-424a-9e8c-5fde0c5fbdd2" providerId="ADAL" clId="{7D8E3005-6D19-4F2A-9BE0-A2C92552758E}" dt="2024-07-24T11:52:24.421" v="55" actId="47"/>
        <pc:sldMkLst>
          <pc:docMk/>
          <pc:sldMk cId="1310697976" sldId="865"/>
        </pc:sldMkLst>
      </pc:sldChg>
      <pc:sldChg chg="del">
        <pc:chgData name="José Antonio Ureta Santacreu" userId="e36999d1-2b92-424a-9e8c-5fde0c5fbdd2" providerId="ADAL" clId="{7D8E3005-6D19-4F2A-9BE0-A2C92552758E}" dt="2024-07-24T11:52:24.421" v="55" actId="47"/>
        <pc:sldMkLst>
          <pc:docMk/>
          <pc:sldMk cId="2408372559" sldId="866"/>
        </pc:sldMkLst>
      </pc:sldChg>
      <pc:sldChg chg="del">
        <pc:chgData name="José Antonio Ureta Santacreu" userId="e36999d1-2b92-424a-9e8c-5fde0c5fbdd2" providerId="ADAL" clId="{7D8E3005-6D19-4F2A-9BE0-A2C92552758E}" dt="2024-07-24T11:52:24.421" v="55" actId="47"/>
        <pc:sldMkLst>
          <pc:docMk/>
          <pc:sldMk cId="3104249969" sldId="867"/>
        </pc:sldMkLst>
      </pc:sldChg>
      <pc:sldChg chg="del">
        <pc:chgData name="José Antonio Ureta Santacreu" userId="e36999d1-2b92-424a-9e8c-5fde0c5fbdd2" providerId="ADAL" clId="{7D8E3005-6D19-4F2A-9BE0-A2C92552758E}" dt="2024-07-24T11:52:38.892" v="56" actId="47"/>
        <pc:sldMkLst>
          <pc:docMk/>
          <pc:sldMk cId="1673053221" sldId="868"/>
        </pc:sldMkLst>
      </pc:sldChg>
      <pc:sldChg chg="del">
        <pc:chgData name="José Antonio Ureta Santacreu" userId="e36999d1-2b92-424a-9e8c-5fde0c5fbdd2" providerId="ADAL" clId="{7D8E3005-6D19-4F2A-9BE0-A2C92552758E}" dt="2024-07-24T11:51:22.553" v="51" actId="47"/>
        <pc:sldMkLst>
          <pc:docMk/>
          <pc:sldMk cId="1016385027" sldId="870"/>
        </pc:sldMkLst>
      </pc:sldChg>
      <pc:sldChg chg="del">
        <pc:chgData name="José Antonio Ureta Santacreu" userId="e36999d1-2b92-424a-9e8c-5fde0c5fbdd2" providerId="ADAL" clId="{7D8E3005-6D19-4F2A-9BE0-A2C92552758E}" dt="2024-07-24T11:51:22.553" v="51" actId="47"/>
        <pc:sldMkLst>
          <pc:docMk/>
          <pc:sldMk cId="1530466764" sldId="871"/>
        </pc:sldMkLst>
      </pc:sldChg>
      <pc:sldChg chg="del">
        <pc:chgData name="José Antonio Ureta Santacreu" userId="e36999d1-2b92-424a-9e8c-5fde0c5fbdd2" providerId="ADAL" clId="{7D8E3005-6D19-4F2A-9BE0-A2C92552758E}" dt="2024-07-24T11:51:22.553" v="51" actId="47"/>
        <pc:sldMkLst>
          <pc:docMk/>
          <pc:sldMk cId="2259189685" sldId="874"/>
        </pc:sldMkLst>
      </pc:sldChg>
      <pc:sldChg chg="del">
        <pc:chgData name="José Antonio Ureta Santacreu" userId="e36999d1-2b92-424a-9e8c-5fde0c5fbdd2" providerId="ADAL" clId="{7D8E3005-6D19-4F2A-9BE0-A2C92552758E}" dt="2024-07-24T11:52:24.421" v="55" actId="47"/>
        <pc:sldMkLst>
          <pc:docMk/>
          <pc:sldMk cId="2435701173" sldId="879"/>
        </pc:sldMkLst>
      </pc:sldChg>
      <pc:sldChg chg="del">
        <pc:chgData name="José Antonio Ureta Santacreu" userId="e36999d1-2b92-424a-9e8c-5fde0c5fbdd2" providerId="ADAL" clId="{7D8E3005-6D19-4F2A-9BE0-A2C92552758E}" dt="2024-07-24T11:52:38.892" v="56" actId="47"/>
        <pc:sldMkLst>
          <pc:docMk/>
          <pc:sldMk cId="3345068705" sldId="880"/>
        </pc:sldMkLst>
      </pc:sldChg>
      <pc:sldChg chg="del">
        <pc:chgData name="José Antonio Ureta Santacreu" userId="e36999d1-2b92-424a-9e8c-5fde0c5fbdd2" providerId="ADAL" clId="{7D8E3005-6D19-4F2A-9BE0-A2C92552758E}" dt="2024-07-24T11:52:38.892" v="56" actId="47"/>
        <pc:sldMkLst>
          <pc:docMk/>
          <pc:sldMk cId="2120188991" sldId="881"/>
        </pc:sldMkLst>
      </pc:sldChg>
      <pc:sldChg chg="del">
        <pc:chgData name="José Antonio Ureta Santacreu" userId="e36999d1-2b92-424a-9e8c-5fde0c5fbdd2" providerId="ADAL" clId="{7D8E3005-6D19-4F2A-9BE0-A2C92552758E}" dt="2024-07-24T11:52:38.892" v="56" actId="47"/>
        <pc:sldMkLst>
          <pc:docMk/>
          <pc:sldMk cId="3242803943" sldId="883"/>
        </pc:sldMkLst>
      </pc:sldChg>
      <pc:sldChg chg="del">
        <pc:chgData name="José Antonio Ureta Santacreu" userId="e36999d1-2b92-424a-9e8c-5fde0c5fbdd2" providerId="ADAL" clId="{7D8E3005-6D19-4F2A-9BE0-A2C92552758E}" dt="2024-07-24T11:52:38.892" v="56" actId="47"/>
        <pc:sldMkLst>
          <pc:docMk/>
          <pc:sldMk cId="2654703023" sldId="884"/>
        </pc:sldMkLst>
      </pc:sldChg>
      <pc:sldChg chg="modSp mod">
        <pc:chgData name="José Antonio Ureta Santacreu" userId="e36999d1-2b92-424a-9e8c-5fde0c5fbdd2" providerId="ADAL" clId="{7D8E3005-6D19-4F2A-9BE0-A2C92552758E}" dt="2024-07-24T11:56:35.283" v="67" actId="1036"/>
        <pc:sldMkLst>
          <pc:docMk/>
          <pc:sldMk cId="80530250" sldId="897"/>
        </pc:sldMkLst>
        <pc:graphicFrameChg chg="mod">
          <ac:chgData name="José Antonio Ureta Santacreu" userId="e36999d1-2b92-424a-9e8c-5fde0c5fbdd2" providerId="ADAL" clId="{7D8E3005-6D19-4F2A-9BE0-A2C92552758E}" dt="2024-07-24T11:56:35.283" v="67" actId="1036"/>
          <ac:graphicFrameMkLst>
            <pc:docMk/>
            <pc:sldMk cId="80530250" sldId="897"/>
            <ac:graphicFrameMk id="7" creationId="{5586834D-D4DF-489A-86A4-29DBB9011955}"/>
          </ac:graphicFrameMkLst>
        </pc:graphicFrameChg>
      </pc:sldChg>
      <pc:sldChg chg="addSp delSp modSp mod">
        <pc:chgData name="José Antonio Ureta Santacreu" userId="e36999d1-2b92-424a-9e8c-5fde0c5fbdd2" providerId="ADAL" clId="{7D8E3005-6D19-4F2A-9BE0-A2C92552758E}" dt="2024-08-27T10:52:39.314" v="3856" actId="1037"/>
        <pc:sldMkLst>
          <pc:docMk/>
          <pc:sldMk cId="2022670775" sldId="903"/>
        </pc:sldMkLst>
        <pc:picChg chg="del">
          <ac:chgData name="José Antonio Ureta Santacreu" userId="e36999d1-2b92-424a-9e8c-5fde0c5fbdd2" providerId="ADAL" clId="{7D8E3005-6D19-4F2A-9BE0-A2C92552758E}" dt="2024-08-27T10:48:51.486" v="3825" actId="21"/>
          <ac:picMkLst>
            <pc:docMk/>
            <pc:sldMk cId="2022670775" sldId="903"/>
            <ac:picMk id="9" creationId="{1B58E521-25C5-A7BE-309F-C9666696E00E}"/>
          </ac:picMkLst>
        </pc:picChg>
        <pc:picChg chg="add mod">
          <ac:chgData name="José Antonio Ureta Santacreu" userId="e36999d1-2b92-424a-9e8c-5fde0c5fbdd2" providerId="ADAL" clId="{7D8E3005-6D19-4F2A-9BE0-A2C92552758E}" dt="2024-08-27T10:52:39.314" v="3856" actId="1037"/>
          <ac:picMkLst>
            <pc:docMk/>
            <pc:sldMk cId="2022670775" sldId="903"/>
            <ac:picMk id="3074" creationId="{388EEA36-BCD3-AF44-07E0-C1043652E308}"/>
          </ac:picMkLst>
        </pc:picChg>
      </pc:sldChg>
      <pc:sldChg chg="del">
        <pc:chgData name="José Antonio Ureta Santacreu" userId="e36999d1-2b92-424a-9e8c-5fde0c5fbdd2" providerId="ADAL" clId="{7D8E3005-6D19-4F2A-9BE0-A2C92552758E}" dt="2024-07-24T11:51:22.553" v="51" actId="47"/>
        <pc:sldMkLst>
          <pc:docMk/>
          <pc:sldMk cId="1213169994" sldId="907"/>
        </pc:sldMkLst>
      </pc:sldChg>
      <pc:sldChg chg="del">
        <pc:chgData name="José Antonio Ureta Santacreu" userId="e36999d1-2b92-424a-9e8c-5fde0c5fbdd2" providerId="ADAL" clId="{7D8E3005-6D19-4F2A-9BE0-A2C92552758E}" dt="2024-07-24T11:49:20.071" v="45" actId="47"/>
        <pc:sldMkLst>
          <pc:docMk/>
          <pc:sldMk cId="3725159009" sldId="910"/>
        </pc:sldMkLst>
      </pc:sldChg>
      <pc:sldChg chg="modSp mod">
        <pc:chgData name="José Antonio Ureta Santacreu" userId="e36999d1-2b92-424a-9e8c-5fde0c5fbdd2" providerId="ADAL" clId="{7D8E3005-6D19-4F2A-9BE0-A2C92552758E}" dt="2024-09-19T09:21:45.101" v="4948" actId="27636"/>
        <pc:sldMkLst>
          <pc:docMk/>
          <pc:sldMk cId="2974846749" sldId="922"/>
        </pc:sldMkLst>
        <pc:spChg chg="mod">
          <ac:chgData name="José Antonio Ureta Santacreu" userId="e36999d1-2b92-424a-9e8c-5fde0c5fbdd2" providerId="ADAL" clId="{7D8E3005-6D19-4F2A-9BE0-A2C92552758E}" dt="2024-09-19T09:21:45.101" v="4948" actId="27636"/>
          <ac:spMkLst>
            <pc:docMk/>
            <pc:sldMk cId="2974846749" sldId="922"/>
            <ac:spMk id="2" creationId="{B5FF0D9B-CFB7-81F2-F915-1D65A6BCA225}"/>
          </ac:spMkLst>
        </pc:spChg>
        <pc:spChg chg="mod">
          <ac:chgData name="José Antonio Ureta Santacreu" userId="e36999d1-2b92-424a-9e8c-5fde0c5fbdd2" providerId="ADAL" clId="{7D8E3005-6D19-4F2A-9BE0-A2C92552758E}" dt="2024-08-27T10:42:25.679" v="3727" actId="313"/>
          <ac:spMkLst>
            <pc:docMk/>
            <pc:sldMk cId="2974846749" sldId="922"/>
            <ac:spMk id="4" creationId="{4CCF178A-5CCD-A4D3-602C-C9CCF0C4C12A}"/>
          </ac:spMkLst>
        </pc:spChg>
      </pc:sldChg>
      <pc:sldChg chg="del">
        <pc:chgData name="José Antonio Ureta Santacreu" userId="e36999d1-2b92-424a-9e8c-5fde0c5fbdd2" providerId="ADAL" clId="{7D8E3005-6D19-4F2A-9BE0-A2C92552758E}" dt="2024-07-24T11:48:31.235" v="43" actId="2696"/>
        <pc:sldMkLst>
          <pc:docMk/>
          <pc:sldMk cId="920132976" sldId="923"/>
        </pc:sldMkLst>
      </pc:sldChg>
      <pc:sldChg chg="addSp modSp add">
        <pc:chgData name="José Antonio Ureta Santacreu" userId="e36999d1-2b92-424a-9e8c-5fde0c5fbdd2" providerId="ADAL" clId="{7D8E3005-6D19-4F2A-9BE0-A2C92552758E}" dt="2024-07-30T09:07:40.214" v="623"/>
        <pc:sldMkLst>
          <pc:docMk/>
          <pc:sldMk cId="1429039655" sldId="923"/>
        </pc:sldMkLst>
        <pc:spChg chg="add mod">
          <ac:chgData name="José Antonio Ureta Santacreu" userId="e36999d1-2b92-424a-9e8c-5fde0c5fbdd2" providerId="ADAL" clId="{7D8E3005-6D19-4F2A-9BE0-A2C92552758E}" dt="2024-07-30T09:07:40.214" v="623"/>
          <ac:spMkLst>
            <pc:docMk/>
            <pc:sldMk cId="1429039655" sldId="923"/>
            <ac:spMk id="3" creationId="{D8787BC4-E774-C72F-F6AB-2954F984BA88}"/>
          </ac:spMkLst>
        </pc:spChg>
      </pc:sldChg>
      <pc:sldChg chg="modSp mod">
        <pc:chgData name="José Antonio Ureta Santacreu" userId="e36999d1-2b92-424a-9e8c-5fde0c5fbdd2" providerId="ADAL" clId="{7D8E3005-6D19-4F2A-9BE0-A2C92552758E}" dt="2024-09-19T09:21:45.241" v="4958" actId="27636"/>
        <pc:sldMkLst>
          <pc:docMk/>
          <pc:sldMk cId="124857213" sldId="936"/>
        </pc:sldMkLst>
        <pc:spChg chg="mod">
          <ac:chgData name="José Antonio Ureta Santacreu" userId="e36999d1-2b92-424a-9e8c-5fde0c5fbdd2" providerId="ADAL" clId="{7D8E3005-6D19-4F2A-9BE0-A2C92552758E}" dt="2024-09-19T09:21:45.241" v="4958" actId="27636"/>
          <ac:spMkLst>
            <pc:docMk/>
            <pc:sldMk cId="124857213" sldId="936"/>
            <ac:spMk id="4" creationId="{CE3787A4-FFBB-190C-F5CD-C6549282F0A1}"/>
          </ac:spMkLst>
        </pc:spChg>
      </pc:sldChg>
      <pc:sldChg chg="addSp modSp add">
        <pc:chgData name="José Antonio Ureta Santacreu" userId="e36999d1-2b92-424a-9e8c-5fde0c5fbdd2" providerId="ADAL" clId="{7D8E3005-6D19-4F2A-9BE0-A2C92552758E}" dt="2024-07-30T09:27:19.663" v="768"/>
        <pc:sldMkLst>
          <pc:docMk/>
          <pc:sldMk cId="1224980382" sldId="937"/>
        </pc:sldMkLst>
        <pc:spChg chg="add mod">
          <ac:chgData name="José Antonio Ureta Santacreu" userId="e36999d1-2b92-424a-9e8c-5fde0c5fbdd2" providerId="ADAL" clId="{7D8E3005-6D19-4F2A-9BE0-A2C92552758E}" dt="2024-07-30T09:27:19.663" v="768"/>
          <ac:spMkLst>
            <pc:docMk/>
            <pc:sldMk cId="1224980382" sldId="937"/>
            <ac:spMk id="6" creationId="{482111D0-441A-5745-BDA7-31D5E952532E}"/>
          </ac:spMkLst>
        </pc:spChg>
      </pc:sldChg>
      <pc:sldChg chg="del">
        <pc:chgData name="José Antonio Ureta Santacreu" userId="e36999d1-2b92-424a-9e8c-5fde0c5fbdd2" providerId="ADAL" clId="{7D8E3005-6D19-4F2A-9BE0-A2C92552758E}" dt="2024-07-24T11:51:30.489" v="52" actId="2696"/>
        <pc:sldMkLst>
          <pc:docMk/>
          <pc:sldMk cId="4058981603" sldId="937"/>
        </pc:sldMkLst>
      </pc:sldChg>
      <pc:sldChg chg="del">
        <pc:chgData name="José Antonio Ureta Santacreu" userId="e36999d1-2b92-424a-9e8c-5fde0c5fbdd2" providerId="ADAL" clId="{7D8E3005-6D19-4F2A-9BE0-A2C92552758E}" dt="2024-07-24T11:51:22.553" v="51" actId="47"/>
        <pc:sldMkLst>
          <pc:docMk/>
          <pc:sldMk cId="3253437230" sldId="940"/>
        </pc:sldMkLst>
      </pc:sldChg>
      <pc:sldChg chg="del">
        <pc:chgData name="José Antonio Ureta Santacreu" userId="e36999d1-2b92-424a-9e8c-5fde0c5fbdd2" providerId="ADAL" clId="{7D8E3005-6D19-4F2A-9BE0-A2C92552758E}" dt="2024-07-24T11:51:22.553" v="51" actId="47"/>
        <pc:sldMkLst>
          <pc:docMk/>
          <pc:sldMk cId="2598937134" sldId="941"/>
        </pc:sldMkLst>
      </pc:sldChg>
      <pc:sldChg chg="del">
        <pc:chgData name="José Antonio Ureta Santacreu" userId="e36999d1-2b92-424a-9e8c-5fde0c5fbdd2" providerId="ADAL" clId="{7D8E3005-6D19-4F2A-9BE0-A2C92552758E}" dt="2024-07-24T11:51:22.553" v="51" actId="47"/>
        <pc:sldMkLst>
          <pc:docMk/>
          <pc:sldMk cId="2796822337" sldId="942"/>
        </pc:sldMkLst>
      </pc:sldChg>
      <pc:sldChg chg="addSp delSp modSp mod">
        <pc:chgData name="José Antonio Ureta Santacreu" userId="e36999d1-2b92-424a-9e8c-5fde0c5fbdd2" providerId="ADAL" clId="{7D8E3005-6D19-4F2A-9BE0-A2C92552758E}" dt="2024-07-24T11:56:14.198" v="65" actId="22"/>
        <pc:sldMkLst>
          <pc:docMk/>
          <pc:sldMk cId="1231219106" sldId="943"/>
        </pc:sldMkLst>
        <pc:spChg chg="add del mod">
          <ac:chgData name="José Antonio Ureta Santacreu" userId="e36999d1-2b92-424a-9e8c-5fde0c5fbdd2" providerId="ADAL" clId="{7D8E3005-6D19-4F2A-9BE0-A2C92552758E}" dt="2024-07-24T11:55:56.297" v="64"/>
          <ac:spMkLst>
            <pc:docMk/>
            <pc:sldMk cId="1231219106" sldId="943"/>
            <ac:spMk id="7" creationId="{6663CAAD-1BBE-6B90-0051-AC9DAFB38F29}"/>
          </ac:spMkLst>
        </pc:spChg>
        <pc:spChg chg="add del mod">
          <ac:chgData name="José Antonio Ureta Santacreu" userId="e36999d1-2b92-424a-9e8c-5fde0c5fbdd2" providerId="ADAL" clId="{7D8E3005-6D19-4F2A-9BE0-A2C92552758E}" dt="2024-07-24T11:56:14.198" v="65" actId="22"/>
          <ac:spMkLst>
            <pc:docMk/>
            <pc:sldMk cId="1231219106" sldId="943"/>
            <ac:spMk id="8" creationId="{3CA02BE7-917A-1B0E-2548-EDD227EED7B9}"/>
          </ac:spMkLst>
        </pc:spChg>
        <pc:picChg chg="add mod ord">
          <ac:chgData name="José Antonio Ureta Santacreu" userId="e36999d1-2b92-424a-9e8c-5fde0c5fbdd2" providerId="ADAL" clId="{7D8E3005-6D19-4F2A-9BE0-A2C92552758E}" dt="2024-07-24T11:56:14.198" v="65" actId="22"/>
          <ac:picMkLst>
            <pc:docMk/>
            <pc:sldMk cId="1231219106" sldId="943"/>
            <ac:picMk id="10" creationId="{DE479C66-6790-D61C-AEA4-A87B253E43B3}"/>
          </ac:picMkLst>
        </pc:picChg>
        <pc:picChg chg="del">
          <ac:chgData name="José Antonio Ureta Santacreu" userId="e36999d1-2b92-424a-9e8c-5fde0c5fbdd2" providerId="ADAL" clId="{7D8E3005-6D19-4F2A-9BE0-A2C92552758E}" dt="2024-07-24T11:55:33.784" v="61" actId="478"/>
          <ac:picMkLst>
            <pc:docMk/>
            <pc:sldMk cId="1231219106" sldId="943"/>
            <ac:picMk id="16" creationId="{A6A74398-8C9E-4641-987F-72973F0E635C}"/>
          </ac:picMkLst>
        </pc:picChg>
      </pc:sldChg>
      <pc:sldChg chg="modSp">
        <pc:chgData name="José Antonio Ureta Santacreu" userId="e36999d1-2b92-424a-9e8c-5fde0c5fbdd2" providerId="ADAL" clId="{7D8E3005-6D19-4F2A-9BE0-A2C92552758E}" dt="2024-07-24T11:34:58.387" v="5" actId="207"/>
        <pc:sldMkLst>
          <pc:docMk/>
          <pc:sldMk cId="564975057" sldId="944"/>
        </pc:sldMkLst>
        <pc:graphicFrameChg chg="mod">
          <ac:chgData name="José Antonio Ureta Santacreu" userId="e36999d1-2b92-424a-9e8c-5fde0c5fbdd2" providerId="ADAL" clId="{7D8E3005-6D19-4F2A-9BE0-A2C92552758E}" dt="2024-07-24T11:34:58.387" v="5" actId="207"/>
          <ac:graphicFrameMkLst>
            <pc:docMk/>
            <pc:sldMk cId="564975057" sldId="944"/>
            <ac:graphicFrameMk id="3" creationId="{512729AA-2FF8-77BF-01AD-F24F80FB1135}"/>
          </ac:graphicFrameMkLst>
        </pc:graphicFrameChg>
      </pc:sldChg>
      <pc:sldChg chg="del">
        <pc:chgData name="José Antonio Ureta Santacreu" userId="e36999d1-2b92-424a-9e8c-5fde0c5fbdd2" providerId="ADAL" clId="{7D8E3005-6D19-4F2A-9BE0-A2C92552758E}" dt="2024-07-24T11:52:38.892" v="56" actId="47"/>
        <pc:sldMkLst>
          <pc:docMk/>
          <pc:sldMk cId="2499138240" sldId="945"/>
        </pc:sldMkLst>
      </pc:sldChg>
      <pc:sldChg chg="modSp">
        <pc:chgData name="José Antonio Ureta Santacreu" userId="e36999d1-2b92-424a-9e8c-5fde0c5fbdd2" providerId="ADAL" clId="{7D8E3005-6D19-4F2A-9BE0-A2C92552758E}" dt="2024-08-27T10:40:00.314" v="3704" actId="20577"/>
        <pc:sldMkLst>
          <pc:docMk/>
          <pc:sldMk cId="1512409672" sldId="947"/>
        </pc:sldMkLst>
        <pc:graphicFrameChg chg="mod">
          <ac:chgData name="José Antonio Ureta Santacreu" userId="e36999d1-2b92-424a-9e8c-5fde0c5fbdd2" providerId="ADAL" clId="{7D8E3005-6D19-4F2A-9BE0-A2C92552758E}" dt="2024-08-27T10:40:00.314" v="3704" actId="20577"/>
          <ac:graphicFrameMkLst>
            <pc:docMk/>
            <pc:sldMk cId="1512409672" sldId="947"/>
            <ac:graphicFrameMk id="6" creationId="{307F0217-EC69-4137-BA17-E6E988A74C19}"/>
          </ac:graphicFrameMkLst>
        </pc:graphicFrameChg>
      </pc:sldChg>
      <pc:sldChg chg="modSp add mod">
        <pc:chgData name="José Antonio Ureta Santacreu" userId="e36999d1-2b92-424a-9e8c-5fde0c5fbdd2" providerId="ADAL" clId="{7D8E3005-6D19-4F2A-9BE0-A2C92552758E}" dt="2024-09-05T10:30:00.846" v="4530" actId="12100"/>
        <pc:sldMkLst>
          <pc:docMk/>
          <pc:sldMk cId="1116742199" sldId="948"/>
        </pc:sldMkLst>
        <pc:spChg chg="mod">
          <ac:chgData name="José Antonio Ureta Santacreu" userId="e36999d1-2b92-424a-9e8c-5fde0c5fbdd2" providerId="ADAL" clId="{7D8E3005-6D19-4F2A-9BE0-A2C92552758E}" dt="2024-09-05T10:29:19.855" v="4526" actId="12789"/>
          <ac:spMkLst>
            <pc:docMk/>
            <pc:sldMk cId="1116742199" sldId="948"/>
            <ac:spMk id="17" creationId="{48D3F7C1-38C4-47BC-B74C-D52E2A254C54}"/>
          </ac:spMkLst>
        </pc:spChg>
        <pc:graphicFrameChg chg="mod">
          <ac:chgData name="José Antonio Ureta Santacreu" userId="e36999d1-2b92-424a-9e8c-5fde0c5fbdd2" providerId="ADAL" clId="{7D8E3005-6D19-4F2A-9BE0-A2C92552758E}" dt="2024-09-05T10:29:54.777" v="4529" actId="12100"/>
          <ac:graphicFrameMkLst>
            <pc:docMk/>
            <pc:sldMk cId="1116742199" sldId="948"/>
            <ac:graphicFrameMk id="16" creationId="{80A21112-4217-4C44-A8C2-51D78468AADA}"/>
          </ac:graphicFrameMkLst>
        </pc:graphicFrameChg>
        <pc:graphicFrameChg chg="mod">
          <ac:chgData name="José Antonio Ureta Santacreu" userId="e36999d1-2b92-424a-9e8c-5fde0c5fbdd2" providerId="ADAL" clId="{7D8E3005-6D19-4F2A-9BE0-A2C92552758E}" dt="2024-09-05T10:30:00.846" v="4530" actId="12100"/>
          <ac:graphicFrameMkLst>
            <pc:docMk/>
            <pc:sldMk cId="1116742199" sldId="948"/>
            <ac:graphicFrameMk id="27" creationId="{0FF84CC4-36A5-49B5-94A9-8959834B0BE6}"/>
          </ac:graphicFrameMkLst>
        </pc:graphicFrameChg>
      </pc:sldChg>
      <pc:sldChg chg="del">
        <pc:chgData name="José Antonio Ureta Santacreu" userId="e36999d1-2b92-424a-9e8c-5fde0c5fbdd2" providerId="ADAL" clId="{7D8E3005-6D19-4F2A-9BE0-A2C92552758E}" dt="2024-07-30T09:41:47.246" v="968" actId="2696"/>
        <pc:sldMkLst>
          <pc:docMk/>
          <pc:sldMk cId="1131913651" sldId="948"/>
        </pc:sldMkLst>
      </pc:sldChg>
      <pc:sldChg chg="modSp mod">
        <pc:chgData name="José Antonio Ureta Santacreu" userId="e36999d1-2b92-424a-9e8c-5fde0c5fbdd2" providerId="ADAL" clId="{7D8E3005-6D19-4F2A-9BE0-A2C92552758E}" dt="2024-09-19T09:21:45.269" v="4960" actId="27636"/>
        <pc:sldMkLst>
          <pc:docMk/>
          <pc:sldMk cId="2167965002" sldId="951"/>
        </pc:sldMkLst>
        <pc:spChg chg="mod">
          <ac:chgData name="José Antonio Ureta Santacreu" userId="e36999d1-2b92-424a-9e8c-5fde0c5fbdd2" providerId="ADAL" clId="{7D8E3005-6D19-4F2A-9BE0-A2C92552758E}" dt="2024-09-19T09:21:45.269" v="4959" actId="27636"/>
          <ac:spMkLst>
            <pc:docMk/>
            <pc:sldMk cId="2167965002" sldId="951"/>
            <ac:spMk id="3" creationId="{13A88534-BB37-0451-8CCA-4F9352A28F14}"/>
          </ac:spMkLst>
        </pc:spChg>
        <pc:spChg chg="mod">
          <ac:chgData name="José Antonio Ureta Santacreu" userId="e36999d1-2b92-424a-9e8c-5fde0c5fbdd2" providerId="ADAL" clId="{7D8E3005-6D19-4F2A-9BE0-A2C92552758E}" dt="2024-09-19T09:21:45.269" v="4960" actId="27636"/>
          <ac:spMkLst>
            <pc:docMk/>
            <pc:sldMk cId="2167965002" sldId="951"/>
            <ac:spMk id="15" creationId="{07C61C60-A57D-3C5A-C020-F85B61C74C21}"/>
          </ac:spMkLst>
        </pc:spChg>
      </pc:sldChg>
      <pc:sldChg chg="modSp mod">
        <pc:chgData name="José Antonio Ureta Santacreu" userId="e36999d1-2b92-424a-9e8c-5fde0c5fbdd2" providerId="ADAL" clId="{7D8E3005-6D19-4F2A-9BE0-A2C92552758E}" dt="2024-09-19T09:21:45.285" v="4962" actId="27636"/>
        <pc:sldMkLst>
          <pc:docMk/>
          <pc:sldMk cId="2695236011" sldId="952"/>
        </pc:sldMkLst>
        <pc:spChg chg="mod">
          <ac:chgData name="José Antonio Ureta Santacreu" userId="e36999d1-2b92-424a-9e8c-5fde0c5fbdd2" providerId="ADAL" clId="{7D8E3005-6D19-4F2A-9BE0-A2C92552758E}" dt="2024-09-19T09:21:45.285" v="4962" actId="27636"/>
          <ac:spMkLst>
            <pc:docMk/>
            <pc:sldMk cId="2695236011" sldId="952"/>
            <ac:spMk id="3" creationId="{0AB6799A-3CF5-BD3C-355D-D339D38E303E}"/>
          </ac:spMkLst>
        </pc:spChg>
        <pc:spChg chg="mod">
          <ac:chgData name="José Antonio Ureta Santacreu" userId="e36999d1-2b92-424a-9e8c-5fde0c5fbdd2" providerId="ADAL" clId="{7D8E3005-6D19-4F2A-9BE0-A2C92552758E}" dt="2024-09-19T09:21:45.269" v="4961" actId="27636"/>
          <ac:spMkLst>
            <pc:docMk/>
            <pc:sldMk cId="2695236011" sldId="952"/>
            <ac:spMk id="15" creationId="{58D983A1-6CDC-A92F-C6BD-592578521022}"/>
          </ac:spMkLst>
        </pc:spChg>
      </pc:sldChg>
      <pc:sldChg chg="del">
        <pc:chgData name="José Antonio Ureta Santacreu" userId="e36999d1-2b92-424a-9e8c-5fde0c5fbdd2" providerId="ADAL" clId="{7D8E3005-6D19-4F2A-9BE0-A2C92552758E}" dt="2024-07-24T11:52:38.892" v="56" actId="47"/>
        <pc:sldMkLst>
          <pc:docMk/>
          <pc:sldMk cId="3919960271" sldId="954"/>
        </pc:sldMkLst>
      </pc:sldChg>
      <pc:sldChg chg="del">
        <pc:chgData name="José Antonio Ureta Santacreu" userId="e36999d1-2b92-424a-9e8c-5fde0c5fbdd2" providerId="ADAL" clId="{7D8E3005-6D19-4F2A-9BE0-A2C92552758E}" dt="2024-07-24T11:52:04.568" v="54" actId="47"/>
        <pc:sldMkLst>
          <pc:docMk/>
          <pc:sldMk cId="3357657738" sldId="955"/>
        </pc:sldMkLst>
      </pc:sldChg>
      <pc:sldChg chg="del">
        <pc:chgData name="José Antonio Ureta Santacreu" userId="e36999d1-2b92-424a-9e8c-5fde0c5fbdd2" providerId="ADAL" clId="{7D8E3005-6D19-4F2A-9BE0-A2C92552758E}" dt="2024-07-24T11:52:38.892" v="56" actId="47"/>
        <pc:sldMkLst>
          <pc:docMk/>
          <pc:sldMk cId="1798945688" sldId="956"/>
        </pc:sldMkLst>
      </pc:sldChg>
      <pc:sldChg chg="del">
        <pc:chgData name="José Antonio Ureta Santacreu" userId="e36999d1-2b92-424a-9e8c-5fde0c5fbdd2" providerId="ADAL" clId="{7D8E3005-6D19-4F2A-9BE0-A2C92552758E}" dt="2024-07-24T11:52:04.568" v="54" actId="47"/>
        <pc:sldMkLst>
          <pc:docMk/>
          <pc:sldMk cId="4002288814" sldId="957"/>
        </pc:sldMkLst>
      </pc:sldChg>
      <pc:sldChg chg="del">
        <pc:chgData name="José Antonio Ureta Santacreu" userId="e36999d1-2b92-424a-9e8c-5fde0c5fbdd2" providerId="ADAL" clId="{7D8E3005-6D19-4F2A-9BE0-A2C92552758E}" dt="2024-07-24T11:50:25.147" v="49" actId="2696"/>
        <pc:sldMkLst>
          <pc:docMk/>
          <pc:sldMk cId="1119854646" sldId="964"/>
        </pc:sldMkLst>
      </pc:sldChg>
      <pc:sldChg chg="addSp modSp add mod modShow">
        <pc:chgData name="José Antonio Ureta Santacreu" userId="e36999d1-2b92-424a-9e8c-5fde0c5fbdd2" providerId="ADAL" clId="{7D8E3005-6D19-4F2A-9BE0-A2C92552758E}" dt="2024-09-19T09:21:45.337" v="4964" actId="27636"/>
        <pc:sldMkLst>
          <pc:docMk/>
          <pc:sldMk cId="1270734470" sldId="964"/>
        </pc:sldMkLst>
        <pc:spChg chg="mod">
          <ac:chgData name="José Antonio Ureta Santacreu" userId="e36999d1-2b92-424a-9e8c-5fde0c5fbdd2" providerId="ADAL" clId="{7D8E3005-6D19-4F2A-9BE0-A2C92552758E}" dt="2024-09-19T09:21:45.337" v="4964" actId="27636"/>
          <ac:spMkLst>
            <pc:docMk/>
            <pc:sldMk cId="1270734470" sldId="964"/>
            <ac:spMk id="2" creationId="{00000000-0000-0000-0000-000000000000}"/>
          </ac:spMkLst>
        </pc:spChg>
        <pc:spChg chg="add mod">
          <ac:chgData name="José Antonio Ureta Santacreu" userId="e36999d1-2b92-424a-9e8c-5fde0c5fbdd2" providerId="ADAL" clId="{7D8E3005-6D19-4F2A-9BE0-A2C92552758E}" dt="2024-07-30T09:26:43.309" v="762"/>
          <ac:spMkLst>
            <pc:docMk/>
            <pc:sldMk cId="1270734470" sldId="964"/>
            <ac:spMk id="3" creationId="{855964EB-21D0-E254-33DA-6282F1BE2D8F}"/>
          </ac:spMkLst>
        </pc:spChg>
      </pc:sldChg>
      <pc:sldChg chg="del">
        <pc:chgData name="José Antonio Ureta Santacreu" userId="e36999d1-2b92-424a-9e8c-5fde0c5fbdd2" providerId="ADAL" clId="{7D8E3005-6D19-4F2A-9BE0-A2C92552758E}" dt="2024-07-24T11:52:24.421" v="55" actId="47"/>
        <pc:sldMkLst>
          <pc:docMk/>
          <pc:sldMk cId="868528685" sldId="968"/>
        </pc:sldMkLst>
      </pc:sldChg>
      <pc:sldChg chg="del">
        <pc:chgData name="José Antonio Ureta Santacreu" userId="e36999d1-2b92-424a-9e8c-5fde0c5fbdd2" providerId="ADAL" clId="{7D8E3005-6D19-4F2A-9BE0-A2C92552758E}" dt="2024-07-24T11:52:24.421" v="55" actId="47"/>
        <pc:sldMkLst>
          <pc:docMk/>
          <pc:sldMk cId="2653427006" sldId="970"/>
        </pc:sldMkLst>
      </pc:sldChg>
      <pc:sldChg chg="del">
        <pc:chgData name="José Antonio Ureta Santacreu" userId="e36999d1-2b92-424a-9e8c-5fde0c5fbdd2" providerId="ADAL" clId="{7D8E3005-6D19-4F2A-9BE0-A2C92552758E}" dt="2024-07-24T11:52:24.421" v="55" actId="47"/>
        <pc:sldMkLst>
          <pc:docMk/>
          <pc:sldMk cId="3300012705" sldId="973"/>
        </pc:sldMkLst>
      </pc:sldChg>
      <pc:sldChg chg="del">
        <pc:chgData name="José Antonio Ureta Santacreu" userId="e36999d1-2b92-424a-9e8c-5fde0c5fbdd2" providerId="ADAL" clId="{7D8E3005-6D19-4F2A-9BE0-A2C92552758E}" dt="2024-07-24T11:52:38.892" v="56" actId="47"/>
        <pc:sldMkLst>
          <pc:docMk/>
          <pc:sldMk cId="3777636340" sldId="974"/>
        </pc:sldMkLst>
      </pc:sldChg>
      <pc:sldChg chg="del mod modShow">
        <pc:chgData name="José Antonio Ureta Santacreu" userId="e36999d1-2b92-424a-9e8c-5fde0c5fbdd2" providerId="ADAL" clId="{7D8E3005-6D19-4F2A-9BE0-A2C92552758E}" dt="2024-09-04T11:48:19.924" v="4290" actId="2696"/>
        <pc:sldMkLst>
          <pc:docMk/>
          <pc:sldMk cId="1626202579" sldId="975"/>
        </pc:sldMkLst>
      </pc:sldChg>
      <pc:sldChg chg="addSp modSp add">
        <pc:chgData name="José Antonio Ureta Santacreu" userId="e36999d1-2b92-424a-9e8c-5fde0c5fbdd2" providerId="ADAL" clId="{7D8E3005-6D19-4F2A-9BE0-A2C92552758E}" dt="2024-09-04T11:54:56.874" v="4389"/>
        <pc:sldMkLst>
          <pc:docMk/>
          <pc:sldMk cId="2786689226" sldId="975"/>
        </pc:sldMkLst>
        <pc:spChg chg="add mod">
          <ac:chgData name="José Antonio Ureta Santacreu" userId="e36999d1-2b92-424a-9e8c-5fde0c5fbdd2" providerId="ADAL" clId="{7D8E3005-6D19-4F2A-9BE0-A2C92552758E}" dt="2024-09-04T11:54:56.874" v="4389"/>
          <ac:spMkLst>
            <pc:docMk/>
            <pc:sldMk cId="2786689226" sldId="975"/>
            <ac:spMk id="4" creationId="{CB26E60A-2B43-8229-A59F-77B5207850FF}"/>
          </ac:spMkLst>
        </pc:spChg>
      </pc:sldChg>
      <pc:sldChg chg="del">
        <pc:chgData name="José Antonio Ureta Santacreu" userId="e36999d1-2b92-424a-9e8c-5fde0c5fbdd2" providerId="ADAL" clId="{7D8E3005-6D19-4F2A-9BE0-A2C92552758E}" dt="2024-07-24T11:52:38.892" v="56" actId="47"/>
        <pc:sldMkLst>
          <pc:docMk/>
          <pc:sldMk cId="365587645" sldId="977"/>
        </pc:sldMkLst>
      </pc:sldChg>
      <pc:sldChg chg="del">
        <pc:chgData name="José Antonio Ureta Santacreu" userId="e36999d1-2b92-424a-9e8c-5fde0c5fbdd2" providerId="ADAL" clId="{7D8E3005-6D19-4F2A-9BE0-A2C92552758E}" dt="2024-07-24T11:51:22.553" v="51" actId="47"/>
        <pc:sldMkLst>
          <pc:docMk/>
          <pc:sldMk cId="359481622" sldId="978"/>
        </pc:sldMkLst>
      </pc:sldChg>
      <pc:sldChg chg="del">
        <pc:chgData name="José Antonio Ureta Santacreu" userId="e36999d1-2b92-424a-9e8c-5fde0c5fbdd2" providerId="ADAL" clId="{7D8E3005-6D19-4F2A-9BE0-A2C92552758E}" dt="2024-07-24T11:51:22.553" v="51" actId="47"/>
        <pc:sldMkLst>
          <pc:docMk/>
          <pc:sldMk cId="1881616097" sldId="980"/>
        </pc:sldMkLst>
      </pc:sldChg>
      <pc:sldChg chg="del">
        <pc:chgData name="José Antonio Ureta Santacreu" userId="e36999d1-2b92-424a-9e8c-5fde0c5fbdd2" providerId="ADAL" clId="{7D8E3005-6D19-4F2A-9BE0-A2C92552758E}" dt="2024-07-24T11:52:38.892" v="56" actId="47"/>
        <pc:sldMkLst>
          <pc:docMk/>
          <pc:sldMk cId="3017111545" sldId="981"/>
        </pc:sldMkLst>
      </pc:sldChg>
      <pc:sldChg chg="del">
        <pc:chgData name="José Antonio Ureta Santacreu" userId="e36999d1-2b92-424a-9e8c-5fde0c5fbdd2" providerId="ADAL" clId="{7D8E3005-6D19-4F2A-9BE0-A2C92552758E}" dt="2024-07-24T11:51:22.553" v="51" actId="47"/>
        <pc:sldMkLst>
          <pc:docMk/>
          <pc:sldMk cId="2911196248" sldId="983"/>
        </pc:sldMkLst>
      </pc:sldChg>
      <pc:sldChg chg="del">
        <pc:chgData name="José Antonio Ureta Santacreu" userId="e36999d1-2b92-424a-9e8c-5fde0c5fbdd2" providerId="ADAL" clId="{7D8E3005-6D19-4F2A-9BE0-A2C92552758E}" dt="2024-07-24T11:56:55.774" v="68" actId="47"/>
        <pc:sldMkLst>
          <pc:docMk/>
          <pc:sldMk cId="2086083779" sldId="984"/>
        </pc:sldMkLst>
      </pc:sldChg>
      <pc:sldChg chg="del">
        <pc:chgData name="José Antonio Ureta Santacreu" userId="e36999d1-2b92-424a-9e8c-5fde0c5fbdd2" providerId="ADAL" clId="{7D8E3005-6D19-4F2A-9BE0-A2C92552758E}" dt="2024-07-24T11:51:22.553" v="51" actId="47"/>
        <pc:sldMkLst>
          <pc:docMk/>
          <pc:sldMk cId="2719354244" sldId="988"/>
        </pc:sldMkLst>
      </pc:sldChg>
      <pc:sldChg chg="addSp modSp add">
        <pc:chgData name="José Antonio Ureta Santacreu" userId="e36999d1-2b92-424a-9e8c-5fde0c5fbdd2" providerId="ADAL" clId="{7D8E3005-6D19-4F2A-9BE0-A2C92552758E}" dt="2024-07-30T09:26:56.266" v="765"/>
        <pc:sldMkLst>
          <pc:docMk/>
          <pc:sldMk cId="3679921320" sldId="989"/>
        </pc:sldMkLst>
        <pc:spChg chg="add mod">
          <ac:chgData name="José Antonio Ureta Santacreu" userId="e36999d1-2b92-424a-9e8c-5fde0c5fbdd2" providerId="ADAL" clId="{7D8E3005-6D19-4F2A-9BE0-A2C92552758E}" dt="2024-07-30T09:26:56.266" v="765"/>
          <ac:spMkLst>
            <pc:docMk/>
            <pc:sldMk cId="3679921320" sldId="989"/>
            <ac:spMk id="21" creationId="{5DBF2CE6-E22D-0701-2E0C-EDC5293B9737}"/>
          </ac:spMkLst>
        </pc:spChg>
      </pc:sldChg>
      <pc:sldChg chg="del">
        <pc:chgData name="José Antonio Ureta Santacreu" userId="e36999d1-2b92-424a-9e8c-5fde0c5fbdd2" providerId="ADAL" clId="{7D8E3005-6D19-4F2A-9BE0-A2C92552758E}" dt="2024-07-24T11:50:25.147" v="49" actId="2696"/>
        <pc:sldMkLst>
          <pc:docMk/>
          <pc:sldMk cId="3720984661" sldId="989"/>
        </pc:sldMkLst>
      </pc:sldChg>
      <pc:sldChg chg="addSp modSp add">
        <pc:chgData name="José Antonio Ureta Santacreu" userId="e36999d1-2b92-424a-9e8c-5fde0c5fbdd2" providerId="ADAL" clId="{7D8E3005-6D19-4F2A-9BE0-A2C92552758E}" dt="2024-07-30T09:27:01.947" v="766"/>
        <pc:sldMkLst>
          <pc:docMk/>
          <pc:sldMk cId="90626152" sldId="990"/>
        </pc:sldMkLst>
        <pc:spChg chg="add mod">
          <ac:chgData name="José Antonio Ureta Santacreu" userId="e36999d1-2b92-424a-9e8c-5fde0c5fbdd2" providerId="ADAL" clId="{7D8E3005-6D19-4F2A-9BE0-A2C92552758E}" dt="2024-07-30T09:27:01.947" v="766"/>
          <ac:spMkLst>
            <pc:docMk/>
            <pc:sldMk cId="90626152" sldId="990"/>
            <ac:spMk id="129" creationId="{802E8040-9E8F-86D5-4BB3-3426436835D7}"/>
          </ac:spMkLst>
        </pc:spChg>
      </pc:sldChg>
      <pc:sldChg chg="del">
        <pc:chgData name="José Antonio Ureta Santacreu" userId="e36999d1-2b92-424a-9e8c-5fde0c5fbdd2" providerId="ADAL" clId="{7D8E3005-6D19-4F2A-9BE0-A2C92552758E}" dt="2024-07-24T11:50:25.147" v="49" actId="2696"/>
        <pc:sldMkLst>
          <pc:docMk/>
          <pc:sldMk cId="2348682589" sldId="990"/>
        </pc:sldMkLst>
      </pc:sldChg>
      <pc:sldChg chg="del">
        <pc:chgData name="José Antonio Ureta Santacreu" userId="e36999d1-2b92-424a-9e8c-5fde0c5fbdd2" providerId="ADAL" clId="{7D8E3005-6D19-4F2A-9BE0-A2C92552758E}" dt="2024-07-24T11:50:25.147" v="49" actId="2696"/>
        <pc:sldMkLst>
          <pc:docMk/>
          <pc:sldMk cId="3611754905" sldId="991"/>
        </pc:sldMkLst>
      </pc:sldChg>
      <pc:sldChg chg="addSp modSp add">
        <pc:chgData name="José Antonio Ureta Santacreu" userId="e36999d1-2b92-424a-9e8c-5fde0c5fbdd2" providerId="ADAL" clId="{7D8E3005-6D19-4F2A-9BE0-A2C92552758E}" dt="2024-07-30T09:27:11.063" v="767"/>
        <pc:sldMkLst>
          <pc:docMk/>
          <pc:sldMk cId="3748997194" sldId="991"/>
        </pc:sldMkLst>
        <pc:spChg chg="add mod">
          <ac:chgData name="José Antonio Ureta Santacreu" userId="e36999d1-2b92-424a-9e8c-5fde0c5fbdd2" providerId="ADAL" clId="{7D8E3005-6D19-4F2A-9BE0-A2C92552758E}" dt="2024-07-30T09:27:11.063" v="767"/>
          <ac:spMkLst>
            <pc:docMk/>
            <pc:sldMk cId="3748997194" sldId="991"/>
            <ac:spMk id="3" creationId="{E91578CA-91B4-537A-5A66-C3F7E34BD4BA}"/>
          </ac:spMkLst>
        </pc:spChg>
      </pc:sldChg>
      <pc:sldChg chg="del">
        <pc:chgData name="José Antonio Ureta Santacreu" userId="e36999d1-2b92-424a-9e8c-5fde0c5fbdd2" providerId="ADAL" clId="{7D8E3005-6D19-4F2A-9BE0-A2C92552758E}" dt="2024-07-24T11:52:38.892" v="56" actId="47"/>
        <pc:sldMkLst>
          <pc:docMk/>
          <pc:sldMk cId="3617359023" sldId="1001"/>
        </pc:sldMkLst>
      </pc:sldChg>
      <pc:sldChg chg="mod modShow">
        <pc:chgData name="José Antonio Ureta Santacreu" userId="e36999d1-2b92-424a-9e8c-5fde0c5fbdd2" providerId="ADAL" clId="{7D8E3005-6D19-4F2A-9BE0-A2C92552758E}" dt="2024-07-29T11:30:51.706" v="159" actId="729"/>
        <pc:sldMkLst>
          <pc:docMk/>
          <pc:sldMk cId="2801306372" sldId="1045"/>
        </pc:sldMkLst>
      </pc:sldChg>
      <pc:sldChg chg="delSp modSp del mod">
        <pc:chgData name="José Antonio Ureta Santacreu" userId="e36999d1-2b92-424a-9e8c-5fde0c5fbdd2" providerId="ADAL" clId="{7D8E3005-6D19-4F2A-9BE0-A2C92552758E}" dt="2024-07-29T11:50:01.152" v="537" actId="47"/>
        <pc:sldMkLst>
          <pc:docMk/>
          <pc:sldMk cId="412263653" sldId="1047"/>
        </pc:sldMkLst>
        <pc:spChg chg="mod">
          <ac:chgData name="José Antonio Ureta Santacreu" userId="e36999d1-2b92-424a-9e8c-5fde0c5fbdd2" providerId="ADAL" clId="{7D8E3005-6D19-4F2A-9BE0-A2C92552758E}" dt="2024-07-29T11:49:59.056" v="536" actId="21"/>
          <ac:spMkLst>
            <pc:docMk/>
            <pc:sldMk cId="412263653" sldId="1047"/>
            <ac:spMk id="2" creationId="{71798DF2-2C80-4206-821A-15D75577625A}"/>
          </ac:spMkLst>
        </pc:spChg>
        <pc:spChg chg="del mod">
          <ac:chgData name="José Antonio Ureta Santacreu" userId="e36999d1-2b92-424a-9e8c-5fde0c5fbdd2" providerId="ADAL" clId="{7D8E3005-6D19-4F2A-9BE0-A2C92552758E}" dt="2024-07-29T11:49:45.254" v="533" actId="21"/>
          <ac:spMkLst>
            <pc:docMk/>
            <pc:sldMk cId="412263653" sldId="1047"/>
            <ac:spMk id="8" creationId="{4CD73FB9-7936-4FF9-BE89-0F5416F20F82}"/>
          </ac:spMkLst>
        </pc:spChg>
        <pc:spChg chg="del mod">
          <ac:chgData name="José Antonio Ureta Santacreu" userId="e36999d1-2b92-424a-9e8c-5fde0c5fbdd2" providerId="ADAL" clId="{7D8E3005-6D19-4F2A-9BE0-A2C92552758E}" dt="2024-07-29T11:49:45.254" v="533" actId="21"/>
          <ac:spMkLst>
            <pc:docMk/>
            <pc:sldMk cId="412263653" sldId="1047"/>
            <ac:spMk id="9" creationId="{F94161CF-08D3-4793-B05D-12530536C7BC}"/>
          </ac:spMkLst>
        </pc:spChg>
        <pc:graphicFrameChg chg="mod modGraphic">
          <ac:chgData name="José Antonio Ureta Santacreu" userId="e36999d1-2b92-424a-9e8c-5fde0c5fbdd2" providerId="ADAL" clId="{7D8E3005-6D19-4F2A-9BE0-A2C92552758E}" dt="2024-07-29T11:49:22.249" v="529"/>
          <ac:graphicFrameMkLst>
            <pc:docMk/>
            <pc:sldMk cId="412263653" sldId="1047"/>
            <ac:graphicFrameMk id="7" creationId="{1B7D8CE6-F253-46A2-BEE4-3CE14820D33E}"/>
          </ac:graphicFrameMkLst>
        </pc:graphicFrameChg>
      </pc:sldChg>
      <pc:sldChg chg="modSp add mod ord">
        <pc:chgData name="José Antonio Ureta Santacreu" userId="e36999d1-2b92-424a-9e8c-5fde0c5fbdd2" providerId="ADAL" clId="{7D8E3005-6D19-4F2A-9BE0-A2C92552758E}" dt="2024-09-05T10:26:32.726" v="4517" actId="20577"/>
        <pc:sldMkLst>
          <pc:docMk/>
          <pc:sldMk cId="3595669355" sldId="1048"/>
        </pc:sldMkLst>
        <pc:spChg chg="mod">
          <ac:chgData name="José Antonio Ureta Santacreu" userId="e36999d1-2b92-424a-9e8c-5fde0c5fbdd2" providerId="ADAL" clId="{7D8E3005-6D19-4F2A-9BE0-A2C92552758E}" dt="2024-09-05T10:26:32.726" v="4517" actId="20577"/>
          <ac:spMkLst>
            <pc:docMk/>
            <pc:sldMk cId="3595669355" sldId="1048"/>
            <ac:spMk id="2" creationId="{97F67DEF-2146-468D-B79D-60AEEE386D1C}"/>
          </ac:spMkLst>
        </pc:spChg>
        <pc:graphicFrameChg chg="mod">
          <ac:chgData name="José Antonio Ureta Santacreu" userId="e36999d1-2b92-424a-9e8c-5fde0c5fbdd2" providerId="ADAL" clId="{7D8E3005-6D19-4F2A-9BE0-A2C92552758E}" dt="2024-09-05T10:22:04.575" v="4487" actId="12100"/>
          <ac:graphicFrameMkLst>
            <pc:docMk/>
            <pc:sldMk cId="3595669355" sldId="1048"/>
            <ac:graphicFrameMk id="4" creationId="{0DEAC999-870C-4407-8349-6681465FB7A7}"/>
          </ac:graphicFrameMkLst>
        </pc:graphicFrameChg>
        <pc:picChg chg="mod">
          <ac:chgData name="José Antonio Ureta Santacreu" userId="e36999d1-2b92-424a-9e8c-5fde0c5fbdd2" providerId="ADAL" clId="{7D8E3005-6D19-4F2A-9BE0-A2C92552758E}" dt="2024-09-05T10:20:17.605" v="4479" actId="1076"/>
          <ac:picMkLst>
            <pc:docMk/>
            <pc:sldMk cId="3595669355" sldId="1048"/>
            <ac:picMk id="1026" creationId="{8FEA5D7C-EF67-9188-6359-A055DC5BE914}"/>
          </ac:picMkLst>
        </pc:picChg>
      </pc:sldChg>
      <pc:sldChg chg="addSp modSp del mod modShow">
        <pc:chgData name="José Antonio Ureta Santacreu" userId="e36999d1-2b92-424a-9e8c-5fde0c5fbdd2" providerId="ADAL" clId="{7D8E3005-6D19-4F2A-9BE0-A2C92552758E}" dt="2024-07-30T09:43:27.158" v="971" actId="2696"/>
        <pc:sldMkLst>
          <pc:docMk/>
          <pc:sldMk cId="4154179451" sldId="1048"/>
        </pc:sldMkLst>
        <pc:spChg chg="mod">
          <ac:chgData name="José Antonio Ureta Santacreu" userId="e36999d1-2b92-424a-9e8c-5fde0c5fbdd2" providerId="ADAL" clId="{7D8E3005-6D19-4F2A-9BE0-A2C92552758E}" dt="2024-07-30T09:33:55.637" v="808" actId="20577"/>
          <ac:spMkLst>
            <pc:docMk/>
            <pc:sldMk cId="4154179451" sldId="1048"/>
            <ac:spMk id="2" creationId="{97F67DEF-2146-468D-B79D-60AEEE386D1C}"/>
          </ac:spMkLst>
        </pc:spChg>
        <pc:graphicFrameChg chg="mod">
          <ac:chgData name="José Antonio Ureta Santacreu" userId="e36999d1-2b92-424a-9e8c-5fde0c5fbdd2" providerId="ADAL" clId="{7D8E3005-6D19-4F2A-9BE0-A2C92552758E}" dt="2024-07-30T09:38:00.943" v="921" actId="20577"/>
          <ac:graphicFrameMkLst>
            <pc:docMk/>
            <pc:sldMk cId="4154179451" sldId="1048"/>
            <ac:graphicFrameMk id="4" creationId="{0DEAC999-870C-4407-8349-6681465FB7A7}"/>
          </ac:graphicFrameMkLst>
        </pc:graphicFrameChg>
        <pc:picChg chg="add mod">
          <ac:chgData name="José Antonio Ureta Santacreu" userId="e36999d1-2b92-424a-9e8c-5fde0c5fbdd2" providerId="ADAL" clId="{7D8E3005-6D19-4F2A-9BE0-A2C92552758E}" dt="2024-07-30T09:37:39.162" v="892" actId="1076"/>
          <ac:picMkLst>
            <pc:docMk/>
            <pc:sldMk cId="4154179451" sldId="1048"/>
            <ac:picMk id="1026" creationId="{8FEA5D7C-EF67-9188-6359-A055DC5BE914}"/>
          </ac:picMkLst>
        </pc:picChg>
      </pc:sldChg>
      <pc:sldChg chg="modSp mod">
        <pc:chgData name="José Antonio Ureta Santacreu" userId="e36999d1-2b92-424a-9e8c-5fde0c5fbdd2" providerId="ADAL" clId="{7D8E3005-6D19-4F2A-9BE0-A2C92552758E}" dt="2024-07-29T11:23:07.819" v="98" actId="13926"/>
        <pc:sldMkLst>
          <pc:docMk/>
          <pc:sldMk cId="182238497" sldId="1050"/>
        </pc:sldMkLst>
        <pc:spChg chg="mod">
          <ac:chgData name="José Antonio Ureta Santacreu" userId="e36999d1-2b92-424a-9e8c-5fde0c5fbdd2" providerId="ADAL" clId="{7D8E3005-6D19-4F2A-9BE0-A2C92552758E}" dt="2024-07-29T11:23:07.819" v="98" actId="13926"/>
          <ac:spMkLst>
            <pc:docMk/>
            <pc:sldMk cId="182238497" sldId="1050"/>
            <ac:spMk id="2" creationId="{A572946E-683B-4B38-A082-57AEBBFD640E}"/>
          </ac:spMkLst>
        </pc:spChg>
      </pc:sldChg>
      <pc:sldChg chg="addSp delSp modSp mod modClrScheme chgLayout">
        <pc:chgData name="José Antonio Ureta Santacreu" userId="e36999d1-2b92-424a-9e8c-5fde0c5fbdd2" providerId="ADAL" clId="{7D8E3005-6D19-4F2A-9BE0-A2C92552758E}" dt="2024-08-27T10:49:53.309" v="3846" actId="1038"/>
        <pc:sldMkLst>
          <pc:docMk/>
          <pc:sldMk cId="2195440747" sldId="1051"/>
        </pc:sldMkLst>
        <pc:spChg chg="mod ord">
          <ac:chgData name="José Antonio Ureta Santacreu" userId="e36999d1-2b92-424a-9e8c-5fde0c5fbdd2" providerId="ADAL" clId="{7D8E3005-6D19-4F2A-9BE0-A2C92552758E}" dt="2024-07-24T11:41:25.484" v="16" actId="700"/>
          <ac:spMkLst>
            <pc:docMk/>
            <pc:sldMk cId="2195440747" sldId="1051"/>
            <ac:spMk id="2" creationId="{81980A65-6CDE-80E0-9C72-184C8503FDA1}"/>
          </ac:spMkLst>
        </pc:spChg>
        <pc:spChg chg="mod ord">
          <ac:chgData name="José Antonio Ureta Santacreu" userId="e36999d1-2b92-424a-9e8c-5fde0c5fbdd2" providerId="ADAL" clId="{7D8E3005-6D19-4F2A-9BE0-A2C92552758E}" dt="2024-07-24T11:41:25.484" v="16" actId="700"/>
          <ac:spMkLst>
            <pc:docMk/>
            <pc:sldMk cId="2195440747" sldId="1051"/>
            <ac:spMk id="3" creationId="{DD05CC26-F594-E3EE-B093-5985E7D392C5}"/>
          </ac:spMkLst>
        </pc:spChg>
        <pc:spChg chg="mod ord">
          <ac:chgData name="José Antonio Ureta Santacreu" userId="e36999d1-2b92-424a-9e8c-5fde0c5fbdd2" providerId="ADAL" clId="{7D8E3005-6D19-4F2A-9BE0-A2C92552758E}" dt="2024-07-24T11:41:25.484" v="16" actId="700"/>
          <ac:spMkLst>
            <pc:docMk/>
            <pc:sldMk cId="2195440747" sldId="1051"/>
            <ac:spMk id="4" creationId="{DDEA2CBA-3BB2-C3A9-EC0D-564DEA8F0664}"/>
          </ac:spMkLst>
        </pc:spChg>
        <pc:spChg chg="mod ord">
          <ac:chgData name="José Antonio Ureta Santacreu" userId="e36999d1-2b92-424a-9e8c-5fde0c5fbdd2" providerId="ADAL" clId="{7D8E3005-6D19-4F2A-9BE0-A2C92552758E}" dt="2024-07-24T11:41:25.484" v="16" actId="700"/>
          <ac:spMkLst>
            <pc:docMk/>
            <pc:sldMk cId="2195440747" sldId="1051"/>
            <ac:spMk id="5" creationId="{D4D92A38-0DF4-E85D-FBCC-F80064E7F5DE}"/>
          </ac:spMkLst>
        </pc:spChg>
        <pc:spChg chg="add mod">
          <ac:chgData name="José Antonio Ureta Santacreu" userId="e36999d1-2b92-424a-9e8c-5fde0c5fbdd2" providerId="ADAL" clId="{7D8E3005-6D19-4F2A-9BE0-A2C92552758E}" dt="2024-07-24T11:43:01.587" v="19" actId="113"/>
          <ac:spMkLst>
            <pc:docMk/>
            <pc:sldMk cId="2195440747" sldId="1051"/>
            <ac:spMk id="6" creationId="{E227ABA5-8A69-DBD9-21E9-C7735BE61837}"/>
          </ac:spMkLst>
        </pc:spChg>
        <pc:spChg chg="add del mod ord">
          <ac:chgData name="José Antonio Ureta Santacreu" userId="e36999d1-2b92-424a-9e8c-5fde0c5fbdd2" providerId="ADAL" clId="{7D8E3005-6D19-4F2A-9BE0-A2C92552758E}" dt="2024-07-24T11:42:23.714" v="17"/>
          <ac:spMkLst>
            <pc:docMk/>
            <pc:sldMk cId="2195440747" sldId="1051"/>
            <ac:spMk id="7" creationId="{24979FAF-DFE5-075E-F7FF-52CBD16FBF26}"/>
          </ac:spMkLst>
        </pc:spChg>
        <pc:spChg chg="add del mod">
          <ac:chgData name="José Antonio Ureta Santacreu" userId="e36999d1-2b92-424a-9e8c-5fde0c5fbdd2" providerId="ADAL" clId="{7D8E3005-6D19-4F2A-9BE0-A2C92552758E}" dt="2024-08-27T10:49:01.762" v="3827"/>
          <ac:spMkLst>
            <pc:docMk/>
            <pc:sldMk cId="2195440747" sldId="1051"/>
            <ac:spMk id="9" creationId="{2DB171A3-3E20-E8AE-E7B5-C10C09CC603C}"/>
          </ac:spMkLst>
        </pc:spChg>
        <pc:spChg chg="add mod">
          <ac:chgData name="José Antonio Ureta Santacreu" userId="e36999d1-2b92-424a-9e8c-5fde0c5fbdd2" providerId="ADAL" clId="{7D8E3005-6D19-4F2A-9BE0-A2C92552758E}" dt="2024-08-27T10:49:16.537" v="3829" actId="21"/>
          <ac:spMkLst>
            <pc:docMk/>
            <pc:sldMk cId="2195440747" sldId="1051"/>
            <ac:spMk id="12" creationId="{34BF3E7C-02D6-E827-460F-F5BF1AC22934}"/>
          </ac:spMkLst>
        </pc:spChg>
        <pc:picChg chg="add del mod">
          <ac:chgData name="José Antonio Ureta Santacreu" userId="e36999d1-2b92-424a-9e8c-5fde0c5fbdd2" providerId="ADAL" clId="{7D8E3005-6D19-4F2A-9BE0-A2C92552758E}" dt="2024-08-27T10:48:59.239" v="3826" actId="478"/>
          <ac:picMkLst>
            <pc:docMk/>
            <pc:sldMk cId="2195440747" sldId="1051"/>
            <ac:picMk id="8" creationId="{75F43B2B-2662-3A9B-5E42-C9A82B710AE1}"/>
          </ac:picMkLst>
        </pc:picChg>
        <pc:picChg chg="add del mod">
          <ac:chgData name="José Antonio Ureta Santacreu" userId="e36999d1-2b92-424a-9e8c-5fde0c5fbdd2" providerId="ADAL" clId="{7D8E3005-6D19-4F2A-9BE0-A2C92552758E}" dt="2024-08-27T10:49:16.537" v="3829" actId="21"/>
          <ac:picMkLst>
            <pc:docMk/>
            <pc:sldMk cId="2195440747" sldId="1051"/>
            <ac:picMk id="10" creationId="{1B58E521-25C5-A7BE-309F-C9666696E00E}"/>
          </ac:picMkLst>
        </pc:picChg>
        <pc:picChg chg="add mod modCrop">
          <ac:chgData name="José Antonio Ureta Santacreu" userId="e36999d1-2b92-424a-9e8c-5fde0c5fbdd2" providerId="ADAL" clId="{7D8E3005-6D19-4F2A-9BE0-A2C92552758E}" dt="2024-08-27T10:49:53.309" v="3846" actId="1038"/>
          <ac:picMkLst>
            <pc:docMk/>
            <pc:sldMk cId="2195440747" sldId="1051"/>
            <ac:picMk id="13" creationId="{1B58E521-25C5-A7BE-309F-C9666696E00E}"/>
          </ac:picMkLst>
        </pc:picChg>
      </pc:sldChg>
      <pc:sldChg chg="modSp del mod modShow">
        <pc:chgData name="José Antonio Ureta Santacreu" userId="e36999d1-2b92-424a-9e8c-5fde0c5fbdd2" providerId="ADAL" clId="{7D8E3005-6D19-4F2A-9BE0-A2C92552758E}" dt="2024-07-30T09:43:27.158" v="971" actId="2696"/>
        <pc:sldMkLst>
          <pc:docMk/>
          <pc:sldMk cId="2775974042" sldId="1054"/>
        </pc:sldMkLst>
        <pc:spChg chg="mod">
          <ac:chgData name="José Antonio Ureta Santacreu" userId="e36999d1-2b92-424a-9e8c-5fde0c5fbdd2" providerId="ADAL" clId="{7D8E3005-6D19-4F2A-9BE0-A2C92552758E}" dt="2024-07-30T09:34:14.112" v="847" actId="20577"/>
          <ac:spMkLst>
            <pc:docMk/>
            <pc:sldMk cId="2775974042" sldId="1054"/>
            <ac:spMk id="2" creationId="{D47644B7-1505-41DB-9541-2BF3CEC99C75}"/>
          </ac:spMkLst>
        </pc:spChg>
      </pc:sldChg>
      <pc:sldChg chg="add del">
        <pc:chgData name="José Antonio Ureta Santacreu" userId="e36999d1-2b92-424a-9e8c-5fde0c5fbdd2" providerId="ADAL" clId="{7D8E3005-6D19-4F2A-9BE0-A2C92552758E}" dt="2024-09-05T10:25:48.686" v="4494" actId="47"/>
        <pc:sldMkLst>
          <pc:docMk/>
          <pc:sldMk cId="4087162631" sldId="1054"/>
        </pc:sldMkLst>
      </pc:sldChg>
      <pc:sldChg chg="del">
        <pc:chgData name="José Antonio Ureta Santacreu" userId="e36999d1-2b92-424a-9e8c-5fde0c5fbdd2" providerId="ADAL" clId="{7D8E3005-6D19-4F2A-9BE0-A2C92552758E}" dt="2024-07-24T11:56:55.774" v="68" actId="47"/>
        <pc:sldMkLst>
          <pc:docMk/>
          <pc:sldMk cId="3634255984" sldId="1055"/>
        </pc:sldMkLst>
      </pc:sldChg>
      <pc:sldChg chg="del">
        <pc:chgData name="José Antonio Ureta Santacreu" userId="e36999d1-2b92-424a-9e8c-5fde0c5fbdd2" providerId="ADAL" clId="{7D8E3005-6D19-4F2A-9BE0-A2C92552758E}" dt="2024-07-24T11:52:38.892" v="56" actId="47"/>
        <pc:sldMkLst>
          <pc:docMk/>
          <pc:sldMk cId="2985541830" sldId="1058"/>
        </pc:sldMkLst>
      </pc:sldChg>
      <pc:sldChg chg="del">
        <pc:chgData name="José Antonio Ureta Santacreu" userId="e36999d1-2b92-424a-9e8c-5fde0c5fbdd2" providerId="ADAL" clId="{7D8E3005-6D19-4F2A-9BE0-A2C92552758E}" dt="2024-07-24T11:54:46.407" v="60" actId="47"/>
        <pc:sldMkLst>
          <pc:docMk/>
          <pc:sldMk cId="655087236" sldId="1060"/>
        </pc:sldMkLst>
      </pc:sldChg>
      <pc:sldChg chg="del">
        <pc:chgData name="José Antonio Ureta Santacreu" userId="e36999d1-2b92-424a-9e8c-5fde0c5fbdd2" providerId="ADAL" clId="{7D8E3005-6D19-4F2A-9BE0-A2C92552758E}" dt="2024-07-24T11:54:46.407" v="60" actId="47"/>
        <pc:sldMkLst>
          <pc:docMk/>
          <pc:sldMk cId="3652038064" sldId="1063"/>
        </pc:sldMkLst>
      </pc:sldChg>
      <pc:sldChg chg="del">
        <pc:chgData name="José Antonio Ureta Santacreu" userId="e36999d1-2b92-424a-9e8c-5fde0c5fbdd2" providerId="ADAL" clId="{7D8E3005-6D19-4F2A-9BE0-A2C92552758E}" dt="2024-07-24T11:54:46.407" v="60" actId="47"/>
        <pc:sldMkLst>
          <pc:docMk/>
          <pc:sldMk cId="2936079624" sldId="1064"/>
        </pc:sldMkLst>
      </pc:sldChg>
      <pc:sldChg chg="del">
        <pc:chgData name="José Antonio Ureta Santacreu" userId="e36999d1-2b92-424a-9e8c-5fde0c5fbdd2" providerId="ADAL" clId="{7D8E3005-6D19-4F2A-9BE0-A2C92552758E}" dt="2024-07-24T11:54:46.407" v="60" actId="47"/>
        <pc:sldMkLst>
          <pc:docMk/>
          <pc:sldMk cId="1253425372" sldId="1065"/>
        </pc:sldMkLst>
      </pc:sldChg>
      <pc:sldChg chg="del">
        <pc:chgData name="José Antonio Ureta Santacreu" userId="e36999d1-2b92-424a-9e8c-5fde0c5fbdd2" providerId="ADAL" clId="{7D8E3005-6D19-4F2A-9BE0-A2C92552758E}" dt="2024-07-24T11:54:46.407" v="60" actId="47"/>
        <pc:sldMkLst>
          <pc:docMk/>
          <pc:sldMk cId="3168228669" sldId="1066"/>
        </pc:sldMkLst>
      </pc:sldChg>
      <pc:sldChg chg="del">
        <pc:chgData name="José Antonio Ureta Santacreu" userId="e36999d1-2b92-424a-9e8c-5fde0c5fbdd2" providerId="ADAL" clId="{7D8E3005-6D19-4F2A-9BE0-A2C92552758E}" dt="2024-07-24T11:54:46.407" v="60" actId="47"/>
        <pc:sldMkLst>
          <pc:docMk/>
          <pc:sldMk cId="2043141374" sldId="1068"/>
        </pc:sldMkLst>
      </pc:sldChg>
      <pc:sldChg chg="addSp delSp modSp add mod modClrScheme chgLayout">
        <pc:chgData name="José Antonio Ureta Santacreu" userId="e36999d1-2b92-424a-9e8c-5fde0c5fbdd2" providerId="ADAL" clId="{7D8E3005-6D19-4F2A-9BE0-A2C92552758E}" dt="2024-07-30T09:47:01.564" v="974"/>
        <pc:sldMkLst>
          <pc:docMk/>
          <pc:sldMk cId="2068796476" sldId="1069"/>
        </pc:sldMkLst>
        <pc:spChg chg="mod ord">
          <ac:chgData name="José Antonio Ureta Santacreu" userId="e36999d1-2b92-424a-9e8c-5fde0c5fbdd2" providerId="ADAL" clId="{7D8E3005-6D19-4F2A-9BE0-A2C92552758E}" dt="2024-07-30T09:43:59.700" v="973" actId="700"/>
          <ac:spMkLst>
            <pc:docMk/>
            <pc:sldMk cId="2068796476" sldId="1069"/>
            <ac:spMk id="2" creationId="{3B24C5D7-4297-4B1B-84F7-2A5CB725A813}"/>
          </ac:spMkLst>
        </pc:spChg>
        <pc:spChg chg="mod ord">
          <ac:chgData name="José Antonio Ureta Santacreu" userId="e36999d1-2b92-424a-9e8c-5fde0c5fbdd2" providerId="ADAL" clId="{7D8E3005-6D19-4F2A-9BE0-A2C92552758E}" dt="2024-07-30T09:43:59.700" v="973" actId="700"/>
          <ac:spMkLst>
            <pc:docMk/>
            <pc:sldMk cId="2068796476" sldId="1069"/>
            <ac:spMk id="3" creationId="{4E431116-E38B-4C4D-A2DC-E2F00B012A94}"/>
          </ac:spMkLst>
        </pc:spChg>
        <pc:spChg chg="mod ord">
          <ac:chgData name="José Antonio Ureta Santacreu" userId="e36999d1-2b92-424a-9e8c-5fde0c5fbdd2" providerId="ADAL" clId="{7D8E3005-6D19-4F2A-9BE0-A2C92552758E}" dt="2024-07-30T09:43:59.700" v="973" actId="700"/>
          <ac:spMkLst>
            <pc:docMk/>
            <pc:sldMk cId="2068796476" sldId="1069"/>
            <ac:spMk id="4" creationId="{04A1A54B-B9D9-4C85-A692-9BE9977AFD05}"/>
          </ac:spMkLst>
        </pc:spChg>
        <pc:spChg chg="mod ord">
          <ac:chgData name="José Antonio Ureta Santacreu" userId="e36999d1-2b92-424a-9e8c-5fde0c5fbdd2" providerId="ADAL" clId="{7D8E3005-6D19-4F2A-9BE0-A2C92552758E}" dt="2024-07-30T09:43:59.700" v="973" actId="700"/>
          <ac:spMkLst>
            <pc:docMk/>
            <pc:sldMk cId="2068796476" sldId="1069"/>
            <ac:spMk id="5" creationId="{2D5F6321-5D15-4B92-AC91-C46CE1C20E61}"/>
          </ac:spMkLst>
        </pc:spChg>
        <pc:spChg chg="add del mod ord">
          <ac:chgData name="José Antonio Ureta Santacreu" userId="e36999d1-2b92-424a-9e8c-5fde0c5fbdd2" providerId="ADAL" clId="{7D8E3005-6D19-4F2A-9BE0-A2C92552758E}" dt="2024-07-30T09:47:01.564" v="974"/>
          <ac:spMkLst>
            <pc:docMk/>
            <pc:sldMk cId="2068796476" sldId="1069"/>
            <ac:spMk id="6" creationId="{53BEEE17-C609-8A52-86E1-A8B466502864}"/>
          </ac:spMkLst>
        </pc:spChg>
        <pc:picChg chg="add mod">
          <ac:chgData name="José Antonio Ureta Santacreu" userId="e36999d1-2b92-424a-9e8c-5fde0c5fbdd2" providerId="ADAL" clId="{7D8E3005-6D19-4F2A-9BE0-A2C92552758E}" dt="2024-07-30T09:47:01.564" v="974"/>
          <ac:picMkLst>
            <pc:docMk/>
            <pc:sldMk cId="2068796476" sldId="1069"/>
            <ac:picMk id="7" creationId="{F744F4E7-55D9-EE71-43A2-3DF05A67017F}"/>
          </ac:picMkLst>
        </pc:picChg>
      </pc:sldChg>
      <pc:sldChg chg="del">
        <pc:chgData name="José Antonio Ureta Santacreu" userId="e36999d1-2b92-424a-9e8c-5fde0c5fbdd2" providerId="ADAL" clId="{7D8E3005-6D19-4F2A-9BE0-A2C92552758E}" dt="2024-07-30T09:41:47.246" v="968" actId="2696"/>
        <pc:sldMkLst>
          <pc:docMk/>
          <pc:sldMk cId="2956281143" sldId="1069"/>
        </pc:sldMkLst>
      </pc:sldChg>
      <pc:sldChg chg="del">
        <pc:chgData name="José Antonio Ureta Santacreu" userId="e36999d1-2b92-424a-9e8c-5fde0c5fbdd2" providerId="ADAL" clId="{7D8E3005-6D19-4F2A-9BE0-A2C92552758E}" dt="2024-07-24T11:52:04.568" v="54" actId="47"/>
        <pc:sldMkLst>
          <pc:docMk/>
          <pc:sldMk cId="3206531616" sldId="1070"/>
        </pc:sldMkLst>
      </pc:sldChg>
      <pc:sldChg chg="del">
        <pc:chgData name="José Antonio Ureta Santacreu" userId="e36999d1-2b92-424a-9e8c-5fde0c5fbdd2" providerId="ADAL" clId="{7D8E3005-6D19-4F2A-9BE0-A2C92552758E}" dt="2024-07-24T11:52:24.421" v="55" actId="47"/>
        <pc:sldMkLst>
          <pc:docMk/>
          <pc:sldMk cId="2858748233" sldId="1071"/>
        </pc:sldMkLst>
      </pc:sldChg>
      <pc:sldChg chg="del">
        <pc:chgData name="José Antonio Ureta Santacreu" userId="e36999d1-2b92-424a-9e8c-5fde0c5fbdd2" providerId="ADAL" clId="{7D8E3005-6D19-4F2A-9BE0-A2C92552758E}" dt="2024-07-24T11:52:24.421" v="55" actId="47"/>
        <pc:sldMkLst>
          <pc:docMk/>
          <pc:sldMk cId="1558983318" sldId="1072"/>
        </pc:sldMkLst>
      </pc:sldChg>
      <pc:sldChg chg="addSp delSp modSp mod ord modClrScheme delAnim modShow chgLayout">
        <pc:chgData name="José Antonio Ureta Santacreu" userId="e36999d1-2b92-424a-9e8c-5fde0c5fbdd2" providerId="ADAL" clId="{7D8E3005-6D19-4F2A-9BE0-A2C92552758E}" dt="2024-07-30T10:36:08.341" v="1831" actId="18653"/>
        <pc:sldMkLst>
          <pc:docMk/>
          <pc:sldMk cId="747929101" sldId="1076"/>
        </pc:sldMkLst>
        <pc:spChg chg="mod ord">
          <ac:chgData name="José Antonio Ureta Santacreu" userId="e36999d1-2b92-424a-9e8c-5fde0c5fbdd2" providerId="ADAL" clId="{7D8E3005-6D19-4F2A-9BE0-A2C92552758E}" dt="2024-07-30T10:35:31.170" v="1821" actId="700"/>
          <ac:spMkLst>
            <pc:docMk/>
            <pc:sldMk cId="747929101" sldId="1076"/>
            <ac:spMk id="2" creationId="{6A3CDBAC-F7AE-541F-E98B-5E3306339273}"/>
          </ac:spMkLst>
        </pc:spChg>
        <pc:spChg chg="mod ord">
          <ac:chgData name="José Antonio Ureta Santacreu" userId="e36999d1-2b92-424a-9e8c-5fde0c5fbdd2" providerId="ADAL" clId="{7D8E3005-6D19-4F2A-9BE0-A2C92552758E}" dt="2024-07-30T10:35:31.170" v="1821" actId="700"/>
          <ac:spMkLst>
            <pc:docMk/>
            <pc:sldMk cId="747929101" sldId="1076"/>
            <ac:spMk id="3" creationId="{2DDA1D66-593C-B198-92F9-B129A37323B4}"/>
          </ac:spMkLst>
        </pc:spChg>
        <pc:spChg chg="mod ord">
          <ac:chgData name="José Antonio Ureta Santacreu" userId="e36999d1-2b92-424a-9e8c-5fde0c5fbdd2" providerId="ADAL" clId="{7D8E3005-6D19-4F2A-9BE0-A2C92552758E}" dt="2024-07-30T10:35:31.170" v="1821" actId="700"/>
          <ac:spMkLst>
            <pc:docMk/>
            <pc:sldMk cId="747929101" sldId="1076"/>
            <ac:spMk id="4" creationId="{63BC7A88-7835-CE56-EA3F-3F274240699D}"/>
          </ac:spMkLst>
        </pc:spChg>
        <pc:spChg chg="mod ord">
          <ac:chgData name="José Antonio Ureta Santacreu" userId="e36999d1-2b92-424a-9e8c-5fde0c5fbdd2" providerId="ADAL" clId="{7D8E3005-6D19-4F2A-9BE0-A2C92552758E}" dt="2024-07-30T10:35:31.170" v="1821" actId="700"/>
          <ac:spMkLst>
            <pc:docMk/>
            <pc:sldMk cId="747929101" sldId="1076"/>
            <ac:spMk id="5" creationId="{B75AE4C6-A1C6-71B7-69CD-7E8C3B3CCA24}"/>
          </ac:spMkLst>
        </pc:spChg>
        <pc:spChg chg="add del mod">
          <ac:chgData name="José Antonio Ureta Santacreu" userId="e36999d1-2b92-424a-9e8c-5fde0c5fbdd2" providerId="ADAL" clId="{7D8E3005-6D19-4F2A-9BE0-A2C92552758E}" dt="2024-07-30T10:24:44.436" v="1665" actId="6264"/>
          <ac:spMkLst>
            <pc:docMk/>
            <pc:sldMk cId="747929101" sldId="1076"/>
            <ac:spMk id="6" creationId="{C54D0AEB-8F76-F504-50E6-73325676A96D}"/>
          </ac:spMkLst>
        </pc:spChg>
        <pc:spChg chg="add del mod">
          <ac:chgData name="José Antonio Ureta Santacreu" userId="e36999d1-2b92-424a-9e8c-5fde0c5fbdd2" providerId="ADAL" clId="{7D8E3005-6D19-4F2A-9BE0-A2C92552758E}" dt="2024-07-30T10:24:44.436" v="1665" actId="6264"/>
          <ac:spMkLst>
            <pc:docMk/>
            <pc:sldMk cId="747929101" sldId="1076"/>
            <ac:spMk id="7" creationId="{47038D2A-5CC5-2A77-1B2A-7C2B4538BDAD}"/>
          </ac:spMkLst>
        </pc:spChg>
        <pc:spChg chg="add del mod">
          <ac:chgData name="José Antonio Ureta Santacreu" userId="e36999d1-2b92-424a-9e8c-5fde0c5fbdd2" providerId="ADAL" clId="{7D8E3005-6D19-4F2A-9BE0-A2C92552758E}" dt="2024-07-30T10:24:44.436" v="1665" actId="6264"/>
          <ac:spMkLst>
            <pc:docMk/>
            <pc:sldMk cId="747929101" sldId="1076"/>
            <ac:spMk id="8" creationId="{8298B008-9BA8-F398-8158-9DB036B8DEC7}"/>
          </ac:spMkLst>
        </pc:spChg>
        <pc:spChg chg="del mod">
          <ac:chgData name="José Antonio Ureta Santacreu" userId="e36999d1-2b92-424a-9e8c-5fde0c5fbdd2" providerId="ADAL" clId="{7D8E3005-6D19-4F2A-9BE0-A2C92552758E}" dt="2024-07-30T10:24:44.436" v="1665" actId="6264"/>
          <ac:spMkLst>
            <pc:docMk/>
            <pc:sldMk cId="747929101" sldId="1076"/>
            <ac:spMk id="9" creationId="{E6FF59C4-02CF-8064-BF8A-2FE0CB2ED62C}"/>
          </ac:spMkLst>
        </pc:spChg>
        <pc:spChg chg="add del mod">
          <ac:chgData name="José Antonio Ureta Santacreu" userId="e36999d1-2b92-424a-9e8c-5fde0c5fbdd2" providerId="ADAL" clId="{7D8E3005-6D19-4F2A-9BE0-A2C92552758E}" dt="2024-07-30T10:24:44.436" v="1665" actId="6264"/>
          <ac:spMkLst>
            <pc:docMk/>
            <pc:sldMk cId="747929101" sldId="1076"/>
            <ac:spMk id="10" creationId="{2E2FCBAD-EAFA-FB1A-D85E-F6F8985E3C1B}"/>
          </ac:spMkLst>
        </pc:spChg>
        <pc:spChg chg="add del mod">
          <ac:chgData name="José Antonio Ureta Santacreu" userId="e36999d1-2b92-424a-9e8c-5fde0c5fbdd2" providerId="ADAL" clId="{7D8E3005-6D19-4F2A-9BE0-A2C92552758E}" dt="2024-07-30T10:24:44.436" v="1665" actId="6264"/>
          <ac:spMkLst>
            <pc:docMk/>
            <pc:sldMk cId="747929101" sldId="1076"/>
            <ac:spMk id="11" creationId="{455BC812-51A0-5C6A-79ED-50E557C17F80}"/>
          </ac:spMkLst>
        </pc:spChg>
        <pc:spChg chg="del mod">
          <ac:chgData name="José Antonio Ureta Santacreu" userId="e36999d1-2b92-424a-9e8c-5fde0c5fbdd2" providerId="ADAL" clId="{7D8E3005-6D19-4F2A-9BE0-A2C92552758E}" dt="2024-07-30T10:25:05.790" v="1669" actId="478"/>
          <ac:spMkLst>
            <pc:docMk/>
            <pc:sldMk cId="747929101" sldId="1076"/>
            <ac:spMk id="12" creationId="{8ED920B6-C2F7-5887-3395-2CF72BF10DED}"/>
          </ac:spMkLst>
        </pc:spChg>
        <pc:spChg chg="add mod ord">
          <ac:chgData name="José Antonio Ureta Santacreu" userId="e36999d1-2b92-424a-9e8c-5fde0c5fbdd2" providerId="ADAL" clId="{7D8E3005-6D19-4F2A-9BE0-A2C92552758E}" dt="2024-07-30T10:35:31.254" v="1822" actId="27636"/>
          <ac:spMkLst>
            <pc:docMk/>
            <pc:sldMk cId="747929101" sldId="1076"/>
            <ac:spMk id="13" creationId="{AA79FC2E-1ADD-5FEF-8568-A2AB3F32AA96}"/>
          </ac:spMkLst>
        </pc:spChg>
        <pc:spChg chg="add del mod ord">
          <ac:chgData name="José Antonio Ureta Santacreu" userId="e36999d1-2b92-424a-9e8c-5fde0c5fbdd2" providerId="ADAL" clId="{7D8E3005-6D19-4F2A-9BE0-A2C92552758E}" dt="2024-07-30T10:35:31.170" v="1821" actId="700"/>
          <ac:spMkLst>
            <pc:docMk/>
            <pc:sldMk cId="747929101" sldId="1076"/>
            <ac:spMk id="14" creationId="{4368DEA7-6FFA-160F-7975-8C9483EAC763}"/>
          </ac:spMkLst>
        </pc:spChg>
        <pc:spChg chg="add del mod ord">
          <ac:chgData name="José Antonio Ureta Santacreu" userId="e36999d1-2b92-424a-9e8c-5fde0c5fbdd2" providerId="ADAL" clId="{7D8E3005-6D19-4F2A-9BE0-A2C92552758E}" dt="2024-07-30T10:35:34.778" v="1823"/>
          <ac:spMkLst>
            <pc:docMk/>
            <pc:sldMk cId="747929101" sldId="1076"/>
            <ac:spMk id="15" creationId="{1817F335-FAEE-211F-64C0-EB1D9E8BCFA8}"/>
          </ac:spMkLst>
        </pc:spChg>
        <pc:spChg chg="add del mod">
          <ac:chgData name="José Antonio Ureta Santacreu" userId="e36999d1-2b92-424a-9e8c-5fde0c5fbdd2" providerId="ADAL" clId="{7D8E3005-6D19-4F2A-9BE0-A2C92552758E}" dt="2024-07-30T10:36:03.393" v="1830"/>
          <ac:spMkLst>
            <pc:docMk/>
            <pc:sldMk cId="747929101" sldId="1076"/>
            <ac:spMk id="16" creationId="{12CED6E7-BC64-094B-752E-02F92429C806}"/>
          </ac:spMkLst>
        </pc:spChg>
        <pc:spChg chg="del">
          <ac:chgData name="José Antonio Ureta Santacreu" userId="e36999d1-2b92-424a-9e8c-5fde0c5fbdd2" providerId="ADAL" clId="{7D8E3005-6D19-4F2A-9BE0-A2C92552758E}" dt="2024-07-30T10:06:45.931" v="1026" actId="21"/>
          <ac:spMkLst>
            <pc:docMk/>
            <pc:sldMk cId="747929101" sldId="1076"/>
            <ac:spMk id="18" creationId="{7D59AF11-5FCB-F2FC-D8B7-1EFC53C385F5}"/>
          </ac:spMkLst>
        </pc:spChg>
        <pc:picChg chg="del mod ord">
          <ac:chgData name="José Antonio Ureta Santacreu" userId="e36999d1-2b92-424a-9e8c-5fde0c5fbdd2" providerId="ADAL" clId="{7D8E3005-6D19-4F2A-9BE0-A2C92552758E}" dt="2024-07-30T10:24:50.304" v="1666" actId="478"/>
          <ac:picMkLst>
            <pc:docMk/>
            <pc:sldMk cId="747929101" sldId="1076"/>
            <ac:picMk id="17" creationId="{F12D818E-EE4B-E78B-0405-31D7511F004C}"/>
          </ac:picMkLst>
        </pc:picChg>
        <pc:picChg chg="add mod">
          <ac:chgData name="José Antonio Ureta Santacreu" userId="e36999d1-2b92-424a-9e8c-5fde0c5fbdd2" providerId="ADAL" clId="{7D8E3005-6D19-4F2A-9BE0-A2C92552758E}" dt="2024-07-30T10:36:08.341" v="1831" actId="18653"/>
          <ac:picMkLst>
            <pc:docMk/>
            <pc:sldMk cId="747929101" sldId="1076"/>
            <ac:picMk id="19" creationId="{6E9F70FA-A2FC-7643-34AF-90FFF4FFE449}"/>
          </ac:picMkLst>
        </pc:picChg>
        <pc:picChg chg="add del mod">
          <ac:chgData name="José Antonio Ureta Santacreu" userId="e36999d1-2b92-424a-9e8c-5fde0c5fbdd2" providerId="ADAL" clId="{7D8E3005-6D19-4F2A-9BE0-A2C92552758E}" dt="2024-07-30T10:35:58.483" v="1828" actId="478"/>
          <ac:picMkLst>
            <pc:docMk/>
            <pc:sldMk cId="747929101" sldId="1076"/>
            <ac:picMk id="4098" creationId="{59D45796-E8C7-7D1E-3ED6-8F175CA3E01E}"/>
          </ac:picMkLst>
        </pc:picChg>
        <pc:picChg chg="add del mod">
          <ac:chgData name="José Antonio Ureta Santacreu" userId="e36999d1-2b92-424a-9e8c-5fde0c5fbdd2" providerId="ADAL" clId="{7D8E3005-6D19-4F2A-9BE0-A2C92552758E}" dt="2024-07-30T10:36:00.652" v="1829" actId="21"/>
          <ac:picMkLst>
            <pc:docMk/>
            <pc:sldMk cId="747929101" sldId="1076"/>
            <ac:picMk id="4100" creationId="{6E9F70FA-A2FC-7643-34AF-90FFF4FFE449}"/>
          </ac:picMkLst>
        </pc:picChg>
      </pc:sldChg>
      <pc:sldChg chg="modSp mod">
        <pc:chgData name="José Antonio Ureta Santacreu" userId="e36999d1-2b92-424a-9e8c-5fde0c5fbdd2" providerId="ADAL" clId="{7D8E3005-6D19-4F2A-9BE0-A2C92552758E}" dt="2024-09-19T09:21:44.993" v="4947" actId="27636"/>
        <pc:sldMkLst>
          <pc:docMk/>
          <pc:sldMk cId="191203139" sldId="1077"/>
        </pc:sldMkLst>
        <pc:spChg chg="mod">
          <ac:chgData name="José Antonio Ureta Santacreu" userId="e36999d1-2b92-424a-9e8c-5fde0c5fbdd2" providerId="ADAL" clId="{7D8E3005-6D19-4F2A-9BE0-A2C92552758E}" dt="2024-09-19T09:21:44.993" v="4947" actId="27636"/>
          <ac:spMkLst>
            <pc:docMk/>
            <pc:sldMk cId="191203139" sldId="1077"/>
            <ac:spMk id="8" creationId="{587DBE25-367A-B7DD-4740-0FD296BBC14B}"/>
          </ac:spMkLst>
        </pc:spChg>
      </pc:sldChg>
      <pc:sldChg chg="delSp mod">
        <pc:chgData name="José Antonio Ureta Santacreu" userId="e36999d1-2b92-424a-9e8c-5fde0c5fbdd2" providerId="ADAL" clId="{7D8E3005-6D19-4F2A-9BE0-A2C92552758E}" dt="2024-08-27T10:41:03.198" v="3705" actId="478"/>
        <pc:sldMkLst>
          <pc:docMk/>
          <pc:sldMk cId="417804247" sldId="1078"/>
        </pc:sldMkLst>
        <pc:spChg chg="del">
          <ac:chgData name="José Antonio Ureta Santacreu" userId="e36999d1-2b92-424a-9e8c-5fde0c5fbdd2" providerId="ADAL" clId="{7D8E3005-6D19-4F2A-9BE0-A2C92552758E}" dt="2024-08-27T10:41:03.198" v="3705" actId="478"/>
          <ac:spMkLst>
            <pc:docMk/>
            <pc:sldMk cId="417804247" sldId="1078"/>
            <ac:spMk id="11" creationId="{7D27C664-39CD-1A4B-9255-24CCB4870D85}"/>
          </ac:spMkLst>
        </pc:spChg>
      </pc:sldChg>
      <pc:sldChg chg="addSp delSp modSp del mod modClrScheme modShow chgLayout">
        <pc:chgData name="José Antonio Ureta Santacreu" userId="e36999d1-2b92-424a-9e8c-5fde0c5fbdd2" providerId="ADAL" clId="{7D8E3005-6D19-4F2A-9BE0-A2C92552758E}" dt="2024-09-04T11:39:32.932" v="4280" actId="2696"/>
        <pc:sldMkLst>
          <pc:docMk/>
          <pc:sldMk cId="2177933492" sldId="1080"/>
        </pc:sldMkLst>
        <pc:spChg chg="mod ord">
          <ac:chgData name="José Antonio Ureta Santacreu" userId="e36999d1-2b92-424a-9e8c-5fde0c5fbdd2" providerId="ADAL" clId="{7D8E3005-6D19-4F2A-9BE0-A2C92552758E}" dt="2024-07-29T11:28:35.321" v="154" actId="20577"/>
          <ac:spMkLst>
            <pc:docMk/>
            <pc:sldMk cId="2177933492" sldId="1080"/>
            <ac:spMk id="2" creationId="{E5EAAB33-9C71-490F-8BE6-0312A8B9F4B9}"/>
          </ac:spMkLst>
        </pc:spChg>
        <pc:spChg chg="mod ord">
          <ac:chgData name="José Antonio Ureta Santacreu" userId="e36999d1-2b92-424a-9e8c-5fde0c5fbdd2" providerId="ADAL" clId="{7D8E3005-6D19-4F2A-9BE0-A2C92552758E}" dt="2024-07-29T11:24:18.046" v="100" actId="700"/>
          <ac:spMkLst>
            <pc:docMk/>
            <pc:sldMk cId="2177933492" sldId="1080"/>
            <ac:spMk id="3" creationId="{95474DAF-1263-4BE2-8E5F-A6D023BA7DE1}"/>
          </ac:spMkLst>
        </pc:spChg>
        <pc:spChg chg="mod ord">
          <ac:chgData name="José Antonio Ureta Santacreu" userId="e36999d1-2b92-424a-9e8c-5fde0c5fbdd2" providerId="ADAL" clId="{7D8E3005-6D19-4F2A-9BE0-A2C92552758E}" dt="2024-07-29T11:24:18.046" v="100" actId="700"/>
          <ac:spMkLst>
            <pc:docMk/>
            <pc:sldMk cId="2177933492" sldId="1080"/>
            <ac:spMk id="4" creationId="{95B3F99B-BF7C-4A71-B2BB-1CF590733AA0}"/>
          </ac:spMkLst>
        </pc:spChg>
        <pc:spChg chg="mod ord">
          <ac:chgData name="José Antonio Ureta Santacreu" userId="e36999d1-2b92-424a-9e8c-5fde0c5fbdd2" providerId="ADAL" clId="{7D8E3005-6D19-4F2A-9BE0-A2C92552758E}" dt="2024-07-29T11:24:18.046" v="100" actId="700"/>
          <ac:spMkLst>
            <pc:docMk/>
            <pc:sldMk cId="2177933492" sldId="1080"/>
            <ac:spMk id="5" creationId="{14A12551-9561-40D5-B2A5-ECB90FB08761}"/>
          </ac:spMkLst>
        </pc:spChg>
        <pc:spChg chg="add del mod">
          <ac:chgData name="José Antonio Ureta Santacreu" userId="e36999d1-2b92-424a-9e8c-5fde0c5fbdd2" providerId="ADAL" clId="{7D8E3005-6D19-4F2A-9BE0-A2C92552758E}" dt="2024-07-29T11:24:10.447" v="99" actId="6264"/>
          <ac:spMkLst>
            <pc:docMk/>
            <pc:sldMk cId="2177933492" sldId="1080"/>
            <ac:spMk id="7" creationId="{8184C45C-F506-78B2-A757-472D7B2CBB51}"/>
          </ac:spMkLst>
        </pc:spChg>
        <pc:spChg chg="add del mod">
          <ac:chgData name="José Antonio Ureta Santacreu" userId="e36999d1-2b92-424a-9e8c-5fde0c5fbdd2" providerId="ADAL" clId="{7D8E3005-6D19-4F2A-9BE0-A2C92552758E}" dt="2024-07-29T11:24:10.447" v="99" actId="6264"/>
          <ac:spMkLst>
            <pc:docMk/>
            <pc:sldMk cId="2177933492" sldId="1080"/>
            <ac:spMk id="8" creationId="{E16718ED-C227-4887-8841-7B7FD7EB40A4}"/>
          </ac:spMkLst>
        </pc:spChg>
        <pc:spChg chg="add del mod">
          <ac:chgData name="José Antonio Ureta Santacreu" userId="e36999d1-2b92-424a-9e8c-5fde0c5fbdd2" providerId="ADAL" clId="{7D8E3005-6D19-4F2A-9BE0-A2C92552758E}" dt="2024-07-29T11:24:10.447" v="99" actId="6264"/>
          <ac:spMkLst>
            <pc:docMk/>
            <pc:sldMk cId="2177933492" sldId="1080"/>
            <ac:spMk id="9" creationId="{0EC4AE83-C5BE-1A8F-80FA-350276421905}"/>
          </ac:spMkLst>
        </pc:spChg>
        <pc:spChg chg="add del mod">
          <ac:chgData name="José Antonio Ureta Santacreu" userId="e36999d1-2b92-424a-9e8c-5fde0c5fbdd2" providerId="ADAL" clId="{7D8E3005-6D19-4F2A-9BE0-A2C92552758E}" dt="2024-07-29T11:24:10.447" v="99" actId="6264"/>
          <ac:spMkLst>
            <pc:docMk/>
            <pc:sldMk cId="2177933492" sldId="1080"/>
            <ac:spMk id="10" creationId="{25055436-BE85-D552-4EA2-373772EA1D60}"/>
          </ac:spMkLst>
        </pc:spChg>
        <pc:spChg chg="add del mod ord">
          <ac:chgData name="José Antonio Ureta Santacreu" userId="e36999d1-2b92-424a-9e8c-5fde0c5fbdd2" providerId="ADAL" clId="{7D8E3005-6D19-4F2A-9BE0-A2C92552758E}" dt="2024-07-29T11:24:24.600" v="102"/>
          <ac:spMkLst>
            <pc:docMk/>
            <pc:sldMk cId="2177933492" sldId="1080"/>
            <ac:spMk id="11" creationId="{1304DD4D-8FD3-A930-1EF2-4C8242F43DCB}"/>
          </ac:spMkLst>
        </pc:spChg>
        <pc:graphicFrameChg chg="del">
          <ac:chgData name="José Antonio Ureta Santacreu" userId="e36999d1-2b92-424a-9e8c-5fde0c5fbdd2" providerId="ADAL" clId="{7D8E3005-6D19-4F2A-9BE0-A2C92552758E}" dt="2024-07-29T11:24:20.686" v="101" actId="21"/>
          <ac:graphicFrameMkLst>
            <pc:docMk/>
            <pc:sldMk cId="2177933492" sldId="1080"/>
            <ac:graphicFrameMk id="6" creationId="{A566C179-D270-4612-87B9-FD1512028BC8}"/>
          </ac:graphicFrameMkLst>
        </pc:graphicFrameChg>
        <pc:graphicFrameChg chg="add mod">
          <ac:chgData name="José Antonio Ureta Santacreu" userId="e36999d1-2b92-424a-9e8c-5fde0c5fbdd2" providerId="ADAL" clId="{7D8E3005-6D19-4F2A-9BE0-A2C92552758E}" dt="2024-07-29T11:28:26.979" v="147" actId="20577"/>
          <ac:graphicFrameMkLst>
            <pc:docMk/>
            <pc:sldMk cId="2177933492" sldId="1080"/>
            <ac:graphicFrameMk id="12" creationId="{A566C179-D270-4612-87B9-FD1512028BC8}"/>
          </ac:graphicFrameMkLst>
        </pc:graphicFrameChg>
      </pc:sldChg>
      <pc:sldChg chg="add">
        <pc:chgData name="José Antonio Ureta Santacreu" userId="e36999d1-2b92-424a-9e8c-5fde0c5fbdd2" providerId="ADAL" clId="{7D8E3005-6D19-4F2A-9BE0-A2C92552758E}" dt="2024-09-04T11:41:24.109" v="4281"/>
        <pc:sldMkLst>
          <pc:docMk/>
          <pc:sldMk cId="2545005169" sldId="1080"/>
        </pc:sldMkLst>
      </pc:sldChg>
      <pc:sldChg chg="addSp modSp add">
        <pc:chgData name="José Antonio Ureta Santacreu" userId="e36999d1-2b92-424a-9e8c-5fde0c5fbdd2" providerId="ADAL" clId="{7D8E3005-6D19-4F2A-9BE0-A2C92552758E}" dt="2024-07-30T09:07:22.900" v="618"/>
        <pc:sldMkLst>
          <pc:docMk/>
          <pc:sldMk cId="384884263" sldId="1081"/>
        </pc:sldMkLst>
        <pc:spChg chg="add mod">
          <ac:chgData name="José Antonio Ureta Santacreu" userId="e36999d1-2b92-424a-9e8c-5fde0c5fbdd2" providerId="ADAL" clId="{7D8E3005-6D19-4F2A-9BE0-A2C92552758E}" dt="2024-07-30T09:07:22.900" v="618"/>
          <ac:spMkLst>
            <pc:docMk/>
            <pc:sldMk cId="384884263" sldId="1081"/>
            <ac:spMk id="2" creationId="{798048E6-65C0-3D1A-EF3F-EE862C2E5F98}"/>
          </ac:spMkLst>
        </pc:spChg>
      </pc:sldChg>
      <pc:sldChg chg="del">
        <pc:chgData name="José Antonio Ureta Santacreu" userId="e36999d1-2b92-424a-9e8c-5fde0c5fbdd2" providerId="ADAL" clId="{7D8E3005-6D19-4F2A-9BE0-A2C92552758E}" dt="2024-07-24T11:47:42.723" v="41" actId="2696"/>
        <pc:sldMkLst>
          <pc:docMk/>
          <pc:sldMk cId="952565018" sldId="1081"/>
        </pc:sldMkLst>
      </pc:sldChg>
      <pc:sldChg chg="del">
        <pc:chgData name="José Antonio Ureta Santacreu" userId="e36999d1-2b92-424a-9e8c-5fde0c5fbdd2" providerId="ADAL" clId="{7D8E3005-6D19-4F2A-9BE0-A2C92552758E}" dt="2024-07-24T11:49:31.510" v="46" actId="2696"/>
        <pc:sldMkLst>
          <pc:docMk/>
          <pc:sldMk cId="130989168" sldId="1082"/>
        </pc:sldMkLst>
      </pc:sldChg>
      <pc:sldChg chg="addSp modSp add mod">
        <pc:chgData name="José Antonio Ureta Santacreu" userId="e36999d1-2b92-424a-9e8c-5fde0c5fbdd2" providerId="ADAL" clId="{7D8E3005-6D19-4F2A-9BE0-A2C92552758E}" dt="2024-07-30T09:26:07.159" v="761" actId="20577"/>
        <pc:sldMkLst>
          <pc:docMk/>
          <pc:sldMk cId="909011989" sldId="1082"/>
        </pc:sldMkLst>
        <pc:spChg chg="add mod">
          <ac:chgData name="José Antonio Ureta Santacreu" userId="e36999d1-2b92-424a-9e8c-5fde0c5fbdd2" providerId="ADAL" clId="{7D8E3005-6D19-4F2A-9BE0-A2C92552758E}" dt="2024-07-30T09:08:00.712" v="627"/>
          <ac:spMkLst>
            <pc:docMk/>
            <pc:sldMk cId="909011989" sldId="1082"/>
            <ac:spMk id="2" creationId="{73D21572-69C1-AE2C-5DBD-A1A4F116E194}"/>
          </ac:spMkLst>
        </pc:spChg>
        <pc:graphicFrameChg chg="mod modGraphic">
          <ac:chgData name="José Antonio Ureta Santacreu" userId="e36999d1-2b92-424a-9e8c-5fde0c5fbdd2" providerId="ADAL" clId="{7D8E3005-6D19-4F2A-9BE0-A2C92552758E}" dt="2024-07-30T09:26:07.159" v="761" actId="20577"/>
          <ac:graphicFrameMkLst>
            <pc:docMk/>
            <pc:sldMk cId="909011989" sldId="1082"/>
            <ac:graphicFrameMk id="7" creationId="{7C9EBACB-3529-9D2E-3F8F-6757D8BFC58D}"/>
          </ac:graphicFrameMkLst>
        </pc:graphicFrameChg>
      </pc:sldChg>
      <pc:sldChg chg="del">
        <pc:chgData name="José Antonio Ureta Santacreu" userId="e36999d1-2b92-424a-9e8c-5fde0c5fbdd2" providerId="ADAL" clId="{7D8E3005-6D19-4F2A-9BE0-A2C92552758E}" dt="2024-07-24T11:48:31.235" v="43" actId="2696"/>
        <pc:sldMkLst>
          <pc:docMk/>
          <pc:sldMk cId="46813059" sldId="1083"/>
        </pc:sldMkLst>
      </pc:sldChg>
      <pc:sldChg chg="addSp delSp modSp add mod chgLayout">
        <pc:chgData name="José Antonio Ureta Santacreu" userId="e36999d1-2b92-424a-9e8c-5fde0c5fbdd2" providerId="ADAL" clId="{7D8E3005-6D19-4F2A-9BE0-A2C92552758E}" dt="2024-09-19T09:21:45.316" v="4963" actId="27636"/>
        <pc:sldMkLst>
          <pc:docMk/>
          <pc:sldMk cId="3146359626" sldId="1083"/>
        </pc:sldMkLst>
        <pc:spChg chg="add mod">
          <ac:chgData name="José Antonio Ureta Santacreu" userId="e36999d1-2b92-424a-9e8c-5fde0c5fbdd2" providerId="ADAL" clId="{7D8E3005-6D19-4F2A-9BE0-A2C92552758E}" dt="2024-07-30T09:07:42.764" v="624"/>
          <ac:spMkLst>
            <pc:docMk/>
            <pc:sldMk cId="3146359626" sldId="1083"/>
            <ac:spMk id="2" creationId="{32695AF6-704E-C057-31AB-772AB4F2FE94}"/>
          </ac:spMkLst>
        </pc:spChg>
        <pc:spChg chg="add del mod">
          <ac:chgData name="José Antonio Ureta Santacreu" userId="e36999d1-2b92-424a-9e8c-5fde0c5fbdd2" providerId="ADAL" clId="{7D8E3005-6D19-4F2A-9BE0-A2C92552758E}" dt="2024-07-29T11:30:05.638" v="156" actId="6264"/>
          <ac:spMkLst>
            <pc:docMk/>
            <pc:sldMk cId="3146359626" sldId="1083"/>
            <ac:spMk id="2" creationId="{DA7CDF14-FBA4-60CD-DA7C-9FB17D4B276A}"/>
          </ac:spMkLst>
        </pc:spChg>
        <pc:spChg chg="mod ord">
          <ac:chgData name="José Antonio Ureta Santacreu" userId="e36999d1-2b92-424a-9e8c-5fde0c5fbdd2" providerId="ADAL" clId="{7D8E3005-6D19-4F2A-9BE0-A2C92552758E}" dt="2024-09-19T09:21:45.316" v="4963" actId="27636"/>
          <ac:spMkLst>
            <pc:docMk/>
            <pc:sldMk cId="3146359626" sldId="1083"/>
            <ac:spMk id="3" creationId="{CE6FC035-E329-46F4-B8F9-4940286E7A53}"/>
          </ac:spMkLst>
        </pc:spChg>
        <pc:spChg chg="mod ord">
          <ac:chgData name="José Antonio Ureta Santacreu" userId="e36999d1-2b92-424a-9e8c-5fde0c5fbdd2" providerId="ADAL" clId="{7D8E3005-6D19-4F2A-9BE0-A2C92552758E}" dt="2024-07-29T11:30:05.638" v="156" actId="6264"/>
          <ac:spMkLst>
            <pc:docMk/>
            <pc:sldMk cId="3146359626" sldId="1083"/>
            <ac:spMk id="4" creationId="{5D56C2E3-A1C9-475E-9FB3-5617BD36BFEB}"/>
          </ac:spMkLst>
        </pc:spChg>
        <pc:spChg chg="mod ord">
          <ac:chgData name="José Antonio Ureta Santacreu" userId="e36999d1-2b92-424a-9e8c-5fde0c5fbdd2" providerId="ADAL" clId="{7D8E3005-6D19-4F2A-9BE0-A2C92552758E}" dt="2024-07-29T11:30:05.638" v="156" actId="6264"/>
          <ac:spMkLst>
            <pc:docMk/>
            <pc:sldMk cId="3146359626" sldId="1083"/>
            <ac:spMk id="5" creationId="{D68A7C3E-6018-44DB-919E-EC8910DA7F2A}"/>
          </ac:spMkLst>
        </pc:spChg>
        <pc:spChg chg="mod ord">
          <ac:chgData name="José Antonio Ureta Santacreu" userId="e36999d1-2b92-424a-9e8c-5fde0c5fbdd2" providerId="ADAL" clId="{7D8E3005-6D19-4F2A-9BE0-A2C92552758E}" dt="2024-07-29T11:30:05.638" v="156" actId="6264"/>
          <ac:spMkLst>
            <pc:docMk/>
            <pc:sldMk cId="3146359626" sldId="1083"/>
            <ac:spMk id="6" creationId="{D8036441-D3E4-46BA-8E39-2AD670F72861}"/>
          </ac:spMkLst>
        </pc:spChg>
        <pc:spChg chg="add del mod">
          <ac:chgData name="José Antonio Ureta Santacreu" userId="e36999d1-2b92-424a-9e8c-5fde0c5fbdd2" providerId="ADAL" clId="{7D8E3005-6D19-4F2A-9BE0-A2C92552758E}" dt="2024-07-29T11:30:05.638" v="156" actId="6264"/>
          <ac:spMkLst>
            <pc:docMk/>
            <pc:sldMk cId="3146359626" sldId="1083"/>
            <ac:spMk id="7" creationId="{E588DBEC-3C6C-6632-B057-BF9E34F45D6B}"/>
          </ac:spMkLst>
        </pc:spChg>
        <pc:spChg chg="add del mod">
          <ac:chgData name="José Antonio Ureta Santacreu" userId="e36999d1-2b92-424a-9e8c-5fde0c5fbdd2" providerId="ADAL" clId="{7D8E3005-6D19-4F2A-9BE0-A2C92552758E}" dt="2024-07-29T11:30:05.638" v="156" actId="6264"/>
          <ac:spMkLst>
            <pc:docMk/>
            <pc:sldMk cId="3146359626" sldId="1083"/>
            <ac:spMk id="9" creationId="{B1ECBF43-4EDF-C771-79E6-823170FE92A4}"/>
          </ac:spMkLst>
        </pc:spChg>
        <pc:spChg chg="add del mod">
          <ac:chgData name="José Antonio Ureta Santacreu" userId="e36999d1-2b92-424a-9e8c-5fde0c5fbdd2" providerId="ADAL" clId="{7D8E3005-6D19-4F2A-9BE0-A2C92552758E}" dt="2024-07-29T11:30:05.638" v="156" actId="6264"/>
          <ac:spMkLst>
            <pc:docMk/>
            <pc:sldMk cId="3146359626" sldId="1083"/>
            <ac:spMk id="10" creationId="{C1B844B2-206E-D5DC-EC21-42C1AC762FEA}"/>
          </ac:spMkLst>
        </pc:spChg>
        <pc:spChg chg="add del mod">
          <ac:chgData name="José Antonio Ureta Santacreu" userId="e36999d1-2b92-424a-9e8c-5fde0c5fbdd2" providerId="ADAL" clId="{7D8E3005-6D19-4F2A-9BE0-A2C92552758E}" dt="2024-07-29T11:30:05.638" v="156" actId="6264"/>
          <ac:spMkLst>
            <pc:docMk/>
            <pc:sldMk cId="3146359626" sldId="1083"/>
            <ac:spMk id="11" creationId="{DA286D6A-4A94-3989-C78D-8E7EACB6FAED}"/>
          </ac:spMkLst>
        </pc:spChg>
        <pc:spChg chg="add del mod">
          <ac:chgData name="José Antonio Ureta Santacreu" userId="e36999d1-2b92-424a-9e8c-5fde0c5fbdd2" providerId="ADAL" clId="{7D8E3005-6D19-4F2A-9BE0-A2C92552758E}" dt="2024-07-29T11:30:05.638" v="156" actId="6264"/>
          <ac:spMkLst>
            <pc:docMk/>
            <pc:sldMk cId="3146359626" sldId="1083"/>
            <ac:spMk id="12" creationId="{6FD730C0-0C18-C599-9300-9C11BAD3B273}"/>
          </ac:spMkLst>
        </pc:spChg>
        <pc:spChg chg="mod ord">
          <ac:chgData name="José Antonio Ureta Santacreu" userId="e36999d1-2b92-424a-9e8c-5fde0c5fbdd2" providerId="ADAL" clId="{7D8E3005-6D19-4F2A-9BE0-A2C92552758E}" dt="2024-07-29T11:30:05.638" v="156" actId="6264"/>
          <ac:spMkLst>
            <pc:docMk/>
            <pc:sldMk cId="3146359626" sldId="1083"/>
            <ac:spMk id="14" creationId="{FB9AA937-1246-45C4-9DE5-DEDA08A3D7C6}"/>
          </ac:spMkLst>
        </pc:spChg>
        <pc:picChg chg="mod ord">
          <ac:chgData name="José Antonio Ureta Santacreu" userId="e36999d1-2b92-424a-9e8c-5fde0c5fbdd2" providerId="ADAL" clId="{7D8E3005-6D19-4F2A-9BE0-A2C92552758E}" dt="2024-07-29T11:30:05.638" v="156" actId="6264"/>
          <ac:picMkLst>
            <pc:docMk/>
            <pc:sldMk cId="3146359626" sldId="1083"/>
            <ac:picMk id="8" creationId="{6FEE1782-A049-495C-B8BA-2B6EE6FBDAF3}"/>
          </ac:picMkLst>
        </pc:picChg>
      </pc:sldChg>
      <pc:sldChg chg="del">
        <pc:chgData name="José Antonio Ureta Santacreu" userId="e36999d1-2b92-424a-9e8c-5fde0c5fbdd2" providerId="ADAL" clId="{7D8E3005-6D19-4F2A-9BE0-A2C92552758E}" dt="2024-07-24T11:49:20.071" v="45" actId="47"/>
        <pc:sldMkLst>
          <pc:docMk/>
          <pc:sldMk cId="2447728266" sldId="1084"/>
        </pc:sldMkLst>
      </pc:sldChg>
      <pc:sldChg chg="addSp modSp add mod">
        <pc:chgData name="José Antonio Ureta Santacreu" userId="e36999d1-2b92-424a-9e8c-5fde0c5fbdd2" providerId="ADAL" clId="{7D8E3005-6D19-4F2A-9BE0-A2C92552758E}" dt="2024-07-30T09:08:44.945" v="644" actId="14838"/>
        <pc:sldMkLst>
          <pc:docMk/>
          <pc:sldMk cId="539108912" sldId="1086"/>
        </pc:sldMkLst>
        <pc:spChg chg="add mod">
          <ac:chgData name="José Antonio Ureta Santacreu" userId="e36999d1-2b92-424a-9e8c-5fde0c5fbdd2" providerId="ADAL" clId="{7D8E3005-6D19-4F2A-9BE0-A2C92552758E}" dt="2024-07-30T09:08:44.945" v="644" actId="14838"/>
          <ac:spMkLst>
            <pc:docMk/>
            <pc:sldMk cId="539108912" sldId="1086"/>
            <ac:spMk id="13" creationId="{FF738DBB-9C6B-347A-F420-321D2E18243A}"/>
          </ac:spMkLst>
        </pc:spChg>
      </pc:sldChg>
      <pc:sldChg chg="del">
        <pc:chgData name="José Antonio Ureta Santacreu" userId="e36999d1-2b92-424a-9e8c-5fde0c5fbdd2" providerId="ADAL" clId="{7D8E3005-6D19-4F2A-9BE0-A2C92552758E}" dt="2024-07-24T11:50:25.147" v="49" actId="2696"/>
        <pc:sldMkLst>
          <pc:docMk/>
          <pc:sldMk cId="2909226820" sldId="1086"/>
        </pc:sldMkLst>
      </pc:sldChg>
      <pc:sldChg chg="del">
        <pc:chgData name="José Antonio Ureta Santacreu" userId="e36999d1-2b92-424a-9e8c-5fde0c5fbdd2" providerId="ADAL" clId="{7D8E3005-6D19-4F2A-9BE0-A2C92552758E}" dt="2024-07-24T11:50:25.147" v="49" actId="2696"/>
        <pc:sldMkLst>
          <pc:docMk/>
          <pc:sldMk cId="2935193234" sldId="1087"/>
        </pc:sldMkLst>
      </pc:sldChg>
      <pc:sldChg chg="addSp modSp add">
        <pc:chgData name="José Antonio Ureta Santacreu" userId="e36999d1-2b92-424a-9e8c-5fde0c5fbdd2" providerId="ADAL" clId="{7D8E3005-6D19-4F2A-9BE0-A2C92552758E}" dt="2024-07-30T09:26:52.666" v="764"/>
        <pc:sldMkLst>
          <pc:docMk/>
          <pc:sldMk cId="4178650897" sldId="1087"/>
        </pc:sldMkLst>
        <pc:spChg chg="add mod">
          <ac:chgData name="José Antonio Ureta Santacreu" userId="e36999d1-2b92-424a-9e8c-5fde0c5fbdd2" providerId="ADAL" clId="{7D8E3005-6D19-4F2A-9BE0-A2C92552758E}" dt="2024-07-30T09:26:52.666" v="764"/>
          <ac:spMkLst>
            <pc:docMk/>
            <pc:sldMk cId="4178650897" sldId="1087"/>
            <ac:spMk id="11" creationId="{A1413C0B-BEBD-1884-494D-692613C81290}"/>
          </ac:spMkLst>
        </pc:spChg>
      </pc:sldChg>
      <pc:sldChg chg="del">
        <pc:chgData name="José Antonio Ureta Santacreu" userId="e36999d1-2b92-424a-9e8c-5fde0c5fbdd2" providerId="ADAL" clId="{7D8E3005-6D19-4F2A-9BE0-A2C92552758E}" dt="2024-07-24T11:52:24.421" v="55" actId="47"/>
        <pc:sldMkLst>
          <pc:docMk/>
          <pc:sldMk cId="1013802888" sldId="1088"/>
        </pc:sldMkLst>
      </pc:sldChg>
      <pc:sldChg chg="del">
        <pc:chgData name="José Antonio Ureta Santacreu" userId="e36999d1-2b92-424a-9e8c-5fde0c5fbdd2" providerId="ADAL" clId="{7D8E3005-6D19-4F2A-9BE0-A2C92552758E}" dt="2024-07-24T11:52:38.892" v="56" actId="47"/>
        <pc:sldMkLst>
          <pc:docMk/>
          <pc:sldMk cId="3712935257" sldId="1090"/>
        </pc:sldMkLst>
      </pc:sldChg>
      <pc:sldChg chg="del">
        <pc:chgData name="José Antonio Ureta Santacreu" userId="e36999d1-2b92-424a-9e8c-5fde0c5fbdd2" providerId="ADAL" clId="{7D8E3005-6D19-4F2A-9BE0-A2C92552758E}" dt="2024-07-24T11:52:38.892" v="56" actId="47"/>
        <pc:sldMkLst>
          <pc:docMk/>
          <pc:sldMk cId="1264987411" sldId="1091"/>
        </pc:sldMkLst>
      </pc:sldChg>
      <pc:sldChg chg="del">
        <pc:chgData name="José Antonio Ureta Santacreu" userId="e36999d1-2b92-424a-9e8c-5fde0c5fbdd2" providerId="ADAL" clId="{7D8E3005-6D19-4F2A-9BE0-A2C92552758E}" dt="2024-07-30T09:41:47.246" v="968" actId="2696"/>
        <pc:sldMkLst>
          <pc:docMk/>
          <pc:sldMk cId="325644288" sldId="1101"/>
        </pc:sldMkLst>
      </pc:sldChg>
      <pc:sldChg chg="modSp add del mod">
        <pc:chgData name="José Antonio Ureta Santacreu" userId="e36999d1-2b92-424a-9e8c-5fde0c5fbdd2" providerId="ADAL" clId="{7D8E3005-6D19-4F2A-9BE0-A2C92552758E}" dt="2024-09-04T11:34:20" v="4138" actId="2696"/>
        <pc:sldMkLst>
          <pc:docMk/>
          <pc:sldMk cId="3919166631" sldId="1101"/>
        </pc:sldMkLst>
        <pc:picChg chg="mod">
          <ac:chgData name="José Antonio Ureta Santacreu" userId="e36999d1-2b92-424a-9e8c-5fde0c5fbdd2" providerId="ADAL" clId="{7D8E3005-6D19-4F2A-9BE0-A2C92552758E}" dt="2024-09-04T11:33:09.181" v="4136" actId="1037"/>
          <ac:picMkLst>
            <pc:docMk/>
            <pc:sldMk cId="3919166631" sldId="1101"/>
            <ac:picMk id="25" creationId="{5E3BA31B-6EC8-48A3-AB7B-51E312B1538F}"/>
          </ac:picMkLst>
        </pc:picChg>
      </pc:sldChg>
      <pc:sldChg chg="addSp modSp add mod">
        <pc:chgData name="José Antonio Ureta Santacreu" userId="e36999d1-2b92-424a-9e8c-5fde0c5fbdd2" providerId="ADAL" clId="{7D8E3005-6D19-4F2A-9BE0-A2C92552758E}" dt="2024-09-04T11:38:23.543" v="4279" actId="465"/>
        <pc:sldMkLst>
          <pc:docMk/>
          <pc:sldMk cId="4022603001" sldId="1101"/>
        </pc:sldMkLst>
        <pc:grpChg chg="mod">
          <ac:chgData name="José Antonio Ureta Santacreu" userId="e36999d1-2b92-424a-9e8c-5fde0c5fbdd2" providerId="ADAL" clId="{7D8E3005-6D19-4F2A-9BE0-A2C92552758E}" dt="2024-09-04T11:36:19.486" v="4249" actId="552"/>
          <ac:grpSpMkLst>
            <pc:docMk/>
            <pc:sldMk cId="4022603001" sldId="1101"/>
            <ac:grpSpMk id="21" creationId="{E0172922-82B2-4400-AAED-25EAE0B40403}"/>
          </ac:grpSpMkLst>
        </pc:grpChg>
        <pc:picChg chg="mod">
          <ac:chgData name="José Antonio Ureta Santacreu" userId="e36999d1-2b92-424a-9e8c-5fde0c5fbdd2" providerId="ADAL" clId="{7D8E3005-6D19-4F2A-9BE0-A2C92552758E}" dt="2024-09-04T11:38:09.193" v="4278" actId="465"/>
          <ac:picMkLst>
            <pc:docMk/>
            <pc:sldMk cId="4022603001" sldId="1101"/>
            <ac:picMk id="8" creationId="{1000AAC9-27A5-45DD-A9DB-4BBA469FF750}"/>
          </ac:picMkLst>
        </pc:picChg>
        <pc:picChg chg="mod">
          <ac:chgData name="José Antonio Ureta Santacreu" userId="e36999d1-2b92-424a-9e8c-5fde0c5fbdd2" providerId="ADAL" clId="{7D8E3005-6D19-4F2A-9BE0-A2C92552758E}" dt="2024-09-04T11:38:23.543" v="4279" actId="465"/>
          <ac:picMkLst>
            <pc:docMk/>
            <pc:sldMk cId="4022603001" sldId="1101"/>
            <ac:picMk id="9" creationId="{66594E1D-6B49-49B9-83C5-9DB4BA0CB081}"/>
          </ac:picMkLst>
        </pc:picChg>
        <pc:picChg chg="mod">
          <ac:chgData name="José Antonio Ureta Santacreu" userId="e36999d1-2b92-424a-9e8c-5fde0c5fbdd2" providerId="ADAL" clId="{7D8E3005-6D19-4F2A-9BE0-A2C92552758E}" dt="2024-09-04T11:38:09.193" v="4278" actId="465"/>
          <ac:picMkLst>
            <pc:docMk/>
            <pc:sldMk cId="4022603001" sldId="1101"/>
            <ac:picMk id="14" creationId="{27A802C3-DC48-4D53-BF26-2A7917AF83AA}"/>
          </ac:picMkLst>
        </pc:picChg>
        <pc:picChg chg="mod">
          <ac:chgData name="José Antonio Ureta Santacreu" userId="e36999d1-2b92-424a-9e8c-5fde0c5fbdd2" providerId="ADAL" clId="{7D8E3005-6D19-4F2A-9BE0-A2C92552758E}" dt="2024-09-04T11:38:23.543" v="4279" actId="465"/>
          <ac:picMkLst>
            <pc:docMk/>
            <pc:sldMk cId="4022603001" sldId="1101"/>
            <ac:picMk id="16" creationId="{4F7E665C-17DF-4535-BE77-4D67D9DEE44F}"/>
          </ac:picMkLst>
        </pc:picChg>
        <pc:picChg chg="mod">
          <ac:chgData name="José Antonio Ureta Santacreu" userId="e36999d1-2b92-424a-9e8c-5fde0c5fbdd2" providerId="ADAL" clId="{7D8E3005-6D19-4F2A-9BE0-A2C92552758E}" dt="2024-09-04T11:38:23.543" v="4279" actId="465"/>
          <ac:picMkLst>
            <pc:docMk/>
            <pc:sldMk cId="4022603001" sldId="1101"/>
            <ac:picMk id="18" creationId="{C73C4DAC-81D5-409E-8AFA-9BCA5BA7BBC5}"/>
          </ac:picMkLst>
        </pc:picChg>
        <pc:picChg chg="mod">
          <ac:chgData name="José Antonio Ureta Santacreu" userId="e36999d1-2b92-424a-9e8c-5fde0c5fbdd2" providerId="ADAL" clId="{7D8E3005-6D19-4F2A-9BE0-A2C92552758E}" dt="2024-09-04T11:36:19.486" v="4249" actId="552"/>
          <ac:picMkLst>
            <pc:docMk/>
            <pc:sldMk cId="4022603001" sldId="1101"/>
            <ac:picMk id="19" creationId="{0DC67AA1-466F-451A-B1C4-5FE49868A197}"/>
          </ac:picMkLst>
        </pc:picChg>
        <pc:picChg chg="mod modCrop">
          <ac:chgData name="José Antonio Ureta Santacreu" userId="e36999d1-2b92-424a-9e8c-5fde0c5fbdd2" providerId="ADAL" clId="{7D8E3005-6D19-4F2A-9BE0-A2C92552758E}" dt="2024-09-04T11:38:09.193" v="4278" actId="465"/>
          <ac:picMkLst>
            <pc:docMk/>
            <pc:sldMk cId="4022603001" sldId="1101"/>
            <ac:picMk id="20" creationId="{83881123-1BD1-148C-D520-647B3981F4A9}"/>
          </ac:picMkLst>
        </pc:picChg>
        <pc:picChg chg="mod">
          <ac:chgData name="José Antonio Ureta Santacreu" userId="e36999d1-2b92-424a-9e8c-5fde0c5fbdd2" providerId="ADAL" clId="{7D8E3005-6D19-4F2A-9BE0-A2C92552758E}" dt="2024-09-04T11:36:19.486" v="4249" actId="552"/>
          <ac:picMkLst>
            <pc:docMk/>
            <pc:sldMk cId="4022603001" sldId="1101"/>
            <ac:picMk id="22" creationId="{26EF307D-9C11-497D-BC2C-8DE30D2CEED2}"/>
          </ac:picMkLst>
        </pc:picChg>
        <pc:picChg chg="mod">
          <ac:chgData name="José Antonio Ureta Santacreu" userId="e36999d1-2b92-424a-9e8c-5fde0c5fbdd2" providerId="ADAL" clId="{7D8E3005-6D19-4F2A-9BE0-A2C92552758E}" dt="2024-09-04T11:36:19.486" v="4249" actId="552"/>
          <ac:picMkLst>
            <pc:docMk/>
            <pc:sldMk cId="4022603001" sldId="1101"/>
            <ac:picMk id="23" creationId="{5DB85E2B-0E4D-463C-B900-20777D4C6F08}"/>
          </ac:picMkLst>
        </pc:picChg>
        <pc:picChg chg="mod">
          <ac:chgData name="José Antonio Ureta Santacreu" userId="e36999d1-2b92-424a-9e8c-5fde0c5fbdd2" providerId="ADAL" clId="{7D8E3005-6D19-4F2A-9BE0-A2C92552758E}" dt="2024-09-04T11:35:52.195" v="4226" actId="1038"/>
          <ac:picMkLst>
            <pc:docMk/>
            <pc:sldMk cId="4022603001" sldId="1101"/>
            <ac:picMk id="24" creationId="{497EBEB6-85C2-446A-AE36-36DB26F3C959}"/>
          </ac:picMkLst>
        </pc:picChg>
        <pc:picChg chg="mod">
          <ac:chgData name="José Antonio Ureta Santacreu" userId="e36999d1-2b92-424a-9e8c-5fde0c5fbdd2" providerId="ADAL" clId="{7D8E3005-6D19-4F2A-9BE0-A2C92552758E}" dt="2024-09-04T11:35:52.195" v="4226" actId="1038"/>
          <ac:picMkLst>
            <pc:docMk/>
            <pc:sldMk cId="4022603001" sldId="1101"/>
            <ac:picMk id="25" creationId="{5E3BA31B-6EC8-48A3-AB7B-51E312B1538F}"/>
          </ac:picMkLst>
        </pc:picChg>
        <pc:picChg chg="mod">
          <ac:chgData name="José Antonio Ureta Santacreu" userId="e36999d1-2b92-424a-9e8c-5fde0c5fbdd2" providerId="ADAL" clId="{7D8E3005-6D19-4F2A-9BE0-A2C92552758E}" dt="2024-09-04T11:36:19.486" v="4249" actId="552"/>
          <ac:picMkLst>
            <pc:docMk/>
            <pc:sldMk cId="4022603001" sldId="1101"/>
            <ac:picMk id="1026" creationId="{6DEDDC82-4732-4242-B97E-8CF5427F4238}"/>
          </ac:picMkLst>
        </pc:picChg>
        <pc:picChg chg="add mod">
          <ac:chgData name="José Antonio Ureta Santacreu" userId="e36999d1-2b92-424a-9e8c-5fde0c5fbdd2" providerId="ADAL" clId="{7D8E3005-6D19-4F2A-9BE0-A2C92552758E}" dt="2024-09-04T11:38:09.193" v="4278" actId="465"/>
          <ac:picMkLst>
            <pc:docMk/>
            <pc:sldMk cId="4022603001" sldId="1101"/>
            <ac:picMk id="3074" creationId="{2BD86BED-DAB3-ACA9-653B-4AB89FF467AB}"/>
          </ac:picMkLst>
        </pc:picChg>
      </pc:sldChg>
      <pc:sldChg chg="del">
        <pc:chgData name="José Antonio Ureta Santacreu" userId="e36999d1-2b92-424a-9e8c-5fde0c5fbdd2" providerId="ADAL" clId="{7D8E3005-6D19-4F2A-9BE0-A2C92552758E}" dt="2024-07-24T11:51:22.553" v="51" actId="47"/>
        <pc:sldMkLst>
          <pc:docMk/>
          <pc:sldMk cId="1664848397" sldId="1102"/>
        </pc:sldMkLst>
      </pc:sldChg>
      <pc:sldChg chg="del">
        <pc:chgData name="José Antonio Ureta Santacreu" userId="e36999d1-2b92-424a-9e8c-5fde0c5fbdd2" providerId="ADAL" clId="{7D8E3005-6D19-4F2A-9BE0-A2C92552758E}" dt="2024-07-24T11:52:38.892" v="56" actId="47"/>
        <pc:sldMkLst>
          <pc:docMk/>
          <pc:sldMk cId="1338949265" sldId="1103"/>
        </pc:sldMkLst>
      </pc:sldChg>
      <pc:sldChg chg="modSp del">
        <pc:chgData name="José Antonio Ureta Santacreu" userId="e36999d1-2b92-424a-9e8c-5fde0c5fbdd2" providerId="ADAL" clId="{7D8E3005-6D19-4F2A-9BE0-A2C92552758E}" dt="2024-09-05T10:44:52.995" v="4597" actId="47"/>
        <pc:sldMkLst>
          <pc:docMk/>
          <pc:sldMk cId="1063931643" sldId="1114"/>
        </pc:sldMkLst>
        <pc:graphicFrameChg chg="mod">
          <ac:chgData name="José Antonio Ureta Santacreu" userId="e36999d1-2b92-424a-9e8c-5fde0c5fbdd2" providerId="ADAL" clId="{7D8E3005-6D19-4F2A-9BE0-A2C92552758E}" dt="2024-09-05T10:44:20.995" v="4594"/>
          <ac:graphicFrameMkLst>
            <pc:docMk/>
            <pc:sldMk cId="1063931643" sldId="1114"/>
            <ac:graphicFrameMk id="11" creationId="{CC9D21DB-13A7-28D7-B60D-B60396D8948A}"/>
          </ac:graphicFrameMkLst>
        </pc:graphicFrameChg>
      </pc:sldChg>
      <pc:sldChg chg="addSp delSp modSp mod ord modShow">
        <pc:chgData name="José Antonio Ureta Santacreu" userId="e36999d1-2b92-424a-9e8c-5fde0c5fbdd2" providerId="ADAL" clId="{7D8E3005-6D19-4F2A-9BE0-A2C92552758E}" dt="2024-09-19T09:22:14.974" v="4975" actId="729"/>
        <pc:sldMkLst>
          <pc:docMk/>
          <pc:sldMk cId="2938065926" sldId="1115"/>
        </pc:sldMkLst>
        <pc:spChg chg="mod">
          <ac:chgData name="José Antonio Ureta Santacreu" userId="e36999d1-2b92-424a-9e8c-5fde0c5fbdd2" providerId="ADAL" clId="{7D8E3005-6D19-4F2A-9BE0-A2C92552758E}" dt="2024-09-19T09:21:58.805" v="4974" actId="14100"/>
          <ac:spMkLst>
            <pc:docMk/>
            <pc:sldMk cId="2938065926" sldId="1115"/>
            <ac:spMk id="2" creationId="{561DF8BA-5282-68F4-7078-C5AEBBD1B410}"/>
          </ac:spMkLst>
        </pc:spChg>
        <pc:spChg chg="add del mod">
          <ac:chgData name="José Antonio Ureta Santacreu" userId="e36999d1-2b92-424a-9e8c-5fde0c5fbdd2" providerId="ADAL" clId="{7D8E3005-6D19-4F2A-9BE0-A2C92552758E}" dt="2024-09-19T09:21:44.763" v="4945"/>
          <ac:spMkLst>
            <pc:docMk/>
            <pc:sldMk cId="2938065926" sldId="1115"/>
            <ac:spMk id="7" creationId="{74E412F9-9273-8E59-9051-23A8A4869F14}"/>
          </ac:spMkLst>
        </pc:spChg>
        <pc:graphicFrameChg chg="del mod">
          <ac:chgData name="José Antonio Ureta Santacreu" userId="e36999d1-2b92-424a-9e8c-5fde0c5fbdd2" providerId="ADAL" clId="{7D8E3005-6D19-4F2A-9BE0-A2C92552758E}" dt="2024-09-19T09:21:41.026" v="4944" actId="478"/>
          <ac:graphicFrameMkLst>
            <pc:docMk/>
            <pc:sldMk cId="2938065926" sldId="1115"/>
            <ac:graphicFrameMk id="27" creationId="{5C49F41F-578E-DFBC-EB21-B6A2EDC40B25}"/>
          </ac:graphicFrameMkLst>
        </pc:graphicFrameChg>
        <pc:picChg chg="add mod">
          <ac:chgData name="José Antonio Ureta Santacreu" userId="e36999d1-2b92-424a-9e8c-5fde0c5fbdd2" providerId="ADAL" clId="{7D8E3005-6D19-4F2A-9BE0-A2C92552758E}" dt="2024-09-19T09:21:53.861" v="4973" actId="14100"/>
          <ac:picMkLst>
            <pc:docMk/>
            <pc:sldMk cId="2938065926" sldId="1115"/>
            <ac:picMk id="9" creationId="{9A093CF0-389D-B559-9F93-D3D9D999515D}"/>
          </ac:picMkLst>
        </pc:picChg>
      </pc:sldChg>
      <pc:sldChg chg="addSp modSp mod modShow">
        <pc:chgData name="José Antonio Ureta Santacreu" userId="e36999d1-2b92-424a-9e8c-5fde0c5fbdd2" providerId="ADAL" clId="{7D8E3005-6D19-4F2A-9BE0-A2C92552758E}" dt="2024-09-19T09:30:53.562" v="5238" actId="729"/>
        <pc:sldMkLst>
          <pc:docMk/>
          <pc:sldMk cId="1464873145" sldId="1117"/>
        </pc:sldMkLst>
        <pc:spChg chg="mod">
          <ac:chgData name="José Antonio Ureta Santacreu" userId="e36999d1-2b92-424a-9e8c-5fde0c5fbdd2" providerId="ADAL" clId="{7D8E3005-6D19-4F2A-9BE0-A2C92552758E}" dt="2024-09-19T09:22:34.606" v="5002" actId="20577"/>
          <ac:spMkLst>
            <pc:docMk/>
            <pc:sldMk cId="1464873145" sldId="1117"/>
            <ac:spMk id="2" creationId="{4D4A67F1-B69B-3929-CDB3-FEB8D0191B18}"/>
          </ac:spMkLst>
        </pc:spChg>
        <pc:graphicFrameChg chg="mod">
          <ac:chgData name="José Antonio Ureta Santacreu" userId="e36999d1-2b92-424a-9e8c-5fde0c5fbdd2" providerId="ADAL" clId="{7D8E3005-6D19-4F2A-9BE0-A2C92552758E}" dt="2024-09-19T09:30:35.803" v="5237" actId="20577"/>
          <ac:graphicFrameMkLst>
            <pc:docMk/>
            <pc:sldMk cId="1464873145" sldId="1117"/>
            <ac:graphicFrameMk id="6" creationId="{1887FF3F-9220-DDC3-024D-0374285639CC}"/>
          </ac:graphicFrameMkLst>
        </pc:graphicFrameChg>
        <pc:picChg chg="add mod">
          <ac:chgData name="José Antonio Ureta Santacreu" userId="e36999d1-2b92-424a-9e8c-5fde0c5fbdd2" providerId="ADAL" clId="{7D8E3005-6D19-4F2A-9BE0-A2C92552758E}" dt="2024-09-19T09:28:29.246" v="5193" actId="1076"/>
          <ac:picMkLst>
            <pc:docMk/>
            <pc:sldMk cId="1464873145" sldId="1117"/>
            <ac:picMk id="1026" creationId="{AECE1914-5411-010A-89E7-C7D5D1C44805}"/>
          </ac:picMkLst>
        </pc:picChg>
        <pc:picChg chg="add mod">
          <ac:chgData name="José Antonio Ureta Santacreu" userId="e36999d1-2b92-424a-9e8c-5fde0c5fbdd2" providerId="ADAL" clId="{7D8E3005-6D19-4F2A-9BE0-A2C92552758E}" dt="2024-09-19T09:28:33.636" v="5194" actId="1076"/>
          <ac:picMkLst>
            <pc:docMk/>
            <pc:sldMk cId="1464873145" sldId="1117"/>
            <ac:picMk id="1028" creationId="{D1C2E17B-2343-4D93-6988-BB6880F9EC95}"/>
          </ac:picMkLst>
        </pc:picChg>
      </pc:sldChg>
      <pc:sldChg chg="modSp del">
        <pc:chgData name="José Antonio Ureta Santacreu" userId="e36999d1-2b92-424a-9e8c-5fde0c5fbdd2" providerId="ADAL" clId="{7D8E3005-6D19-4F2A-9BE0-A2C92552758E}" dt="2024-09-04T11:48:19.924" v="4290" actId="2696"/>
        <pc:sldMkLst>
          <pc:docMk/>
          <pc:sldMk cId="580551939" sldId="1119"/>
        </pc:sldMkLst>
        <pc:graphicFrameChg chg="mod">
          <ac:chgData name="José Antonio Ureta Santacreu" userId="e36999d1-2b92-424a-9e8c-5fde0c5fbdd2" providerId="ADAL" clId="{7D8E3005-6D19-4F2A-9BE0-A2C92552758E}" dt="2024-09-04T11:30:06.631" v="4131" actId="20577"/>
          <ac:graphicFrameMkLst>
            <pc:docMk/>
            <pc:sldMk cId="580551939" sldId="1119"/>
            <ac:graphicFrameMk id="8" creationId="{8E0B28FF-2EED-A8DE-AA77-3F36E1FCA5BE}"/>
          </ac:graphicFrameMkLst>
        </pc:graphicFrameChg>
      </pc:sldChg>
      <pc:sldChg chg="addSp modSp add">
        <pc:chgData name="José Antonio Ureta Santacreu" userId="e36999d1-2b92-424a-9e8c-5fde0c5fbdd2" providerId="ADAL" clId="{7D8E3005-6D19-4F2A-9BE0-A2C92552758E}" dt="2024-09-04T11:54:49.812" v="4387"/>
        <pc:sldMkLst>
          <pc:docMk/>
          <pc:sldMk cId="4114449761" sldId="1119"/>
        </pc:sldMkLst>
        <pc:spChg chg="add mod">
          <ac:chgData name="José Antonio Ureta Santacreu" userId="e36999d1-2b92-424a-9e8c-5fde0c5fbdd2" providerId="ADAL" clId="{7D8E3005-6D19-4F2A-9BE0-A2C92552758E}" dt="2024-09-04T11:54:49.812" v="4387"/>
          <ac:spMkLst>
            <pc:docMk/>
            <pc:sldMk cId="4114449761" sldId="1119"/>
            <ac:spMk id="3" creationId="{626608EF-35A0-9AE6-F7F2-65EDE752CC3F}"/>
          </ac:spMkLst>
        </pc:spChg>
      </pc:sldChg>
      <pc:sldChg chg="del">
        <pc:chgData name="José Antonio Ureta Santacreu" userId="e36999d1-2b92-424a-9e8c-5fde0c5fbdd2" providerId="ADAL" clId="{7D8E3005-6D19-4F2A-9BE0-A2C92552758E}" dt="2024-09-04T11:48:19.924" v="4290" actId="2696"/>
        <pc:sldMkLst>
          <pc:docMk/>
          <pc:sldMk cId="1841520988" sldId="1120"/>
        </pc:sldMkLst>
      </pc:sldChg>
      <pc:sldChg chg="addSp delSp modSp add">
        <pc:chgData name="José Antonio Ureta Santacreu" userId="e36999d1-2b92-424a-9e8c-5fde0c5fbdd2" providerId="ADAL" clId="{7D8E3005-6D19-4F2A-9BE0-A2C92552758E}" dt="2024-09-04T11:54:58.730" v="4390"/>
        <pc:sldMkLst>
          <pc:docMk/>
          <pc:sldMk cId="3746148614" sldId="1120"/>
        </pc:sldMkLst>
        <pc:spChg chg="add del mod">
          <ac:chgData name="José Antonio Ureta Santacreu" userId="e36999d1-2b92-424a-9e8c-5fde0c5fbdd2" providerId="ADAL" clId="{7D8E3005-6D19-4F2A-9BE0-A2C92552758E}" dt="2024-09-04T11:50:54.514" v="4319"/>
          <ac:spMkLst>
            <pc:docMk/>
            <pc:sldMk cId="3746148614" sldId="1120"/>
            <ac:spMk id="3" creationId="{96C14213-A1C7-61B3-65A7-A9641FFABE44}"/>
          </ac:spMkLst>
        </pc:spChg>
        <pc:spChg chg="add mod">
          <ac:chgData name="José Antonio Ureta Santacreu" userId="e36999d1-2b92-424a-9e8c-5fde0c5fbdd2" providerId="ADAL" clId="{7D8E3005-6D19-4F2A-9BE0-A2C92552758E}" dt="2024-09-04T11:54:58.730" v="4390"/>
          <ac:spMkLst>
            <pc:docMk/>
            <pc:sldMk cId="3746148614" sldId="1120"/>
            <ac:spMk id="8" creationId="{36FCE5D7-930B-0D1C-6FFA-7A72D43F24DB}"/>
          </ac:spMkLst>
        </pc:spChg>
        <pc:picChg chg="del">
          <ac:chgData name="José Antonio Ureta Santacreu" userId="e36999d1-2b92-424a-9e8c-5fde0c5fbdd2" providerId="ADAL" clId="{7D8E3005-6D19-4F2A-9BE0-A2C92552758E}" dt="2024-09-04T11:50:52.445" v="4318" actId="478"/>
          <ac:picMkLst>
            <pc:docMk/>
            <pc:sldMk cId="3746148614" sldId="1120"/>
            <ac:picMk id="9" creationId="{76FE03E8-8D30-E430-F6D6-51019932E678}"/>
          </ac:picMkLst>
        </pc:picChg>
        <pc:picChg chg="add mod">
          <ac:chgData name="José Antonio Ureta Santacreu" userId="e36999d1-2b92-424a-9e8c-5fde0c5fbdd2" providerId="ADAL" clId="{7D8E3005-6D19-4F2A-9BE0-A2C92552758E}" dt="2024-09-04T11:50:54.514" v="4319"/>
          <ac:picMkLst>
            <pc:docMk/>
            <pc:sldMk cId="3746148614" sldId="1120"/>
            <ac:picMk id="5122" creationId="{F24C919C-4DE0-8DA2-808E-17B633D87085}"/>
          </ac:picMkLst>
        </pc:picChg>
      </pc:sldChg>
      <pc:sldChg chg="del">
        <pc:chgData name="José Antonio Ureta Santacreu" userId="e36999d1-2b92-424a-9e8c-5fde0c5fbdd2" providerId="ADAL" clId="{7D8E3005-6D19-4F2A-9BE0-A2C92552758E}" dt="2024-09-04T11:48:19.924" v="4290" actId="2696"/>
        <pc:sldMkLst>
          <pc:docMk/>
          <pc:sldMk cId="2686054634" sldId="1124"/>
        </pc:sldMkLst>
      </pc:sldChg>
      <pc:sldChg chg="addSp modSp add mod modShow">
        <pc:chgData name="José Antonio Ureta Santacreu" userId="e36999d1-2b92-424a-9e8c-5fde0c5fbdd2" providerId="ADAL" clId="{7D8E3005-6D19-4F2A-9BE0-A2C92552758E}" dt="2024-09-04T11:54:54.581" v="4388"/>
        <pc:sldMkLst>
          <pc:docMk/>
          <pc:sldMk cId="3859403986" sldId="1124"/>
        </pc:sldMkLst>
        <pc:spChg chg="add mod">
          <ac:chgData name="José Antonio Ureta Santacreu" userId="e36999d1-2b92-424a-9e8c-5fde0c5fbdd2" providerId="ADAL" clId="{7D8E3005-6D19-4F2A-9BE0-A2C92552758E}" dt="2024-09-04T11:54:54.581" v="4388"/>
          <ac:spMkLst>
            <pc:docMk/>
            <pc:sldMk cId="3859403986" sldId="1124"/>
            <ac:spMk id="3" creationId="{F0D08083-818D-DC3B-124A-E9AE14970E15}"/>
          </ac:spMkLst>
        </pc:spChg>
      </pc:sldChg>
      <pc:sldChg chg="addSp modSp add">
        <pc:chgData name="José Antonio Ureta Santacreu" userId="e36999d1-2b92-424a-9e8c-5fde0c5fbdd2" providerId="ADAL" clId="{7D8E3005-6D19-4F2A-9BE0-A2C92552758E}" dt="2024-09-04T11:55:19.025" v="4391"/>
        <pc:sldMkLst>
          <pc:docMk/>
          <pc:sldMk cId="2740318764" sldId="1126"/>
        </pc:sldMkLst>
        <pc:spChg chg="add mod">
          <ac:chgData name="José Antonio Ureta Santacreu" userId="e36999d1-2b92-424a-9e8c-5fde0c5fbdd2" providerId="ADAL" clId="{7D8E3005-6D19-4F2A-9BE0-A2C92552758E}" dt="2024-09-04T11:55:19.025" v="4391"/>
          <ac:spMkLst>
            <pc:docMk/>
            <pc:sldMk cId="2740318764" sldId="1126"/>
            <ac:spMk id="7" creationId="{87D8B1EA-7662-F5C7-A68B-98341DB83C54}"/>
          </ac:spMkLst>
        </pc:spChg>
      </pc:sldChg>
      <pc:sldChg chg="del">
        <pc:chgData name="José Antonio Ureta Santacreu" userId="e36999d1-2b92-424a-9e8c-5fde0c5fbdd2" providerId="ADAL" clId="{7D8E3005-6D19-4F2A-9BE0-A2C92552758E}" dt="2024-09-04T11:48:19.924" v="4290" actId="2696"/>
        <pc:sldMkLst>
          <pc:docMk/>
          <pc:sldMk cId="2754253202" sldId="1126"/>
        </pc:sldMkLst>
      </pc:sldChg>
      <pc:sldChg chg="addSp delSp modSp add mod modClrScheme chgLayout">
        <pc:chgData name="José Antonio Ureta Santacreu" userId="e36999d1-2b92-424a-9e8c-5fde0c5fbdd2" providerId="ADAL" clId="{7D8E3005-6D19-4F2A-9BE0-A2C92552758E}" dt="2024-09-04T11:54:44.678" v="4386" actId="1037"/>
        <pc:sldMkLst>
          <pc:docMk/>
          <pc:sldMk cId="147576837" sldId="1132"/>
        </pc:sldMkLst>
        <pc:spChg chg="mod ord">
          <ac:chgData name="José Antonio Ureta Santacreu" userId="e36999d1-2b92-424a-9e8c-5fde0c5fbdd2" providerId="ADAL" clId="{7D8E3005-6D19-4F2A-9BE0-A2C92552758E}" dt="2024-09-04T11:53:27.635" v="4328" actId="700"/>
          <ac:spMkLst>
            <pc:docMk/>
            <pc:sldMk cId="147576837" sldId="1132"/>
            <ac:spMk id="2" creationId="{253D3892-9A30-AFCA-EDBA-E06B2E0C8244}"/>
          </ac:spMkLst>
        </pc:spChg>
        <pc:spChg chg="mod ord">
          <ac:chgData name="José Antonio Ureta Santacreu" userId="e36999d1-2b92-424a-9e8c-5fde0c5fbdd2" providerId="ADAL" clId="{7D8E3005-6D19-4F2A-9BE0-A2C92552758E}" dt="2024-09-04T11:53:27.635" v="4328" actId="700"/>
          <ac:spMkLst>
            <pc:docMk/>
            <pc:sldMk cId="147576837" sldId="1132"/>
            <ac:spMk id="3" creationId="{60217718-2344-D301-6E28-AA15E8D6BFE7}"/>
          </ac:spMkLst>
        </pc:spChg>
        <pc:spChg chg="mod ord">
          <ac:chgData name="José Antonio Ureta Santacreu" userId="e36999d1-2b92-424a-9e8c-5fde0c5fbdd2" providerId="ADAL" clId="{7D8E3005-6D19-4F2A-9BE0-A2C92552758E}" dt="2024-09-04T11:53:27.635" v="4328" actId="700"/>
          <ac:spMkLst>
            <pc:docMk/>
            <pc:sldMk cId="147576837" sldId="1132"/>
            <ac:spMk id="4" creationId="{1EB0CD7D-C372-93B7-260C-69D067EBF1D0}"/>
          </ac:spMkLst>
        </pc:spChg>
        <pc:spChg chg="mod ord">
          <ac:chgData name="José Antonio Ureta Santacreu" userId="e36999d1-2b92-424a-9e8c-5fde0c5fbdd2" providerId="ADAL" clId="{7D8E3005-6D19-4F2A-9BE0-A2C92552758E}" dt="2024-09-04T11:53:27.635" v="4328" actId="700"/>
          <ac:spMkLst>
            <pc:docMk/>
            <pc:sldMk cId="147576837" sldId="1132"/>
            <ac:spMk id="5" creationId="{015166B4-9682-ED7F-BFF7-AA50E95EC94A}"/>
          </ac:spMkLst>
        </pc:spChg>
        <pc:spChg chg="add del mod">
          <ac:chgData name="José Antonio Ureta Santacreu" userId="e36999d1-2b92-424a-9e8c-5fde0c5fbdd2" providerId="ADAL" clId="{7D8E3005-6D19-4F2A-9BE0-A2C92552758E}" dt="2024-09-04T11:53:30.620" v="4329" actId="478"/>
          <ac:spMkLst>
            <pc:docMk/>
            <pc:sldMk cId="147576837" sldId="1132"/>
            <ac:spMk id="7" creationId="{DCE7D141-726D-BD55-3DF1-52591E33F60A}"/>
          </ac:spMkLst>
        </pc:spChg>
        <pc:spChg chg="add del mod ord">
          <ac:chgData name="José Antonio Ureta Santacreu" userId="e36999d1-2b92-424a-9e8c-5fde0c5fbdd2" providerId="ADAL" clId="{7D8E3005-6D19-4F2A-9BE0-A2C92552758E}" dt="2024-09-04T11:52:51.667" v="4321" actId="700"/>
          <ac:spMkLst>
            <pc:docMk/>
            <pc:sldMk cId="147576837" sldId="1132"/>
            <ac:spMk id="8" creationId="{C52F4F29-722E-38CF-65B4-F67F3BB26F88}"/>
          </ac:spMkLst>
        </pc:spChg>
        <pc:spChg chg="add del mod ord">
          <ac:chgData name="José Antonio Ureta Santacreu" userId="e36999d1-2b92-424a-9e8c-5fde0c5fbdd2" providerId="ADAL" clId="{7D8E3005-6D19-4F2A-9BE0-A2C92552758E}" dt="2024-09-04T11:52:51.667" v="4321" actId="700"/>
          <ac:spMkLst>
            <pc:docMk/>
            <pc:sldMk cId="147576837" sldId="1132"/>
            <ac:spMk id="9" creationId="{236BDE85-C31A-A9F9-9D0E-8E86279DB67C}"/>
          </ac:spMkLst>
        </pc:spChg>
        <pc:spChg chg="add del mod ord">
          <ac:chgData name="José Antonio Ureta Santacreu" userId="e36999d1-2b92-424a-9e8c-5fde0c5fbdd2" providerId="ADAL" clId="{7D8E3005-6D19-4F2A-9BE0-A2C92552758E}" dt="2024-09-04T11:53:07.789" v="4324"/>
          <ac:spMkLst>
            <pc:docMk/>
            <pc:sldMk cId="147576837" sldId="1132"/>
            <ac:spMk id="10" creationId="{81D03D02-F411-55C8-FA7A-D4B55E20B085}"/>
          </ac:spMkLst>
        </pc:spChg>
        <pc:spChg chg="add del mod ord">
          <ac:chgData name="José Antonio Ureta Santacreu" userId="e36999d1-2b92-424a-9e8c-5fde0c5fbdd2" providerId="ADAL" clId="{7D8E3005-6D19-4F2A-9BE0-A2C92552758E}" dt="2024-09-04T11:53:27.635" v="4328" actId="700"/>
          <ac:spMkLst>
            <pc:docMk/>
            <pc:sldMk cId="147576837" sldId="1132"/>
            <ac:spMk id="11" creationId="{81E5506C-E3E9-DD81-5083-84BAA4DFE959}"/>
          </ac:spMkLst>
        </pc:spChg>
        <pc:spChg chg="add mod">
          <ac:chgData name="José Antonio Ureta Santacreu" userId="e36999d1-2b92-424a-9e8c-5fde0c5fbdd2" providerId="ADAL" clId="{7D8E3005-6D19-4F2A-9BE0-A2C92552758E}" dt="2024-09-04T11:54:44.678" v="4386" actId="1037"/>
          <ac:spMkLst>
            <pc:docMk/>
            <pc:sldMk cId="147576837" sldId="1132"/>
            <ac:spMk id="13" creationId="{8EAACAAC-1E44-4979-3463-4A36AF7CF605}"/>
          </ac:spMkLst>
        </pc:spChg>
        <pc:picChg chg="del">
          <ac:chgData name="José Antonio Ureta Santacreu" userId="e36999d1-2b92-424a-9e8c-5fde0c5fbdd2" providerId="ADAL" clId="{7D8E3005-6D19-4F2A-9BE0-A2C92552758E}" dt="2024-09-04T11:53:05.738" v="4323" actId="21"/>
          <ac:picMkLst>
            <pc:docMk/>
            <pc:sldMk cId="147576837" sldId="1132"/>
            <ac:picMk id="6" creationId="{2A9C92E5-8099-6D23-A946-58BEBD5CFFA3}"/>
          </ac:picMkLst>
        </pc:picChg>
        <pc:picChg chg="add mod ord">
          <ac:chgData name="José Antonio Ureta Santacreu" userId="e36999d1-2b92-424a-9e8c-5fde0c5fbdd2" providerId="ADAL" clId="{7D8E3005-6D19-4F2A-9BE0-A2C92552758E}" dt="2024-09-04T11:53:27.635" v="4328" actId="700"/>
          <ac:picMkLst>
            <pc:docMk/>
            <pc:sldMk cId="147576837" sldId="1132"/>
            <ac:picMk id="12" creationId="{2A9C92E5-8099-6D23-A946-58BEBD5CFFA3}"/>
          </ac:picMkLst>
        </pc:picChg>
      </pc:sldChg>
      <pc:sldChg chg="del">
        <pc:chgData name="José Antonio Ureta Santacreu" userId="e36999d1-2b92-424a-9e8c-5fde0c5fbdd2" providerId="ADAL" clId="{7D8E3005-6D19-4F2A-9BE0-A2C92552758E}" dt="2024-09-04T11:48:19.924" v="4290" actId="2696"/>
        <pc:sldMkLst>
          <pc:docMk/>
          <pc:sldMk cId="3801923347" sldId="1132"/>
        </pc:sldMkLst>
      </pc:sldChg>
      <pc:sldChg chg="del">
        <pc:chgData name="José Antonio Ureta Santacreu" userId="e36999d1-2b92-424a-9e8c-5fde0c5fbdd2" providerId="ADAL" clId="{7D8E3005-6D19-4F2A-9BE0-A2C92552758E}" dt="2024-07-30T09:41:47.246" v="968" actId="2696"/>
        <pc:sldMkLst>
          <pc:docMk/>
          <pc:sldMk cId="294503091" sldId="1133"/>
        </pc:sldMkLst>
      </pc:sldChg>
      <pc:sldChg chg="add">
        <pc:chgData name="José Antonio Ureta Santacreu" userId="e36999d1-2b92-424a-9e8c-5fde0c5fbdd2" providerId="ADAL" clId="{7D8E3005-6D19-4F2A-9BE0-A2C92552758E}" dt="2024-07-30T09:42:11.501" v="969"/>
        <pc:sldMkLst>
          <pc:docMk/>
          <pc:sldMk cId="1412934674" sldId="1133"/>
        </pc:sldMkLst>
      </pc:sldChg>
      <pc:sldChg chg="modSp mod">
        <pc:chgData name="José Antonio Ureta Santacreu" userId="e36999d1-2b92-424a-9e8c-5fde0c5fbdd2" providerId="ADAL" clId="{7D8E3005-6D19-4F2A-9BE0-A2C92552758E}" dt="2024-09-05T10:33:06.099" v="4536" actId="6549"/>
        <pc:sldMkLst>
          <pc:docMk/>
          <pc:sldMk cId="3714723522" sldId="1137"/>
        </pc:sldMkLst>
        <pc:spChg chg="mod">
          <ac:chgData name="José Antonio Ureta Santacreu" userId="e36999d1-2b92-424a-9e8c-5fde0c5fbdd2" providerId="ADAL" clId="{7D8E3005-6D19-4F2A-9BE0-A2C92552758E}" dt="2024-09-05T10:33:06.099" v="4536" actId="6549"/>
          <ac:spMkLst>
            <pc:docMk/>
            <pc:sldMk cId="3714723522" sldId="1137"/>
            <ac:spMk id="6" creationId="{108E3126-1A1B-40BB-B2C8-5366C9DA7B1A}"/>
          </ac:spMkLst>
        </pc:spChg>
      </pc:sldChg>
      <pc:sldChg chg="del">
        <pc:chgData name="José Antonio Ureta Santacreu" userId="e36999d1-2b92-424a-9e8c-5fde0c5fbdd2" providerId="ADAL" clId="{7D8E3005-6D19-4F2A-9BE0-A2C92552758E}" dt="2024-07-24T11:54:46.407" v="60" actId="47"/>
        <pc:sldMkLst>
          <pc:docMk/>
          <pc:sldMk cId="3766911141" sldId="1141"/>
        </pc:sldMkLst>
      </pc:sldChg>
      <pc:sldChg chg="del">
        <pc:chgData name="José Antonio Ureta Santacreu" userId="e36999d1-2b92-424a-9e8c-5fde0c5fbdd2" providerId="ADAL" clId="{7D8E3005-6D19-4F2A-9BE0-A2C92552758E}" dt="2024-07-24T11:52:48.999" v="57" actId="47"/>
        <pc:sldMkLst>
          <pc:docMk/>
          <pc:sldMk cId="676798895" sldId="1142"/>
        </pc:sldMkLst>
      </pc:sldChg>
      <pc:sldChg chg="del">
        <pc:chgData name="José Antonio Ureta Santacreu" userId="e36999d1-2b92-424a-9e8c-5fde0c5fbdd2" providerId="ADAL" clId="{7D8E3005-6D19-4F2A-9BE0-A2C92552758E}" dt="2024-07-24T11:50:03.857" v="48" actId="47"/>
        <pc:sldMkLst>
          <pc:docMk/>
          <pc:sldMk cId="3825723451" sldId="1144"/>
        </pc:sldMkLst>
      </pc:sldChg>
      <pc:sldChg chg="addSp modSp add mod">
        <pc:chgData name="José Antonio Ureta Santacreu" userId="e36999d1-2b92-424a-9e8c-5fde0c5fbdd2" providerId="ADAL" clId="{7D8E3005-6D19-4F2A-9BE0-A2C92552758E}" dt="2024-09-19T09:21:45.357" v="4965" actId="27636"/>
        <pc:sldMkLst>
          <pc:docMk/>
          <pc:sldMk cId="1888233810" sldId="1146"/>
        </pc:sldMkLst>
        <pc:spChg chg="mod">
          <ac:chgData name="José Antonio Ureta Santacreu" userId="e36999d1-2b92-424a-9e8c-5fde0c5fbdd2" providerId="ADAL" clId="{7D8E3005-6D19-4F2A-9BE0-A2C92552758E}" dt="2024-09-19T09:21:45.357" v="4965" actId="27636"/>
          <ac:spMkLst>
            <pc:docMk/>
            <pc:sldMk cId="1888233810" sldId="1146"/>
            <ac:spMk id="5" creationId="{E5D38486-23BF-0CA5-D4A4-DF49ED76D868}"/>
          </ac:spMkLst>
        </pc:spChg>
        <pc:spChg chg="add mod">
          <ac:chgData name="José Antonio Ureta Santacreu" userId="e36999d1-2b92-424a-9e8c-5fde0c5fbdd2" providerId="ADAL" clId="{7D8E3005-6D19-4F2A-9BE0-A2C92552758E}" dt="2024-07-30T09:28:10.860" v="781" actId="208"/>
          <ac:spMkLst>
            <pc:docMk/>
            <pc:sldMk cId="1888233810" sldId="1146"/>
            <ac:spMk id="12" creationId="{30329A6D-6EE7-4E4E-E8A1-00501BF863C0}"/>
          </ac:spMkLst>
        </pc:spChg>
      </pc:sldChg>
      <pc:sldChg chg="del">
        <pc:chgData name="José Antonio Ureta Santacreu" userId="e36999d1-2b92-424a-9e8c-5fde0c5fbdd2" providerId="ADAL" clId="{7D8E3005-6D19-4F2A-9BE0-A2C92552758E}" dt="2024-07-24T11:53:21.446" v="58" actId="2696"/>
        <pc:sldMkLst>
          <pc:docMk/>
          <pc:sldMk cId="3650753642" sldId="1146"/>
        </pc:sldMkLst>
      </pc:sldChg>
      <pc:sldChg chg="addSp modSp add mod">
        <pc:chgData name="José Antonio Ureta Santacreu" userId="e36999d1-2b92-424a-9e8c-5fde0c5fbdd2" providerId="ADAL" clId="{7D8E3005-6D19-4F2A-9BE0-A2C92552758E}" dt="2024-07-30T09:28:34.744" v="792" actId="6549"/>
        <pc:sldMkLst>
          <pc:docMk/>
          <pc:sldMk cId="307772620" sldId="1147"/>
        </pc:sldMkLst>
        <pc:spChg chg="mod">
          <ac:chgData name="José Antonio Ureta Santacreu" userId="e36999d1-2b92-424a-9e8c-5fde0c5fbdd2" providerId="ADAL" clId="{7D8E3005-6D19-4F2A-9BE0-A2C92552758E}" dt="2024-07-30T09:28:34.744" v="792" actId="6549"/>
          <ac:spMkLst>
            <pc:docMk/>
            <pc:sldMk cId="307772620" sldId="1147"/>
            <ac:spMk id="2" creationId="{80CD90C6-657A-F336-9BC4-6B5C23988BAC}"/>
          </ac:spMkLst>
        </pc:spChg>
        <pc:spChg chg="add mod">
          <ac:chgData name="José Antonio Ureta Santacreu" userId="e36999d1-2b92-424a-9e8c-5fde0c5fbdd2" providerId="ADAL" clId="{7D8E3005-6D19-4F2A-9BE0-A2C92552758E}" dt="2024-07-30T09:28:22.587" v="783"/>
          <ac:spMkLst>
            <pc:docMk/>
            <pc:sldMk cId="307772620" sldId="1147"/>
            <ac:spMk id="7" creationId="{EA5984B5-0D4A-509B-7B1D-BF256209522F}"/>
          </ac:spMkLst>
        </pc:spChg>
      </pc:sldChg>
      <pc:sldChg chg="del">
        <pc:chgData name="José Antonio Ureta Santacreu" userId="e36999d1-2b92-424a-9e8c-5fde0c5fbdd2" providerId="ADAL" clId="{7D8E3005-6D19-4F2A-9BE0-A2C92552758E}" dt="2024-07-24T11:53:21.446" v="58" actId="2696"/>
        <pc:sldMkLst>
          <pc:docMk/>
          <pc:sldMk cId="3166477491" sldId="1147"/>
        </pc:sldMkLst>
      </pc:sldChg>
      <pc:sldChg chg="del">
        <pc:chgData name="José Antonio Ureta Santacreu" userId="e36999d1-2b92-424a-9e8c-5fde0c5fbdd2" providerId="ADAL" clId="{7D8E3005-6D19-4F2A-9BE0-A2C92552758E}" dt="2024-07-24T11:53:21.446" v="58" actId="2696"/>
        <pc:sldMkLst>
          <pc:docMk/>
          <pc:sldMk cId="1463568012" sldId="1148"/>
        </pc:sldMkLst>
      </pc:sldChg>
      <pc:sldChg chg="addSp modSp add">
        <pc:chgData name="José Antonio Ureta Santacreu" userId="e36999d1-2b92-424a-9e8c-5fde0c5fbdd2" providerId="ADAL" clId="{7D8E3005-6D19-4F2A-9BE0-A2C92552758E}" dt="2024-07-30T09:28:40.303" v="793"/>
        <pc:sldMkLst>
          <pc:docMk/>
          <pc:sldMk cId="1896172152" sldId="1148"/>
        </pc:sldMkLst>
        <pc:spChg chg="add mod">
          <ac:chgData name="José Antonio Ureta Santacreu" userId="e36999d1-2b92-424a-9e8c-5fde0c5fbdd2" providerId="ADAL" clId="{7D8E3005-6D19-4F2A-9BE0-A2C92552758E}" dt="2024-07-30T09:28:40.303" v="793"/>
          <ac:spMkLst>
            <pc:docMk/>
            <pc:sldMk cId="1896172152" sldId="1148"/>
            <ac:spMk id="8" creationId="{1C73AB57-7616-86B7-DB69-50FC68559D84}"/>
          </ac:spMkLst>
        </pc:spChg>
      </pc:sldChg>
      <pc:sldChg chg="del">
        <pc:chgData name="José Antonio Ureta Santacreu" userId="e36999d1-2b92-424a-9e8c-5fde0c5fbdd2" providerId="ADAL" clId="{7D8E3005-6D19-4F2A-9BE0-A2C92552758E}" dt="2024-07-24T11:54:46.407" v="60" actId="47"/>
        <pc:sldMkLst>
          <pc:docMk/>
          <pc:sldMk cId="2462416879" sldId="1149"/>
        </pc:sldMkLst>
      </pc:sldChg>
      <pc:sldChg chg="del">
        <pc:chgData name="José Antonio Ureta Santacreu" userId="e36999d1-2b92-424a-9e8c-5fde0c5fbdd2" providerId="ADAL" clId="{7D8E3005-6D19-4F2A-9BE0-A2C92552758E}" dt="2024-07-24T11:54:46.407" v="60" actId="47"/>
        <pc:sldMkLst>
          <pc:docMk/>
          <pc:sldMk cId="737576691" sldId="1150"/>
        </pc:sldMkLst>
      </pc:sldChg>
      <pc:sldChg chg="del">
        <pc:chgData name="José Antonio Ureta Santacreu" userId="e36999d1-2b92-424a-9e8c-5fde0c5fbdd2" providerId="ADAL" clId="{7D8E3005-6D19-4F2A-9BE0-A2C92552758E}" dt="2024-07-24T11:54:46.407" v="60" actId="47"/>
        <pc:sldMkLst>
          <pc:docMk/>
          <pc:sldMk cId="4032208994" sldId="1151"/>
        </pc:sldMkLst>
      </pc:sldChg>
      <pc:sldChg chg="del">
        <pc:chgData name="José Antonio Ureta Santacreu" userId="e36999d1-2b92-424a-9e8c-5fde0c5fbdd2" providerId="ADAL" clId="{7D8E3005-6D19-4F2A-9BE0-A2C92552758E}" dt="2024-07-24T11:54:46.407" v="60" actId="47"/>
        <pc:sldMkLst>
          <pc:docMk/>
          <pc:sldMk cId="1263049429" sldId="1152"/>
        </pc:sldMkLst>
      </pc:sldChg>
      <pc:sldChg chg="del">
        <pc:chgData name="José Antonio Ureta Santacreu" userId="e36999d1-2b92-424a-9e8c-5fde0c5fbdd2" providerId="ADAL" clId="{7D8E3005-6D19-4F2A-9BE0-A2C92552758E}" dt="2024-07-24T11:54:46.407" v="60" actId="47"/>
        <pc:sldMkLst>
          <pc:docMk/>
          <pc:sldMk cId="1583099370" sldId="1153"/>
        </pc:sldMkLst>
      </pc:sldChg>
      <pc:sldChg chg="del">
        <pc:chgData name="José Antonio Ureta Santacreu" userId="e36999d1-2b92-424a-9e8c-5fde0c5fbdd2" providerId="ADAL" clId="{7D8E3005-6D19-4F2A-9BE0-A2C92552758E}" dt="2024-07-24T11:54:46.407" v="60" actId="47"/>
        <pc:sldMkLst>
          <pc:docMk/>
          <pc:sldMk cId="541296340" sldId="1154"/>
        </pc:sldMkLst>
      </pc:sldChg>
      <pc:sldChg chg="del">
        <pc:chgData name="José Antonio Ureta Santacreu" userId="e36999d1-2b92-424a-9e8c-5fde0c5fbdd2" providerId="ADAL" clId="{7D8E3005-6D19-4F2A-9BE0-A2C92552758E}" dt="2024-07-24T11:54:46.407" v="60" actId="47"/>
        <pc:sldMkLst>
          <pc:docMk/>
          <pc:sldMk cId="2779679737" sldId="1155"/>
        </pc:sldMkLst>
      </pc:sldChg>
      <pc:sldChg chg="del">
        <pc:chgData name="José Antonio Ureta Santacreu" userId="e36999d1-2b92-424a-9e8c-5fde0c5fbdd2" providerId="ADAL" clId="{7D8E3005-6D19-4F2A-9BE0-A2C92552758E}" dt="2024-07-24T11:54:46.407" v="60" actId="47"/>
        <pc:sldMkLst>
          <pc:docMk/>
          <pc:sldMk cId="1024489870" sldId="1156"/>
        </pc:sldMkLst>
      </pc:sldChg>
      <pc:sldChg chg="del">
        <pc:chgData name="José Antonio Ureta Santacreu" userId="e36999d1-2b92-424a-9e8c-5fde0c5fbdd2" providerId="ADAL" clId="{7D8E3005-6D19-4F2A-9BE0-A2C92552758E}" dt="2024-07-24T11:54:46.407" v="60" actId="47"/>
        <pc:sldMkLst>
          <pc:docMk/>
          <pc:sldMk cId="1824129569" sldId="1157"/>
        </pc:sldMkLst>
      </pc:sldChg>
      <pc:sldChg chg="del">
        <pc:chgData name="José Antonio Ureta Santacreu" userId="e36999d1-2b92-424a-9e8c-5fde0c5fbdd2" providerId="ADAL" clId="{7D8E3005-6D19-4F2A-9BE0-A2C92552758E}" dt="2024-07-24T11:54:46.407" v="60" actId="47"/>
        <pc:sldMkLst>
          <pc:docMk/>
          <pc:sldMk cId="127888367" sldId="1158"/>
        </pc:sldMkLst>
      </pc:sldChg>
      <pc:sldChg chg="del">
        <pc:chgData name="José Antonio Ureta Santacreu" userId="e36999d1-2b92-424a-9e8c-5fde0c5fbdd2" providerId="ADAL" clId="{7D8E3005-6D19-4F2A-9BE0-A2C92552758E}" dt="2024-07-24T11:54:46.407" v="60" actId="47"/>
        <pc:sldMkLst>
          <pc:docMk/>
          <pc:sldMk cId="4155218395" sldId="1159"/>
        </pc:sldMkLst>
      </pc:sldChg>
      <pc:sldChg chg="del">
        <pc:chgData name="José Antonio Ureta Santacreu" userId="e36999d1-2b92-424a-9e8c-5fde0c5fbdd2" providerId="ADAL" clId="{7D8E3005-6D19-4F2A-9BE0-A2C92552758E}" dt="2024-07-24T11:54:46.407" v="60" actId="47"/>
        <pc:sldMkLst>
          <pc:docMk/>
          <pc:sldMk cId="1510898192" sldId="1160"/>
        </pc:sldMkLst>
      </pc:sldChg>
      <pc:sldChg chg="del">
        <pc:chgData name="José Antonio Ureta Santacreu" userId="e36999d1-2b92-424a-9e8c-5fde0c5fbdd2" providerId="ADAL" clId="{7D8E3005-6D19-4F2A-9BE0-A2C92552758E}" dt="2024-07-24T11:54:46.407" v="60" actId="47"/>
        <pc:sldMkLst>
          <pc:docMk/>
          <pc:sldMk cId="682606640" sldId="1161"/>
        </pc:sldMkLst>
      </pc:sldChg>
      <pc:sldChg chg="addSp delSp modSp mod modClrScheme modShow chgLayout">
        <pc:chgData name="José Antonio Ureta Santacreu" userId="e36999d1-2b92-424a-9e8c-5fde0c5fbdd2" providerId="ADAL" clId="{7D8E3005-6D19-4F2A-9BE0-A2C92552758E}" dt="2024-07-30T09:57:33.406" v="977"/>
        <pc:sldMkLst>
          <pc:docMk/>
          <pc:sldMk cId="2021865458" sldId="1171"/>
        </pc:sldMkLst>
        <pc:spChg chg="mod ord">
          <ac:chgData name="José Antonio Ureta Santacreu" userId="e36999d1-2b92-424a-9e8c-5fde0c5fbdd2" providerId="ADAL" clId="{7D8E3005-6D19-4F2A-9BE0-A2C92552758E}" dt="2024-07-30T09:57:30.538" v="976" actId="700"/>
          <ac:spMkLst>
            <pc:docMk/>
            <pc:sldMk cId="2021865458" sldId="1171"/>
            <ac:spMk id="2" creationId="{112FCEE1-F48F-9A16-8756-2B80745CF114}"/>
          </ac:spMkLst>
        </pc:spChg>
        <pc:spChg chg="mod ord">
          <ac:chgData name="José Antonio Ureta Santacreu" userId="e36999d1-2b92-424a-9e8c-5fde0c5fbdd2" providerId="ADAL" clId="{7D8E3005-6D19-4F2A-9BE0-A2C92552758E}" dt="2024-07-30T09:57:30.538" v="976" actId="700"/>
          <ac:spMkLst>
            <pc:docMk/>
            <pc:sldMk cId="2021865458" sldId="1171"/>
            <ac:spMk id="3" creationId="{B597FD88-C4B6-BC4C-361B-E352A2944232}"/>
          </ac:spMkLst>
        </pc:spChg>
        <pc:spChg chg="mod ord">
          <ac:chgData name="José Antonio Ureta Santacreu" userId="e36999d1-2b92-424a-9e8c-5fde0c5fbdd2" providerId="ADAL" clId="{7D8E3005-6D19-4F2A-9BE0-A2C92552758E}" dt="2024-07-30T09:57:30.538" v="976" actId="700"/>
          <ac:spMkLst>
            <pc:docMk/>
            <pc:sldMk cId="2021865458" sldId="1171"/>
            <ac:spMk id="4" creationId="{6E62D121-B238-0860-084C-9871C41B406E}"/>
          </ac:spMkLst>
        </pc:spChg>
        <pc:spChg chg="mod ord">
          <ac:chgData name="José Antonio Ureta Santacreu" userId="e36999d1-2b92-424a-9e8c-5fde0c5fbdd2" providerId="ADAL" clId="{7D8E3005-6D19-4F2A-9BE0-A2C92552758E}" dt="2024-07-30T09:57:30.538" v="976" actId="700"/>
          <ac:spMkLst>
            <pc:docMk/>
            <pc:sldMk cId="2021865458" sldId="1171"/>
            <ac:spMk id="5" creationId="{64E224A4-4FC7-DD91-FF6D-C2F8D7F49FA9}"/>
          </ac:spMkLst>
        </pc:spChg>
        <pc:spChg chg="add del mod ord">
          <ac:chgData name="José Antonio Ureta Santacreu" userId="e36999d1-2b92-424a-9e8c-5fde0c5fbdd2" providerId="ADAL" clId="{7D8E3005-6D19-4F2A-9BE0-A2C92552758E}" dt="2024-07-30T09:57:33.406" v="977"/>
          <ac:spMkLst>
            <pc:docMk/>
            <pc:sldMk cId="2021865458" sldId="1171"/>
            <ac:spMk id="6" creationId="{E75E81EF-D990-52D9-2744-EA4F27751CFC}"/>
          </ac:spMkLst>
        </pc:spChg>
        <pc:picChg chg="add mod">
          <ac:chgData name="José Antonio Ureta Santacreu" userId="e36999d1-2b92-424a-9e8c-5fde0c5fbdd2" providerId="ADAL" clId="{7D8E3005-6D19-4F2A-9BE0-A2C92552758E}" dt="2024-07-30T09:57:33.406" v="977"/>
          <ac:picMkLst>
            <pc:docMk/>
            <pc:sldMk cId="2021865458" sldId="1171"/>
            <ac:picMk id="7" creationId="{38E57C9E-BAC4-4C9C-4162-40D2E8980A66}"/>
          </ac:picMkLst>
        </pc:picChg>
      </pc:sldChg>
      <pc:sldChg chg="del">
        <pc:chgData name="José Antonio Ureta Santacreu" userId="e36999d1-2b92-424a-9e8c-5fde0c5fbdd2" providerId="ADAL" clId="{7D8E3005-6D19-4F2A-9BE0-A2C92552758E}" dt="2024-07-30T09:41:47.246" v="968" actId="2696"/>
        <pc:sldMkLst>
          <pc:docMk/>
          <pc:sldMk cId="2050754144" sldId="1172"/>
        </pc:sldMkLst>
      </pc:sldChg>
      <pc:sldChg chg="add del">
        <pc:chgData name="José Antonio Ureta Santacreu" userId="e36999d1-2b92-424a-9e8c-5fde0c5fbdd2" providerId="ADAL" clId="{7D8E3005-6D19-4F2A-9BE0-A2C92552758E}" dt="2024-09-04T11:34:16.631" v="4137" actId="47"/>
        <pc:sldMkLst>
          <pc:docMk/>
          <pc:sldMk cId="3556540467" sldId="1172"/>
        </pc:sldMkLst>
      </pc:sldChg>
      <pc:sldChg chg="del">
        <pc:chgData name="José Antonio Ureta Santacreu" userId="e36999d1-2b92-424a-9e8c-5fde0c5fbdd2" providerId="ADAL" clId="{7D8E3005-6D19-4F2A-9BE0-A2C92552758E}" dt="2024-07-24T11:51:30.489" v="52" actId="2696"/>
        <pc:sldMkLst>
          <pc:docMk/>
          <pc:sldMk cId="1406289553" sldId="1179"/>
        </pc:sldMkLst>
      </pc:sldChg>
      <pc:sldChg chg="addSp modSp add">
        <pc:chgData name="José Antonio Ureta Santacreu" userId="e36999d1-2b92-424a-9e8c-5fde0c5fbdd2" providerId="ADAL" clId="{7D8E3005-6D19-4F2A-9BE0-A2C92552758E}" dt="2024-07-30T09:27:23.490" v="769"/>
        <pc:sldMkLst>
          <pc:docMk/>
          <pc:sldMk cId="1870649539" sldId="1179"/>
        </pc:sldMkLst>
        <pc:spChg chg="add mod">
          <ac:chgData name="José Antonio Ureta Santacreu" userId="e36999d1-2b92-424a-9e8c-5fde0c5fbdd2" providerId="ADAL" clId="{7D8E3005-6D19-4F2A-9BE0-A2C92552758E}" dt="2024-07-30T09:27:23.490" v="769"/>
          <ac:spMkLst>
            <pc:docMk/>
            <pc:sldMk cId="1870649539" sldId="1179"/>
            <ac:spMk id="4" creationId="{31099781-7677-95B1-526B-0D3369627401}"/>
          </ac:spMkLst>
        </pc:spChg>
      </pc:sldChg>
      <pc:sldChg chg="del">
        <pc:chgData name="José Antonio Ureta Santacreu" userId="e36999d1-2b92-424a-9e8c-5fde0c5fbdd2" providerId="ADAL" clId="{7D8E3005-6D19-4F2A-9BE0-A2C92552758E}" dt="2024-07-24T11:52:38.892" v="56" actId="47"/>
        <pc:sldMkLst>
          <pc:docMk/>
          <pc:sldMk cId="2027027250" sldId="1180"/>
        </pc:sldMkLst>
      </pc:sldChg>
      <pc:sldChg chg="del">
        <pc:chgData name="José Antonio Ureta Santacreu" userId="e36999d1-2b92-424a-9e8c-5fde0c5fbdd2" providerId="ADAL" clId="{7D8E3005-6D19-4F2A-9BE0-A2C92552758E}" dt="2024-07-24T11:54:46.407" v="60" actId="47"/>
        <pc:sldMkLst>
          <pc:docMk/>
          <pc:sldMk cId="3226337980" sldId="1182"/>
        </pc:sldMkLst>
      </pc:sldChg>
      <pc:sldChg chg="addSp delSp modSp mod modClrScheme chgLayout">
        <pc:chgData name="José Antonio Ureta Santacreu" userId="e36999d1-2b92-424a-9e8c-5fde0c5fbdd2" providerId="ADAL" clId="{7D8E3005-6D19-4F2A-9BE0-A2C92552758E}" dt="2024-09-04T11:28:32.501" v="4126" actId="18653"/>
        <pc:sldMkLst>
          <pc:docMk/>
          <pc:sldMk cId="546133685" sldId="1183"/>
        </pc:sldMkLst>
        <pc:spChg chg="mod ord">
          <ac:chgData name="José Antonio Ureta Santacreu" userId="e36999d1-2b92-424a-9e8c-5fde0c5fbdd2" providerId="ADAL" clId="{7D8E3005-6D19-4F2A-9BE0-A2C92552758E}" dt="2024-09-04T11:28:23.384" v="4125" actId="6264"/>
          <ac:spMkLst>
            <pc:docMk/>
            <pc:sldMk cId="546133685" sldId="1183"/>
            <ac:spMk id="2" creationId="{BB3FEB5A-4314-EDB6-E8DF-183E89980F0C}"/>
          </ac:spMkLst>
        </pc:spChg>
        <pc:spChg chg="mod ord">
          <ac:chgData name="José Antonio Ureta Santacreu" userId="e36999d1-2b92-424a-9e8c-5fde0c5fbdd2" providerId="ADAL" clId="{7D8E3005-6D19-4F2A-9BE0-A2C92552758E}" dt="2024-09-04T11:28:23.384" v="4125" actId="6264"/>
          <ac:spMkLst>
            <pc:docMk/>
            <pc:sldMk cId="546133685" sldId="1183"/>
            <ac:spMk id="3" creationId="{3A4A35F4-D67A-3DD9-1484-C84ECDDD3DAE}"/>
          </ac:spMkLst>
        </pc:spChg>
        <pc:spChg chg="mod ord">
          <ac:chgData name="José Antonio Ureta Santacreu" userId="e36999d1-2b92-424a-9e8c-5fde0c5fbdd2" providerId="ADAL" clId="{7D8E3005-6D19-4F2A-9BE0-A2C92552758E}" dt="2024-09-04T11:28:23.384" v="4125" actId="6264"/>
          <ac:spMkLst>
            <pc:docMk/>
            <pc:sldMk cId="546133685" sldId="1183"/>
            <ac:spMk id="4" creationId="{909C7E39-952D-D831-F50E-D0AE75AD3DF9}"/>
          </ac:spMkLst>
        </pc:spChg>
        <pc:spChg chg="mod ord">
          <ac:chgData name="José Antonio Ureta Santacreu" userId="e36999d1-2b92-424a-9e8c-5fde0c5fbdd2" providerId="ADAL" clId="{7D8E3005-6D19-4F2A-9BE0-A2C92552758E}" dt="2024-09-04T11:28:23.384" v="4125" actId="6264"/>
          <ac:spMkLst>
            <pc:docMk/>
            <pc:sldMk cId="546133685" sldId="1183"/>
            <ac:spMk id="5" creationId="{69F1B02C-E663-4F37-9811-1D425EE3E977}"/>
          </ac:spMkLst>
        </pc:spChg>
        <pc:spChg chg="add del mod">
          <ac:chgData name="José Antonio Ureta Santacreu" userId="e36999d1-2b92-424a-9e8c-5fde0c5fbdd2" providerId="ADAL" clId="{7D8E3005-6D19-4F2A-9BE0-A2C92552758E}" dt="2024-09-04T11:28:14.099" v="4122"/>
          <ac:spMkLst>
            <pc:docMk/>
            <pc:sldMk cId="546133685" sldId="1183"/>
            <ac:spMk id="7" creationId="{29B6A10D-792D-B4C7-4E4A-A65F1647CCBB}"/>
          </ac:spMkLst>
        </pc:spChg>
        <pc:spChg chg="add del mod">
          <ac:chgData name="José Antonio Ureta Santacreu" userId="e36999d1-2b92-424a-9e8c-5fde0c5fbdd2" providerId="ADAL" clId="{7D8E3005-6D19-4F2A-9BE0-A2C92552758E}" dt="2024-09-04T11:28:16.212" v="4123" actId="6264"/>
          <ac:spMkLst>
            <pc:docMk/>
            <pc:sldMk cId="546133685" sldId="1183"/>
            <ac:spMk id="8" creationId="{C3463EA8-DD63-D5DF-881F-A4C60B4401FF}"/>
          </ac:spMkLst>
        </pc:spChg>
        <pc:spChg chg="add del mod">
          <ac:chgData name="José Antonio Ureta Santacreu" userId="e36999d1-2b92-424a-9e8c-5fde0c5fbdd2" providerId="ADAL" clId="{7D8E3005-6D19-4F2A-9BE0-A2C92552758E}" dt="2024-09-04T11:28:16.212" v="4123" actId="6264"/>
          <ac:spMkLst>
            <pc:docMk/>
            <pc:sldMk cId="546133685" sldId="1183"/>
            <ac:spMk id="9" creationId="{37C82670-A979-9D0B-B08A-99E1E5C56BB6}"/>
          </ac:spMkLst>
        </pc:spChg>
        <pc:spChg chg="add del mod">
          <ac:chgData name="José Antonio Ureta Santacreu" userId="e36999d1-2b92-424a-9e8c-5fde0c5fbdd2" providerId="ADAL" clId="{7D8E3005-6D19-4F2A-9BE0-A2C92552758E}" dt="2024-09-04T11:28:16.212" v="4123" actId="6264"/>
          <ac:spMkLst>
            <pc:docMk/>
            <pc:sldMk cId="546133685" sldId="1183"/>
            <ac:spMk id="10" creationId="{04F9683E-40AE-50F9-21FF-38A180166E33}"/>
          </ac:spMkLst>
        </pc:spChg>
        <pc:spChg chg="add del mod">
          <ac:chgData name="José Antonio Ureta Santacreu" userId="e36999d1-2b92-424a-9e8c-5fde0c5fbdd2" providerId="ADAL" clId="{7D8E3005-6D19-4F2A-9BE0-A2C92552758E}" dt="2024-09-04T11:28:16.212" v="4123" actId="6264"/>
          <ac:spMkLst>
            <pc:docMk/>
            <pc:sldMk cId="546133685" sldId="1183"/>
            <ac:spMk id="11" creationId="{F38C372E-8438-9E89-6560-052C002C4BC2}"/>
          </ac:spMkLst>
        </pc:spChg>
        <pc:spChg chg="add del mod">
          <ac:chgData name="José Antonio Ureta Santacreu" userId="e36999d1-2b92-424a-9e8c-5fde0c5fbdd2" providerId="ADAL" clId="{7D8E3005-6D19-4F2A-9BE0-A2C92552758E}" dt="2024-09-04T11:28:16.212" v="4123" actId="6264"/>
          <ac:spMkLst>
            <pc:docMk/>
            <pc:sldMk cId="546133685" sldId="1183"/>
            <ac:spMk id="12" creationId="{56845320-F09B-99DD-44BE-0353E272C9B5}"/>
          </ac:spMkLst>
        </pc:spChg>
        <pc:spChg chg="add del mod">
          <ac:chgData name="José Antonio Ureta Santacreu" userId="e36999d1-2b92-424a-9e8c-5fde0c5fbdd2" providerId="ADAL" clId="{7D8E3005-6D19-4F2A-9BE0-A2C92552758E}" dt="2024-09-04T11:28:16.212" v="4123" actId="6264"/>
          <ac:spMkLst>
            <pc:docMk/>
            <pc:sldMk cId="546133685" sldId="1183"/>
            <ac:spMk id="13" creationId="{B1CB9514-1ECB-8AEC-9A94-3F7A4EBC1BB5}"/>
          </ac:spMkLst>
        </pc:spChg>
        <pc:spChg chg="add del mod">
          <ac:chgData name="José Antonio Ureta Santacreu" userId="e36999d1-2b92-424a-9e8c-5fde0c5fbdd2" providerId="ADAL" clId="{7D8E3005-6D19-4F2A-9BE0-A2C92552758E}" dt="2024-09-04T11:28:23.384" v="4125" actId="6264"/>
          <ac:spMkLst>
            <pc:docMk/>
            <pc:sldMk cId="546133685" sldId="1183"/>
            <ac:spMk id="15" creationId="{EE0965AE-F168-618A-F742-4649F9D9AC17}"/>
          </ac:spMkLst>
        </pc:spChg>
        <pc:spChg chg="add del mod">
          <ac:chgData name="José Antonio Ureta Santacreu" userId="e36999d1-2b92-424a-9e8c-5fde0c5fbdd2" providerId="ADAL" clId="{7D8E3005-6D19-4F2A-9BE0-A2C92552758E}" dt="2024-09-04T11:28:23.384" v="4125" actId="6264"/>
          <ac:spMkLst>
            <pc:docMk/>
            <pc:sldMk cId="546133685" sldId="1183"/>
            <ac:spMk id="16" creationId="{381E82F3-E6CC-73B7-5D85-E30D327853E0}"/>
          </ac:spMkLst>
        </pc:spChg>
        <pc:spChg chg="add del mod">
          <ac:chgData name="José Antonio Ureta Santacreu" userId="e36999d1-2b92-424a-9e8c-5fde0c5fbdd2" providerId="ADAL" clId="{7D8E3005-6D19-4F2A-9BE0-A2C92552758E}" dt="2024-09-04T11:28:23.384" v="4125" actId="6264"/>
          <ac:spMkLst>
            <pc:docMk/>
            <pc:sldMk cId="546133685" sldId="1183"/>
            <ac:spMk id="18" creationId="{4A949688-243A-089A-5063-AE1E80040F89}"/>
          </ac:spMkLst>
        </pc:spChg>
        <pc:spChg chg="add del mod">
          <ac:chgData name="José Antonio Ureta Santacreu" userId="e36999d1-2b92-424a-9e8c-5fde0c5fbdd2" providerId="ADAL" clId="{7D8E3005-6D19-4F2A-9BE0-A2C92552758E}" dt="2024-09-04T11:28:23.384" v="4125" actId="6264"/>
          <ac:spMkLst>
            <pc:docMk/>
            <pc:sldMk cId="546133685" sldId="1183"/>
            <ac:spMk id="19" creationId="{7DF44823-31D5-FECB-840D-16F33B612AF0}"/>
          </ac:spMkLst>
        </pc:spChg>
        <pc:spChg chg="add del mod">
          <ac:chgData name="José Antonio Ureta Santacreu" userId="e36999d1-2b92-424a-9e8c-5fde0c5fbdd2" providerId="ADAL" clId="{7D8E3005-6D19-4F2A-9BE0-A2C92552758E}" dt="2024-09-04T11:28:23.384" v="4125" actId="6264"/>
          <ac:spMkLst>
            <pc:docMk/>
            <pc:sldMk cId="546133685" sldId="1183"/>
            <ac:spMk id="20" creationId="{459705F3-D822-3B9D-7696-FA75A0B080AC}"/>
          </ac:spMkLst>
        </pc:spChg>
        <pc:spChg chg="add del mod">
          <ac:chgData name="José Antonio Ureta Santacreu" userId="e36999d1-2b92-424a-9e8c-5fde0c5fbdd2" providerId="ADAL" clId="{7D8E3005-6D19-4F2A-9BE0-A2C92552758E}" dt="2024-09-04T11:28:23.384" v="4125" actId="6264"/>
          <ac:spMkLst>
            <pc:docMk/>
            <pc:sldMk cId="546133685" sldId="1183"/>
            <ac:spMk id="21" creationId="{EABE2AC4-BBA8-CDB2-186B-519DCB67B643}"/>
          </ac:spMkLst>
        </pc:spChg>
        <pc:graphicFrameChg chg="mod ord">
          <ac:chgData name="José Antonio Ureta Santacreu" userId="e36999d1-2b92-424a-9e8c-5fde0c5fbdd2" providerId="ADAL" clId="{7D8E3005-6D19-4F2A-9BE0-A2C92552758E}" dt="2024-09-04T11:28:23.384" v="4125" actId="6264"/>
          <ac:graphicFrameMkLst>
            <pc:docMk/>
            <pc:sldMk cId="546133685" sldId="1183"/>
            <ac:graphicFrameMk id="17" creationId="{DE534ECA-3178-7FE5-B52D-781C4E6C10F5}"/>
          </ac:graphicFrameMkLst>
        </pc:graphicFrameChg>
        <pc:picChg chg="del">
          <ac:chgData name="José Antonio Ureta Santacreu" userId="e36999d1-2b92-424a-9e8c-5fde0c5fbdd2" providerId="ADAL" clId="{7D8E3005-6D19-4F2A-9BE0-A2C92552758E}" dt="2024-09-04T11:28:11.508" v="4121" actId="478"/>
          <ac:picMkLst>
            <pc:docMk/>
            <pc:sldMk cId="546133685" sldId="1183"/>
            <ac:picMk id="14" creationId="{B044B2A5-D742-7D8C-AC22-98CAB63FF683}"/>
          </ac:picMkLst>
        </pc:picChg>
        <pc:picChg chg="add mod ord">
          <ac:chgData name="José Antonio Ureta Santacreu" userId="e36999d1-2b92-424a-9e8c-5fde0c5fbdd2" providerId="ADAL" clId="{7D8E3005-6D19-4F2A-9BE0-A2C92552758E}" dt="2024-09-04T11:28:32.501" v="4126" actId="18653"/>
          <ac:picMkLst>
            <pc:docMk/>
            <pc:sldMk cId="546133685" sldId="1183"/>
            <ac:picMk id="1026" creationId="{BA8F021B-615D-C1C2-0B0A-BADFDCC5F950}"/>
          </ac:picMkLst>
        </pc:picChg>
      </pc:sldChg>
      <pc:sldChg chg="del">
        <pc:chgData name="José Antonio Ureta Santacreu" userId="e36999d1-2b92-424a-9e8c-5fde0c5fbdd2" providerId="ADAL" clId="{7D8E3005-6D19-4F2A-9BE0-A2C92552758E}" dt="2024-07-24T11:49:20.071" v="45" actId="47"/>
        <pc:sldMkLst>
          <pc:docMk/>
          <pc:sldMk cId="1609561477" sldId="1184"/>
        </pc:sldMkLst>
      </pc:sldChg>
      <pc:sldChg chg="del">
        <pc:chgData name="José Antonio Ureta Santacreu" userId="e36999d1-2b92-424a-9e8c-5fde0c5fbdd2" providerId="ADAL" clId="{7D8E3005-6D19-4F2A-9BE0-A2C92552758E}" dt="2024-07-24T11:54:46.407" v="60" actId="47"/>
        <pc:sldMkLst>
          <pc:docMk/>
          <pc:sldMk cId="2195005296" sldId="1185"/>
        </pc:sldMkLst>
      </pc:sldChg>
      <pc:sldChg chg="del">
        <pc:chgData name="José Antonio Ureta Santacreu" userId="e36999d1-2b92-424a-9e8c-5fde0c5fbdd2" providerId="ADAL" clId="{7D8E3005-6D19-4F2A-9BE0-A2C92552758E}" dt="2024-07-24T11:54:46.407" v="60" actId="47"/>
        <pc:sldMkLst>
          <pc:docMk/>
          <pc:sldMk cId="960652425" sldId="1186"/>
        </pc:sldMkLst>
      </pc:sldChg>
      <pc:sldChg chg="del">
        <pc:chgData name="José Antonio Ureta Santacreu" userId="e36999d1-2b92-424a-9e8c-5fde0c5fbdd2" providerId="ADAL" clId="{7D8E3005-6D19-4F2A-9BE0-A2C92552758E}" dt="2024-07-24T11:54:46.407" v="60" actId="47"/>
        <pc:sldMkLst>
          <pc:docMk/>
          <pc:sldMk cId="1450900591" sldId="1187"/>
        </pc:sldMkLst>
      </pc:sldChg>
      <pc:sldChg chg="setBg">
        <pc:chgData name="José Antonio Ureta Santacreu" userId="e36999d1-2b92-424a-9e8c-5fde0c5fbdd2" providerId="ADAL" clId="{7D8E3005-6D19-4F2A-9BE0-A2C92552758E}" dt="2024-07-30T09:42:49.477" v="970"/>
        <pc:sldMkLst>
          <pc:docMk/>
          <pc:sldMk cId="2345579858" sldId="1211"/>
        </pc:sldMkLst>
      </pc:sldChg>
      <pc:sldChg chg="setBg">
        <pc:chgData name="José Antonio Ureta Santacreu" userId="e36999d1-2b92-424a-9e8c-5fde0c5fbdd2" providerId="ADAL" clId="{7D8E3005-6D19-4F2A-9BE0-A2C92552758E}" dt="2024-07-24T11:35:13.829" v="6"/>
        <pc:sldMkLst>
          <pc:docMk/>
          <pc:sldMk cId="1860430225" sldId="1214"/>
        </pc:sldMkLst>
      </pc:sldChg>
      <pc:sldChg chg="del">
        <pc:chgData name="José Antonio Ureta Santacreu" userId="e36999d1-2b92-424a-9e8c-5fde0c5fbdd2" providerId="ADAL" clId="{7D8E3005-6D19-4F2A-9BE0-A2C92552758E}" dt="2024-08-27T10:26:31.159" v="3642" actId="47"/>
        <pc:sldMkLst>
          <pc:docMk/>
          <pc:sldMk cId="485898360" sldId="1221"/>
        </pc:sldMkLst>
      </pc:sldChg>
      <pc:sldChg chg="modSp mod">
        <pc:chgData name="José Antonio Ureta Santacreu" userId="e36999d1-2b92-424a-9e8c-5fde0c5fbdd2" providerId="ADAL" clId="{7D8E3005-6D19-4F2A-9BE0-A2C92552758E}" dt="2024-08-27T10:26:08.215" v="3641" actId="20577"/>
        <pc:sldMkLst>
          <pc:docMk/>
          <pc:sldMk cId="3708176570" sldId="1223"/>
        </pc:sldMkLst>
        <pc:spChg chg="mod">
          <ac:chgData name="José Antonio Ureta Santacreu" userId="e36999d1-2b92-424a-9e8c-5fde0c5fbdd2" providerId="ADAL" clId="{7D8E3005-6D19-4F2A-9BE0-A2C92552758E}" dt="2024-08-27T10:16:34.037" v="3542" actId="20577"/>
          <ac:spMkLst>
            <pc:docMk/>
            <pc:sldMk cId="3708176570" sldId="1223"/>
            <ac:spMk id="2" creationId="{9E2694F2-680F-BCA7-DAFC-1EB1627727FF}"/>
          </ac:spMkLst>
        </pc:spChg>
        <pc:graphicFrameChg chg="mod modGraphic">
          <ac:chgData name="José Antonio Ureta Santacreu" userId="e36999d1-2b92-424a-9e8c-5fde0c5fbdd2" providerId="ADAL" clId="{7D8E3005-6D19-4F2A-9BE0-A2C92552758E}" dt="2024-08-27T10:26:08.215" v="3641" actId="20577"/>
          <ac:graphicFrameMkLst>
            <pc:docMk/>
            <pc:sldMk cId="3708176570" sldId="1223"/>
            <ac:graphicFrameMk id="7" creationId="{756F3A8C-1498-79D8-72BD-E8CF69B05A14}"/>
          </ac:graphicFrameMkLst>
        </pc:graphicFrameChg>
      </pc:sldChg>
      <pc:sldChg chg="addSp delSp modSp mod modClrScheme chgLayout">
        <pc:chgData name="José Antonio Ureta Santacreu" userId="e36999d1-2b92-424a-9e8c-5fde0c5fbdd2" providerId="ADAL" clId="{7D8E3005-6D19-4F2A-9BE0-A2C92552758E}" dt="2024-08-27T10:22:10.217" v="3603" actId="13926"/>
        <pc:sldMkLst>
          <pc:docMk/>
          <pc:sldMk cId="619104416" sldId="1224"/>
        </pc:sldMkLst>
        <pc:spChg chg="add mod ord">
          <ac:chgData name="José Antonio Ureta Santacreu" userId="e36999d1-2b92-424a-9e8c-5fde0c5fbdd2" providerId="ADAL" clId="{7D8E3005-6D19-4F2A-9BE0-A2C92552758E}" dt="2024-08-27T10:17:08.332" v="3548" actId="6264"/>
          <ac:spMkLst>
            <pc:docMk/>
            <pc:sldMk cId="619104416" sldId="1224"/>
            <ac:spMk id="2" creationId="{DA5782C2-B2FD-58A6-6969-8B5655519281}"/>
          </ac:spMkLst>
        </pc:spChg>
        <pc:spChg chg="add del mod ord">
          <ac:chgData name="José Antonio Ureta Santacreu" userId="e36999d1-2b92-424a-9e8c-5fde0c5fbdd2" providerId="ADAL" clId="{7D8E3005-6D19-4F2A-9BE0-A2C92552758E}" dt="2024-08-27T10:14:53.646" v="3522" actId="700"/>
          <ac:spMkLst>
            <pc:docMk/>
            <pc:sldMk cId="619104416" sldId="1224"/>
            <ac:spMk id="3" creationId="{A4222C63-BE73-C6BD-9B71-97470107F598}"/>
          </ac:spMkLst>
        </pc:spChg>
        <pc:spChg chg="mod ord">
          <ac:chgData name="José Antonio Ureta Santacreu" userId="e36999d1-2b92-424a-9e8c-5fde0c5fbdd2" providerId="ADAL" clId="{7D8E3005-6D19-4F2A-9BE0-A2C92552758E}" dt="2024-08-27T10:17:08.332" v="3548" actId="6264"/>
          <ac:spMkLst>
            <pc:docMk/>
            <pc:sldMk cId="619104416" sldId="1224"/>
            <ac:spMk id="4" creationId="{460953D9-36F5-CD49-64B3-70EEF9652692}"/>
          </ac:spMkLst>
        </pc:spChg>
        <pc:spChg chg="mod ord">
          <ac:chgData name="José Antonio Ureta Santacreu" userId="e36999d1-2b92-424a-9e8c-5fde0c5fbdd2" providerId="ADAL" clId="{7D8E3005-6D19-4F2A-9BE0-A2C92552758E}" dt="2024-08-27T10:17:08.332" v="3548" actId="6264"/>
          <ac:spMkLst>
            <pc:docMk/>
            <pc:sldMk cId="619104416" sldId="1224"/>
            <ac:spMk id="5" creationId="{4690D2D0-AF46-CE9A-CD27-31BB8191D972}"/>
          </ac:spMkLst>
        </pc:spChg>
        <pc:spChg chg="mod ord">
          <ac:chgData name="José Antonio Ureta Santacreu" userId="e36999d1-2b92-424a-9e8c-5fde0c5fbdd2" providerId="ADAL" clId="{7D8E3005-6D19-4F2A-9BE0-A2C92552758E}" dt="2024-08-27T10:17:08.332" v="3548" actId="6264"/>
          <ac:spMkLst>
            <pc:docMk/>
            <pc:sldMk cId="619104416" sldId="1224"/>
            <ac:spMk id="6" creationId="{BDB28EF4-E93A-4FAD-25BB-5FB302DD7E3D}"/>
          </ac:spMkLst>
        </pc:spChg>
        <pc:spChg chg="del mod">
          <ac:chgData name="José Antonio Ureta Santacreu" userId="e36999d1-2b92-424a-9e8c-5fde0c5fbdd2" providerId="ADAL" clId="{7D8E3005-6D19-4F2A-9BE0-A2C92552758E}" dt="2024-08-27T10:14:18.582" v="3513" actId="478"/>
          <ac:spMkLst>
            <pc:docMk/>
            <pc:sldMk cId="619104416" sldId="1224"/>
            <ac:spMk id="7" creationId="{1978E2D9-3D62-133F-152D-31749D533AF7}"/>
          </ac:spMkLst>
        </pc:spChg>
        <pc:spChg chg="add del mod ord">
          <ac:chgData name="José Antonio Ureta Santacreu" userId="e36999d1-2b92-424a-9e8c-5fde0c5fbdd2" providerId="ADAL" clId="{7D8E3005-6D19-4F2A-9BE0-A2C92552758E}" dt="2024-08-27T10:14:53.646" v="3522" actId="700"/>
          <ac:spMkLst>
            <pc:docMk/>
            <pc:sldMk cId="619104416" sldId="1224"/>
            <ac:spMk id="8" creationId="{4999C69F-EA71-CB22-F2D0-1080978A9D63}"/>
          </ac:spMkLst>
        </pc:spChg>
        <pc:spChg chg="add del mod ord">
          <ac:chgData name="José Antonio Ureta Santacreu" userId="e36999d1-2b92-424a-9e8c-5fde0c5fbdd2" providerId="ADAL" clId="{7D8E3005-6D19-4F2A-9BE0-A2C92552758E}" dt="2024-08-27T10:14:58.904" v="3523"/>
          <ac:spMkLst>
            <pc:docMk/>
            <pc:sldMk cId="619104416" sldId="1224"/>
            <ac:spMk id="9" creationId="{3BEE7EC3-4A7C-66A5-F8A8-5DA477592A98}"/>
          </ac:spMkLst>
        </pc:spChg>
        <pc:spChg chg="add del mod ord">
          <ac:chgData name="José Antonio Ureta Santacreu" userId="e36999d1-2b92-424a-9e8c-5fde0c5fbdd2" providerId="ADAL" clId="{7D8E3005-6D19-4F2A-9BE0-A2C92552758E}" dt="2024-08-27T10:16:49.491" v="3545"/>
          <ac:spMkLst>
            <pc:docMk/>
            <pc:sldMk cId="619104416" sldId="1224"/>
            <ac:spMk id="11" creationId="{66401840-6E94-4F78-3A27-EADA9E0223E3}"/>
          </ac:spMkLst>
        </pc:spChg>
        <pc:spChg chg="add del mod ord">
          <ac:chgData name="José Antonio Ureta Santacreu" userId="e36999d1-2b92-424a-9e8c-5fde0c5fbdd2" providerId="ADAL" clId="{7D8E3005-6D19-4F2A-9BE0-A2C92552758E}" dt="2024-08-27T10:18:35.178" v="3569" actId="1032"/>
          <ac:spMkLst>
            <pc:docMk/>
            <pc:sldMk cId="619104416" sldId="1224"/>
            <ac:spMk id="12" creationId="{8FB93624-79C5-1E42-C804-139845D425E7}"/>
          </ac:spMkLst>
        </pc:spChg>
        <pc:spChg chg="add del mod">
          <ac:chgData name="José Antonio Ureta Santacreu" userId="e36999d1-2b92-424a-9e8c-5fde0c5fbdd2" providerId="ADAL" clId="{7D8E3005-6D19-4F2A-9BE0-A2C92552758E}" dt="2024-08-27T10:17:08.332" v="3548" actId="6264"/>
          <ac:spMkLst>
            <pc:docMk/>
            <pc:sldMk cId="619104416" sldId="1224"/>
            <ac:spMk id="14" creationId="{94B565DA-E946-51D3-76B6-1DFF551120F4}"/>
          </ac:spMkLst>
        </pc:spChg>
        <pc:spChg chg="add del mod">
          <ac:chgData name="José Antonio Ureta Santacreu" userId="e36999d1-2b92-424a-9e8c-5fde0c5fbdd2" providerId="ADAL" clId="{7D8E3005-6D19-4F2A-9BE0-A2C92552758E}" dt="2024-08-27T10:17:08.332" v="3548" actId="6264"/>
          <ac:spMkLst>
            <pc:docMk/>
            <pc:sldMk cId="619104416" sldId="1224"/>
            <ac:spMk id="15" creationId="{174C466A-9A4B-DE06-9FDE-DA697B63E756}"/>
          </ac:spMkLst>
        </pc:spChg>
        <pc:spChg chg="add del mod">
          <ac:chgData name="José Antonio Ureta Santacreu" userId="e36999d1-2b92-424a-9e8c-5fde0c5fbdd2" providerId="ADAL" clId="{7D8E3005-6D19-4F2A-9BE0-A2C92552758E}" dt="2024-08-27T10:17:08.332" v="3548" actId="6264"/>
          <ac:spMkLst>
            <pc:docMk/>
            <pc:sldMk cId="619104416" sldId="1224"/>
            <ac:spMk id="16" creationId="{E8BE1CCE-4EEE-B5FE-1756-2AF64C627774}"/>
          </ac:spMkLst>
        </pc:spChg>
        <pc:spChg chg="add del mod">
          <ac:chgData name="José Antonio Ureta Santacreu" userId="e36999d1-2b92-424a-9e8c-5fde0c5fbdd2" providerId="ADAL" clId="{7D8E3005-6D19-4F2A-9BE0-A2C92552758E}" dt="2024-08-27T10:17:08.332" v="3548" actId="6264"/>
          <ac:spMkLst>
            <pc:docMk/>
            <pc:sldMk cId="619104416" sldId="1224"/>
            <ac:spMk id="17" creationId="{A42FE69F-460B-9695-07F7-4A3FF2206243}"/>
          </ac:spMkLst>
        </pc:spChg>
        <pc:spChg chg="add del mod">
          <ac:chgData name="José Antonio Ureta Santacreu" userId="e36999d1-2b92-424a-9e8c-5fde0c5fbdd2" providerId="ADAL" clId="{7D8E3005-6D19-4F2A-9BE0-A2C92552758E}" dt="2024-08-27T10:17:08.332" v="3548" actId="6264"/>
          <ac:spMkLst>
            <pc:docMk/>
            <pc:sldMk cId="619104416" sldId="1224"/>
            <ac:spMk id="18" creationId="{F0084EB1-F530-3263-CB65-2C3DFCC4B39A}"/>
          </ac:spMkLst>
        </pc:spChg>
        <pc:spChg chg="add del mod">
          <ac:chgData name="José Antonio Ureta Santacreu" userId="e36999d1-2b92-424a-9e8c-5fde0c5fbdd2" providerId="ADAL" clId="{7D8E3005-6D19-4F2A-9BE0-A2C92552758E}" dt="2024-08-27T10:17:08.332" v="3548" actId="6264"/>
          <ac:spMkLst>
            <pc:docMk/>
            <pc:sldMk cId="619104416" sldId="1224"/>
            <ac:spMk id="19" creationId="{59186627-ABC4-8342-5758-4BDFB0245DAA}"/>
          </ac:spMkLst>
        </pc:spChg>
        <pc:graphicFrameChg chg="add mod modGraphic">
          <ac:chgData name="José Antonio Ureta Santacreu" userId="e36999d1-2b92-424a-9e8c-5fde0c5fbdd2" providerId="ADAL" clId="{7D8E3005-6D19-4F2A-9BE0-A2C92552758E}" dt="2024-08-27T10:22:10.217" v="3603" actId="13926"/>
          <ac:graphicFrameMkLst>
            <pc:docMk/>
            <pc:sldMk cId="619104416" sldId="1224"/>
            <ac:graphicFrameMk id="20" creationId="{0C7F0116-4F0E-12AB-BC7A-BC5A9035D66B}"/>
          </ac:graphicFrameMkLst>
        </pc:graphicFrameChg>
        <pc:picChg chg="add del mod ord">
          <ac:chgData name="José Antonio Ureta Santacreu" userId="e36999d1-2b92-424a-9e8c-5fde0c5fbdd2" providerId="ADAL" clId="{7D8E3005-6D19-4F2A-9BE0-A2C92552758E}" dt="2024-08-27T10:16:47.443" v="3544" actId="21"/>
          <ac:picMkLst>
            <pc:docMk/>
            <pc:sldMk cId="619104416" sldId="1224"/>
            <ac:picMk id="10" creationId="{CD33D4C4-8196-DD15-E2FA-D78F1122F3F7}"/>
          </ac:picMkLst>
        </pc:picChg>
        <pc:picChg chg="add mod ord">
          <ac:chgData name="José Antonio Ureta Santacreu" userId="e36999d1-2b92-424a-9e8c-5fde0c5fbdd2" providerId="ADAL" clId="{7D8E3005-6D19-4F2A-9BE0-A2C92552758E}" dt="2024-08-27T10:17:08.332" v="3548" actId="6264"/>
          <ac:picMkLst>
            <pc:docMk/>
            <pc:sldMk cId="619104416" sldId="1224"/>
            <ac:picMk id="13" creationId="{CD33D4C4-8196-DD15-E2FA-D78F1122F3F7}"/>
          </ac:picMkLst>
        </pc:picChg>
        <pc:picChg chg="del">
          <ac:chgData name="José Antonio Ureta Santacreu" userId="e36999d1-2b92-424a-9e8c-5fde0c5fbdd2" providerId="ADAL" clId="{7D8E3005-6D19-4F2A-9BE0-A2C92552758E}" dt="2024-08-27T10:14:48.528" v="3521" actId="21"/>
          <ac:picMkLst>
            <pc:docMk/>
            <pc:sldMk cId="619104416" sldId="1224"/>
            <ac:picMk id="4098" creationId="{CD33D4C4-8196-DD15-E2FA-D78F1122F3F7}"/>
          </ac:picMkLst>
        </pc:picChg>
      </pc:sldChg>
      <pc:sldChg chg="delSp modSp mod">
        <pc:chgData name="José Antonio Ureta Santacreu" userId="e36999d1-2b92-424a-9e8c-5fde0c5fbdd2" providerId="ADAL" clId="{7D8E3005-6D19-4F2A-9BE0-A2C92552758E}" dt="2024-08-27T10:13:09.898" v="3508" actId="20577"/>
        <pc:sldMkLst>
          <pc:docMk/>
          <pc:sldMk cId="4190830066" sldId="1226"/>
        </pc:sldMkLst>
        <pc:spChg chg="mod">
          <ac:chgData name="José Antonio Ureta Santacreu" userId="e36999d1-2b92-424a-9e8c-5fde0c5fbdd2" providerId="ADAL" clId="{7D8E3005-6D19-4F2A-9BE0-A2C92552758E}" dt="2024-08-27T10:13:09.898" v="3508" actId="20577"/>
          <ac:spMkLst>
            <pc:docMk/>
            <pc:sldMk cId="4190830066" sldId="1226"/>
            <ac:spMk id="2" creationId="{FE4FB687-256B-4E31-A119-8A89A5AB4CC0}"/>
          </ac:spMkLst>
        </pc:spChg>
        <pc:spChg chg="del">
          <ac:chgData name="José Antonio Ureta Santacreu" userId="e36999d1-2b92-424a-9e8c-5fde0c5fbdd2" providerId="ADAL" clId="{7D8E3005-6D19-4F2A-9BE0-A2C92552758E}" dt="2024-08-27T10:13:03.258" v="3506" actId="478"/>
          <ac:spMkLst>
            <pc:docMk/>
            <pc:sldMk cId="4190830066" sldId="1226"/>
            <ac:spMk id="15" creationId="{0C2761B5-6D54-48E8-BF18-ABC29DF72EC7}"/>
          </ac:spMkLst>
        </pc:spChg>
        <pc:graphicFrameChg chg="mod">
          <ac:chgData name="José Antonio Ureta Santacreu" userId="e36999d1-2b92-424a-9e8c-5fde0c5fbdd2" providerId="ADAL" clId="{7D8E3005-6D19-4F2A-9BE0-A2C92552758E}" dt="2024-07-30T11:09:55.805" v="1936"/>
          <ac:graphicFrameMkLst>
            <pc:docMk/>
            <pc:sldMk cId="4190830066" sldId="1226"/>
            <ac:graphicFrameMk id="6" creationId="{B0E003E2-56B5-4728-8FEA-903F9058116D}"/>
          </ac:graphicFrameMkLst>
        </pc:graphicFrameChg>
      </pc:sldChg>
      <pc:sldChg chg="addSp delSp modSp mod modClrScheme chgLayout">
        <pc:chgData name="José Antonio Ureta Santacreu" userId="e36999d1-2b92-424a-9e8c-5fde0c5fbdd2" providerId="ADAL" clId="{7D8E3005-6D19-4F2A-9BE0-A2C92552758E}" dt="2024-08-27T10:11:44.253" v="3474" actId="20577"/>
        <pc:sldMkLst>
          <pc:docMk/>
          <pc:sldMk cId="3827652310" sldId="1228"/>
        </pc:sldMkLst>
        <pc:spChg chg="del mod">
          <ac:chgData name="José Antonio Ureta Santacreu" userId="e36999d1-2b92-424a-9e8c-5fde0c5fbdd2" providerId="ADAL" clId="{7D8E3005-6D19-4F2A-9BE0-A2C92552758E}" dt="2024-08-27T10:03:49.524" v="3376" actId="6264"/>
          <ac:spMkLst>
            <pc:docMk/>
            <pc:sldMk cId="3827652310" sldId="1228"/>
            <ac:spMk id="2" creationId="{41162F56-FCB3-5D3A-6FC7-6A0D447D42E3}"/>
          </ac:spMkLst>
        </pc:spChg>
        <pc:spChg chg="add del mod ord">
          <ac:chgData name="José Antonio Ureta Santacreu" userId="e36999d1-2b92-424a-9e8c-5fde0c5fbdd2" providerId="ADAL" clId="{7D8E3005-6D19-4F2A-9BE0-A2C92552758E}" dt="2024-08-27T10:04:35.658" v="3387" actId="26606"/>
          <ac:spMkLst>
            <pc:docMk/>
            <pc:sldMk cId="3827652310" sldId="1228"/>
            <ac:spMk id="3" creationId="{552BBD21-72D9-7452-E800-1FF3DF1C23AD}"/>
          </ac:spMkLst>
        </pc:spChg>
        <pc:spChg chg="del mod">
          <ac:chgData name="José Antonio Ureta Santacreu" userId="e36999d1-2b92-424a-9e8c-5fde0c5fbdd2" providerId="ADAL" clId="{7D8E3005-6D19-4F2A-9BE0-A2C92552758E}" dt="2024-08-27T10:03:49.524" v="3376" actId="6264"/>
          <ac:spMkLst>
            <pc:docMk/>
            <pc:sldMk cId="3827652310" sldId="1228"/>
            <ac:spMk id="4" creationId="{8F939E37-7F24-340F-87E7-1C2740F8A559}"/>
          </ac:spMkLst>
        </pc:spChg>
        <pc:spChg chg="del mod">
          <ac:chgData name="José Antonio Ureta Santacreu" userId="e36999d1-2b92-424a-9e8c-5fde0c5fbdd2" providerId="ADAL" clId="{7D8E3005-6D19-4F2A-9BE0-A2C92552758E}" dt="2024-08-27T10:03:49.524" v="3376" actId="6264"/>
          <ac:spMkLst>
            <pc:docMk/>
            <pc:sldMk cId="3827652310" sldId="1228"/>
            <ac:spMk id="5" creationId="{6808A7CA-C557-4CA3-5AE8-833362607F98}"/>
          </ac:spMkLst>
        </pc:spChg>
        <pc:spChg chg="mod ord">
          <ac:chgData name="José Antonio Ureta Santacreu" userId="e36999d1-2b92-424a-9e8c-5fde0c5fbdd2" providerId="ADAL" clId="{7D8E3005-6D19-4F2A-9BE0-A2C92552758E}" dt="2024-08-27T10:10:43.523" v="3466" actId="6264"/>
          <ac:spMkLst>
            <pc:docMk/>
            <pc:sldMk cId="3827652310" sldId="1228"/>
            <ac:spMk id="6" creationId="{1E6CE124-AD6B-B2E4-8D87-BADC0E92CD45}"/>
          </ac:spMkLst>
        </pc:spChg>
        <pc:spChg chg="mod ord">
          <ac:chgData name="José Antonio Ureta Santacreu" userId="e36999d1-2b92-424a-9e8c-5fde0c5fbdd2" providerId="ADAL" clId="{7D8E3005-6D19-4F2A-9BE0-A2C92552758E}" dt="2024-08-27T10:10:43.523" v="3466" actId="6264"/>
          <ac:spMkLst>
            <pc:docMk/>
            <pc:sldMk cId="3827652310" sldId="1228"/>
            <ac:spMk id="7" creationId="{19C0EC18-84B5-2B6B-4717-F5F0595431FB}"/>
          </ac:spMkLst>
        </pc:spChg>
        <pc:spChg chg="mod ord">
          <ac:chgData name="José Antonio Ureta Santacreu" userId="e36999d1-2b92-424a-9e8c-5fde0c5fbdd2" providerId="ADAL" clId="{7D8E3005-6D19-4F2A-9BE0-A2C92552758E}" dt="2024-08-27T10:10:43.523" v="3466" actId="6264"/>
          <ac:spMkLst>
            <pc:docMk/>
            <pc:sldMk cId="3827652310" sldId="1228"/>
            <ac:spMk id="8" creationId="{614A1E1B-0C1C-5842-1094-F58D54359F3E}"/>
          </ac:spMkLst>
        </pc:spChg>
        <pc:spChg chg="mod ord">
          <ac:chgData name="José Antonio Ureta Santacreu" userId="e36999d1-2b92-424a-9e8c-5fde0c5fbdd2" providerId="ADAL" clId="{7D8E3005-6D19-4F2A-9BE0-A2C92552758E}" dt="2024-08-27T10:10:43.523" v="3466" actId="6264"/>
          <ac:spMkLst>
            <pc:docMk/>
            <pc:sldMk cId="3827652310" sldId="1228"/>
            <ac:spMk id="9" creationId="{AE891268-87B9-AC8D-F859-323BF0EF9F2A}"/>
          </ac:spMkLst>
        </pc:spChg>
        <pc:spChg chg="add del mod">
          <ac:chgData name="José Antonio Ureta Santacreu" userId="e36999d1-2b92-424a-9e8c-5fde0c5fbdd2" providerId="ADAL" clId="{7D8E3005-6D19-4F2A-9BE0-A2C92552758E}" dt="2024-08-27T10:03:49.524" v="3376" actId="6264"/>
          <ac:spMkLst>
            <pc:docMk/>
            <pc:sldMk cId="3827652310" sldId="1228"/>
            <ac:spMk id="10" creationId="{08DB0F99-D6C2-B0B0-6472-3F5D18A20CC5}"/>
          </ac:spMkLst>
        </pc:spChg>
        <pc:spChg chg="add del mod">
          <ac:chgData name="José Antonio Ureta Santacreu" userId="e36999d1-2b92-424a-9e8c-5fde0c5fbdd2" providerId="ADAL" clId="{7D8E3005-6D19-4F2A-9BE0-A2C92552758E}" dt="2024-08-27T10:03:49.524" v="3376" actId="6264"/>
          <ac:spMkLst>
            <pc:docMk/>
            <pc:sldMk cId="3827652310" sldId="1228"/>
            <ac:spMk id="11" creationId="{1B65BD9D-531E-8916-A478-D05D74161D8B}"/>
          </ac:spMkLst>
        </pc:spChg>
        <pc:spChg chg="add del mod">
          <ac:chgData name="José Antonio Ureta Santacreu" userId="e36999d1-2b92-424a-9e8c-5fde0c5fbdd2" providerId="ADAL" clId="{7D8E3005-6D19-4F2A-9BE0-A2C92552758E}" dt="2024-08-27T10:03:49.524" v="3376" actId="6264"/>
          <ac:spMkLst>
            <pc:docMk/>
            <pc:sldMk cId="3827652310" sldId="1228"/>
            <ac:spMk id="12" creationId="{39DC8EA3-9444-E062-260B-2FDC0FB65B4F}"/>
          </ac:spMkLst>
        </pc:spChg>
        <pc:spChg chg="add del mod">
          <ac:chgData name="José Antonio Ureta Santacreu" userId="e36999d1-2b92-424a-9e8c-5fde0c5fbdd2" providerId="ADAL" clId="{7D8E3005-6D19-4F2A-9BE0-A2C92552758E}" dt="2024-08-27T10:03:49.524" v="3376" actId="6264"/>
          <ac:spMkLst>
            <pc:docMk/>
            <pc:sldMk cId="3827652310" sldId="1228"/>
            <ac:spMk id="13" creationId="{3384A1B5-91B4-9117-A7D6-8EAD6F11A470}"/>
          </ac:spMkLst>
        </pc:spChg>
        <pc:spChg chg="add del mod">
          <ac:chgData name="José Antonio Ureta Santacreu" userId="e36999d1-2b92-424a-9e8c-5fde0c5fbdd2" providerId="ADAL" clId="{7D8E3005-6D19-4F2A-9BE0-A2C92552758E}" dt="2024-08-27T10:03:49.524" v="3376" actId="6264"/>
          <ac:spMkLst>
            <pc:docMk/>
            <pc:sldMk cId="3827652310" sldId="1228"/>
            <ac:spMk id="14" creationId="{3EEF16DA-F8B5-629D-AF72-BF51AE1908FC}"/>
          </ac:spMkLst>
        </pc:spChg>
        <pc:spChg chg="add del mod ord">
          <ac:chgData name="José Antonio Ureta Santacreu" userId="e36999d1-2b92-424a-9e8c-5fde0c5fbdd2" providerId="ADAL" clId="{7D8E3005-6D19-4F2A-9BE0-A2C92552758E}" dt="2024-08-27T10:04:11.833" v="3379" actId="700"/>
          <ac:spMkLst>
            <pc:docMk/>
            <pc:sldMk cId="3827652310" sldId="1228"/>
            <ac:spMk id="15" creationId="{0743FDEF-25B5-6CA9-F3FE-BE342F79131C}"/>
          </ac:spMkLst>
        </pc:spChg>
        <pc:spChg chg="add del mod ord">
          <ac:chgData name="José Antonio Ureta Santacreu" userId="e36999d1-2b92-424a-9e8c-5fde0c5fbdd2" providerId="ADAL" clId="{7D8E3005-6D19-4F2A-9BE0-A2C92552758E}" dt="2024-08-27T10:04:11.833" v="3379" actId="700"/>
          <ac:spMkLst>
            <pc:docMk/>
            <pc:sldMk cId="3827652310" sldId="1228"/>
            <ac:spMk id="16" creationId="{7F116E4C-A5C7-2AC4-FA08-9273E9759005}"/>
          </ac:spMkLst>
        </pc:spChg>
        <pc:spChg chg="add del mod ord">
          <ac:chgData name="José Antonio Ureta Santacreu" userId="e36999d1-2b92-424a-9e8c-5fde0c5fbdd2" providerId="ADAL" clId="{7D8E3005-6D19-4F2A-9BE0-A2C92552758E}" dt="2024-08-27T10:04:11.833" v="3379" actId="700"/>
          <ac:spMkLst>
            <pc:docMk/>
            <pc:sldMk cId="3827652310" sldId="1228"/>
            <ac:spMk id="17" creationId="{E8A96FDC-CE97-E458-11D8-4AF7FC117DF9}"/>
          </ac:spMkLst>
        </pc:spChg>
        <pc:spChg chg="add del mod ord">
          <ac:chgData name="José Antonio Ureta Santacreu" userId="e36999d1-2b92-424a-9e8c-5fde0c5fbdd2" providerId="ADAL" clId="{7D8E3005-6D19-4F2A-9BE0-A2C92552758E}" dt="2024-08-27T10:04:35.658" v="3387" actId="26606"/>
          <ac:spMkLst>
            <pc:docMk/>
            <pc:sldMk cId="3827652310" sldId="1228"/>
            <ac:spMk id="18" creationId="{9E4D15EB-C6EC-B636-9B66-C7E676C20388}"/>
          </ac:spMkLst>
        </pc:spChg>
        <pc:spChg chg="add del mod">
          <ac:chgData name="José Antonio Ureta Santacreu" userId="e36999d1-2b92-424a-9e8c-5fde0c5fbdd2" providerId="ADAL" clId="{7D8E3005-6D19-4F2A-9BE0-A2C92552758E}" dt="2024-08-27T10:10:43.523" v="3466" actId="6264"/>
          <ac:spMkLst>
            <pc:docMk/>
            <pc:sldMk cId="3827652310" sldId="1228"/>
            <ac:spMk id="22" creationId="{E0A14E67-FAEC-A588-DA19-886BB8BB596A}"/>
          </ac:spMkLst>
        </pc:spChg>
        <pc:spChg chg="add del mod">
          <ac:chgData name="José Antonio Ureta Santacreu" userId="e36999d1-2b92-424a-9e8c-5fde0c5fbdd2" providerId="ADAL" clId="{7D8E3005-6D19-4F2A-9BE0-A2C92552758E}" dt="2024-08-27T10:10:43.523" v="3466" actId="6264"/>
          <ac:spMkLst>
            <pc:docMk/>
            <pc:sldMk cId="3827652310" sldId="1228"/>
            <ac:spMk id="23" creationId="{E78D4944-76C5-9FCF-1FF4-846ED83A0181}"/>
          </ac:spMkLst>
        </pc:spChg>
        <pc:spChg chg="add del mod">
          <ac:chgData name="José Antonio Ureta Santacreu" userId="e36999d1-2b92-424a-9e8c-5fde0c5fbdd2" providerId="ADAL" clId="{7D8E3005-6D19-4F2A-9BE0-A2C92552758E}" dt="2024-08-27T10:04:35.644" v="3386" actId="26606"/>
          <ac:spMkLst>
            <pc:docMk/>
            <pc:sldMk cId="3827652310" sldId="1228"/>
            <ac:spMk id="24" creationId="{6437964C-8B3F-96DE-43CD-721066F186CD}"/>
          </ac:spMkLst>
        </pc:spChg>
        <pc:spChg chg="add del mod">
          <ac:chgData name="José Antonio Ureta Santacreu" userId="e36999d1-2b92-424a-9e8c-5fde0c5fbdd2" providerId="ADAL" clId="{7D8E3005-6D19-4F2A-9BE0-A2C92552758E}" dt="2024-08-27T10:10:43.523" v="3466" actId="6264"/>
          <ac:spMkLst>
            <pc:docMk/>
            <pc:sldMk cId="3827652310" sldId="1228"/>
            <ac:spMk id="25" creationId="{C5E8AA5E-A19F-3236-87E3-13C6E3A98382}"/>
          </ac:spMkLst>
        </pc:spChg>
        <pc:spChg chg="add del mod ord">
          <ac:chgData name="José Antonio Ureta Santacreu" userId="e36999d1-2b92-424a-9e8c-5fde0c5fbdd2" providerId="ADAL" clId="{7D8E3005-6D19-4F2A-9BE0-A2C92552758E}" dt="2024-08-27T10:11:03.464" v="3468" actId="1032"/>
          <ac:spMkLst>
            <pc:docMk/>
            <pc:sldMk cId="3827652310" sldId="1228"/>
            <ac:spMk id="26" creationId="{552BBD21-72D9-7452-E800-1FF3DF1C23AD}"/>
          </ac:spMkLst>
        </pc:spChg>
        <pc:spChg chg="add del mod">
          <ac:chgData name="José Antonio Ureta Santacreu" userId="e36999d1-2b92-424a-9e8c-5fde0c5fbdd2" providerId="ADAL" clId="{7D8E3005-6D19-4F2A-9BE0-A2C92552758E}" dt="2024-08-27T10:10:43.523" v="3466" actId="6264"/>
          <ac:spMkLst>
            <pc:docMk/>
            <pc:sldMk cId="3827652310" sldId="1228"/>
            <ac:spMk id="27" creationId="{C8CFC3B6-5147-4C01-ADF6-A996115A656B}"/>
          </ac:spMkLst>
        </pc:spChg>
        <pc:spChg chg="add del mod">
          <ac:chgData name="José Antonio Ureta Santacreu" userId="e36999d1-2b92-424a-9e8c-5fde0c5fbdd2" providerId="ADAL" clId="{7D8E3005-6D19-4F2A-9BE0-A2C92552758E}" dt="2024-08-27T10:10:43.523" v="3466" actId="6264"/>
          <ac:spMkLst>
            <pc:docMk/>
            <pc:sldMk cId="3827652310" sldId="1228"/>
            <ac:spMk id="28" creationId="{315F311C-4818-4AD8-19C7-A012E6D5E3A4}"/>
          </ac:spMkLst>
        </pc:spChg>
        <pc:spChg chg="add del mod">
          <ac:chgData name="José Antonio Ureta Santacreu" userId="e36999d1-2b92-424a-9e8c-5fde0c5fbdd2" providerId="ADAL" clId="{7D8E3005-6D19-4F2A-9BE0-A2C92552758E}" dt="2024-08-27T10:10:43.523" v="3466" actId="6264"/>
          <ac:spMkLst>
            <pc:docMk/>
            <pc:sldMk cId="3827652310" sldId="1228"/>
            <ac:spMk id="29" creationId="{E5CBCDEF-AC80-E719-7BCD-C0DCD144CD28}"/>
          </ac:spMkLst>
        </pc:spChg>
        <pc:spChg chg="add mod ord">
          <ac:chgData name="José Antonio Ureta Santacreu" userId="e36999d1-2b92-424a-9e8c-5fde0c5fbdd2" providerId="ADAL" clId="{7D8E3005-6D19-4F2A-9BE0-A2C92552758E}" dt="2024-08-27T10:10:43.523" v="3466" actId="6264"/>
          <ac:spMkLst>
            <pc:docMk/>
            <pc:sldMk cId="3827652310" sldId="1228"/>
            <ac:spMk id="30" creationId="{7172FDFB-469D-B38F-B416-1271968C30D0}"/>
          </ac:spMkLst>
        </pc:spChg>
        <pc:graphicFrameChg chg="add del mod">
          <ac:chgData name="José Antonio Ureta Santacreu" userId="e36999d1-2b92-424a-9e8c-5fde0c5fbdd2" providerId="ADAL" clId="{7D8E3005-6D19-4F2A-9BE0-A2C92552758E}" dt="2024-08-27T10:04:35.644" v="3386" actId="26606"/>
          <ac:graphicFrameMkLst>
            <pc:docMk/>
            <pc:sldMk cId="3827652310" sldId="1228"/>
            <ac:graphicFrameMk id="20" creationId="{1092B154-E34F-DFA2-4446-BDE76EC01047}"/>
          </ac:graphicFrameMkLst>
        </pc:graphicFrameChg>
        <pc:graphicFrameChg chg="add mod modGraphic">
          <ac:chgData name="José Antonio Ureta Santacreu" userId="e36999d1-2b92-424a-9e8c-5fde0c5fbdd2" providerId="ADAL" clId="{7D8E3005-6D19-4F2A-9BE0-A2C92552758E}" dt="2024-08-27T10:11:44.253" v="3474" actId="20577"/>
          <ac:graphicFrameMkLst>
            <pc:docMk/>
            <pc:sldMk cId="3827652310" sldId="1228"/>
            <ac:graphicFrameMk id="31" creationId="{D5D8B67F-B571-6C1B-E62C-5BF21FD61D3F}"/>
          </ac:graphicFrameMkLst>
        </pc:graphicFrameChg>
        <pc:picChg chg="add mod">
          <ac:chgData name="José Antonio Ureta Santacreu" userId="e36999d1-2b92-424a-9e8c-5fde0c5fbdd2" providerId="ADAL" clId="{7D8E3005-6D19-4F2A-9BE0-A2C92552758E}" dt="2024-08-27T10:05:06.361" v="3391" actId="1076"/>
          <ac:picMkLst>
            <pc:docMk/>
            <pc:sldMk cId="3827652310" sldId="1228"/>
            <ac:picMk id="19" creationId="{369E13EC-A001-AF03-0EFB-885E7AE40044}"/>
          </ac:picMkLst>
        </pc:picChg>
        <pc:picChg chg="add mod">
          <ac:chgData name="José Antonio Ureta Santacreu" userId="e36999d1-2b92-424a-9e8c-5fde0c5fbdd2" providerId="ADAL" clId="{7D8E3005-6D19-4F2A-9BE0-A2C92552758E}" dt="2024-08-27T10:05:33.733" v="3394" actId="1076"/>
          <ac:picMkLst>
            <pc:docMk/>
            <pc:sldMk cId="3827652310" sldId="1228"/>
            <ac:picMk id="21" creationId="{EF79D8B4-0A63-793B-682E-2AE2ED7822D6}"/>
          </ac:picMkLst>
        </pc:picChg>
      </pc:sldChg>
      <pc:sldChg chg="mod modShow">
        <pc:chgData name="José Antonio Ureta Santacreu" userId="e36999d1-2b92-424a-9e8c-5fde0c5fbdd2" providerId="ADAL" clId="{7D8E3005-6D19-4F2A-9BE0-A2C92552758E}" dt="2024-08-27T10:06:01.236" v="3395" actId="729"/>
        <pc:sldMkLst>
          <pc:docMk/>
          <pc:sldMk cId="3656441974" sldId="1229"/>
        </pc:sldMkLst>
      </pc:sldChg>
      <pc:sldChg chg="mod modShow">
        <pc:chgData name="José Antonio Ureta Santacreu" userId="e36999d1-2b92-424a-9e8c-5fde0c5fbdd2" providerId="ADAL" clId="{7D8E3005-6D19-4F2A-9BE0-A2C92552758E}" dt="2024-08-27T10:06:01.236" v="3395" actId="729"/>
        <pc:sldMkLst>
          <pc:docMk/>
          <pc:sldMk cId="833914343" sldId="1231"/>
        </pc:sldMkLst>
      </pc:sldChg>
      <pc:sldChg chg="addSp delSp modSp mod modClrScheme chgLayout">
        <pc:chgData name="José Antonio Ureta Santacreu" userId="e36999d1-2b92-424a-9e8c-5fde0c5fbdd2" providerId="ADAL" clId="{7D8E3005-6D19-4F2A-9BE0-A2C92552758E}" dt="2024-08-27T10:00:47.478" v="3294" actId="12100"/>
        <pc:sldMkLst>
          <pc:docMk/>
          <pc:sldMk cId="799914292" sldId="1233"/>
        </pc:sldMkLst>
        <pc:spChg chg="mod ord">
          <ac:chgData name="José Antonio Ureta Santacreu" userId="e36999d1-2b92-424a-9e8c-5fde0c5fbdd2" providerId="ADAL" clId="{7D8E3005-6D19-4F2A-9BE0-A2C92552758E}" dt="2024-08-27T10:00:08.538" v="3290" actId="700"/>
          <ac:spMkLst>
            <pc:docMk/>
            <pc:sldMk cId="799914292" sldId="1233"/>
            <ac:spMk id="2" creationId="{BB96DDF6-C9BC-56C5-CD39-7031323D5E6F}"/>
          </ac:spMkLst>
        </pc:spChg>
        <pc:spChg chg="del mod ord">
          <ac:chgData name="José Antonio Ureta Santacreu" userId="e36999d1-2b92-424a-9e8c-5fde0c5fbdd2" providerId="ADAL" clId="{7D8E3005-6D19-4F2A-9BE0-A2C92552758E}" dt="2024-08-27T10:00:08.538" v="3290" actId="700"/>
          <ac:spMkLst>
            <pc:docMk/>
            <pc:sldMk cId="799914292" sldId="1233"/>
            <ac:spMk id="3" creationId="{7C3B3DFF-0DEE-5750-7303-4D0EFC9B34FF}"/>
          </ac:spMkLst>
        </pc:spChg>
        <pc:spChg chg="mod ord">
          <ac:chgData name="José Antonio Ureta Santacreu" userId="e36999d1-2b92-424a-9e8c-5fde0c5fbdd2" providerId="ADAL" clId="{7D8E3005-6D19-4F2A-9BE0-A2C92552758E}" dt="2024-08-27T10:00:08.538" v="3290" actId="700"/>
          <ac:spMkLst>
            <pc:docMk/>
            <pc:sldMk cId="799914292" sldId="1233"/>
            <ac:spMk id="4" creationId="{7343DAEA-0CD3-76D3-7EDC-E66F320F0335}"/>
          </ac:spMkLst>
        </pc:spChg>
        <pc:spChg chg="mod ord">
          <ac:chgData name="José Antonio Ureta Santacreu" userId="e36999d1-2b92-424a-9e8c-5fde0c5fbdd2" providerId="ADAL" clId="{7D8E3005-6D19-4F2A-9BE0-A2C92552758E}" dt="2024-08-27T10:00:08.538" v="3290" actId="700"/>
          <ac:spMkLst>
            <pc:docMk/>
            <pc:sldMk cId="799914292" sldId="1233"/>
            <ac:spMk id="5" creationId="{54242069-6176-43E8-F59F-622F34820A22}"/>
          </ac:spMkLst>
        </pc:spChg>
        <pc:spChg chg="mod ord">
          <ac:chgData name="José Antonio Ureta Santacreu" userId="e36999d1-2b92-424a-9e8c-5fde0c5fbdd2" providerId="ADAL" clId="{7D8E3005-6D19-4F2A-9BE0-A2C92552758E}" dt="2024-08-27T10:00:08.538" v="3290" actId="700"/>
          <ac:spMkLst>
            <pc:docMk/>
            <pc:sldMk cId="799914292" sldId="1233"/>
            <ac:spMk id="6" creationId="{278B40D0-E766-DFE9-0C8D-36176706CBD4}"/>
          </ac:spMkLst>
        </pc:spChg>
        <pc:spChg chg="add del mod ord">
          <ac:chgData name="José Antonio Ureta Santacreu" userId="e36999d1-2b92-424a-9e8c-5fde0c5fbdd2" providerId="ADAL" clId="{7D8E3005-6D19-4F2A-9BE0-A2C92552758E}" dt="2024-08-27T09:29:53.803" v="2836" actId="22"/>
          <ac:spMkLst>
            <pc:docMk/>
            <pc:sldMk cId="799914292" sldId="1233"/>
            <ac:spMk id="7" creationId="{D0351CC0-3A3F-D1A9-7C09-78744415AD52}"/>
          </ac:spMkLst>
        </pc:spChg>
        <pc:spChg chg="add del mod">
          <ac:chgData name="José Antonio Ureta Santacreu" userId="e36999d1-2b92-424a-9e8c-5fde0c5fbdd2" providerId="ADAL" clId="{7D8E3005-6D19-4F2A-9BE0-A2C92552758E}" dt="2024-08-27T09:58:25.391" v="3252" actId="6264"/>
          <ac:spMkLst>
            <pc:docMk/>
            <pc:sldMk cId="799914292" sldId="1233"/>
            <ac:spMk id="10" creationId="{72B7882D-9579-13B1-DAE6-6CB120999AF0}"/>
          </ac:spMkLst>
        </pc:spChg>
        <pc:spChg chg="add del mod">
          <ac:chgData name="José Antonio Ureta Santacreu" userId="e36999d1-2b92-424a-9e8c-5fde0c5fbdd2" providerId="ADAL" clId="{7D8E3005-6D19-4F2A-9BE0-A2C92552758E}" dt="2024-08-27T09:58:25.391" v="3252" actId="6264"/>
          <ac:spMkLst>
            <pc:docMk/>
            <pc:sldMk cId="799914292" sldId="1233"/>
            <ac:spMk id="11" creationId="{E223990A-11CA-6BEF-C7C7-6D916DFB0495}"/>
          </ac:spMkLst>
        </pc:spChg>
        <pc:spChg chg="add del mod">
          <ac:chgData name="José Antonio Ureta Santacreu" userId="e36999d1-2b92-424a-9e8c-5fde0c5fbdd2" providerId="ADAL" clId="{7D8E3005-6D19-4F2A-9BE0-A2C92552758E}" dt="2024-08-27T09:58:25.391" v="3252" actId="6264"/>
          <ac:spMkLst>
            <pc:docMk/>
            <pc:sldMk cId="799914292" sldId="1233"/>
            <ac:spMk id="12" creationId="{CCEBE50D-2670-C27D-0799-1791F1FCA00A}"/>
          </ac:spMkLst>
        </pc:spChg>
        <pc:spChg chg="add del mod">
          <ac:chgData name="José Antonio Ureta Santacreu" userId="e36999d1-2b92-424a-9e8c-5fde0c5fbdd2" providerId="ADAL" clId="{7D8E3005-6D19-4F2A-9BE0-A2C92552758E}" dt="2024-08-27T09:58:25.391" v="3252" actId="6264"/>
          <ac:spMkLst>
            <pc:docMk/>
            <pc:sldMk cId="799914292" sldId="1233"/>
            <ac:spMk id="13" creationId="{1722F259-0337-7049-D99C-321AD80BB2E0}"/>
          </ac:spMkLst>
        </pc:spChg>
        <pc:spChg chg="add del mod">
          <ac:chgData name="José Antonio Ureta Santacreu" userId="e36999d1-2b92-424a-9e8c-5fde0c5fbdd2" providerId="ADAL" clId="{7D8E3005-6D19-4F2A-9BE0-A2C92552758E}" dt="2024-08-27T09:58:25.391" v="3252" actId="6264"/>
          <ac:spMkLst>
            <pc:docMk/>
            <pc:sldMk cId="799914292" sldId="1233"/>
            <ac:spMk id="14" creationId="{E86FF6DF-8E68-38BD-B953-C539578D7E2B}"/>
          </ac:spMkLst>
        </pc:spChg>
        <pc:spChg chg="add del mod">
          <ac:chgData name="José Antonio Ureta Santacreu" userId="e36999d1-2b92-424a-9e8c-5fde0c5fbdd2" providerId="ADAL" clId="{7D8E3005-6D19-4F2A-9BE0-A2C92552758E}" dt="2024-08-27T09:58:25.391" v="3252" actId="6264"/>
          <ac:spMkLst>
            <pc:docMk/>
            <pc:sldMk cId="799914292" sldId="1233"/>
            <ac:spMk id="15" creationId="{05D6816C-D636-7A3B-0398-07AF700031A8}"/>
          </ac:spMkLst>
        </pc:spChg>
        <pc:spChg chg="add del mod ord">
          <ac:chgData name="José Antonio Ureta Santacreu" userId="e36999d1-2b92-424a-9e8c-5fde0c5fbdd2" providerId="ADAL" clId="{7D8E3005-6D19-4F2A-9BE0-A2C92552758E}" dt="2024-08-27T10:00:18.191" v="3291" actId="1032"/>
          <ac:spMkLst>
            <pc:docMk/>
            <pc:sldMk cId="799914292" sldId="1233"/>
            <ac:spMk id="16" creationId="{1870DCC4-BE5E-F5FC-7A9F-4757C2EB8349}"/>
          </ac:spMkLst>
        </pc:spChg>
        <pc:graphicFrameChg chg="add mod modGraphic">
          <ac:chgData name="José Antonio Ureta Santacreu" userId="e36999d1-2b92-424a-9e8c-5fde0c5fbdd2" providerId="ADAL" clId="{7D8E3005-6D19-4F2A-9BE0-A2C92552758E}" dt="2024-08-27T10:00:47.478" v="3294" actId="12100"/>
          <ac:graphicFrameMkLst>
            <pc:docMk/>
            <pc:sldMk cId="799914292" sldId="1233"/>
            <ac:graphicFrameMk id="17" creationId="{FC821B47-3542-D0D4-EF48-2F8C5106A829}"/>
          </ac:graphicFrameMkLst>
        </pc:graphicFrameChg>
        <pc:picChg chg="add mod ord">
          <ac:chgData name="José Antonio Ureta Santacreu" userId="e36999d1-2b92-424a-9e8c-5fde0c5fbdd2" providerId="ADAL" clId="{7D8E3005-6D19-4F2A-9BE0-A2C92552758E}" dt="2024-08-27T10:00:08.538" v="3290" actId="700"/>
          <ac:picMkLst>
            <pc:docMk/>
            <pc:sldMk cId="799914292" sldId="1233"/>
            <ac:picMk id="9" creationId="{3E4ED532-BD9B-CED3-A6C7-38E80D6857F7}"/>
          </ac:picMkLst>
        </pc:picChg>
      </pc:sldChg>
      <pc:sldChg chg="modSp del">
        <pc:chgData name="José Antonio Ureta Santacreu" userId="e36999d1-2b92-424a-9e8c-5fde0c5fbdd2" providerId="ADAL" clId="{7D8E3005-6D19-4F2A-9BE0-A2C92552758E}" dt="2024-08-27T09:21:39.928" v="2834" actId="47"/>
        <pc:sldMkLst>
          <pc:docMk/>
          <pc:sldMk cId="2666982753" sldId="1234"/>
        </pc:sldMkLst>
        <pc:graphicFrameChg chg="mod">
          <ac:chgData name="José Antonio Ureta Santacreu" userId="e36999d1-2b92-424a-9e8c-5fde0c5fbdd2" providerId="ADAL" clId="{7D8E3005-6D19-4F2A-9BE0-A2C92552758E}" dt="2024-08-27T09:21:28.901" v="2832" actId="21"/>
          <ac:graphicFrameMkLst>
            <pc:docMk/>
            <pc:sldMk cId="2666982753" sldId="1234"/>
            <ac:graphicFrameMk id="7" creationId="{E200A571-EC5E-0AD3-9720-60915B9284DD}"/>
          </ac:graphicFrameMkLst>
        </pc:graphicFrameChg>
      </pc:sldChg>
      <pc:sldChg chg="del">
        <pc:chgData name="José Antonio Ureta Santacreu" userId="e36999d1-2b92-424a-9e8c-5fde0c5fbdd2" providerId="ADAL" clId="{7D8E3005-6D19-4F2A-9BE0-A2C92552758E}" dt="2024-08-27T09:52:40.472" v="3137" actId="47"/>
        <pc:sldMkLst>
          <pc:docMk/>
          <pc:sldMk cId="2066674751" sldId="1235"/>
        </pc:sldMkLst>
      </pc:sldChg>
      <pc:sldChg chg="delSp">
        <pc:chgData name="José Antonio Ureta Santacreu" userId="e36999d1-2b92-424a-9e8c-5fde0c5fbdd2" providerId="ADAL" clId="{7D8E3005-6D19-4F2A-9BE0-A2C92552758E}" dt="2024-08-27T10:26:58.715" v="3643" actId="478"/>
        <pc:sldMkLst>
          <pc:docMk/>
          <pc:sldMk cId="1106242112" sldId="1236"/>
        </pc:sldMkLst>
        <pc:grpChg chg="del">
          <ac:chgData name="José Antonio Ureta Santacreu" userId="e36999d1-2b92-424a-9e8c-5fde0c5fbdd2" providerId="ADAL" clId="{7D8E3005-6D19-4F2A-9BE0-A2C92552758E}" dt="2024-08-27T10:26:58.715" v="3643" actId="478"/>
          <ac:grpSpMkLst>
            <pc:docMk/>
            <pc:sldMk cId="1106242112" sldId="1236"/>
            <ac:grpSpMk id="7" creationId="{DBEA3857-7B3E-F4E3-E747-C05B3A7FD9EF}"/>
          </ac:grpSpMkLst>
        </pc:grpChg>
      </pc:sldChg>
      <pc:sldChg chg="del">
        <pc:chgData name="José Antonio Ureta Santacreu" userId="e36999d1-2b92-424a-9e8c-5fde0c5fbdd2" providerId="ADAL" clId="{7D8E3005-6D19-4F2A-9BE0-A2C92552758E}" dt="2024-09-04T11:42:24.943" v="4284" actId="47"/>
        <pc:sldMkLst>
          <pc:docMk/>
          <pc:sldMk cId="1117681639" sldId="1237"/>
        </pc:sldMkLst>
      </pc:sldChg>
      <pc:sldChg chg="modSp mod">
        <pc:chgData name="José Antonio Ureta Santacreu" userId="e36999d1-2b92-424a-9e8c-5fde0c5fbdd2" providerId="ADAL" clId="{7D8E3005-6D19-4F2A-9BE0-A2C92552758E}" dt="2024-08-27T10:43:31.769" v="3754" actId="20577"/>
        <pc:sldMkLst>
          <pc:docMk/>
          <pc:sldMk cId="22562476" sldId="1239"/>
        </pc:sldMkLst>
        <pc:spChg chg="mod">
          <ac:chgData name="José Antonio Ureta Santacreu" userId="e36999d1-2b92-424a-9e8c-5fde0c5fbdd2" providerId="ADAL" clId="{7D8E3005-6D19-4F2A-9BE0-A2C92552758E}" dt="2024-08-27T10:43:31.769" v="3754" actId="20577"/>
          <ac:spMkLst>
            <pc:docMk/>
            <pc:sldMk cId="22562476" sldId="1239"/>
            <ac:spMk id="5" creationId="{5793EC8B-E39D-B7EB-85CB-ADA37F590CDF}"/>
          </ac:spMkLst>
        </pc:spChg>
      </pc:sldChg>
      <pc:sldChg chg="modSp mod">
        <pc:chgData name="José Antonio Ureta Santacreu" userId="e36999d1-2b92-424a-9e8c-5fde0c5fbdd2" providerId="ADAL" clId="{7D8E3005-6D19-4F2A-9BE0-A2C92552758E}" dt="2024-09-19T09:21:45.134" v="4950" actId="27636"/>
        <pc:sldMkLst>
          <pc:docMk/>
          <pc:sldMk cId="1794847669" sldId="1240"/>
        </pc:sldMkLst>
        <pc:spChg chg="mod">
          <ac:chgData name="José Antonio Ureta Santacreu" userId="e36999d1-2b92-424a-9e8c-5fde0c5fbdd2" providerId="ADAL" clId="{7D8E3005-6D19-4F2A-9BE0-A2C92552758E}" dt="2024-09-19T09:21:45.134" v="4950" actId="27636"/>
          <ac:spMkLst>
            <pc:docMk/>
            <pc:sldMk cId="1794847669" sldId="1240"/>
            <ac:spMk id="2" creationId="{ADE2E4B0-D957-33BC-33CB-05F3EF930132}"/>
          </ac:spMkLst>
        </pc:spChg>
        <pc:spChg chg="mod">
          <ac:chgData name="José Antonio Ureta Santacreu" userId="e36999d1-2b92-424a-9e8c-5fde0c5fbdd2" providerId="ADAL" clId="{7D8E3005-6D19-4F2A-9BE0-A2C92552758E}" dt="2024-09-19T09:21:45.125" v="4949" actId="27636"/>
          <ac:spMkLst>
            <pc:docMk/>
            <pc:sldMk cId="1794847669" sldId="1240"/>
            <ac:spMk id="4" creationId="{119FCE87-026D-DF7C-E121-A44DD4FD1829}"/>
          </ac:spMkLst>
        </pc:spChg>
      </pc:sldChg>
      <pc:sldChg chg="setBg">
        <pc:chgData name="José Antonio Ureta Santacreu" userId="e36999d1-2b92-424a-9e8c-5fde0c5fbdd2" providerId="ADAL" clId="{7D8E3005-6D19-4F2A-9BE0-A2C92552758E}" dt="2024-07-24T11:33:44.814" v="2"/>
        <pc:sldMkLst>
          <pc:docMk/>
          <pc:sldMk cId="2571051962" sldId="1242"/>
        </pc:sldMkLst>
      </pc:sldChg>
      <pc:sldChg chg="setBg">
        <pc:chgData name="José Antonio Ureta Santacreu" userId="e36999d1-2b92-424a-9e8c-5fde0c5fbdd2" providerId="ADAL" clId="{7D8E3005-6D19-4F2A-9BE0-A2C92552758E}" dt="2024-07-24T11:33:37.759" v="1"/>
        <pc:sldMkLst>
          <pc:docMk/>
          <pc:sldMk cId="3583676995" sldId="1243"/>
        </pc:sldMkLst>
      </pc:sldChg>
      <pc:sldChg chg="setBg">
        <pc:chgData name="José Antonio Ureta Santacreu" userId="e36999d1-2b92-424a-9e8c-5fde0c5fbdd2" providerId="ADAL" clId="{7D8E3005-6D19-4F2A-9BE0-A2C92552758E}" dt="2024-07-24T11:33:08.426" v="0"/>
        <pc:sldMkLst>
          <pc:docMk/>
          <pc:sldMk cId="583627075" sldId="1244"/>
        </pc:sldMkLst>
      </pc:sldChg>
      <pc:sldChg chg="setBg">
        <pc:chgData name="José Antonio Ureta Santacreu" userId="e36999d1-2b92-424a-9e8c-5fde0c5fbdd2" providerId="ADAL" clId="{7D8E3005-6D19-4F2A-9BE0-A2C92552758E}" dt="2024-07-24T11:33:54.838" v="3"/>
        <pc:sldMkLst>
          <pc:docMk/>
          <pc:sldMk cId="3940366452" sldId="1245"/>
        </pc:sldMkLst>
      </pc:sldChg>
      <pc:sldChg chg="setBg">
        <pc:chgData name="José Antonio Ureta Santacreu" userId="e36999d1-2b92-424a-9e8c-5fde0c5fbdd2" providerId="ADAL" clId="{7D8E3005-6D19-4F2A-9BE0-A2C92552758E}" dt="2024-07-24T11:34:15.770" v="4"/>
        <pc:sldMkLst>
          <pc:docMk/>
          <pc:sldMk cId="2467571924" sldId="1246"/>
        </pc:sldMkLst>
      </pc:sldChg>
      <pc:sldChg chg="add del">
        <pc:chgData name="José Antonio Ureta Santacreu" userId="e36999d1-2b92-424a-9e8c-5fde0c5fbdd2" providerId="ADAL" clId="{7D8E3005-6D19-4F2A-9BE0-A2C92552758E}" dt="2024-07-24T11:55:38.780" v="63"/>
        <pc:sldMkLst>
          <pc:docMk/>
          <pc:sldMk cId="1420170656" sldId="1248"/>
        </pc:sldMkLst>
      </pc:sldChg>
      <pc:sldChg chg="addSp delSp modSp new mod">
        <pc:chgData name="José Antonio Ureta Santacreu" userId="e36999d1-2b92-424a-9e8c-5fde0c5fbdd2" providerId="ADAL" clId="{7D8E3005-6D19-4F2A-9BE0-A2C92552758E}" dt="2024-07-29T11:51:04.331" v="570" actId="12385"/>
        <pc:sldMkLst>
          <pc:docMk/>
          <pc:sldMk cId="3049210512" sldId="1248"/>
        </pc:sldMkLst>
        <pc:spChg chg="mod">
          <ac:chgData name="José Antonio Ureta Santacreu" userId="e36999d1-2b92-424a-9e8c-5fde0c5fbdd2" providerId="ADAL" clId="{7D8E3005-6D19-4F2A-9BE0-A2C92552758E}" dt="2024-07-29T11:50:11.496" v="565" actId="20577"/>
          <ac:spMkLst>
            <pc:docMk/>
            <pc:sldMk cId="3049210512" sldId="1248"/>
            <ac:spMk id="2" creationId="{4F570026-53BF-8CCB-6D08-DD282616D4C8}"/>
          </ac:spMkLst>
        </pc:spChg>
        <pc:spChg chg="del">
          <ac:chgData name="José Antonio Ureta Santacreu" userId="e36999d1-2b92-424a-9e8c-5fde0c5fbdd2" providerId="ADAL" clId="{7D8E3005-6D19-4F2A-9BE0-A2C92552758E}" dt="2024-07-29T11:48:13.697" v="513" actId="3680"/>
          <ac:spMkLst>
            <pc:docMk/>
            <pc:sldMk cId="3049210512" sldId="1248"/>
            <ac:spMk id="3" creationId="{10342DA5-ABAA-7A1A-ABFB-5BBD5248AEF0}"/>
          </ac:spMkLst>
        </pc:spChg>
        <pc:spChg chg="add mod">
          <ac:chgData name="José Antonio Ureta Santacreu" userId="e36999d1-2b92-424a-9e8c-5fde0c5fbdd2" providerId="ADAL" clId="{7D8E3005-6D19-4F2A-9BE0-A2C92552758E}" dt="2024-07-29T11:49:52.785" v="535" actId="1076"/>
          <ac:spMkLst>
            <pc:docMk/>
            <pc:sldMk cId="3049210512" sldId="1248"/>
            <ac:spMk id="8" creationId="{4CD73FB9-7936-4FF9-BE89-0F5416F20F82}"/>
          </ac:spMkLst>
        </pc:spChg>
        <pc:spChg chg="add mod">
          <ac:chgData name="José Antonio Ureta Santacreu" userId="e36999d1-2b92-424a-9e8c-5fde0c5fbdd2" providerId="ADAL" clId="{7D8E3005-6D19-4F2A-9BE0-A2C92552758E}" dt="2024-07-29T11:49:52.785" v="535" actId="1076"/>
          <ac:spMkLst>
            <pc:docMk/>
            <pc:sldMk cId="3049210512" sldId="1248"/>
            <ac:spMk id="9" creationId="{F94161CF-08D3-4793-B05D-12530536C7BC}"/>
          </ac:spMkLst>
        </pc:spChg>
        <pc:graphicFrameChg chg="add mod ord modGraphic">
          <ac:chgData name="José Antonio Ureta Santacreu" userId="e36999d1-2b92-424a-9e8c-5fde0c5fbdd2" providerId="ADAL" clId="{7D8E3005-6D19-4F2A-9BE0-A2C92552758E}" dt="2024-07-29T11:51:04.331" v="570" actId="12385"/>
          <ac:graphicFrameMkLst>
            <pc:docMk/>
            <pc:sldMk cId="3049210512" sldId="1248"/>
            <ac:graphicFrameMk id="7" creationId="{9AD6C044-80A1-2910-4D32-4EBE8A32A4CE}"/>
          </ac:graphicFrameMkLst>
        </pc:graphicFrameChg>
      </pc:sldChg>
      <pc:sldChg chg="add del">
        <pc:chgData name="José Antonio Ureta Santacreu" userId="e36999d1-2b92-424a-9e8c-5fde0c5fbdd2" providerId="ADAL" clId="{7D8E3005-6D19-4F2A-9BE0-A2C92552758E}" dt="2024-07-24T11:55:38.780" v="63"/>
        <pc:sldMkLst>
          <pc:docMk/>
          <pc:sldMk cId="2129766778" sldId="1249"/>
        </pc:sldMkLst>
      </pc:sldChg>
      <pc:sldChg chg="addSp delSp modSp new mod">
        <pc:chgData name="José Antonio Ureta Santacreu" userId="e36999d1-2b92-424a-9e8c-5fde0c5fbdd2" providerId="ADAL" clId="{7D8E3005-6D19-4F2A-9BE0-A2C92552758E}" dt="2024-07-30T11:47:06.780" v="2468" actId="14100"/>
        <pc:sldMkLst>
          <pc:docMk/>
          <pc:sldMk cId="3244894460" sldId="1249"/>
        </pc:sldMkLst>
        <pc:spChg chg="mod">
          <ac:chgData name="José Antonio Ureta Santacreu" userId="e36999d1-2b92-424a-9e8c-5fde0c5fbdd2" providerId="ADAL" clId="{7D8E3005-6D19-4F2A-9BE0-A2C92552758E}" dt="2024-07-30T10:06:40.632" v="1025"/>
          <ac:spMkLst>
            <pc:docMk/>
            <pc:sldMk cId="3244894460" sldId="1249"/>
            <ac:spMk id="2" creationId="{EF36111E-5588-4508-660C-AE106233FECC}"/>
          </ac:spMkLst>
        </pc:spChg>
        <pc:spChg chg="add mod">
          <ac:chgData name="José Antonio Ureta Santacreu" userId="e36999d1-2b92-424a-9e8c-5fde0c5fbdd2" providerId="ADAL" clId="{7D8E3005-6D19-4F2A-9BE0-A2C92552758E}" dt="2024-07-30T11:46:10.730" v="2464" actId="1076"/>
          <ac:spMkLst>
            <pc:docMk/>
            <pc:sldMk cId="3244894460" sldId="1249"/>
            <ac:spMk id="9" creationId="{F7E55063-65F6-EEB1-C7BE-B65D17768778}"/>
          </ac:spMkLst>
        </pc:spChg>
        <pc:spChg chg="add mod ord">
          <ac:chgData name="José Antonio Ureta Santacreu" userId="e36999d1-2b92-424a-9e8c-5fde0c5fbdd2" providerId="ADAL" clId="{7D8E3005-6D19-4F2A-9BE0-A2C92552758E}" dt="2024-07-30T11:46:10.730" v="2464" actId="1076"/>
          <ac:spMkLst>
            <pc:docMk/>
            <pc:sldMk cId="3244894460" sldId="1249"/>
            <ac:spMk id="15" creationId="{F7E3D3F9-7D19-E2DD-9565-FA450E8B6E1D}"/>
          </ac:spMkLst>
        </pc:spChg>
        <pc:spChg chg="add del mod">
          <ac:chgData name="José Antonio Ureta Santacreu" userId="e36999d1-2b92-424a-9e8c-5fde0c5fbdd2" providerId="ADAL" clId="{7D8E3005-6D19-4F2A-9BE0-A2C92552758E}" dt="2024-07-30T11:46:15.414" v="2465" actId="478"/>
          <ac:spMkLst>
            <pc:docMk/>
            <pc:sldMk cId="3244894460" sldId="1249"/>
            <ac:spMk id="18" creationId="{7D59AF11-5FCB-F2FC-D8B7-1EFC53C385F5}"/>
          </ac:spMkLst>
        </pc:spChg>
        <pc:spChg chg="add mod ord">
          <ac:chgData name="José Antonio Ureta Santacreu" userId="e36999d1-2b92-424a-9e8c-5fde0c5fbdd2" providerId="ADAL" clId="{7D8E3005-6D19-4F2A-9BE0-A2C92552758E}" dt="2024-07-30T11:46:10.730" v="2464" actId="1076"/>
          <ac:spMkLst>
            <pc:docMk/>
            <pc:sldMk cId="3244894460" sldId="1249"/>
            <ac:spMk id="20" creationId="{57DBD6AF-BF92-7425-2ADD-71A8C7CF4A9F}"/>
          </ac:spMkLst>
        </pc:spChg>
        <pc:picChg chg="add del mod">
          <ac:chgData name="José Antonio Ureta Santacreu" userId="e36999d1-2b92-424a-9e8c-5fde0c5fbdd2" providerId="ADAL" clId="{7D8E3005-6D19-4F2A-9BE0-A2C92552758E}" dt="2024-07-30T10:30:19.886" v="1754" actId="478"/>
          <ac:picMkLst>
            <pc:docMk/>
            <pc:sldMk cId="3244894460" sldId="1249"/>
            <ac:picMk id="7" creationId="{31C74AC1-A8A3-99A4-EFEE-F6AE02798D56}"/>
          </ac:picMkLst>
        </pc:picChg>
        <pc:picChg chg="add del mod">
          <ac:chgData name="José Antonio Ureta Santacreu" userId="e36999d1-2b92-424a-9e8c-5fde0c5fbdd2" providerId="ADAL" clId="{7D8E3005-6D19-4F2A-9BE0-A2C92552758E}" dt="2024-07-30T10:30:19.886" v="1754" actId="478"/>
          <ac:picMkLst>
            <pc:docMk/>
            <pc:sldMk cId="3244894460" sldId="1249"/>
            <ac:picMk id="11" creationId="{E62C2738-9884-AE22-73C1-9B835A613FA3}"/>
          </ac:picMkLst>
        </pc:picChg>
        <pc:picChg chg="add del mod">
          <ac:chgData name="José Antonio Ureta Santacreu" userId="e36999d1-2b92-424a-9e8c-5fde0c5fbdd2" providerId="ADAL" clId="{7D8E3005-6D19-4F2A-9BE0-A2C92552758E}" dt="2024-07-30T10:30:19.886" v="1754" actId="478"/>
          <ac:picMkLst>
            <pc:docMk/>
            <pc:sldMk cId="3244894460" sldId="1249"/>
            <ac:picMk id="13" creationId="{0317472B-FE7A-A9B6-5BE1-E2A1A12A7DE6}"/>
          </ac:picMkLst>
        </pc:picChg>
        <pc:picChg chg="add del mod">
          <ac:chgData name="José Antonio Ureta Santacreu" userId="e36999d1-2b92-424a-9e8c-5fde0c5fbdd2" providerId="ADAL" clId="{7D8E3005-6D19-4F2A-9BE0-A2C92552758E}" dt="2024-07-30T10:30:19.886" v="1754" actId="478"/>
          <ac:picMkLst>
            <pc:docMk/>
            <pc:sldMk cId="3244894460" sldId="1249"/>
            <ac:picMk id="17" creationId="{18A7EDE6-7A50-81CB-6EF5-C7E36A750427}"/>
          </ac:picMkLst>
        </pc:picChg>
        <pc:picChg chg="add del mod">
          <ac:chgData name="José Antonio Ureta Santacreu" userId="e36999d1-2b92-424a-9e8c-5fde0c5fbdd2" providerId="ADAL" clId="{7D8E3005-6D19-4F2A-9BE0-A2C92552758E}" dt="2024-07-30T10:16:24.444" v="1387" actId="478"/>
          <ac:picMkLst>
            <pc:docMk/>
            <pc:sldMk cId="3244894460" sldId="1249"/>
            <ac:picMk id="2050" creationId="{A45BCBD5-104A-D6BB-2BE6-8877DBBBB9A5}"/>
          </ac:picMkLst>
        </pc:picChg>
        <pc:picChg chg="add del mod">
          <ac:chgData name="José Antonio Ureta Santacreu" userId="e36999d1-2b92-424a-9e8c-5fde0c5fbdd2" providerId="ADAL" clId="{7D8E3005-6D19-4F2A-9BE0-A2C92552758E}" dt="2024-07-30T10:16:34.932" v="1391" actId="478"/>
          <ac:picMkLst>
            <pc:docMk/>
            <pc:sldMk cId="3244894460" sldId="1249"/>
            <ac:picMk id="2052" creationId="{64F79096-0F97-CDE4-8191-194D0D52E187}"/>
          </ac:picMkLst>
        </pc:picChg>
        <pc:picChg chg="add del mod">
          <ac:chgData name="José Antonio Ureta Santacreu" userId="e36999d1-2b92-424a-9e8c-5fde0c5fbdd2" providerId="ADAL" clId="{7D8E3005-6D19-4F2A-9BE0-A2C92552758E}" dt="2024-07-30T10:19:20.275" v="1419" actId="478"/>
          <ac:picMkLst>
            <pc:docMk/>
            <pc:sldMk cId="3244894460" sldId="1249"/>
            <ac:picMk id="2054" creationId="{4D658D41-E6BD-9C12-7BF7-B77CED4DD1B8}"/>
          </ac:picMkLst>
        </pc:picChg>
        <pc:picChg chg="add del mod">
          <ac:chgData name="José Antonio Ureta Santacreu" userId="e36999d1-2b92-424a-9e8c-5fde0c5fbdd2" providerId="ADAL" clId="{7D8E3005-6D19-4F2A-9BE0-A2C92552758E}" dt="2024-07-30T10:30:29.751" v="1757" actId="478"/>
          <ac:picMkLst>
            <pc:docMk/>
            <pc:sldMk cId="3244894460" sldId="1249"/>
            <ac:picMk id="2056" creationId="{C93050E4-EBD3-FB04-86A5-3A02B19A1554}"/>
          </ac:picMkLst>
        </pc:picChg>
        <pc:picChg chg="add mod">
          <ac:chgData name="José Antonio Ureta Santacreu" userId="e36999d1-2b92-424a-9e8c-5fde0c5fbdd2" providerId="ADAL" clId="{7D8E3005-6D19-4F2A-9BE0-A2C92552758E}" dt="2024-07-30T11:46:10.730" v="2464" actId="1076"/>
          <ac:picMkLst>
            <pc:docMk/>
            <pc:sldMk cId="3244894460" sldId="1249"/>
            <ac:picMk id="2058" creationId="{C550BCC2-C751-CEBF-0291-2AE752F440F1}"/>
          </ac:picMkLst>
        </pc:picChg>
        <pc:picChg chg="add mod">
          <ac:chgData name="José Antonio Ureta Santacreu" userId="e36999d1-2b92-424a-9e8c-5fde0c5fbdd2" providerId="ADAL" clId="{7D8E3005-6D19-4F2A-9BE0-A2C92552758E}" dt="2024-07-30T11:47:06.780" v="2468" actId="14100"/>
          <ac:picMkLst>
            <pc:docMk/>
            <pc:sldMk cId="3244894460" sldId="1249"/>
            <ac:picMk id="2060" creationId="{7EFA0FBF-B9C0-CC8F-F469-72D6D99AAC17}"/>
          </ac:picMkLst>
        </pc:picChg>
      </pc:sldChg>
      <pc:sldChg chg="add del">
        <pc:chgData name="José Antonio Ureta Santacreu" userId="e36999d1-2b92-424a-9e8c-5fde0c5fbdd2" providerId="ADAL" clId="{7D8E3005-6D19-4F2A-9BE0-A2C92552758E}" dt="2024-07-24T11:55:38.780" v="63"/>
        <pc:sldMkLst>
          <pc:docMk/>
          <pc:sldMk cId="439552503" sldId="1250"/>
        </pc:sldMkLst>
      </pc:sldChg>
      <pc:sldChg chg="addSp modSp new mod">
        <pc:chgData name="José Antonio Ureta Santacreu" userId="e36999d1-2b92-424a-9e8c-5fde0c5fbdd2" providerId="ADAL" clId="{7D8E3005-6D19-4F2A-9BE0-A2C92552758E}" dt="2024-07-30T11:31:11.369" v="2138" actId="20577"/>
        <pc:sldMkLst>
          <pc:docMk/>
          <pc:sldMk cId="1618145011" sldId="1250"/>
        </pc:sldMkLst>
        <pc:spChg chg="mod">
          <ac:chgData name="José Antonio Ureta Santacreu" userId="e36999d1-2b92-424a-9e8c-5fde0c5fbdd2" providerId="ADAL" clId="{7D8E3005-6D19-4F2A-9BE0-A2C92552758E}" dt="2024-07-30T11:03:20.809" v="1890" actId="27636"/>
          <ac:spMkLst>
            <pc:docMk/>
            <pc:sldMk cId="1618145011" sldId="1250"/>
            <ac:spMk id="2" creationId="{CFFD1932-2707-C392-7B94-17161A635E54}"/>
          </ac:spMkLst>
        </pc:spChg>
        <pc:spChg chg="mod">
          <ac:chgData name="José Antonio Ureta Santacreu" userId="e36999d1-2b92-424a-9e8c-5fde0c5fbdd2" providerId="ADAL" clId="{7D8E3005-6D19-4F2A-9BE0-A2C92552758E}" dt="2024-07-30T11:31:11.369" v="2138" actId="20577"/>
          <ac:spMkLst>
            <pc:docMk/>
            <pc:sldMk cId="1618145011" sldId="1250"/>
            <ac:spMk id="3" creationId="{38611F3C-963B-969B-AF6F-2D39A51C56E3}"/>
          </ac:spMkLst>
        </pc:spChg>
        <pc:spChg chg="add">
          <ac:chgData name="José Antonio Ureta Santacreu" userId="e36999d1-2b92-424a-9e8c-5fde0c5fbdd2" providerId="ADAL" clId="{7D8E3005-6D19-4F2A-9BE0-A2C92552758E}" dt="2024-07-30T11:04:02.958" v="1893"/>
          <ac:spMkLst>
            <pc:docMk/>
            <pc:sldMk cId="1618145011" sldId="1250"/>
            <ac:spMk id="7" creationId="{88E6DCDE-AEF8-4A1B-A829-54FD97339569}"/>
          </ac:spMkLst>
        </pc:spChg>
      </pc:sldChg>
      <pc:sldChg chg="modSp new mod">
        <pc:chgData name="José Antonio Ureta Santacreu" userId="e36999d1-2b92-424a-9e8c-5fde0c5fbdd2" providerId="ADAL" clId="{7D8E3005-6D19-4F2A-9BE0-A2C92552758E}" dt="2024-07-30T11:10:48.249" v="1985" actId="20577"/>
        <pc:sldMkLst>
          <pc:docMk/>
          <pc:sldMk cId="467566133" sldId="1251"/>
        </pc:sldMkLst>
        <pc:spChg chg="mod">
          <ac:chgData name="José Antonio Ureta Santacreu" userId="e36999d1-2b92-424a-9e8c-5fde0c5fbdd2" providerId="ADAL" clId="{7D8E3005-6D19-4F2A-9BE0-A2C92552758E}" dt="2024-07-30T11:07:50.067" v="1926" actId="6549"/>
          <ac:spMkLst>
            <pc:docMk/>
            <pc:sldMk cId="467566133" sldId="1251"/>
            <ac:spMk id="2" creationId="{6502FF86-54CB-60D0-BEA4-7F41E14610F8}"/>
          </ac:spMkLst>
        </pc:spChg>
        <pc:spChg chg="mod">
          <ac:chgData name="José Antonio Ureta Santacreu" userId="e36999d1-2b92-424a-9e8c-5fde0c5fbdd2" providerId="ADAL" clId="{7D8E3005-6D19-4F2A-9BE0-A2C92552758E}" dt="2024-07-30T11:09:55.805" v="1936"/>
          <ac:spMkLst>
            <pc:docMk/>
            <pc:sldMk cId="467566133" sldId="1251"/>
            <ac:spMk id="3" creationId="{35A69D87-2B16-CE4D-D8DC-F5663251F3ED}"/>
          </ac:spMkLst>
        </pc:spChg>
        <pc:spChg chg="mod">
          <ac:chgData name="José Antonio Ureta Santacreu" userId="e36999d1-2b92-424a-9e8c-5fde0c5fbdd2" providerId="ADAL" clId="{7D8E3005-6D19-4F2A-9BE0-A2C92552758E}" dt="2024-07-30T11:08:20.844" v="1931" actId="20577"/>
          <ac:spMkLst>
            <pc:docMk/>
            <pc:sldMk cId="467566133" sldId="1251"/>
            <ac:spMk id="4" creationId="{BDBAFADB-9683-C758-1623-A8AD3362F6D0}"/>
          </ac:spMkLst>
        </pc:spChg>
        <pc:spChg chg="mod">
          <ac:chgData name="José Antonio Ureta Santacreu" userId="e36999d1-2b92-424a-9e8c-5fde0c5fbdd2" providerId="ADAL" clId="{7D8E3005-6D19-4F2A-9BE0-A2C92552758E}" dt="2024-07-30T11:09:55.805" v="1936"/>
          <ac:spMkLst>
            <pc:docMk/>
            <pc:sldMk cId="467566133" sldId="1251"/>
            <ac:spMk id="5" creationId="{764FEBDB-128B-EF0C-3563-F57059AD6226}"/>
          </ac:spMkLst>
        </pc:spChg>
        <pc:spChg chg="mod">
          <ac:chgData name="José Antonio Ureta Santacreu" userId="e36999d1-2b92-424a-9e8c-5fde0c5fbdd2" providerId="ADAL" clId="{7D8E3005-6D19-4F2A-9BE0-A2C92552758E}" dt="2024-07-30T11:10:48.249" v="1985" actId="20577"/>
          <ac:spMkLst>
            <pc:docMk/>
            <pc:sldMk cId="467566133" sldId="1251"/>
            <ac:spMk id="9" creationId="{096A2383-F2FB-479C-DE87-E272D91A5DAA}"/>
          </ac:spMkLst>
        </pc:spChg>
      </pc:sldChg>
      <pc:sldChg chg="add del">
        <pc:chgData name="José Antonio Ureta Santacreu" userId="e36999d1-2b92-424a-9e8c-5fde0c5fbdd2" providerId="ADAL" clId="{7D8E3005-6D19-4F2A-9BE0-A2C92552758E}" dt="2024-07-24T11:55:38.780" v="63"/>
        <pc:sldMkLst>
          <pc:docMk/>
          <pc:sldMk cId="1134102538" sldId="1251"/>
        </pc:sldMkLst>
      </pc:sldChg>
      <pc:sldChg chg="add del">
        <pc:chgData name="José Antonio Ureta Santacreu" userId="e36999d1-2b92-424a-9e8c-5fde0c5fbdd2" providerId="ADAL" clId="{7D8E3005-6D19-4F2A-9BE0-A2C92552758E}" dt="2024-07-24T11:55:38.780" v="63"/>
        <pc:sldMkLst>
          <pc:docMk/>
          <pc:sldMk cId="1544468893" sldId="1252"/>
        </pc:sldMkLst>
      </pc:sldChg>
      <pc:sldChg chg="addSp modSp new mod">
        <pc:chgData name="José Antonio Ureta Santacreu" userId="e36999d1-2b92-424a-9e8c-5fde0c5fbdd2" providerId="ADAL" clId="{7D8E3005-6D19-4F2A-9BE0-A2C92552758E}" dt="2024-07-30T11:19:39.428" v="2013" actId="20577"/>
        <pc:sldMkLst>
          <pc:docMk/>
          <pc:sldMk cId="2070501541" sldId="1252"/>
        </pc:sldMkLst>
        <pc:spChg chg="mod">
          <ac:chgData name="José Antonio Ureta Santacreu" userId="e36999d1-2b92-424a-9e8c-5fde0c5fbdd2" providerId="ADAL" clId="{7D8E3005-6D19-4F2A-9BE0-A2C92552758E}" dt="2024-07-30T11:16:10.575" v="1987"/>
          <ac:spMkLst>
            <pc:docMk/>
            <pc:sldMk cId="2070501541" sldId="1252"/>
            <ac:spMk id="2" creationId="{64B104E6-CE1B-8EA3-99A2-68B5124867A0}"/>
          </ac:spMkLst>
        </pc:spChg>
        <pc:graphicFrameChg chg="add mod modGraphic">
          <ac:chgData name="José Antonio Ureta Santacreu" userId="e36999d1-2b92-424a-9e8c-5fde0c5fbdd2" providerId="ADAL" clId="{7D8E3005-6D19-4F2A-9BE0-A2C92552758E}" dt="2024-07-30T11:19:39.428" v="2013" actId="20577"/>
          <ac:graphicFrameMkLst>
            <pc:docMk/>
            <pc:sldMk cId="2070501541" sldId="1252"/>
            <ac:graphicFrameMk id="6" creationId="{8653B3E0-F5BF-4026-B6B3-A4AE7A479293}"/>
          </ac:graphicFrameMkLst>
        </pc:graphicFrameChg>
      </pc:sldChg>
      <pc:sldChg chg="addSp delSp modSp new mod ord chgLayout">
        <pc:chgData name="José Antonio Ureta Santacreu" userId="e36999d1-2b92-424a-9e8c-5fde0c5fbdd2" providerId="ADAL" clId="{7D8E3005-6D19-4F2A-9BE0-A2C92552758E}" dt="2024-07-30T11:30:24.177" v="2133" actId="20577"/>
        <pc:sldMkLst>
          <pc:docMk/>
          <pc:sldMk cId="1416376973" sldId="1253"/>
        </pc:sldMkLst>
        <pc:spChg chg="mod ord">
          <ac:chgData name="José Antonio Ureta Santacreu" userId="e36999d1-2b92-424a-9e8c-5fde0c5fbdd2" providerId="ADAL" clId="{7D8E3005-6D19-4F2A-9BE0-A2C92552758E}" dt="2024-07-30T11:26:26.145" v="2106" actId="700"/>
          <ac:spMkLst>
            <pc:docMk/>
            <pc:sldMk cId="1416376973" sldId="1253"/>
            <ac:spMk id="2" creationId="{3531BFC3-B297-5912-05C7-ED8FEB977CF0}"/>
          </ac:spMkLst>
        </pc:spChg>
        <pc:spChg chg="del">
          <ac:chgData name="José Antonio Ureta Santacreu" userId="e36999d1-2b92-424a-9e8c-5fde0c5fbdd2" providerId="ADAL" clId="{7D8E3005-6D19-4F2A-9BE0-A2C92552758E}" dt="2024-07-30T11:25:05.516" v="2055"/>
          <ac:spMkLst>
            <pc:docMk/>
            <pc:sldMk cId="1416376973" sldId="1253"/>
            <ac:spMk id="3" creationId="{D1D8B1F5-2E20-0629-348A-86E8191EE562}"/>
          </ac:spMkLst>
        </pc:spChg>
        <pc:spChg chg="mod ord">
          <ac:chgData name="José Antonio Ureta Santacreu" userId="e36999d1-2b92-424a-9e8c-5fde0c5fbdd2" providerId="ADAL" clId="{7D8E3005-6D19-4F2A-9BE0-A2C92552758E}" dt="2024-07-30T11:26:26.145" v="2106" actId="700"/>
          <ac:spMkLst>
            <pc:docMk/>
            <pc:sldMk cId="1416376973" sldId="1253"/>
            <ac:spMk id="4" creationId="{E2A5A149-C638-F0FA-179F-2FC5C0351FDE}"/>
          </ac:spMkLst>
        </pc:spChg>
        <pc:spChg chg="mod ord">
          <ac:chgData name="José Antonio Ureta Santacreu" userId="e36999d1-2b92-424a-9e8c-5fde0c5fbdd2" providerId="ADAL" clId="{7D8E3005-6D19-4F2A-9BE0-A2C92552758E}" dt="2024-07-30T11:26:26.145" v="2106" actId="700"/>
          <ac:spMkLst>
            <pc:docMk/>
            <pc:sldMk cId="1416376973" sldId="1253"/>
            <ac:spMk id="5" creationId="{D2EE4FE1-627B-E95B-63A6-16062AF4F713}"/>
          </ac:spMkLst>
        </pc:spChg>
        <pc:spChg chg="mod ord">
          <ac:chgData name="José Antonio Ureta Santacreu" userId="e36999d1-2b92-424a-9e8c-5fde0c5fbdd2" providerId="ADAL" clId="{7D8E3005-6D19-4F2A-9BE0-A2C92552758E}" dt="2024-07-30T11:26:26.145" v="2106" actId="700"/>
          <ac:spMkLst>
            <pc:docMk/>
            <pc:sldMk cId="1416376973" sldId="1253"/>
            <ac:spMk id="6" creationId="{CD7DE719-1C31-9163-839E-37BACE38DAF3}"/>
          </ac:spMkLst>
        </pc:spChg>
        <pc:spChg chg="add del mod ord">
          <ac:chgData name="José Antonio Ureta Santacreu" userId="e36999d1-2b92-424a-9e8c-5fde0c5fbdd2" providerId="ADAL" clId="{7D8E3005-6D19-4F2A-9BE0-A2C92552758E}" dt="2024-07-30T11:26:26.145" v="2106" actId="700"/>
          <ac:spMkLst>
            <pc:docMk/>
            <pc:sldMk cId="1416376973" sldId="1253"/>
            <ac:spMk id="7" creationId="{190D6DFB-FBC2-A4B9-1208-C7E9B46D32DF}"/>
          </ac:spMkLst>
        </pc:spChg>
        <pc:spChg chg="add del mod">
          <ac:chgData name="José Antonio Ureta Santacreu" userId="e36999d1-2b92-424a-9e8c-5fde0c5fbdd2" providerId="ADAL" clId="{7D8E3005-6D19-4F2A-9BE0-A2C92552758E}" dt="2024-07-30T11:25:52.369" v="2101" actId="6264"/>
          <ac:spMkLst>
            <pc:docMk/>
            <pc:sldMk cId="1416376973" sldId="1253"/>
            <ac:spMk id="8" creationId="{8391CF4A-E81C-0B3D-40BB-810102708F9A}"/>
          </ac:spMkLst>
        </pc:spChg>
        <pc:spChg chg="add del mod">
          <ac:chgData name="José Antonio Ureta Santacreu" userId="e36999d1-2b92-424a-9e8c-5fde0c5fbdd2" providerId="ADAL" clId="{7D8E3005-6D19-4F2A-9BE0-A2C92552758E}" dt="2024-07-30T11:25:52.369" v="2101" actId="6264"/>
          <ac:spMkLst>
            <pc:docMk/>
            <pc:sldMk cId="1416376973" sldId="1253"/>
            <ac:spMk id="9" creationId="{180E707B-02E1-6D87-7D41-D1720949DA5E}"/>
          </ac:spMkLst>
        </pc:spChg>
        <pc:spChg chg="add del mod">
          <ac:chgData name="José Antonio Ureta Santacreu" userId="e36999d1-2b92-424a-9e8c-5fde0c5fbdd2" providerId="ADAL" clId="{7D8E3005-6D19-4F2A-9BE0-A2C92552758E}" dt="2024-07-30T11:25:52.369" v="2101" actId="6264"/>
          <ac:spMkLst>
            <pc:docMk/>
            <pc:sldMk cId="1416376973" sldId="1253"/>
            <ac:spMk id="10" creationId="{4ADFE2BE-8848-F51B-F7F0-D42554EA48AD}"/>
          </ac:spMkLst>
        </pc:spChg>
        <pc:spChg chg="add del mod">
          <ac:chgData name="José Antonio Ureta Santacreu" userId="e36999d1-2b92-424a-9e8c-5fde0c5fbdd2" providerId="ADAL" clId="{7D8E3005-6D19-4F2A-9BE0-A2C92552758E}" dt="2024-07-30T11:25:52.369" v="2101" actId="6264"/>
          <ac:spMkLst>
            <pc:docMk/>
            <pc:sldMk cId="1416376973" sldId="1253"/>
            <ac:spMk id="11" creationId="{1E34193E-4303-7EF5-5744-C9E4DAACA5FB}"/>
          </ac:spMkLst>
        </pc:spChg>
        <pc:spChg chg="add del mod">
          <ac:chgData name="José Antonio Ureta Santacreu" userId="e36999d1-2b92-424a-9e8c-5fde0c5fbdd2" providerId="ADAL" clId="{7D8E3005-6D19-4F2A-9BE0-A2C92552758E}" dt="2024-07-30T11:25:52.369" v="2101" actId="6264"/>
          <ac:spMkLst>
            <pc:docMk/>
            <pc:sldMk cId="1416376973" sldId="1253"/>
            <ac:spMk id="12" creationId="{068716D3-7216-2D0D-E93F-F203FD82F20E}"/>
          </ac:spMkLst>
        </pc:spChg>
        <pc:spChg chg="add del mod ord">
          <ac:chgData name="José Antonio Ureta Santacreu" userId="e36999d1-2b92-424a-9e8c-5fde0c5fbdd2" providerId="ADAL" clId="{7D8E3005-6D19-4F2A-9BE0-A2C92552758E}" dt="2024-07-30T11:26:41.693" v="2107" actId="1032"/>
          <ac:spMkLst>
            <pc:docMk/>
            <pc:sldMk cId="1416376973" sldId="1253"/>
            <ac:spMk id="13" creationId="{178E6BBC-00A3-DD00-9D56-3821AC4168D4}"/>
          </ac:spMkLst>
        </pc:spChg>
        <pc:graphicFrameChg chg="add mod modGraphic">
          <ac:chgData name="José Antonio Ureta Santacreu" userId="e36999d1-2b92-424a-9e8c-5fde0c5fbdd2" providerId="ADAL" clId="{7D8E3005-6D19-4F2A-9BE0-A2C92552758E}" dt="2024-07-30T11:30:24.177" v="2133" actId="20577"/>
          <ac:graphicFrameMkLst>
            <pc:docMk/>
            <pc:sldMk cId="1416376973" sldId="1253"/>
            <ac:graphicFrameMk id="14" creationId="{FA24686C-5A86-4B1C-59D2-F272783B4E02}"/>
          </ac:graphicFrameMkLst>
        </pc:graphicFrameChg>
      </pc:sldChg>
      <pc:sldChg chg="addSp delSp modSp new mod modClrScheme chgLayout">
        <pc:chgData name="José Antonio Ureta Santacreu" userId="e36999d1-2b92-424a-9e8c-5fde0c5fbdd2" providerId="ADAL" clId="{7D8E3005-6D19-4F2A-9BE0-A2C92552758E}" dt="2024-09-19T09:21:45.414" v="4968" actId="27636"/>
        <pc:sldMkLst>
          <pc:docMk/>
          <pc:sldMk cId="3579288200" sldId="1254"/>
        </pc:sldMkLst>
        <pc:spChg chg="mod ord">
          <ac:chgData name="José Antonio Ureta Santacreu" userId="e36999d1-2b92-424a-9e8c-5fde0c5fbdd2" providerId="ADAL" clId="{7D8E3005-6D19-4F2A-9BE0-A2C92552758E}" dt="2024-07-30T11:41:02.537" v="2195" actId="700"/>
          <ac:spMkLst>
            <pc:docMk/>
            <pc:sldMk cId="3579288200" sldId="1254"/>
            <ac:spMk id="2" creationId="{B66ECDB5-8063-0B6F-7DBB-23362F3EA7C1}"/>
          </ac:spMkLst>
        </pc:spChg>
        <pc:spChg chg="mod ord">
          <ac:chgData name="José Antonio Ureta Santacreu" userId="e36999d1-2b92-424a-9e8c-5fde0c5fbdd2" providerId="ADAL" clId="{7D8E3005-6D19-4F2A-9BE0-A2C92552758E}" dt="2024-09-19T09:21:45.414" v="4968" actId="27636"/>
          <ac:spMkLst>
            <pc:docMk/>
            <pc:sldMk cId="3579288200" sldId="1254"/>
            <ac:spMk id="3" creationId="{949B61F4-61D3-5164-7605-F60F74E5E368}"/>
          </ac:spMkLst>
        </pc:spChg>
        <pc:spChg chg="mod ord">
          <ac:chgData name="José Antonio Ureta Santacreu" userId="e36999d1-2b92-424a-9e8c-5fde0c5fbdd2" providerId="ADAL" clId="{7D8E3005-6D19-4F2A-9BE0-A2C92552758E}" dt="2024-07-30T11:41:02.537" v="2195" actId="700"/>
          <ac:spMkLst>
            <pc:docMk/>
            <pc:sldMk cId="3579288200" sldId="1254"/>
            <ac:spMk id="4" creationId="{2F278346-AAD6-57A2-B39F-3B8B61A287E6}"/>
          </ac:spMkLst>
        </pc:spChg>
        <pc:spChg chg="mod ord">
          <ac:chgData name="José Antonio Ureta Santacreu" userId="e36999d1-2b92-424a-9e8c-5fde0c5fbdd2" providerId="ADAL" clId="{7D8E3005-6D19-4F2A-9BE0-A2C92552758E}" dt="2024-07-30T11:41:02.537" v="2195" actId="700"/>
          <ac:spMkLst>
            <pc:docMk/>
            <pc:sldMk cId="3579288200" sldId="1254"/>
            <ac:spMk id="5" creationId="{597CDD69-11BF-D1D3-1023-B981F02BCD73}"/>
          </ac:spMkLst>
        </pc:spChg>
        <pc:spChg chg="mod ord">
          <ac:chgData name="José Antonio Ureta Santacreu" userId="e36999d1-2b92-424a-9e8c-5fde0c5fbdd2" providerId="ADAL" clId="{7D8E3005-6D19-4F2A-9BE0-A2C92552758E}" dt="2024-07-30T11:41:02.537" v="2195" actId="700"/>
          <ac:spMkLst>
            <pc:docMk/>
            <pc:sldMk cId="3579288200" sldId="1254"/>
            <ac:spMk id="6" creationId="{91F95E13-5081-0776-3C34-C5923896E67F}"/>
          </ac:spMkLst>
        </pc:spChg>
        <pc:spChg chg="add del mod ord">
          <ac:chgData name="José Antonio Ureta Santacreu" userId="e36999d1-2b92-424a-9e8c-5fde0c5fbdd2" providerId="ADAL" clId="{7D8E3005-6D19-4F2A-9BE0-A2C92552758E}" dt="2024-07-30T11:43:28.736" v="2358"/>
          <ac:spMkLst>
            <pc:docMk/>
            <pc:sldMk cId="3579288200" sldId="1254"/>
            <ac:spMk id="7" creationId="{E9AD7A28-53A2-B116-CC0F-5FB89F617460}"/>
          </ac:spMkLst>
        </pc:spChg>
        <pc:picChg chg="add mod">
          <ac:chgData name="José Antonio Ureta Santacreu" userId="e36999d1-2b92-424a-9e8c-5fde0c5fbdd2" providerId="ADAL" clId="{7D8E3005-6D19-4F2A-9BE0-A2C92552758E}" dt="2024-07-30T11:43:54.327" v="2431" actId="1036"/>
          <ac:picMkLst>
            <pc:docMk/>
            <pc:sldMk cId="3579288200" sldId="1254"/>
            <ac:picMk id="7170" creationId="{7E28D3F4-A991-E6B1-F587-7A00FB0B3B1A}"/>
          </ac:picMkLst>
        </pc:picChg>
        <pc:picChg chg="add mod">
          <ac:chgData name="José Antonio Ureta Santacreu" userId="e36999d1-2b92-424a-9e8c-5fde0c5fbdd2" providerId="ADAL" clId="{7D8E3005-6D19-4F2A-9BE0-A2C92552758E}" dt="2024-07-30T11:44:06.148" v="2434" actId="14100"/>
          <ac:picMkLst>
            <pc:docMk/>
            <pc:sldMk cId="3579288200" sldId="1254"/>
            <ac:picMk id="7172" creationId="{C5211B47-4BC5-4BF9-F291-22A5BA01EFAD}"/>
          </ac:picMkLst>
        </pc:picChg>
      </pc:sldChg>
      <pc:sldChg chg="modSp new mod">
        <pc:chgData name="José Antonio Ureta Santacreu" userId="e36999d1-2b92-424a-9e8c-5fde0c5fbdd2" providerId="ADAL" clId="{7D8E3005-6D19-4F2A-9BE0-A2C92552758E}" dt="2024-07-30T11:45:31.013" v="2463" actId="15"/>
        <pc:sldMkLst>
          <pc:docMk/>
          <pc:sldMk cId="474668333" sldId="1255"/>
        </pc:sldMkLst>
        <pc:spChg chg="mod">
          <ac:chgData name="José Antonio Ureta Santacreu" userId="e36999d1-2b92-424a-9e8c-5fde0c5fbdd2" providerId="ADAL" clId="{7D8E3005-6D19-4F2A-9BE0-A2C92552758E}" dt="2024-07-30T11:40:29.568" v="2192"/>
          <ac:spMkLst>
            <pc:docMk/>
            <pc:sldMk cId="474668333" sldId="1255"/>
            <ac:spMk id="2" creationId="{679897C8-D0C8-B602-5F55-2B9BCA7CCD3E}"/>
          </ac:spMkLst>
        </pc:spChg>
        <pc:spChg chg="mod">
          <ac:chgData name="José Antonio Ureta Santacreu" userId="e36999d1-2b92-424a-9e8c-5fde0c5fbdd2" providerId="ADAL" clId="{7D8E3005-6D19-4F2A-9BE0-A2C92552758E}" dt="2024-07-30T11:45:31.013" v="2463" actId="15"/>
          <ac:spMkLst>
            <pc:docMk/>
            <pc:sldMk cId="474668333" sldId="1255"/>
            <ac:spMk id="3" creationId="{C357AC47-E953-EE9C-3F70-CBAA9D068738}"/>
          </ac:spMkLst>
        </pc:spChg>
      </pc:sldChg>
      <pc:sldChg chg="modSp new mod">
        <pc:chgData name="José Antonio Ureta Santacreu" userId="e36999d1-2b92-424a-9e8c-5fde0c5fbdd2" providerId="ADAL" clId="{7D8E3005-6D19-4F2A-9BE0-A2C92552758E}" dt="2024-07-30T11:44:26.463" v="2451" actId="20577"/>
        <pc:sldMkLst>
          <pc:docMk/>
          <pc:sldMk cId="1067893180" sldId="1256"/>
        </pc:sldMkLst>
        <pc:spChg chg="mod">
          <ac:chgData name="José Antonio Ureta Santacreu" userId="e36999d1-2b92-424a-9e8c-5fde0c5fbdd2" providerId="ADAL" clId="{7D8E3005-6D19-4F2A-9BE0-A2C92552758E}" dt="2024-07-30T11:44:26.463" v="2451" actId="20577"/>
          <ac:spMkLst>
            <pc:docMk/>
            <pc:sldMk cId="1067893180" sldId="1256"/>
            <ac:spMk id="2" creationId="{D9B31CE0-8430-D5E9-DA66-F2AB7C6F4543}"/>
          </ac:spMkLst>
        </pc:spChg>
      </pc:sldChg>
      <pc:sldChg chg="modSp add mod">
        <pc:chgData name="José Antonio Ureta Santacreu" userId="e36999d1-2b92-424a-9e8c-5fde0c5fbdd2" providerId="ADAL" clId="{7D8E3005-6D19-4F2A-9BE0-A2C92552758E}" dt="2024-07-30T11:52:58" v="2556" actId="20577"/>
        <pc:sldMkLst>
          <pc:docMk/>
          <pc:sldMk cId="3233189296" sldId="1257"/>
        </pc:sldMkLst>
        <pc:spChg chg="mod">
          <ac:chgData name="José Antonio Ureta Santacreu" userId="e36999d1-2b92-424a-9e8c-5fde0c5fbdd2" providerId="ADAL" clId="{7D8E3005-6D19-4F2A-9BE0-A2C92552758E}" dt="2024-07-30T11:52:37.185" v="2545" actId="6549"/>
          <ac:spMkLst>
            <pc:docMk/>
            <pc:sldMk cId="3233189296" sldId="1257"/>
            <ac:spMk id="2" creationId="{B8ECB1AF-26C2-B951-3440-EF30A913B472}"/>
          </ac:spMkLst>
        </pc:spChg>
        <pc:spChg chg="mod">
          <ac:chgData name="José Antonio Ureta Santacreu" userId="e36999d1-2b92-424a-9e8c-5fde0c5fbdd2" providerId="ADAL" clId="{7D8E3005-6D19-4F2A-9BE0-A2C92552758E}" dt="2024-07-30T11:52:58" v="2556" actId="20577"/>
          <ac:spMkLst>
            <pc:docMk/>
            <pc:sldMk cId="3233189296" sldId="1257"/>
            <ac:spMk id="17" creationId="{5D59D2F5-978A-7D93-F90E-5B66B8A1608A}"/>
          </ac:spMkLst>
        </pc:spChg>
      </pc:sldChg>
      <pc:sldChg chg="modSp">
        <pc:chgData name="José Antonio Ureta Santacreu" userId="e36999d1-2b92-424a-9e8c-5fde0c5fbdd2" providerId="ADAL" clId="{7D8E3005-6D19-4F2A-9BE0-A2C92552758E}" dt="2024-09-05T10:30:49.234" v="4535" actId="14100"/>
        <pc:sldMkLst>
          <pc:docMk/>
          <pc:sldMk cId="3005157023" sldId="1259"/>
        </pc:sldMkLst>
        <pc:picChg chg="mod">
          <ac:chgData name="José Antonio Ureta Santacreu" userId="e36999d1-2b92-424a-9e8c-5fde0c5fbdd2" providerId="ADAL" clId="{7D8E3005-6D19-4F2A-9BE0-A2C92552758E}" dt="2024-09-05T10:30:49.234" v="4535" actId="14100"/>
          <ac:picMkLst>
            <pc:docMk/>
            <pc:sldMk cId="3005157023" sldId="1259"/>
            <ac:picMk id="1026" creationId="{2A3FCA57-BB0B-3291-3FD3-C461A44AF4EB}"/>
          </ac:picMkLst>
        </pc:picChg>
      </pc:sldChg>
      <pc:sldChg chg="modSp mod">
        <pc:chgData name="José Antonio Ureta Santacreu" userId="e36999d1-2b92-424a-9e8c-5fde0c5fbdd2" providerId="ADAL" clId="{7D8E3005-6D19-4F2A-9BE0-A2C92552758E}" dt="2024-09-19T09:21:44.984" v="4946" actId="27636"/>
        <pc:sldMkLst>
          <pc:docMk/>
          <pc:sldMk cId="3420494054" sldId="1260"/>
        </pc:sldMkLst>
        <pc:spChg chg="mod">
          <ac:chgData name="José Antonio Ureta Santacreu" userId="e36999d1-2b92-424a-9e8c-5fde0c5fbdd2" providerId="ADAL" clId="{7D8E3005-6D19-4F2A-9BE0-A2C92552758E}" dt="2024-09-19T09:21:44.984" v="4946" actId="27636"/>
          <ac:spMkLst>
            <pc:docMk/>
            <pc:sldMk cId="3420494054" sldId="1260"/>
            <ac:spMk id="7" creationId="{AE012313-5092-E1BF-9BF3-4ACC7833C266}"/>
          </ac:spMkLst>
        </pc:spChg>
      </pc:sldChg>
      <pc:sldChg chg="modSp mod">
        <pc:chgData name="José Antonio Ureta Santacreu" userId="e36999d1-2b92-424a-9e8c-5fde0c5fbdd2" providerId="ADAL" clId="{7D8E3005-6D19-4F2A-9BE0-A2C92552758E}" dt="2024-08-27T10:12:31.764" v="3504" actId="20577"/>
        <pc:sldMkLst>
          <pc:docMk/>
          <pc:sldMk cId="2226260061" sldId="1272"/>
        </pc:sldMkLst>
        <pc:spChg chg="mod">
          <ac:chgData name="José Antonio Ureta Santacreu" userId="e36999d1-2b92-424a-9e8c-5fde0c5fbdd2" providerId="ADAL" clId="{7D8E3005-6D19-4F2A-9BE0-A2C92552758E}" dt="2024-08-27T10:12:31.764" v="3504" actId="20577"/>
          <ac:spMkLst>
            <pc:docMk/>
            <pc:sldMk cId="2226260061" sldId="1272"/>
            <ac:spMk id="2" creationId="{63E1DBD9-0905-0D45-8292-67AFF21B6EED}"/>
          </ac:spMkLst>
        </pc:spChg>
        <pc:graphicFrameChg chg="mod modGraphic">
          <ac:chgData name="José Antonio Ureta Santacreu" userId="e36999d1-2b92-424a-9e8c-5fde0c5fbdd2" providerId="ADAL" clId="{7D8E3005-6D19-4F2A-9BE0-A2C92552758E}" dt="2024-08-27T10:09:54.330" v="3462" actId="20577"/>
          <ac:graphicFrameMkLst>
            <pc:docMk/>
            <pc:sldMk cId="2226260061" sldId="1272"/>
            <ac:graphicFrameMk id="7" creationId="{AAF4FA3E-884B-5162-BEBB-A330B80F2145}"/>
          </ac:graphicFrameMkLst>
        </pc:graphicFrameChg>
      </pc:sldChg>
      <pc:sldChg chg="modSp mod">
        <pc:chgData name="José Antonio Ureta Santacreu" userId="e36999d1-2b92-424a-9e8c-5fde0c5fbdd2" providerId="ADAL" clId="{7D8E3005-6D19-4F2A-9BE0-A2C92552758E}" dt="2024-08-27T10:01:47.375" v="3296" actId="122"/>
        <pc:sldMkLst>
          <pc:docMk/>
          <pc:sldMk cId="3025488039" sldId="1274"/>
        </pc:sldMkLst>
        <pc:spChg chg="mod">
          <ac:chgData name="José Antonio Ureta Santacreu" userId="e36999d1-2b92-424a-9e8c-5fde0c5fbdd2" providerId="ADAL" clId="{7D8E3005-6D19-4F2A-9BE0-A2C92552758E}" dt="2024-08-27T09:54:26.696" v="3220" actId="20577"/>
          <ac:spMkLst>
            <pc:docMk/>
            <pc:sldMk cId="3025488039" sldId="1274"/>
            <ac:spMk id="6" creationId="{46BE55F1-8F3C-525D-9962-3D9BEBA1F628}"/>
          </ac:spMkLst>
        </pc:spChg>
        <pc:graphicFrameChg chg="mod modGraphic">
          <ac:chgData name="José Antonio Ureta Santacreu" userId="e36999d1-2b92-424a-9e8c-5fde0c5fbdd2" providerId="ADAL" clId="{7D8E3005-6D19-4F2A-9BE0-A2C92552758E}" dt="2024-08-27T10:01:47.375" v="3296" actId="122"/>
          <ac:graphicFrameMkLst>
            <pc:docMk/>
            <pc:sldMk cId="3025488039" sldId="1274"/>
            <ac:graphicFrameMk id="8" creationId="{290B82BE-6FEE-4D90-04D5-317F8AA6C0F2}"/>
          </ac:graphicFrameMkLst>
        </pc:graphicFrameChg>
      </pc:sldChg>
      <pc:sldChg chg="modSp add mod ord">
        <pc:chgData name="José Antonio Ureta Santacreu" userId="e36999d1-2b92-424a-9e8c-5fde0c5fbdd2" providerId="ADAL" clId="{7D8E3005-6D19-4F2A-9BE0-A2C92552758E}" dt="2024-08-27T10:01:41.403" v="3295" actId="122"/>
        <pc:sldMkLst>
          <pc:docMk/>
          <pc:sldMk cId="408298158" sldId="1275"/>
        </pc:sldMkLst>
        <pc:spChg chg="mod">
          <ac:chgData name="José Antonio Ureta Santacreu" userId="e36999d1-2b92-424a-9e8c-5fde0c5fbdd2" providerId="ADAL" clId="{7D8E3005-6D19-4F2A-9BE0-A2C92552758E}" dt="2024-08-27T09:54:06.373" v="3216" actId="20577"/>
          <ac:spMkLst>
            <pc:docMk/>
            <pc:sldMk cId="408298158" sldId="1275"/>
            <ac:spMk id="6" creationId="{46BE55F1-8F3C-525D-9962-3D9BEBA1F628}"/>
          </ac:spMkLst>
        </pc:spChg>
        <pc:graphicFrameChg chg="mod modGraphic">
          <ac:chgData name="José Antonio Ureta Santacreu" userId="e36999d1-2b92-424a-9e8c-5fde0c5fbdd2" providerId="ADAL" clId="{7D8E3005-6D19-4F2A-9BE0-A2C92552758E}" dt="2024-08-27T10:01:41.403" v="3295" actId="122"/>
          <ac:graphicFrameMkLst>
            <pc:docMk/>
            <pc:sldMk cId="408298158" sldId="1275"/>
            <ac:graphicFrameMk id="8" creationId="{290B82BE-6FEE-4D90-04D5-317F8AA6C0F2}"/>
          </ac:graphicFrameMkLst>
        </pc:graphicFrameChg>
      </pc:sldChg>
      <pc:sldChg chg="addSp modSp add mod">
        <pc:chgData name="José Antonio Ureta Santacreu" userId="e36999d1-2b92-424a-9e8c-5fde0c5fbdd2" providerId="ADAL" clId="{7D8E3005-6D19-4F2A-9BE0-A2C92552758E}" dt="2024-08-27T10:02:29.655" v="3359" actId="1037"/>
        <pc:sldMkLst>
          <pc:docMk/>
          <pc:sldMk cId="2097371150" sldId="1276"/>
        </pc:sldMkLst>
        <pc:spChg chg="add mod">
          <ac:chgData name="José Antonio Ureta Santacreu" userId="e36999d1-2b92-424a-9e8c-5fde0c5fbdd2" providerId="ADAL" clId="{7D8E3005-6D19-4F2A-9BE0-A2C92552758E}" dt="2024-08-27T10:02:29.655" v="3359" actId="1037"/>
          <ac:spMkLst>
            <pc:docMk/>
            <pc:sldMk cId="2097371150" sldId="1276"/>
            <ac:spMk id="2" creationId="{6115DDB5-9AF6-A447-AA8C-811F47E120E3}"/>
          </ac:spMkLst>
        </pc:spChg>
        <pc:graphicFrameChg chg="modGraphic">
          <ac:chgData name="José Antonio Ureta Santacreu" userId="e36999d1-2b92-424a-9e8c-5fde0c5fbdd2" providerId="ADAL" clId="{7D8E3005-6D19-4F2A-9BE0-A2C92552758E}" dt="2024-08-27T10:01:54.810" v="3297" actId="122"/>
          <ac:graphicFrameMkLst>
            <pc:docMk/>
            <pc:sldMk cId="2097371150" sldId="1276"/>
            <ac:graphicFrameMk id="8" creationId="{290B82BE-6FEE-4D90-04D5-317F8AA6C0F2}"/>
          </ac:graphicFrameMkLst>
        </pc:graphicFrameChg>
      </pc:sldChg>
      <pc:sldChg chg="modSp add mod">
        <pc:chgData name="José Antonio Ureta Santacreu" userId="e36999d1-2b92-424a-9e8c-5fde0c5fbdd2" providerId="ADAL" clId="{7D8E3005-6D19-4F2A-9BE0-A2C92552758E}" dt="2024-08-27T10:12:39.538" v="3505"/>
        <pc:sldMkLst>
          <pc:docMk/>
          <pc:sldMk cId="2460535060" sldId="1277"/>
        </pc:sldMkLst>
        <pc:spChg chg="mod">
          <ac:chgData name="José Antonio Ureta Santacreu" userId="e36999d1-2b92-424a-9e8c-5fde0c5fbdd2" providerId="ADAL" clId="{7D8E3005-6D19-4F2A-9BE0-A2C92552758E}" dt="2024-08-27T10:12:39.538" v="3505"/>
          <ac:spMkLst>
            <pc:docMk/>
            <pc:sldMk cId="2460535060" sldId="1277"/>
            <ac:spMk id="2" creationId="{63E1DBD9-0905-0D45-8292-67AFF21B6EED}"/>
          </ac:spMkLst>
        </pc:spChg>
        <pc:graphicFrameChg chg="mod modGraphic">
          <ac:chgData name="José Antonio Ureta Santacreu" userId="e36999d1-2b92-424a-9e8c-5fde0c5fbdd2" providerId="ADAL" clId="{7D8E3005-6D19-4F2A-9BE0-A2C92552758E}" dt="2024-08-27T10:10:22.004" v="3465" actId="20577"/>
          <ac:graphicFrameMkLst>
            <pc:docMk/>
            <pc:sldMk cId="2460535060" sldId="1277"/>
            <ac:graphicFrameMk id="7" creationId="{AAF4FA3E-884B-5162-BEBB-A330B80F2145}"/>
          </ac:graphicFrameMkLst>
        </pc:graphicFrameChg>
      </pc:sldChg>
      <pc:sldChg chg="modSp add mod ord">
        <pc:chgData name="José Antonio Ureta Santacreu" userId="e36999d1-2b92-424a-9e8c-5fde0c5fbdd2" providerId="ADAL" clId="{7D8E3005-6D19-4F2A-9BE0-A2C92552758E}" dt="2024-09-05T10:42:41.513" v="4585" actId="27636"/>
        <pc:sldMkLst>
          <pc:docMk/>
          <pc:sldMk cId="78308405" sldId="1281"/>
        </pc:sldMkLst>
        <pc:spChg chg="mod">
          <ac:chgData name="José Antonio Ureta Santacreu" userId="e36999d1-2b92-424a-9e8c-5fde0c5fbdd2" providerId="ADAL" clId="{7D8E3005-6D19-4F2A-9BE0-A2C92552758E}" dt="2024-09-05T10:42:41.513" v="4585" actId="27636"/>
          <ac:spMkLst>
            <pc:docMk/>
            <pc:sldMk cId="78308405" sldId="1281"/>
            <ac:spMk id="2" creationId="{83CFFD9C-887E-D9AF-809D-8BF5D080409A}"/>
          </ac:spMkLst>
        </pc:spChg>
        <pc:graphicFrameChg chg="mod">
          <ac:chgData name="José Antonio Ureta Santacreu" userId="e36999d1-2b92-424a-9e8c-5fde0c5fbdd2" providerId="ADAL" clId="{7D8E3005-6D19-4F2A-9BE0-A2C92552758E}" dt="2024-09-05T10:41:10.840" v="4541"/>
          <ac:graphicFrameMkLst>
            <pc:docMk/>
            <pc:sldMk cId="78308405" sldId="1281"/>
            <ac:graphicFrameMk id="11" creationId="{CC9D21DB-13A7-28D7-B60D-B60396D8948A}"/>
          </ac:graphicFrameMkLst>
        </pc:graphicFrameChg>
      </pc:sldChg>
      <pc:sldChg chg="modSp mod">
        <pc:chgData name="José Antonio Ureta Santacreu" userId="e36999d1-2b92-424a-9e8c-5fde0c5fbdd2" providerId="ADAL" clId="{7D8E3005-6D19-4F2A-9BE0-A2C92552758E}" dt="2024-09-19T09:21:45.448" v="4969" actId="27636"/>
        <pc:sldMkLst>
          <pc:docMk/>
          <pc:sldMk cId="2907903549" sldId="1283"/>
        </pc:sldMkLst>
        <pc:spChg chg="mod">
          <ac:chgData name="José Antonio Ureta Santacreu" userId="e36999d1-2b92-424a-9e8c-5fde0c5fbdd2" providerId="ADAL" clId="{7D8E3005-6D19-4F2A-9BE0-A2C92552758E}" dt="2024-09-19T09:21:45.448" v="4969" actId="27636"/>
          <ac:spMkLst>
            <pc:docMk/>
            <pc:sldMk cId="2907903549" sldId="1283"/>
            <ac:spMk id="3" creationId="{DAC0F95C-2409-8385-7DCA-7F64620386AA}"/>
          </ac:spMkLst>
        </pc:spChg>
      </pc:sldChg>
      <pc:sldMasterChg chg="delSldLayout">
        <pc:chgData name="José Antonio Ureta Santacreu" userId="e36999d1-2b92-424a-9e8c-5fde0c5fbdd2" providerId="ADAL" clId="{7D8E3005-6D19-4F2A-9BE0-A2C92552758E}" dt="2024-07-24T11:54:46.407" v="60" actId="47"/>
        <pc:sldMasterMkLst>
          <pc:docMk/>
          <pc:sldMasterMk cId="124638484" sldId="2147483777"/>
        </pc:sldMasterMkLst>
        <pc:sldLayoutChg chg="del">
          <pc:chgData name="José Antonio Ureta Santacreu" userId="e36999d1-2b92-424a-9e8c-5fde0c5fbdd2" providerId="ADAL" clId="{7D8E3005-6D19-4F2A-9BE0-A2C92552758E}" dt="2024-07-24T11:54:46.407" v="60" actId="47"/>
          <pc:sldLayoutMkLst>
            <pc:docMk/>
            <pc:sldMasterMk cId="124638484" sldId="2147483777"/>
            <pc:sldLayoutMk cId="1036270930" sldId="2147483795"/>
          </pc:sldLayoutMkLst>
        </pc:sldLayoutChg>
        <pc:sldLayoutChg chg="del">
          <pc:chgData name="José Antonio Ureta Santacreu" userId="e36999d1-2b92-424a-9e8c-5fde0c5fbdd2" providerId="ADAL" clId="{7D8E3005-6D19-4F2A-9BE0-A2C92552758E}" dt="2024-07-24T11:54:46.407" v="60" actId="47"/>
          <pc:sldLayoutMkLst>
            <pc:docMk/>
            <pc:sldMasterMk cId="124638484" sldId="2147483777"/>
            <pc:sldLayoutMk cId="1069646390" sldId="2147483797"/>
          </pc:sldLayoutMkLst>
        </pc:sldLayoutChg>
      </pc:sldMasterChg>
    </pc:docChg>
  </pc:docChgLst>
  <pc:docChgLst>
    <pc:chgData name="José Antonio Romero Herrera" userId="S::joseantonio.romero@tajamar365.com::d8d4ad91-b87c-4ddb-b1a7-6f74a739f058" providerId="AD" clId="Web-{621A64D3-1C07-2F05-CEE9-E2D561D33D50}"/>
    <pc:docChg chg="addSld delSld modSld">
      <pc:chgData name="José Antonio Romero Herrera" userId="S::joseantonio.romero@tajamar365.com::d8d4ad91-b87c-4ddb-b1a7-6f74a739f058" providerId="AD" clId="Web-{621A64D3-1C07-2F05-CEE9-E2D561D33D50}" dt="2024-09-14T12:41:25.750" v="7"/>
      <pc:docMkLst>
        <pc:docMk/>
      </pc:docMkLst>
      <pc:sldChg chg="add del">
        <pc:chgData name="José Antonio Romero Herrera" userId="S::joseantonio.romero@tajamar365.com::d8d4ad91-b87c-4ddb-b1a7-6f74a739f058" providerId="AD" clId="Web-{621A64D3-1C07-2F05-CEE9-E2D561D33D50}" dt="2024-09-14T12:41:25.750" v="7"/>
        <pc:sldMkLst>
          <pc:docMk/>
          <pc:sldMk cId="1667298887" sldId="409"/>
        </pc:sldMkLst>
      </pc:sldChg>
      <pc:sldChg chg="modSp">
        <pc:chgData name="José Antonio Romero Herrera" userId="S::joseantonio.romero@tajamar365.com::d8d4ad91-b87c-4ddb-b1a7-6f74a739f058" providerId="AD" clId="Web-{621A64D3-1C07-2F05-CEE9-E2D561D33D50}" dt="2024-09-14T11:52:28.018" v="5"/>
        <pc:sldMkLst>
          <pc:docMk/>
          <pc:sldMk cId="914379010" sldId="1163"/>
        </pc:sldMkLst>
        <pc:graphicFrameChg chg="mod modGraphic">
          <ac:chgData name="José Antonio Romero Herrera" userId="S::joseantonio.romero@tajamar365.com::d8d4ad91-b87c-4ddb-b1a7-6f74a739f058" providerId="AD" clId="Web-{621A64D3-1C07-2F05-CEE9-E2D561D33D50}" dt="2024-09-14T11:52:28.018" v="5"/>
          <ac:graphicFrameMkLst>
            <pc:docMk/>
            <pc:sldMk cId="914379010" sldId="1163"/>
            <ac:graphicFrameMk id="8" creationId="{CACB117D-979C-0948-43E2-7DEE0B15A4FF}"/>
          </ac:graphicFrameMkLst>
        </pc:graphicFrameChg>
      </pc:sldChg>
    </pc:docChg>
  </pc:docChgLst>
</pc:chgInfo>
</file>

<file path=ppt/diagrams/_rels/data106.xml.rels><?xml version="1.0" encoding="UTF-8" standalone="yes"?>
<Relationships xmlns="http://schemas.openxmlformats.org/package/2006/relationships"><Relationship Id="rId2" Type="http://schemas.openxmlformats.org/officeDocument/2006/relationships/image" Target="../media/image310.png"/><Relationship Id="rId1" Type="http://schemas.openxmlformats.org/officeDocument/2006/relationships/image" Target="../media/image309.png"/></Relationships>
</file>

<file path=ppt/diagrams/_rels/data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jpeg"/></Relationships>
</file>

<file path=ppt/diagrams/_rels/data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image" Target="../media/image6.png"/></Relationships>
</file>

<file path=ppt/diagrams/_rels/data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image" Target="../media/image51.jpeg"/><Relationship Id="rId5" Type="http://schemas.openxmlformats.org/officeDocument/2006/relationships/image" Target="../media/image55.jpeg"/><Relationship Id="rId4" Type="http://schemas.openxmlformats.org/officeDocument/2006/relationships/image" Target="../media/image54.jpeg"/></Relationships>
</file>

<file path=ppt/diagrams/_rels/data3.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07/relationships/hdphoto" Target="../media/hdphoto2.wdp"/><Relationship Id="rId1" Type="http://schemas.openxmlformats.org/officeDocument/2006/relationships/image" Target="../media/image8.png"/><Relationship Id="rId4" Type="http://schemas.microsoft.com/office/2007/relationships/hdphoto" Target="../media/hdphoto3.wdp"/></Relationships>
</file>

<file path=ppt/diagrams/_rels/data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image" Target="../media/image84.png"/></Relationships>
</file>

<file path=ppt/diagrams/_rels/data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image" Target="../media/image103.jpeg"/><Relationship Id="rId4" Type="http://schemas.openxmlformats.org/officeDocument/2006/relationships/image" Target="../media/image106.png"/></Relationships>
</file>

<file path=ppt/diagrams/_rels/data4.xml.rels><?xml version="1.0" encoding="UTF-8" standalone="yes"?>
<Relationships xmlns="http://schemas.openxmlformats.org/package/2006/relationships"><Relationship Id="rId3" Type="http://schemas.openxmlformats.org/officeDocument/2006/relationships/image" Target="../media/image11.png"/><Relationship Id="rId2" Type="http://schemas.microsoft.com/office/2007/relationships/hdphoto" Target="../media/hdphoto4.wdp"/><Relationship Id="rId1" Type="http://schemas.openxmlformats.org/officeDocument/2006/relationships/image" Target="../media/image10.png"/><Relationship Id="rId4" Type="http://schemas.microsoft.com/office/2007/relationships/hdphoto" Target="../media/hdphoto5.wdp"/></Relationships>
</file>

<file path=ppt/diagrams/_rels/data4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image" Target="../media/image155.png"/><Relationship Id="rId5" Type="http://schemas.openxmlformats.org/officeDocument/2006/relationships/image" Target="../media/image159.png"/><Relationship Id="rId4" Type="http://schemas.openxmlformats.org/officeDocument/2006/relationships/image" Target="../media/image158.png"/></Relationships>
</file>

<file path=ppt/diagrams/_rels/data4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 Id="rId5" Type="http://schemas.openxmlformats.org/officeDocument/2006/relationships/image" Target="../media/image164.png"/><Relationship Id="rId4" Type="http://schemas.openxmlformats.org/officeDocument/2006/relationships/image" Target="../media/image163.png"/></Relationships>
</file>

<file path=ppt/diagrams/_rels/data4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image" Target="../media/image165.png"/></Relationships>
</file>

<file path=ppt/diagrams/_rels/data5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image" Target="../media/image176.png"/></Relationships>
</file>

<file path=ppt/diagrams/_rels/data61.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image" Target="../media/image197.jpeg"/><Relationship Id="rId5" Type="http://schemas.openxmlformats.org/officeDocument/2006/relationships/image" Target="../media/image201.png"/><Relationship Id="rId4" Type="http://schemas.openxmlformats.org/officeDocument/2006/relationships/image" Target="../media/image200.jpeg"/></Relationships>
</file>

<file path=ppt/diagrams/_rels/data63.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image" Target="../media/image204.png"/></Relationships>
</file>

<file path=ppt/diagrams/_rels/data68.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image" Target="../media/image213.png"/><Relationship Id="rId1" Type="http://schemas.openxmlformats.org/officeDocument/2006/relationships/image" Target="../media/image212.jpeg"/><Relationship Id="rId5" Type="http://schemas.openxmlformats.org/officeDocument/2006/relationships/image" Target="../media/image216.jpeg"/><Relationship Id="rId4" Type="http://schemas.openxmlformats.org/officeDocument/2006/relationships/image" Target="../media/image215.jpeg"/></Relationships>
</file>

<file path=ppt/diagrams/_rels/data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svg"/><Relationship Id="rId1" Type="http://schemas.openxmlformats.org/officeDocument/2006/relationships/image" Target="../media/image226.png"/><Relationship Id="rId6" Type="http://schemas.openxmlformats.org/officeDocument/2006/relationships/image" Target="../media/image231.svg"/><Relationship Id="rId5" Type="http://schemas.openxmlformats.org/officeDocument/2006/relationships/image" Target="../media/image230.png"/><Relationship Id="rId4" Type="http://schemas.openxmlformats.org/officeDocument/2006/relationships/image" Target="../media/image229.svg"/></Relationships>
</file>

<file path=ppt/diagrams/_rels/data71.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image" Target="../media/image234.jpeg"/><Relationship Id="rId1" Type="http://schemas.openxmlformats.org/officeDocument/2006/relationships/image" Target="../media/image233.jpeg"/></Relationships>
</file>

<file path=ppt/diagrams/_rels/data74.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image" Target="../media/image243.png"/></Relationships>
</file>

<file path=ppt/diagrams/_rels/data75.xml.rels><?xml version="1.0" encoding="UTF-8" standalone="yes"?>
<Relationships xmlns="http://schemas.openxmlformats.org/package/2006/relationships"><Relationship Id="rId2" Type="http://schemas.openxmlformats.org/officeDocument/2006/relationships/image" Target="../media/image249.jpeg"/><Relationship Id="rId1" Type="http://schemas.openxmlformats.org/officeDocument/2006/relationships/image" Target="../media/image248.jpeg"/></Relationships>
</file>

<file path=ppt/diagrams/_rels/data78.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image" Target="../media/image256.png"/></Relationships>
</file>

<file path=ppt/diagrams/_rels/data84.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image" Target="../media/image266.jpeg"/></Relationships>
</file>

<file path=ppt/diagrams/_rels/data85.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image" Target="../media/image268.jpeg"/></Relationships>
</file>

<file path=ppt/diagrams/_rels/data89.xml.rels><?xml version="1.0" encoding="UTF-8" standalone="yes"?>
<Relationships xmlns="http://schemas.openxmlformats.org/package/2006/relationships"><Relationship Id="rId3" Type="http://schemas.openxmlformats.org/officeDocument/2006/relationships/image" Target="../media/image284.jpeg"/><Relationship Id="rId2" Type="http://schemas.openxmlformats.org/officeDocument/2006/relationships/image" Target="../media/image283.png"/><Relationship Id="rId1" Type="http://schemas.openxmlformats.org/officeDocument/2006/relationships/image" Target="../media/image282.png"/></Relationships>
</file>

<file path=ppt/diagrams/_rels/data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slide" Target="../slides/slide21.xml"/><Relationship Id="rId1" Type="http://schemas.openxmlformats.org/officeDocument/2006/relationships/slide" Target="../slides/slide20.xml"/></Relationships>
</file>

<file path=ppt/diagrams/_rels/drawing106.xml.rels><?xml version="1.0" encoding="UTF-8" standalone="yes"?>
<Relationships xmlns="http://schemas.openxmlformats.org/package/2006/relationships"><Relationship Id="rId2" Type="http://schemas.openxmlformats.org/officeDocument/2006/relationships/image" Target="../media/image310.png"/><Relationship Id="rId1" Type="http://schemas.openxmlformats.org/officeDocument/2006/relationships/image" Target="../media/image309.png"/></Relationships>
</file>

<file path=ppt/diagrams/_rels/drawing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jpeg"/></Relationships>
</file>

<file path=ppt/diagrams/_rels/drawing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image" Target="../media/image6.png"/></Relationships>
</file>

<file path=ppt/diagrams/_rels/drawing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image" Target="../media/image51.jpeg"/><Relationship Id="rId5" Type="http://schemas.openxmlformats.org/officeDocument/2006/relationships/image" Target="../media/image55.jpeg"/><Relationship Id="rId4" Type="http://schemas.openxmlformats.org/officeDocument/2006/relationships/image" Target="../media/image54.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07/relationships/hdphoto" Target="../media/hdphoto2.wdp"/><Relationship Id="rId1" Type="http://schemas.openxmlformats.org/officeDocument/2006/relationships/image" Target="../media/image8.png"/><Relationship Id="rId4" Type="http://schemas.microsoft.com/office/2007/relationships/hdphoto" Target="../media/hdphoto3.wdp"/></Relationships>
</file>

<file path=ppt/diagrams/_rels/drawing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image" Target="../media/image84.png"/></Relationships>
</file>

<file path=ppt/diagrams/_rels/drawing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image" Target="../media/image103.jpeg"/><Relationship Id="rId4" Type="http://schemas.openxmlformats.org/officeDocument/2006/relationships/image" Target="../media/image106.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1.png"/><Relationship Id="rId2" Type="http://schemas.microsoft.com/office/2007/relationships/hdphoto" Target="../media/hdphoto4.wdp"/><Relationship Id="rId1" Type="http://schemas.openxmlformats.org/officeDocument/2006/relationships/image" Target="../media/image10.png"/><Relationship Id="rId4" Type="http://schemas.microsoft.com/office/2007/relationships/hdphoto" Target="../media/hdphoto5.wdp"/></Relationships>
</file>

<file path=ppt/diagrams/_rels/drawing4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image" Target="../media/image155.png"/><Relationship Id="rId5" Type="http://schemas.openxmlformats.org/officeDocument/2006/relationships/image" Target="../media/image159.png"/><Relationship Id="rId4" Type="http://schemas.openxmlformats.org/officeDocument/2006/relationships/image" Target="../media/image158.png"/></Relationships>
</file>

<file path=ppt/diagrams/_rels/drawing4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 Id="rId5" Type="http://schemas.openxmlformats.org/officeDocument/2006/relationships/image" Target="../media/image164.png"/><Relationship Id="rId4" Type="http://schemas.openxmlformats.org/officeDocument/2006/relationships/image" Target="../media/image163.png"/></Relationships>
</file>

<file path=ppt/diagrams/_rels/drawing4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image" Target="../media/image165.png"/></Relationships>
</file>

<file path=ppt/diagrams/_rels/drawing5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image" Target="../media/image176.png"/></Relationships>
</file>

<file path=ppt/diagrams/_rels/drawing61.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image" Target="../media/image197.jpeg"/><Relationship Id="rId5" Type="http://schemas.openxmlformats.org/officeDocument/2006/relationships/image" Target="../media/image201.png"/><Relationship Id="rId4" Type="http://schemas.openxmlformats.org/officeDocument/2006/relationships/image" Target="../media/image200.jpeg"/></Relationships>
</file>

<file path=ppt/diagrams/_rels/drawing63.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image" Target="../media/image204.png"/></Relationships>
</file>

<file path=ppt/diagrams/_rels/drawing68.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image" Target="../media/image213.png"/><Relationship Id="rId1" Type="http://schemas.openxmlformats.org/officeDocument/2006/relationships/image" Target="../media/image212.jpeg"/><Relationship Id="rId5" Type="http://schemas.openxmlformats.org/officeDocument/2006/relationships/image" Target="../media/image216.jpeg"/><Relationship Id="rId4" Type="http://schemas.openxmlformats.org/officeDocument/2006/relationships/image" Target="../media/image215.jpeg"/></Relationships>
</file>

<file path=ppt/diagrams/_rels/drawing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svg"/><Relationship Id="rId1" Type="http://schemas.openxmlformats.org/officeDocument/2006/relationships/image" Target="../media/image226.png"/><Relationship Id="rId6" Type="http://schemas.openxmlformats.org/officeDocument/2006/relationships/image" Target="../media/image231.svg"/><Relationship Id="rId5" Type="http://schemas.openxmlformats.org/officeDocument/2006/relationships/image" Target="../media/image230.png"/><Relationship Id="rId4" Type="http://schemas.openxmlformats.org/officeDocument/2006/relationships/image" Target="../media/image229.svg"/></Relationships>
</file>

<file path=ppt/diagrams/_rels/drawing71.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image" Target="../media/image234.jpeg"/><Relationship Id="rId1" Type="http://schemas.openxmlformats.org/officeDocument/2006/relationships/image" Target="../media/image233.jpeg"/></Relationships>
</file>

<file path=ppt/diagrams/_rels/drawing74.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image" Target="../media/image243.png"/></Relationships>
</file>

<file path=ppt/diagrams/_rels/drawing75.xml.rels><?xml version="1.0" encoding="UTF-8" standalone="yes"?>
<Relationships xmlns="http://schemas.openxmlformats.org/package/2006/relationships"><Relationship Id="rId2" Type="http://schemas.openxmlformats.org/officeDocument/2006/relationships/image" Target="../media/image249.jpeg"/><Relationship Id="rId1" Type="http://schemas.openxmlformats.org/officeDocument/2006/relationships/image" Target="../media/image248.jpeg"/></Relationships>
</file>

<file path=ppt/diagrams/_rels/drawing78.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image" Target="../media/image256.png"/></Relationships>
</file>

<file path=ppt/diagrams/_rels/drawing84.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image" Target="../media/image266.jpeg"/></Relationships>
</file>

<file path=ppt/diagrams/_rels/drawing85.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image" Target="../media/image268.jpeg"/></Relationships>
</file>

<file path=ppt/diagrams/_rels/drawing89.xml.rels><?xml version="1.0" encoding="UTF-8" standalone="yes"?>
<Relationships xmlns="http://schemas.openxmlformats.org/package/2006/relationships"><Relationship Id="rId3" Type="http://schemas.openxmlformats.org/officeDocument/2006/relationships/image" Target="../media/image284.jpeg"/><Relationship Id="rId2" Type="http://schemas.openxmlformats.org/officeDocument/2006/relationships/image" Target="../media/image283.png"/><Relationship Id="rId1" Type="http://schemas.openxmlformats.org/officeDocument/2006/relationships/image" Target="../media/image282.pn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FB37610-BF95-4816-8320-C290C31C46A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s-ES"/>
        </a:p>
      </dgm:t>
    </dgm:pt>
    <dgm:pt modelId="{E1144D18-6603-4465-80C8-AFF705DAD44C}">
      <dgm:prSet phldrT="[Texto]" custT="1"/>
      <dgm:spPr>
        <a:solidFill>
          <a:srgbClr val="00B050"/>
        </a:solidFill>
      </dgm:spPr>
      <dgm:t>
        <a:bodyPr/>
        <a:lstStyle/>
        <a:p>
          <a:r>
            <a:rPr lang="es-ES" sz="2400" b="1" dirty="0"/>
            <a:t>Sí es</a:t>
          </a:r>
        </a:p>
      </dgm:t>
    </dgm:pt>
    <dgm:pt modelId="{A1A568B9-4CEE-4B97-A431-F015885030FF}" type="parTrans" cxnId="{ADA96351-8164-4BF3-BC56-EB14E57E93FC}">
      <dgm:prSet/>
      <dgm:spPr/>
      <dgm:t>
        <a:bodyPr/>
        <a:lstStyle/>
        <a:p>
          <a:endParaRPr lang="es-ES"/>
        </a:p>
      </dgm:t>
    </dgm:pt>
    <dgm:pt modelId="{8462FCA8-2196-4380-8318-7C58AB8F8386}" type="sibTrans" cxnId="{ADA96351-8164-4BF3-BC56-EB14E57E93FC}">
      <dgm:prSet/>
      <dgm:spPr/>
      <dgm:t>
        <a:bodyPr/>
        <a:lstStyle/>
        <a:p>
          <a:endParaRPr lang="es-ES"/>
        </a:p>
      </dgm:t>
    </dgm:pt>
    <dgm:pt modelId="{64BC588D-5A46-42F8-B748-2820E1799373}">
      <dgm:prSet phldrT="[Texto]"/>
      <dgm:spPr/>
      <dgm:t>
        <a:bodyPr/>
        <a:lstStyle/>
        <a:p>
          <a:pPr eaLnBrk="1" latinLnBrk="0"/>
          <a:r>
            <a:rPr lang="es-ES" dirty="0"/>
            <a:t>Los colaboradores formados y motivados.</a:t>
          </a:r>
        </a:p>
      </dgm:t>
    </dgm:pt>
    <dgm:pt modelId="{B1EE8647-E1A7-4BF9-8424-223F1B81213A}" type="parTrans" cxnId="{3595E2FB-C210-40B4-80A5-989E8446D868}">
      <dgm:prSet/>
      <dgm:spPr/>
      <dgm:t>
        <a:bodyPr/>
        <a:lstStyle/>
        <a:p>
          <a:endParaRPr lang="es-ES"/>
        </a:p>
      </dgm:t>
    </dgm:pt>
    <dgm:pt modelId="{E9807C05-8F5F-4D73-AAA3-A1B027EB8250}" type="sibTrans" cxnId="{3595E2FB-C210-40B4-80A5-989E8446D868}">
      <dgm:prSet/>
      <dgm:spPr/>
      <dgm:t>
        <a:bodyPr/>
        <a:lstStyle/>
        <a:p>
          <a:endParaRPr lang="es-ES"/>
        </a:p>
      </dgm:t>
    </dgm:pt>
    <dgm:pt modelId="{234C0E29-03CD-45D2-8B06-CDE8BB2237D9}">
      <dgm:prSet/>
      <dgm:spPr/>
      <dgm:t>
        <a:bodyPr/>
        <a:lstStyle/>
        <a:p>
          <a:endParaRPr lang="es-ES" noProof="0" dirty="0"/>
        </a:p>
      </dgm:t>
    </dgm:pt>
    <dgm:pt modelId="{088C2E6F-0A39-4964-A938-B142FAB23877}" type="parTrans" cxnId="{9102F963-07B5-420D-8676-6C45722E319F}">
      <dgm:prSet/>
      <dgm:spPr/>
      <dgm:t>
        <a:bodyPr/>
        <a:lstStyle/>
        <a:p>
          <a:endParaRPr lang="es-ES"/>
        </a:p>
      </dgm:t>
    </dgm:pt>
    <dgm:pt modelId="{D0801812-FB92-494A-A079-1EACD570B607}" type="sibTrans" cxnId="{9102F963-07B5-420D-8676-6C45722E319F}">
      <dgm:prSet/>
      <dgm:spPr/>
      <dgm:t>
        <a:bodyPr/>
        <a:lstStyle/>
        <a:p>
          <a:endParaRPr lang="es-ES"/>
        </a:p>
      </dgm:t>
    </dgm:pt>
    <dgm:pt modelId="{A053C00B-8C0F-4DA2-833E-A7757D7F26D3}">
      <dgm:prSet custT="1"/>
      <dgm:spPr>
        <a:solidFill>
          <a:srgbClr val="FF0000"/>
        </a:solidFill>
      </dgm:spPr>
      <dgm:t>
        <a:bodyPr/>
        <a:lstStyle/>
        <a:p>
          <a:r>
            <a:rPr lang="es-ES" sz="2400" b="1" dirty="0"/>
            <a:t>No es</a:t>
          </a:r>
          <a:endParaRPr lang="es-ES" sz="2400" b="1" noProof="0" dirty="0"/>
        </a:p>
      </dgm:t>
    </dgm:pt>
    <dgm:pt modelId="{172CCDBE-1E26-4C99-8099-DF715B01D328}" type="parTrans" cxnId="{D5DE6925-BD97-41ED-9D50-0E98F78B5847}">
      <dgm:prSet/>
      <dgm:spPr/>
      <dgm:t>
        <a:bodyPr/>
        <a:lstStyle/>
        <a:p>
          <a:endParaRPr lang="es-ES"/>
        </a:p>
      </dgm:t>
    </dgm:pt>
    <dgm:pt modelId="{F592FEE4-1EC1-46EB-B626-2FBE9CA3F672}" type="sibTrans" cxnId="{D5DE6925-BD97-41ED-9D50-0E98F78B5847}">
      <dgm:prSet/>
      <dgm:spPr/>
      <dgm:t>
        <a:bodyPr/>
        <a:lstStyle/>
        <a:p>
          <a:endParaRPr lang="es-ES"/>
        </a:p>
      </dgm:t>
    </dgm:pt>
    <dgm:pt modelId="{C1FDBE1C-3E90-41C6-8D9C-255774479300}">
      <dgm:prSet phldrT="[Texto]"/>
      <dgm:spPr/>
      <dgm:t>
        <a:bodyPr/>
        <a:lstStyle/>
        <a:p>
          <a:r>
            <a:rPr lang="es-ES" noProof="0" dirty="0"/>
            <a:t>Incorporar un CRM</a:t>
          </a:r>
        </a:p>
      </dgm:t>
    </dgm:pt>
    <dgm:pt modelId="{496111C7-719C-4697-9169-BED590E3A714}" type="parTrans" cxnId="{59C911F0-1FF9-4F3B-82E2-5E135A8BD71D}">
      <dgm:prSet/>
      <dgm:spPr/>
      <dgm:t>
        <a:bodyPr/>
        <a:lstStyle/>
        <a:p>
          <a:endParaRPr lang="es-ES"/>
        </a:p>
      </dgm:t>
    </dgm:pt>
    <dgm:pt modelId="{1A31ABCB-5DD9-43F6-A59F-1B65BAA56024}" type="sibTrans" cxnId="{59C911F0-1FF9-4F3B-82E2-5E135A8BD71D}">
      <dgm:prSet/>
      <dgm:spPr/>
      <dgm:t>
        <a:bodyPr/>
        <a:lstStyle/>
        <a:p>
          <a:endParaRPr lang="es-ES"/>
        </a:p>
      </dgm:t>
    </dgm:pt>
    <dgm:pt modelId="{3793F52C-C2B9-4A0F-B231-DD8D6B4ADC9E}">
      <dgm:prSet/>
      <dgm:spPr/>
      <dgm:t>
        <a:bodyPr/>
        <a:lstStyle/>
        <a:p>
          <a:r>
            <a:rPr lang="es-ES" noProof="0" dirty="0"/>
            <a:t>Automatizar los procesos de la empresa</a:t>
          </a:r>
        </a:p>
      </dgm:t>
    </dgm:pt>
    <dgm:pt modelId="{FBEFC6B1-2FFD-42E1-8CA8-214505DB611E}" type="parTrans" cxnId="{A8C3653C-88B8-47BE-8AE7-873C72F75A2B}">
      <dgm:prSet/>
      <dgm:spPr/>
      <dgm:t>
        <a:bodyPr/>
        <a:lstStyle/>
        <a:p>
          <a:endParaRPr lang="es-ES"/>
        </a:p>
      </dgm:t>
    </dgm:pt>
    <dgm:pt modelId="{BE9675FC-0B20-4283-BB38-F70B09A6083F}" type="sibTrans" cxnId="{A8C3653C-88B8-47BE-8AE7-873C72F75A2B}">
      <dgm:prSet/>
      <dgm:spPr/>
      <dgm:t>
        <a:bodyPr/>
        <a:lstStyle/>
        <a:p>
          <a:endParaRPr lang="es-ES"/>
        </a:p>
      </dgm:t>
    </dgm:pt>
    <dgm:pt modelId="{3BC31471-0804-4476-A92C-B3E87FDDB969}">
      <dgm:prSet/>
      <dgm:spPr/>
      <dgm:t>
        <a:bodyPr/>
        <a:lstStyle/>
        <a:p>
          <a:r>
            <a:rPr lang="es-ES" noProof="0" dirty="0"/>
            <a:t>Marketing digital</a:t>
          </a:r>
        </a:p>
      </dgm:t>
    </dgm:pt>
    <dgm:pt modelId="{4DA847EB-8AE8-4A86-AFAF-8D9A7417F46F}" type="parTrans" cxnId="{000FDFF5-3081-4592-B463-1B4CC8008AC8}">
      <dgm:prSet/>
      <dgm:spPr/>
      <dgm:t>
        <a:bodyPr/>
        <a:lstStyle/>
        <a:p>
          <a:endParaRPr lang="es-ES"/>
        </a:p>
      </dgm:t>
    </dgm:pt>
    <dgm:pt modelId="{E03C6788-AE1A-41D3-943B-1F0C27CF93A8}" type="sibTrans" cxnId="{000FDFF5-3081-4592-B463-1B4CC8008AC8}">
      <dgm:prSet/>
      <dgm:spPr/>
      <dgm:t>
        <a:bodyPr/>
        <a:lstStyle/>
        <a:p>
          <a:endParaRPr lang="es-ES"/>
        </a:p>
      </dgm:t>
    </dgm:pt>
    <dgm:pt modelId="{DE6141CA-97DF-4459-AB04-26FAE98B9333}">
      <dgm:prSet/>
      <dgm:spPr/>
      <dgm:t>
        <a:bodyPr/>
        <a:lstStyle/>
        <a:p>
          <a:r>
            <a:rPr lang="es-ES" noProof="0" dirty="0"/>
            <a:t>Tienda online</a:t>
          </a:r>
        </a:p>
      </dgm:t>
    </dgm:pt>
    <dgm:pt modelId="{8E16D950-43B9-46B0-9A41-DB8263EC25D5}" type="parTrans" cxnId="{470F9DFD-9B60-4E5E-9340-A608EC8C4803}">
      <dgm:prSet/>
      <dgm:spPr/>
      <dgm:t>
        <a:bodyPr/>
        <a:lstStyle/>
        <a:p>
          <a:endParaRPr lang="es-ES"/>
        </a:p>
      </dgm:t>
    </dgm:pt>
    <dgm:pt modelId="{5347B068-FAD6-4270-93F4-21FE034EC03A}" type="sibTrans" cxnId="{470F9DFD-9B60-4E5E-9340-A608EC8C4803}">
      <dgm:prSet/>
      <dgm:spPr/>
      <dgm:t>
        <a:bodyPr/>
        <a:lstStyle/>
        <a:p>
          <a:endParaRPr lang="es-ES"/>
        </a:p>
      </dgm:t>
    </dgm:pt>
    <dgm:pt modelId="{A55C9938-4541-4DCD-B3D4-222380B6A6B4}">
      <dgm:prSet/>
      <dgm:spPr/>
      <dgm:t>
        <a:bodyPr/>
        <a:lstStyle/>
        <a:p>
          <a:r>
            <a:rPr lang="es-ES" noProof="0" dirty="0"/>
            <a:t>Inundar a las personas con banners</a:t>
          </a:r>
        </a:p>
      </dgm:t>
    </dgm:pt>
    <dgm:pt modelId="{502D2236-9F4B-4933-A50D-A14073543BB0}" type="parTrans" cxnId="{D9C49AA6-28EA-4063-AF42-9DABDFF40D4A}">
      <dgm:prSet/>
      <dgm:spPr/>
      <dgm:t>
        <a:bodyPr/>
        <a:lstStyle/>
        <a:p>
          <a:endParaRPr lang="es-ES"/>
        </a:p>
      </dgm:t>
    </dgm:pt>
    <dgm:pt modelId="{930A0432-866D-419E-8928-4512B91D1DDE}" type="sibTrans" cxnId="{D9C49AA6-28EA-4063-AF42-9DABDFF40D4A}">
      <dgm:prSet/>
      <dgm:spPr/>
      <dgm:t>
        <a:bodyPr/>
        <a:lstStyle/>
        <a:p>
          <a:endParaRPr lang="es-ES"/>
        </a:p>
      </dgm:t>
    </dgm:pt>
    <dgm:pt modelId="{E5510B5A-1031-48C7-B502-2D014D92675A}">
      <dgm:prSet/>
      <dgm:spPr/>
      <dgm:t>
        <a:bodyPr/>
        <a:lstStyle/>
        <a:p>
          <a:r>
            <a:rPr lang="es-ES" noProof="0" dirty="0"/>
            <a:t>La tecnología por sí sola no es transformación digital.</a:t>
          </a:r>
        </a:p>
      </dgm:t>
    </dgm:pt>
    <dgm:pt modelId="{86745637-CAA9-435B-9E1F-3570A1E4C74B}" type="parTrans" cxnId="{732A7502-7945-4F12-A928-EEE544310BA6}">
      <dgm:prSet/>
      <dgm:spPr/>
      <dgm:t>
        <a:bodyPr/>
        <a:lstStyle/>
        <a:p>
          <a:endParaRPr lang="es-ES"/>
        </a:p>
      </dgm:t>
    </dgm:pt>
    <dgm:pt modelId="{CD1C9464-28E3-4981-943B-7FDD49D2E649}" type="sibTrans" cxnId="{732A7502-7945-4F12-A928-EEE544310BA6}">
      <dgm:prSet/>
      <dgm:spPr/>
      <dgm:t>
        <a:bodyPr/>
        <a:lstStyle/>
        <a:p>
          <a:endParaRPr lang="es-ES"/>
        </a:p>
      </dgm:t>
    </dgm:pt>
    <dgm:pt modelId="{96FF3185-A7FC-470A-BFB3-D57B733A0396}">
      <dgm:prSet/>
      <dgm:spPr/>
      <dgm:t>
        <a:bodyPr/>
        <a:lstStyle/>
        <a:p>
          <a:pPr eaLnBrk="1" latinLnBrk="0"/>
          <a:r>
            <a:rPr lang="es-ES" dirty="0"/>
            <a:t>Opera donde está el Cliente / Ciudadano.</a:t>
          </a:r>
        </a:p>
      </dgm:t>
    </dgm:pt>
    <dgm:pt modelId="{33C97650-00B9-4CD1-8456-D5B4BF3A9FE1}" type="parTrans" cxnId="{612C4A3B-64FE-420C-AB82-F7891AF7B6F8}">
      <dgm:prSet/>
      <dgm:spPr/>
      <dgm:t>
        <a:bodyPr/>
        <a:lstStyle/>
        <a:p>
          <a:endParaRPr lang="es-ES"/>
        </a:p>
      </dgm:t>
    </dgm:pt>
    <dgm:pt modelId="{C553FE39-F829-49D9-AB00-7C5A79113B4B}" type="sibTrans" cxnId="{612C4A3B-64FE-420C-AB82-F7891AF7B6F8}">
      <dgm:prSet/>
      <dgm:spPr/>
      <dgm:t>
        <a:bodyPr/>
        <a:lstStyle/>
        <a:p>
          <a:endParaRPr lang="es-ES"/>
        </a:p>
      </dgm:t>
    </dgm:pt>
    <dgm:pt modelId="{0CC962D9-8C05-4027-AF89-FCF356CB6571}">
      <dgm:prSet/>
      <dgm:spPr/>
      <dgm:t>
        <a:bodyPr/>
        <a:lstStyle/>
        <a:p>
          <a:pPr eaLnBrk="1" latinLnBrk="0"/>
          <a:r>
            <a:rPr lang="es-ES" dirty="0"/>
            <a:t>Cuando es necesario.</a:t>
          </a:r>
        </a:p>
      </dgm:t>
    </dgm:pt>
    <dgm:pt modelId="{E6175C4B-2A87-4921-8C6C-8BA4AF63F0E2}" type="parTrans" cxnId="{2EAEDDF5-1377-4CCA-9647-5AA3FF7EEBEF}">
      <dgm:prSet/>
      <dgm:spPr/>
      <dgm:t>
        <a:bodyPr/>
        <a:lstStyle/>
        <a:p>
          <a:endParaRPr lang="es-ES"/>
        </a:p>
      </dgm:t>
    </dgm:pt>
    <dgm:pt modelId="{A45670FB-7728-4406-92F3-D070416DB1A2}" type="sibTrans" cxnId="{2EAEDDF5-1377-4CCA-9647-5AA3FF7EEBEF}">
      <dgm:prSet/>
      <dgm:spPr/>
      <dgm:t>
        <a:bodyPr/>
        <a:lstStyle/>
        <a:p>
          <a:endParaRPr lang="es-ES"/>
        </a:p>
      </dgm:t>
    </dgm:pt>
    <dgm:pt modelId="{FDC028EC-D317-4DFA-B598-91B8B9301F90}">
      <dgm:prSet/>
      <dgm:spPr/>
      <dgm:t>
        <a:bodyPr/>
        <a:lstStyle/>
        <a:p>
          <a:pPr eaLnBrk="1" latinLnBrk="0"/>
          <a:r>
            <a:rPr lang="es-ES" dirty="0"/>
            <a:t>Armonizando el mundo físico con el mundo virtual.</a:t>
          </a:r>
        </a:p>
      </dgm:t>
    </dgm:pt>
    <dgm:pt modelId="{C5E0DB83-B60B-4279-A253-37D9F75B0220}" type="parTrans" cxnId="{787BAD5A-39D7-48A1-BA88-7FB8E56AA581}">
      <dgm:prSet/>
      <dgm:spPr/>
      <dgm:t>
        <a:bodyPr/>
        <a:lstStyle/>
        <a:p>
          <a:endParaRPr lang="es-ES"/>
        </a:p>
      </dgm:t>
    </dgm:pt>
    <dgm:pt modelId="{9796750D-D13C-4987-9499-2003B9D2A8C4}" type="sibTrans" cxnId="{787BAD5A-39D7-48A1-BA88-7FB8E56AA581}">
      <dgm:prSet/>
      <dgm:spPr/>
      <dgm:t>
        <a:bodyPr/>
        <a:lstStyle/>
        <a:p>
          <a:endParaRPr lang="es-ES"/>
        </a:p>
      </dgm:t>
    </dgm:pt>
    <dgm:pt modelId="{BF26EE14-0E4C-4588-8C06-9D0B7288377D}">
      <dgm:prSet/>
      <dgm:spPr/>
      <dgm:t>
        <a:bodyPr/>
        <a:lstStyle/>
        <a:p>
          <a:pPr eaLnBrk="1" latinLnBrk="0"/>
          <a:r>
            <a:rPr lang="es-ES" dirty="0"/>
            <a:t>El contacto multicanal y responsive</a:t>
          </a:r>
        </a:p>
      </dgm:t>
    </dgm:pt>
    <dgm:pt modelId="{CCBA993F-EE81-4E33-B204-149377C32625}" type="parTrans" cxnId="{DC11CCE3-54F2-49DA-96D7-751F1049FB48}">
      <dgm:prSet/>
      <dgm:spPr/>
      <dgm:t>
        <a:bodyPr/>
        <a:lstStyle/>
        <a:p>
          <a:endParaRPr lang="es-ES"/>
        </a:p>
      </dgm:t>
    </dgm:pt>
    <dgm:pt modelId="{512074EA-45EE-49B0-9A38-3CBC6D877C68}" type="sibTrans" cxnId="{DC11CCE3-54F2-49DA-96D7-751F1049FB48}">
      <dgm:prSet/>
      <dgm:spPr/>
      <dgm:t>
        <a:bodyPr/>
        <a:lstStyle/>
        <a:p>
          <a:endParaRPr lang="es-ES"/>
        </a:p>
      </dgm:t>
    </dgm:pt>
    <dgm:pt modelId="{A5782730-8EF2-4A35-8AB2-851D537A73AF}">
      <dgm:prSet/>
      <dgm:spPr/>
      <dgm:t>
        <a:bodyPr/>
        <a:lstStyle/>
        <a:p>
          <a:pPr eaLnBrk="1" latinLnBrk="0"/>
          <a:r>
            <a:rPr lang="es-ES" dirty="0"/>
            <a:t>Su modelo de negocio está adaptado y vivo. P.ej El Catálogo de productos y servicios</a:t>
          </a:r>
        </a:p>
      </dgm:t>
    </dgm:pt>
    <dgm:pt modelId="{DF7AFCB7-DC5D-446E-8358-9E7326BE0272}" type="parTrans" cxnId="{87B4AC5E-9873-43EF-831F-B771E9DC1FCB}">
      <dgm:prSet/>
      <dgm:spPr/>
      <dgm:t>
        <a:bodyPr/>
        <a:lstStyle/>
        <a:p>
          <a:endParaRPr lang="es-ES"/>
        </a:p>
      </dgm:t>
    </dgm:pt>
    <dgm:pt modelId="{972A04A6-97AA-498B-B83B-74D226FAB4C7}" type="sibTrans" cxnId="{87B4AC5E-9873-43EF-831F-B771E9DC1FCB}">
      <dgm:prSet/>
      <dgm:spPr/>
      <dgm:t>
        <a:bodyPr/>
        <a:lstStyle/>
        <a:p>
          <a:endParaRPr lang="es-ES"/>
        </a:p>
      </dgm:t>
    </dgm:pt>
    <dgm:pt modelId="{B2F791AF-4B31-4BAA-A838-F5073FA9F46B}">
      <dgm:prSet/>
      <dgm:spPr/>
      <dgm:t>
        <a:bodyPr/>
        <a:lstStyle/>
        <a:p>
          <a:pPr eaLnBrk="1" latinLnBrk="0"/>
          <a:r>
            <a:rPr lang="es-ES" dirty="0"/>
            <a:t>CX, UX, PX: manteniendo e incluso mejorando la experiencia positiva de las personas Cliente / Ciudadano.</a:t>
          </a:r>
        </a:p>
      </dgm:t>
    </dgm:pt>
    <dgm:pt modelId="{8D221F78-7D69-4701-AEFA-9E9F1E1D2E6C}" type="parTrans" cxnId="{861413B4-C660-45DF-AF29-016E7876AF0A}">
      <dgm:prSet/>
      <dgm:spPr/>
      <dgm:t>
        <a:bodyPr/>
        <a:lstStyle/>
        <a:p>
          <a:endParaRPr lang="es-ES"/>
        </a:p>
      </dgm:t>
    </dgm:pt>
    <dgm:pt modelId="{2B38DDAD-ECAF-4A0C-946B-09C54D932B91}" type="sibTrans" cxnId="{861413B4-C660-45DF-AF29-016E7876AF0A}">
      <dgm:prSet/>
      <dgm:spPr/>
      <dgm:t>
        <a:bodyPr/>
        <a:lstStyle/>
        <a:p>
          <a:endParaRPr lang="es-ES"/>
        </a:p>
      </dgm:t>
    </dgm:pt>
    <dgm:pt modelId="{122163F7-C150-4ADF-B998-59DA1D268261}">
      <dgm:prSet phldrT="[Texto]"/>
      <dgm:spPr/>
      <dgm:t>
        <a:bodyPr/>
        <a:lstStyle/>
        <a:p>
          <a:r>
            <a:rPr lang="es-ES" noProof="0" dirty="0"/>
            <a:t>Cambiar persona x máquina.</a:t>
          </a:r>
        </a:p>
      </dgm:t>
    </dgm:pt>
    <dgm:pt modelId="{00086B79-D00D-47B0-B30C-4BA34B675FBD}" type="parTrans" cxnId="{EB1925FE-6509-44EE-9C45-90DCE54453FF}">
      <dgm:prSet/>
      <dgm:spPr/>
      <dgm:t>
        <a:bodyPr/>
        <a:lstStyle/>
        <a:p>
          <a:endParaRPr lang="es-ES"/>
        </a:p>
      </dgm:t>
    </dgm:pt>
    <dgm:pt modelId="{71537F1D-C2BF-4836-BB41-25419CF81729}" type="sibTrans" cxnId="{EB1925FE-6509-44EE-9C45-90DCE54453FF}">
      <dgm:prSet/>
      <dgm:spPr/>
      <dgm:t>
        <a:bodyPr/>
        <a:lstStyle/>
        <a:p>
          <a:endParaRPr lang="es-ES"/>
        </a:p>
      </dgm:t>
    </dgm:pt>
    <dgm:pt modelId="{E1EF330F-3F83-4A81-9A6D-FD81D94A4EFC}">
      <dgm:prSet/>
      <dgm:spPr/>
      <dgm:t>
        <a:bodyPr/>
        <a:lstStyle/>
        <a:p>
          <a:pPr eaLnBrk="1" latinLnBrk="0"/>
          <a:r>
            <a:rPr lang="es-ES" dirty="0"/>
            <a:t>Con sus requerimientos.</a:t>
          </a:r>
        </a:p>
      </dgm:t>
    </dgm:pt>
    <dgm:pt modelId="{F9054158-35B1-4122-9AEA-C432A50040AA}" type="parTrans" cxnId="{2F7CF5CF-2710-4B41-87DF-6B6F7D52C647}">
      <dgm:prSet/>
      <dgm:spPr/>
    </dgm:pt>
    <dgm:pt modelId="{3B8FDF84-0AD9-425B-B72B-79E790520268}" type="sibTrans" cxnId="{2F7CF5CF-2710-4B41-87DF-6B6F7D52C647}">
      <dgm:prSet/>
      <dgm:spPr/>
    </dgm:pt>
    <dgm:pt modelId="{E1DBECEE-2C74-4086-BA5C-EDF13DF6E52C}" type="pres">
      <dgm:prSet presAssocID="{BFB37610-BF95-4816-8320-C290C31C46A6}" presName="Name0" presStyleCnt="0">
        <dgm:presLayoutVars>
          <dgm:dir/>
          <dgm:animLvl val="lvl"/>
          <dgm:resizeHandles val="exact"/>
        </dgm:presLayoutVars>
      </dgm:prSet>
      <dgm:spPr/>
    </dgm:pt>
    <dgm:pt modelId="{A4D2E0B9-9C3E-44FE-8B14-2E9C85508CAB}" type="pres">
      <dgm:prSet presAssocID="{E1144D18-6603-4465-80C8-AFF705DAD44C}" presName="composite" presStyleCnt="0"/>
      <dgm:spPr/>
    </dgm:pt>
    <dgm:pt modelId="{B04896F0-2C3F-4D3D-A272-AE2BE6B53B6B}" type="pres">
      <dgm:prSet presAssocID="{E1144D18-6603-4465-80C8-AFF705DAD44C}" presName="parTx" presStyleLbl="alignNode1" presStyleIdx="0" presStyleCnt="2">
        <dgm:presLayoutVars>
          <dgm:chMax val="0"/>
          <dgm:chPref val="0"/>
          <dgm:bulletEnabled val="1"/>
        </dgm:presLayoutVars>
      </dgm:prSet>
      <dgm:spPr/>
    </dgm:pt>
    <dgm:pt modelId="{262A340E-A6F8-4B73-8040-9C04D5782754}" type="pres">
      <dgm:prSet presAssocID="{E1144D18-6603-4465-80C8-AFF705DAD44C}" presName="desTx" presStyleLbl="alignAccFollowNode1" presStyleIdx="0" presStyleCnt="2">
        <dgm:presLayoutVars>
          <dgm:bulletEnabled val="1"/>
        </dgm:presLayoutVars>
      </dgm:prSet>
      <dgm:spPr/>
    </dgm:pt>
    <dgm:pt modelId="{B1670A76-6190-47FB-ABB4-83A2F576019B}" type="pres">
      <dgm:prSet presAssocID="{8462FCA8-2196-4380-8318-7C58AB8F8386}" presName="space" presStyleCnt="0"/>
      <dgm:spPr/>
    </dgm:pt>
    <dgm:pt modelId="{A15C59FC-9C76-4DB1-B02A-1C1397BA7B7C}" type="pres">
      <dgm:prSet presAssocID="{A053C00B-8C0F-4DA2-833E-A7757D7F26D3}" presName="composite" presStyleCnt="0"/>
      <dgm:spPr/>
    </dgm:pt>
    <dgm:pt modelId="{6BD9B9C5-78A7-4E2E-A59D-8F8914474A88}" type="pres">
      <dgm:prSet presAssocID="{A053C00B-8C0F-4DA2-833E-A7757D7F26D3}" presName="parTx" presStyleLbl="alignNode1" presStyleIdx="1" presStyleCnt="2">
        <dgm:presLayoutVars>
          <dgm:chMax val="0"/>
          <dgm:chPref val="0"/>
          <dgm:bulletEnabled val="1"/>
        </dgm:presLayoutVars>
      </dgm:prSet>
      <dgm:spPr/>
    </dgm:pt>
    <dgm:pt modelId="{49CF2C72-CDEB-4ECC-B4F8-0A770432428A}" type="pres">
      <dgm:prSet presAssocID="{A053C00B-8C0F-4DA2-833E-A7757D7F26D3}" presName="desTx" presStyleLbl="alignAccFollowNode1" presStyleIdx="1" presStyleCnt="2">
        <dgm:presLayoutVars>
          <dgm:bulletEnabled val="1"/>
        </dgm:presLayoutVars>
      </dgm:prSet>
      <dgm:spPr/>
    </dgm:pt>
  </dgm:ptLst>
  <dgm:cxnLst>
    <dgm:cxn modelId="{732A7502-7945-4F12-A928-EEE544310BA6}" srcId="{A053C00B-8C0F-4DA2-833E-A7757D7F26D3}" destId="{E5510B5A-1031-48C7-B502-2D014D92675A}" srcOrd="6" destOrd="0" parTransId="{86745637-CAA9-435B-9E1F-3570A1E4C74B}" sibTransId="{CD1C9464-28E3-4981-943B-7FDD49D2E649}"/>
    <dgm:cxn modelId="{5BA97307-1E1E-4509-80F3-831F3A713635}" type="presOf" srcId="{A55C9938-4541-4DCD-B3D4-222380B6A6B4}" destId="{49CF2C72-CDEB-4ECC-B4F8-0A770432428A}" srcOrd="0" destOrd="5" presId="urn:microsoft.com/office/officeart/2005/8/layout/hList1"/>
    <dgm:cxn modelId="{7A8F8F09-0193-41DA-92F2-242B42F0E362}" type="presOf" srcId="{96FF3185-A7FC-470A-BFB3-D57B733A0396}" destId="{262A340E-A6F8-4B73-8040-9C04D5782754}" srcOrd="0" destOrd="1" presId="urn:microsoft.com/office/officeart/2005/8/layout/hList1"/>
    <dgm:cxn modelId="{4BFDC40F-CC3C-46A3-BE01-642965C3B5AA}" type="presOf" srcId="{64BC588D-5A46-42F8-B748-2820E1799373}" destId="{262A340E-A6F8-4B73-8040-9C04D5782754}" srcOrd="0" destOrd="0" presId="urn:microsoft.com/office/officeart/2005/8/layout/hList1"/>
    <dgm:cxn modelId="{C2691720-86B1-439A-80F2-C7867CF5FA06}" type="presOf" srcId="{3BC31471-0804-4476-A92C-B3E87FDDB969}" destId="{49CF2C72-CDEB-4ECC-B4F8-0A770432428A}" srcOrd="0" destOrd="3" presId="urn:microsoft.com/office/officeart/2005/8/layout/hList1"/>
    <dgm:cxn modelId="{D5DE6925-BD97-41ED-9D50-0E98F78B5847}" srcId="{BFB37610-BF95-4816-8320-C290C31C46A6}" destId="{A053C00B-8C0F-4DA2-833E-A7757D7F26D3}" srcOrd="1" destOrd="0" parTransId="{172CCDBE-1E26-4C99-8099-DF715B01D328}" sibTransId="{F592FEE4-1EC1-46EB-B626-2FBE9CA3F672}"/>
    <dgm:cxn modelId="{1BC7DA26-1F85-430F-B244-8E3952C6DDB0}" type="presOf" srcId="{A053C00B-8C0F-4DA2-833E-A7757D7F26D3}" destId="{6BD9B9C5-78A7-4E2E-A59D-8F8914474A88}" srcOrd="0" destOrd="0" presId="urn:microsoft.com/office/officeart/2005/8/layout/hList1"/>
    <dgm:cxn modelId="{D0A6E92C-4D50-4BC3-949D-8C152DD4A806}" type="presOf" srcId="{3793F52C-C2B9-4A0F-B231-DD8D6B4ADC9E}" destId="{49CF2C72-CDEB-4ECC-B4F8-0A770432428A}" srcOrd="0" destOrd="2" presId="urn:microsoft.com/office/officeart/2005/8/layout/hList1"/>
    <dgm:cxn modelId="{095C6E37-955D-4E88-9C90-B4AF040E4088}" type="presOf" srcId="{C1FDBE1C-3E90-41C6-8D9C-255774479300}" destId="{49CF2C72-CDEB-4ECC-B4F8-0A770432428A}" srcOrd="0" destOrd="1" presId="urn:microsoft.com/office/officeart/2005/8/layout/hList1"/>
    <dgm:cxn modelId="{21E6A138-DB70-484A-9B86-9F8A0A51D0FC}" type="presOf" srcId="{BFB37610-BF95-4816-8320-C290C31C46A6}" destId="{E1DBECEE-2C74-4086-BA5C-EDF13DF6E52C}" srcOrd="0" destOrd="0" presId="urn:microsoft.com/office/officeart/2005/8/layout/hList1"/>
    <dgm:cxn modelId="{612C4A3B-64FE-420C-AB82-F7891AF7B6F8}" srcId="{E1144D18-6603-4465-80C8-AFF705DAD44C}" destId="{96FF3185-A7FC-470A-BFB3-D57B733A0396}" srcOrd="1" destOrd="0" parTransId="{33C97650-00B9-4CD1-8456-D5B4BF3A9FE1}" sibTransId="{C553FE39-F829-49D9-AB00-7C5A79113B4B}"/>
    <dgm:cxn modelId="{A8C3653C-88B8-47BE-8AE7-873C72F75A2B}" srcId="{A053C00B-8C0F-4DA2-833E-A7757D7F26D3}" destId="{3793F52C-C2B9-4A0F-B231-DD8D6B4ADC9E}" srcOrd="2" destOrd="0" parTransId="{FBEFC6B1-2FFD-42E1-8CA8-214505DB611E}" sibTransId="{BE9675FC-0B20-4283-BB38-F70B09A6083F}"/>
    <dgm:cxn modelId="{87B4AC5E-9873-43EF-831F-B771E9DC1FCB}" srcId="{E1144D18-6603-4465-80C8-AFF705DAD44C}" destId="{A5782730-8EF2-4A35-8AB2-851D537A73AF}" srcOrd="6" destOrd="0" parTransId="{DF7AFCB7-DC5D-446E-8358-9E7326BE0272}" sibTransId="{972A04A6-97AA-498B-B83B-74D226FAB4C7}"/>
    <dgm:cxn modelId="{BF805C61-3AB9-4360-A16A-717A144F4DEE}" type="presOf" srcId="{DE6141CA-97DF-4459-AB04-26FAE98B9333}" destId="{49CF2C72-CDEB-4ECC-B4F8-0A770432428A}" srcOrd="0" destOrd="4" presId="urn:microsoft.com/office/officeart/2005/8/layout/hList1"/>
    <dgm:cxn modelId="{9102F963-07B5-420D-8676-6C45722E319F}" srcId="{E1144D18-6603-4465-80C8-AFF705DAD44C}" destId="{234C0E29-03CD-45D2-8B06-CDE8BB2237D9}" srcOrd="8" destOrd="0" parTransId="{088C2E6F-0A39-4964-A938-B142FAB23877}" sibTransId="{D0801812-FB92-494A-A079-1EACD570B607}"/>
    <dgm:cxn modelId="{CDD9B46F-6164-4317-A570-D1E7E8575D12}" type="presOf" srcId="{BF26EE14-0E4C-4588-8C06-9D0B7288377D}" destId="{262A340E-A6F8-4B73-8040-9C04D5782754}" srcOrd="0" destOrd="5" presId="urn:microsoft.com/office/officeart/2005/8/layout/hList1"/>
    <dgm:cxn modelId="{93E62970-00C9-411C-8941-CB0CDE46AAE4}" type="presOf" srcId="{A5782730-8EF2-4A35-8AB2-851D537A73AF}" destId="{262A340E-A6F8-4B73-8040-9C04D5782754}" srcOrd="0" destOrd="6" presId="urn:microsoft.com/office/officeart/2005/8/layout/hList1"/>
    <dgm:cxn modelId="{28E85570-0FF4-42A5-A2A2-BE24BA4D3705}" type="presOf" srcId="{B2F791AF-4B31-4BAA-A838-F5073FA9F46B}" destId="{262A340E-A6F8-4B73-8040-9C04D5782754}" srcOrd="0" destOrd="7" presId="urn:microsoft.com/office/officeart/2005/8/layout/hList1"/>
    <dgm:cxn modelId="{ADA96351-8164-4BF3-BC56-EB14E57E93FC}" srcId="{BFB37610-BF95-4816-8320-C290C31C46A6}" destId="{E1144D18-6603-4465-80C8-AFF705DAD44C}" srcOrd="0" destOrd="0" parTransId="{A1A568B9-4CEE-4B97-A431-F015885030FF}" sibTransId="{8462FCA8-2196-4380-8318-7C58AB8F8386}"/>
    <dgm:cxn modelId="{DC0D2B7A-DD50-415D-8288-194240528FA5}" type="presOf" srcId="{E1144D18-6603-4465-80C8-AFF705DAD44C}" destId="{B04896F0-2C3F-4D3D-A272-AE2BE6B53B6B}" srcOrd="0" destOrd="0" presId="urn:microsoft.com/office/officeart/2005/8/layout/hList1"/>
    <dgm:cxn modelId="{787BAD5A-39D7-48A1-BA88-7FB8E56AA581}" srcId="{E1144D18-6603-4465-80C8-AFF705DAD44C}" destId="{FDC028EC-D317-4DFA-B598-91B8B9301F90}" srcOrd="4" destOrd="0" parTransId="{C5E0DB83-B60B-4279-A253-37D9F75B0220}" sibTransId="{9796750D-D13C-4987-9499-2003B9D2A8C4}"/>
    <dgm:cxn modelId="{2701187D-7244-4243-808B-4001239E838C}" type="presOf" srcId="{E5510B5A-1031-48C7-B502-2D014D92675A}" destId="{49CF2C72-CDEB-4ECC-B4F8-0A770432428A}" srcOrd="0" destOrd="6" presId="urn:microsoft.com/office/officeart/2005/8/layout/hList1"/>
    <dgm:cxn modelId="{80F7009F-EE43-4AD4-AFD8-C0535968BC8A}" type="presOf" srcId="{0CC962D9-8C05-4027-AF89-FCF356CB6571}" destId="{262A340E-A6F8-4B73-8040-9C04D5782754}" srcOrd="0" destOrd="2" presId="urn:microsoft.com/office/officeart/2005/8/layout/hList1"/>
    <dgm:cxn modelId="{D9C49AA6-28EA-4063-AF42-9DABDFF40D4A}" srcId="{A053C00B-8C0F-4DA2-833E-A7757D7F26D3}" destId="{A55C9938-4541-4DCD-B3D4-222380B6A6B4}" srcOrd="5" destOrd="0" parTransId="{502D2236-9F4B-4933-A50D-A14073543BB0}" sibTransId="{930A0432-866D-419E-8928-4512B91D1DDE}"/>
    <dgm:cxn modelId="{27ED63AD-9E36-49B7-9845-929893B0F153}" type="presOf" srcId="{122163F7-C150-4ADF-B998-59DA1D268261}" destId="{49CF2C72-CDEB-4ECC-B4F8-0A770432428A}" srcOrd="0" destOrd="0" presId="urn:microsoft.com/office/officeart/2005/8/layout/hList1"/>
    <dgm:cxn modelId="{861413B4-C660-45DF-AF29-016E7876AF0A}" srcId="{E1144D18-6603-4465-80C8-AFF705DAD44C}" destId="{B2F791AF-4B31-4BAA-A838-F5073FA9F46B}" srcOrd="7" destOrd="0" parTransId="{8D221F78-7D69-4701-AEFA-9E9F1E1D2E6C}" sibTransId="{2B38DDAD-ECAF-4A0C-946B-09C54D932B91}"/>
    <dgm:cxn modelId="{5DE372BA-029D-4192-852E-33C4F855078B}" type="presOf" srcId="{E1EF330F-3F83-4A81-9A6D-FD81D94A4EFC}" destId="{262A340E-A6F8-4B73-8040-9C04D5782754}" srcOrd="0" destOrd="3" presId="urn:microsoft.com/office/officeart/2005/8/layout/hList1"/>
    <dgm:cxn modelId="{8B4ABBCC-DECA-4744-B3D6-862E1C614842}" type="presOf" srcId="{234C0E29-03CD-45D2-8B06-CDE8BB2237D9}" destId="{262A340E-A6F8-4B73-8040-9C04D5782754}" srcOrd="0" destOrd="8" presId="urn:microsoft.com/office/officeart/2005/8/layout/hList1"/>
    <dgm:cxn modelId="{2F7CF5CF-2710-4B41-87DF-6B6F7D52C647}" srcId="{E1144D18-6603-4465-80C8-AFF705DAD44C}" destId="{E1EF330F-3F83-4A81-9A6D-FD81D94A4EFC}" srcOrd="3" destOrd="0" parTransId="{F9054158-35B1-4122-9AEA-C432A50040AA}" sibTransId="{3B8FDF84-0AD9-425B-B72B-79E790520268}"/>
    <dgm:cxn modelId="{DC11CCE3-54F2-49DA-96D7-751F1049FB48}" srcId="{E1144D18-6603-4465-80C8-AFF705DAD44C}" destId="{BF26EE14-0E4C-4588-8C06-9D0B7288377D}" srcOrd="5" destOrd="0" parTransId="{CCBA993F-EE81-4E33-B204-149377C32625}" sibTransId="{512074EA-45EE-49B0-9A38-3CBC6D877C68}"/>
    <dgm:cxn modelId="{4CA23BEF-7791-4358-8EB9-6A8803461866}" type="presOf" srcId="{FDC028EC-D317-4DFA-B598-91B8B9301F90}" destId="{262A340E-A6F8-4B73-8040-9C04D5782754}" srcOrd="0" destOrd="4" presId="urn:microsoft.com/office/officeart/2005/8/layout/hList1"/>
    <dgm:cxn modelId="{59C911F0-1FF9-4F3B-82E2-5E135A8BD71D}" srcId="{A053C00B-8C0F-4DA2-833E-A7757D7F26D3}" destId="{C1FDBE1C-3E90-41C6-8D9C-255774479300}" srcOrd="1" destOrd="0" parTransId="{496111C7-719C-4697-9169-BED590E3A714}" sibTransId="{1A31ABCB-5DD9-43F6-A59F-1B65BAA56024}"/>
    <dgm:cxn modelId="{2EAEDDF5-1377-4CCA-9647-5AA3FF7EEBEF}" srcId="{E1144D18-6603-4465-80C8-AFF705DAD44C}" destId="{0CC962D9-8C05-4027-AF89-FCF356CB6571}" srcOrd="2" destOrd="0" parTransId="{E6175C4B-2A87-4921-8C6C-8BA4AF63F0E2}" sibTransId="{A45670FB-7728-4406-92F3-D070416DB1A2}"/>
    <dgm:cxn modelId="{000FDFF5-3081-4592-B463-1B4CC8008AC8}" srcId="{A053C00B-8C0F-4DA2-833E-A7757D7F26D3}" destId="{3BC31471-0804-4476-A92C-B3E87FDDB969}" srcOrd="3" destOrd="0" parTransId="{4DA847EB-8AE8-4A86-AFAF-8D9A7417F46F}" sibTransId="{E03C6788-AE1A-41D3-943B-1F0C27CF93A8}"/>
    <dgm:cxn modelId="{3595E2FB-C210-40B4-80A5-989E8446D868}" srcId="{E1144D18-6603-4465-80C8-AFF705DAD44C}" destId="{64BC588D-5A46-42F8-B748-2820E1799373}" srcOrd="0" destOrd="0" parTransId="{B1EE8647-E1A7-4BF9-8424-223F1B81213A}" sibTransId="{E9807C05-8F5F-4D73-AAA3-A1B027EB8250}"/>
    <dgm:cxn modelId="{470F9DFD-9B60-4E5E-9340-A608EC8C4803}" srcId="{A053C00B-8C0F-4DA2-833E-A7757D7F26D3}" destId="{DE6141CA-97DF-4459-AB04-26FAE98B9333}" srcOrd="4" destOrd="0" parTransId="{8E16D950-43B9-46B0-9A41-DB8263EC25D5}" sibTransId="{5347B068-FAD6-4270-93F4-21FE034EC03A}"/>
    <dgm:cxn modelId="{EB1925FE-6509-44EE-9C45-90DCE54453FF}" srcId="{A053C00B-8C0F-4DA2-833E-A7757D7F26D3}" destId="{122163F7-C150-4ADF-B998-59DA1D268261}" srcOrd="0" destOrd="0" parTransId="{00086B79-D00D-47B0-B30C-4BA34B675FBD}" sibTransId="{71537F1D-C2BF-4836-BB41-25419CF81729}"/>
    <dgm:cxn modelId="{442979FE-EA78-44C7-971E-1DC0C265CFC1}" type="presParOf" srcId="{E1DBECEE-2C74-4086-BA5C-EDF13DF6E52C}" destId="{A4D2E0B9-9C3E-44FE-8B14-2E9C85508CAB}" srcOrd="0" destOrd="0" presId="urn:microsoft.com/office/officeart/2005/8/layout/hList1"/>
    <dgm:cxn modelId="{F5DD73F7-152F-40CB-BB72-BCB6FD4722D3}" type="presParOf" srcId="{A4D2E0B9-9C3E-44FE-8B14-2E9C85508CAB}" destId="{B04896F0-2C3F-4D3D-A272-AE2BE6B53B6B}" srcOrd="0" destOrd="0" presId="urn:microsoft.com/office/officeart/2005/8/layout/hList1"/>
    <dgm:cxn modelId="{74132C30-63EB-46D5-84B2-2C8E69FF58B4}" type="presParOf" srcId="{A4D2E0B9-9C3E-44FE-8B14-2E9C85508CAB}" destId="{262A340E-A6F8-4B73-8040-9C04D5782754}" srcOrd="1" destOrd="0" presId="urn:microsoft.com/office/officeart/2005/8/layout/hList1"/>
    <dgm:cxn modelId="{B00469DD-2E1A-427C-BCAF-C628FDB22224}" type="presParOf" srcId="{E1DBECEE-2C74-4086-BA5C-EDF13DF6E52C}" destId="{B1670A76-6190-47FB-ABB4-83A2F576019B}" srcOrd="1" destOrd="0" presId="urn:microsoft.com/office/officeart/2005/8/layout/hList1"/>
    <dgm:cxn modelId="{BCF49F4D-84DB-4362-A635-DB15137A9FF8}" type="presParOf" srcId="{E1DBECEE-2C74-4086-BA5C-EDF13DF6E52C}" destId="{A15C59FC-9C76-4DB1-B02A-1C1397BA7B7C}" srcOrd="2" destOrd="0" presId="urn:microsoft.com/office/officeart/2005/8/layout/hList1"/>
    <dgm:cxn modelId="{7053058A-2DC7-4BBB-B228-135122A54911}" type="presParOf" srcId="{A15C59FC-9C76-4DB1-B02A-1C1397BA7B7C}" destId="{6BD9B9C5-78A7-4E2E-A59D-8F8914474A88}" srcOrd="0" destOrd="0" presId="urn:microsoft.com/office/officeart/2005/8/layout/hList1"/>
    <dgm:cxn modelId="{38752E8F-D36B-4AAC-A7A2-38CCAF00926D}" type="presParOf" srcId="{A15C59FC-9C76-4DB1-B02A-1C1397BA7B7C}" destId="{49CF2C72-CDEB-4ECC-B4F8-0A770432428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6355A454-7D28-43DF-A22B-0F23E7C1B29F}"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s-ES"/>
        </a:p>
      </dgm:t>
    </dgm:pt>
    <dgm:pt modelId="{BE10337C-E895-4F9C-A0F4-ED052899433B}">
      <dgm:prSet phldrT="[Texto]"/>
      <dgm:spPr/>
      <dgm:t>
        <a:bodyPr/>
        <a:lstStyle/>
        <a:p>
          <a:r>
            <a:rPr lang="es-ES" dirty="0"/>
            <a:t>Las personas en el centro. </a:t>
          </a:r>
        </a:p>
      </dgm:t>
    </dgm:pt>
    <dgm:pt modelId="{BE7860A4-E5AB-4C1C-8AB5-E9AD62EE1B92}" type="parTrans" cxnId="{ED69444D-3E36-4555-AD18-10329AEEE2CF}">
      <dgm:prSet/>
      <dgm:spPr/>
      <dgm:t>
        <a:bodyPr/>
        <a:lstStyle/>
        <a:p>
          <a:endParaRPr lang="es-ES"/>
        </a:p>
      </dgm:t>
    </dgm:pt>
    <dgm:pt modelId="{4E14C03B-4B48-4EC0-9005-C1F9E937FD9E}" type="sibTrans" cxnId="{ED69444D-3E36-4555-AD18-10329AEEE2CF}">
      <dgm:prSet/>
      <dgm:spPr/>
      <dgm:t>
        <a:bodyPr/>
        <a:lstStyle/>
        <a:p>
          <a:endParaRPr lang="es-ES"/>
        </a:p>
      </dgm:t>
    </dgm:pt>
    <dgm:pt modelId="{CFB34F76-1517-4F72-B35D-A8A2F36187A0}">
      <dgm:prSet/>
      <dgm:spPr/>
      <dgm:t>
        <a:bodyPr/>
        <a:lstStyle/>
        <a:p>
          <a:r>
            <a:rPr lang="es-ES" dirty="0"/>
            <a:t>La tecnología es fundamental en la transformación</a:t>
          </a:r>
        </a:p>
      </dgm:t>
    </dgm:pt>
    <dgm:pt modelId="{2BC5A510-FF48-4BD2-B575-D6FD38B98522}" type="parTrans" cxnId="{C6427C8D-71C8-45AC-9313-03C8607CFA3F}">
      <dgm:prSet/>
      <dgm:spPr/>
      <dgm:t>
        <a:bodyPr/>
        <a:lstStyle/>
        <a:p>
          <a:endParaRPr lang="es-ES"/>
        </a:p>
      </dgm:t>
    </dgm:pt>
    <dgm:pt modelId="{DBFFC31F-4153-45AC-9358-8C24D9BC077D}" type="sibTrans" cxnId="{C6427C8D-71C8-45AC-9313-03C8607CFA3F}">
      <dgm:prSet/>
      <dgm:spPr/>
      <dgm:t>
        <a:bodyPr/>
        <a:lstStyle/>
        <a:p>
          <a:endParaRPr lang="es-ES"/>
        </a:p>
      </dgm:t>
    </dgm:pt>
    <dgm:pt modelId="{47C7B402-0E37-4AAA-AEA3-09FD65715CD5}">
      <dgm:prSet/>
      <dgm:spPr/>
      <dgm:t>
        <a:bodyPr/>
        <a:lstStyle/>
        <a:p>
          <a:r>
            <a:rPr lang="es-ES" dirty="0"/>
            <a:t>El cambio empieza por las personas:</a:t>
          </a:r>
        </a:p>
      </dgm:t>
    </dgm:pt>
    <dgm:pt modelId="{928EAFBA-2036-4D3B-90D4-4DF1892B28A1}" type="parTrans" cxnId="{7B613264-D75C-4614-8CBC-45B57DE95A96}">
      <dgm:prSet/>
      <dgm:spPr/>
      <dgm:t>
        <a:bodyPr/>
        <a:lstStyle/>
        <a:p>
          <a:endParaRPr lang="es-ES"/>
        </a:p>
      </dgm:t>
    </dgm:pt>
    <dgm:pt modelId="{F87FCBFB-FB54-4C02-95D8-E997D9FE7203}" type="sibTrans" cxnId="{7B613264-D75C-4614-8CBC-45B57DE95A96}">
      <dgm:prSet/>
      <dgm:spPr/>
      <dgm:t>
        <a:bodyPr/>
        <a:lstStyle/>
        <a:p>
          <a:endParaRPr lang="es-ES"/>
        </a:p>
      </dgm:t>
    </dgm:pt>
    <dgm:pt modelId="{54199D11-A525-41E5-B638-7B8422FE647A}">
      <dgm:prSet/>
      <dgm:spPr/>
      <dgm:t>
        <a:bodyPr/>
        <a:lstStyle/>
        <a:p>
          <a:r>
            <a:rPr lang="es-ES" dirty="0"/>
            <a:t>Hay procesos que serán rediseñados a través del uso de herramientas tecnológicas para que aumente la satisfacción y eficiencia en el trabajo.</a:t>
          </a:r>
        </a:p>
      </dgm:t>
    </dgm:pt>
    <dgm:pt modelId="{A1F4020E-E558-469F-96CB-F285D19EE78D}" type="parTrans" cxnId="{B7E91F59-25C7-414E-8537-E90757741F18}">
      <dgm:prSet/>
      <dgm:spPr/>
      <dgm:t>
        <a:bodyPr/>
        <a:lstStyle/>
        <a:p>
          <a:endParaRPr lang="es-ES"/>
        </a:p>
      </dgm:t>
    </dgm:pt>
    <dgm:pt modelId="{8D8F7BA0-9795-4B1B-8C33-8729DCF44061}" type="sibTrans" cxnId="{B7E91F59-25C7-414E-8537-E90757741F18}">
      <dgm:prSet/>
      <dgm:spPr/>
      <dgm:t>
        <a:bodyPr/>
        <a:lstStyle/>
        <a:p>
          <a:endParaRPr lang="es-ES"/>
        </a:p>
      </dgm:t>
    </dgm:pt>
    <dgm:pt modelId="{54A96D83-BD25-4A16-A8D3-61F85E7E8251}">
      <dgm:prSet/>
      <dgm:spPr/>
      <dgm:t>
        <a:bodyPr/>
        <a:lstStyle/>
        <a:p>
          <a:r>
            <a:rPr lang="es-ES" dirty="0"/>
            <a:t>Vencer las reticencias, el primer paso en un proceso de transformación digital debe ser mental.</a:t>
          </a:r>
        </a:p>
      </dgm:t>
    </dgm:pt>
    <dgm:pt modelId="{60EEB1D9-C013-4F32-B4C7-F08FBEB25935}" type="parTrans" cxnId="{371BACAA-600B-4A9F-A486-507A5B7B6AA3}">
      <dgm:prSet/>
      <dgm:spPr/>
      <dgm:t>
        <a:bodyPr/>
        <a:lstStyle/>
        <a:p>
          <a:endParaRPr lang="es-ES"/>
        </a:p>
      </dgm:t>
    </dgm:pt>
    <dgm:pt modelId="{A038107A-D4AA-453F-B12B-3C85424D3E94}" type="sibTrans" cxnId="{371BACAA-600B-4A9F-A486-507A5B7B6AA3}">
      <dgm:prSet/>
      <dgm:spPr/>
      <dgm:t>
        <a:bodyPr/>
        <a:lstStyle/>
        <a:p>
          <a:endParaRPr lang="es-ES"/>
        </a:p>
      </dgm:t>
    </dgm:pt>
    <dgm:pt modelId="{720CE23D-FDF5-49D6-BBCA-76B6AB057C8E}">
      <dgm:prSet/>
      <dgm:spPr/>
      <dgm:t>
        <a:bodyPr/>
        <a:lstStyle/>
        <a:p>
          <a:r>
            <a:rPr lang="es-ES" dirty="0"/>
            <a:t>Asumir que en el proceso de transformación digital hay una curva de aprendizaje.</a:t>
          </a:r>
        </a:p>
      </dgm:t>
    </dgm:pt>
    <dgm:pt modelId="{361B503A-F531-41F7-9528-FCD3AA92E1AF}" type="parTrans" cxnId="{9CE21AE3-6488-47CF-8839-A3F4C745B446}">
      <dgm:prSet/>
      <dgm:spPr/>
      <dgm:t>
        <a:bodyPr/>
        <a:lstStyle/>
        <a:p>
          <a:endParaRPr lang="es-ES"/>
        </a:p>
      </dgm:t>
    </dgm:pt>
    <dgm:pt modelId="{C31027AE-7FA9-4CB6-AD0B-B09CDCF5522C}" type="sibTrans" cxnId="{9CE21AE3-6488-47CF-8839-A3F4C745B446}">
      <dgm:prSet/>
      <dgm:spPr/>
      <dgm:t>
        <a:bodyPr/>
        <a:lstStyle/>
        <a:p>
          <a:endParaRPr lang="es-ES"/>
        </a:p>
      </dgm:t>
    </dgm:pt>
    <dgm:pt modelId="{CDE534AA-7183-459D-98E4-0C83746A3FDC}">
      <dgm:prSet/>
      <dgm:spPr/>
      <dgm:t>
        <a:bodyPr/>
        <a:lstStyle/>
        <a:p>
          <a:r>
            <a:rPr lang="es-ES" dirty="0"/>
            <a:t>Pero la controla, maneja y usa, las personas. </a:t>
          </a:r>
        </a:p>
      </dgm:t>
    </dgm:pt>
    <dgm:pt modelId="{8776489E-14A0-41AA-858D-41BCEB20A0C1}" type="parTrans" cxnId="{886592E5-C1A2-47B3-AB72-28CDC83D3D18}">
      <dgm:prSet/>
      <dgm:spPr/>
      <dgm:t>
        <a:bodyPr/>
        <a:lstStyle/>
        <a:p>
          <a:endParaRPr lang="es-ES"/>
        </a:p>
      </dgm:t>
    </dgm:pt>
    <dgm:pt modelId="{21D6C4C7-2B9F-44EA-945D-C7401C86E080}" type="sibTrans" cxnId="{886592E5-C1A2-47B3-AB72-28CDC83D3D18}">
      <dgm:prSet/>
      <dgm:spPr/>
      <dgm:t>
        <a:bodyPr/>
        <a:lstStyle/>
        <a:p>
          <a:endParaRPr lang="es-ES"/>
        </a:p>
      </dgm:t>
    </dgm:pt>
    <dgm:pt modelId="{BD0F3467-0C64-4A97-B7CC-C2C168905A95}" type="pres">
      <dgm:prSet presAssocID="{6355A454-7D28-43DF-A22B-0F23E7C1B29F}" presName="linear" presStyleCnt="0">
        <dgm:presLayoutVars>
          <dgm:dir/>
          <dgm:animLvl val="lvl"/>
          <dgm:resizeHandles val="exact"/>
        </dgm:presLayoutVars>
      </dgm:prSet>
      <dgm:spPr/>
    </dgm:pt>
    <dgm:pt modelId="{B7A92A6B-FB59-4DDC-9554-A108219CDB1D}" type="pres">
      <dgm:prSet presAssocID="{BE10337C-E895-4F9C-A0F4-ED052899433B}" presName="parentLin" presStyleCnt="0"/>
      <dgm:spPr/>
    </dgm:pt>
    <dgm:pt modelId="{482ABBE3-DAE7-4610-BB30-594556608611}" type="pres">
      <dgm:prSet presAssocID="{BE10337C-E895-4F9C-A0F4-ED052899433B}" presName="parentLeftMargin" presStyleLbl="node1" presStyleIdx="0" presStyleCnt="2"/>
      <dgm:spPr/>
    </dgm:pt>
    <dgm:pt modelId="{4169AE22-230F-48D6-A764-3FD284D3A270}" type="pres">
      <dgm:prSet presAssocID="{BE10337C-E895-4F9C-A0F4-ED052899433B}" presName="parentText" presStyleLbl="node1" presStyleIdx="0" presStyleCnt="2">
        <dgm:presLayoutVars>
          <dgm:chMax val="0"/>
          <dgm:bulletEnabled val="1"/>
        </dgm:presLayoutVars>
      </dgm:prSet>
      <dgm:spPr/>
    </dgm:pt>
    <dgm:pt modelId="{A974C87C-F0A7-419D-8E30-7169FE924F01}" type="pres">
      <dgm:prSet presAssocID="{BE10337C-E895-4F9C-A0F4-ED052899433B}" presName="negativeSpace" presStyleCnt="0"/>
      <dgm:spPr/>
    </dgm:pt>
    <dgm:pt modelId="{8780F00D-91F8-48AC-97D3-0370894AA122}" type="pres">
      <dgm:prSet presAssocID="{BE10337C-E895-4F9C-A0F4-ED052899433B}" presName="childText" presStyleLbl="conFgAcc1" presStyleIdx="0" presStyleCnt="2">
        <dgm:presLayoutVars>
          <dgm:bulletEnabled val="1"/>
        </dgm:presLayoutVars>
      </dgm:prSet>
      <dgm:spPr/>
    </dgm:pt>
    <dgm:pt modelId="{BF230B6F-36AA-467D-9C51-E5EC478D08B3}" type="pres">
      <dgm:prSet presAssocID="{4E14C03B-4B48-4EC0-9005-C1F9E937FD9E}" presName="spaceBetweenRectangles" presStyleCnt="0"/>
      <dgm:spPr/>
    </dgm:pt>
    <dgm:pt modelId="{436688D1-606C-4933-A8D5-46EB0FE3B61D}" type="pres">
      <dgm:prSet presAssocID="{47C7B402-0E37-4AAA-AEA3-09FD65715CD5}" presName="parentLin" presStyleCnt="0"/>
      <dgm:spPr/>
    </dgm:pt>
    <dgm:pt modelId="{A9DA68E8-958A-455A-9A1A-0D9C7C4DB92F}" type="pres">
      <dgm:prSet presAssocID="{47C7B402-0E37-4AAA-AEA3-09FD65715CD5}" presName="parentLeftMargin" presStyleLbl="node1" presStyleIdx="0" presStyleCnt="2"/>
      <dgm:spPr/>
    </dgm:pt>
    <dgm:pt modelId="{1E3042F5-1764-415A-B01B-31BD53721838}" type="pres">
      <dgm:prSet presAssocID="{47C7B402-0E37-4AAA-AEA3-09FD65715CD5}" presName="parentText" presStyleLbl="node1" presStyleIdx="1" presStyleCnt="2">
        <dgm:presLayoutVars>
          <dgm:chMax val="0"/>
          <dgm:bulletEnabled val="1"/>
        </dgm:presLayoutVars>
      </dgm:prSet>
      <dgm:spPr/>
    </dgm:pt>
    <dgm:pt modelId="{CAD1771F-520D-43F8-B026-D4114A21BB50}" type="pres">
      <dgm:prSet presAssocID="{47C7B402-0E37-4AAA-AEA3-09FD65715CD5}" presName="negativeSpace" presStyleCnt="0"/>
      <dgm:spPr/>
    </dgm:pt>
    <dgm:pt modelId="{2B216E11-BEB4-4B56-941F-8C614EE6A6EE}" type="pres">
      <dgm:prSet presAssocID="{47C7B402-0E37-4AAA-AEA3-09FD65715CD5}" presName="childText" presStyleLbl="conFgAcc1" presStyleIdx="1" presStyleCnt="2">
        <dgm:presLayoutVars>
          <dgm:bulletEnabled val="1"/>
        </dgm:presLayoutVars>
      </dgm:prSet>
      <dgm:spPr/>
    </dgm:pt>
  </dgm:ptLst>
  <dgm:cxnLst>
    <dgm:cxn modelId="{525AAF0E-AA0F-47B2-9D34-1484C828A24B}" type="presOf" srcId="{54199D11-A525-41E5-B638-7B8422FE647A}" destId="{2B216E11-BEB4-4B56-941F-8C614EE6A6EE}" srcOrd="0" destOrd="0" presId="urn:microsoft.com/office/officeart/2005/8/layout/list1"/>
    <dgm:cxn modelId="{F1D28810-8D40-44A7-AC08-8F9DC8DA4DED}" type="presOf" srcId="{CDE534AA-7183-459D-98E4-0C83746A3FDC}" destId="{8780F00D-91F8-48AC-97D3-0370894AA122}" srcOrd="0" destOrd="1" presId="urn:microsoft.com/office/officeart/2005/8/layout/list1"/>
    <dgm:cxn modelId="{3684703B-E20F-42AC-AC45-9B487B9820C2}" type="presOf" srcId="{47C7B402-0E37-4AAA-AEA3-09FD65715CD5}" destId="{1E3042F5-1764-415A-B01B-31BD53721838}" srcOrd="1" destOrd="0" presId="urn:microsoft.com/office/officeart/2005/8/layout/list1"/>
    <dgm:cxn modelId="{7B613264-D75C-4614-8CBC-45B57DE95A96}" srcId="{6355A454-7D28-43DF-A22B-0F23E7C1B29F}" destId="{47C7B402-0E37-4AAA-AEA3-09FD65715CD5}" srcOrd="1" destOrd="0" parTransId="{928EAFBA-2036-4D3B-90D4-4DF1892B28A1}" sibTransId="{F87FCBFB-FB54-4C02-95D8-E997D9FE7203}"/>
    <dgm:cxn modelId="{773BD26C-916B-4433-BABD-B7B888666C87}" type="presOf" srcId="{BE10337C-E895-4F9C-A0F4-ED052899433B}" destId="{482ABBE3-DAE7-4610-BB30-594556608611}" srcOrd="0" destOrd="0" presId="urn:microsoft.com/office/officeart/2005/8/layout/list1"/>
    <dgm:cxn modelId="{ED69444D-3E36-4555-AD18-10329AEEE2CF}" srcId="{6355A454-7D28-43DF-A22B-0F23E7C1B29F}" destId="{BE10337C-E895-4F9C-A0F4-ED052899433B}" srcOrd="0" destOrd="0" parTransId="{BE7860A4-E5AB-4C1C-8AB5-E9AD62EE1B92}" sibTransId="{4E14C03B-4B48-4EC0-9005-C1F9E937FD9E}"/>
    <dgm:cxn modelId="{26BCAA4E-ABBF-4313-AF1B-A57571CCE1FB}" type="presOf" srcId="{47C7B402-0E37-4AAA-AEA3-09FD65715CD5}" destId="{A9DA68E8-958A-455A-9A1A-0D9C7C4DB92F}" srcOrd="0" destOrd="0" presId="urn:microsoft.com/office/officeart/2005/8/layout/list1"/>
    <dgm:cxn modelId="{E6D0B370-F483-47D8-BEB6-3D15395D81F9}" type="presOf" srcId="{54A96D83-BD25-4A16-A8D3-61F85E7E8251}" destId="{2B216E11-BEB4-4B56-941F-8C614EE6A6EE}" srcOrd="0" destOrd="1" presId="urn:microsoft.com/office/officeart/2005/8/layout/list1"/>
    <dgm:cxn modelId="{B7E91F59-25C7-414E-8537-E90757741F18}" srcId="{47C7B402-0E37-4AAA-AEA3-09FD65715CD5}" destId="{54199D11-A525-41E5-B638-7B8422FE647A}" srcOrd="0" destOrd="0" parTransId="{A1F4020E-E558-469F-96CB-F285D19EE78D}" sibTransId="{8D8F7BA0-9795-4B1B-8C33-8729DCF44061}"/>
    <dgm:cxn modelId="{1F7B347B-C831-42A8-86DD-9C33A507FAF4}" type="presOf" srcId="{BE10337C-E895-4F9C-A0F4-ED052899433B}" destId="{4169AE22-230F-48D6-A764-3FD284D3A270}" srcOrd="1" destOrd="0" presId="urn:microsoft.com/office/officeart/2005/8/layout/list1"/>
    <dgm:cxn modelId="{C6427C8D-71C8-45AC-9313-03C8607CFA3F}" srcId="{BE10337C-E895-4F9C-A0F4-ED052899433B}" destId="{CFB34F76-1517-4F72-B35D-A8A2F36187A0}" srcOrd="0" destOrd="0" parTransId="{2BC5A510-FF48-4BD2-B575-D6FD38B98522}" sibTransId="{DBFFC31F-4153-45AC-9358-8C24D9BC077D}"/>
    <dgm:cxn modelId="{371BACAA-600B-4A9F-A486-507A5B7B6AA3}" srcId="{47C7B402-0E37-4AAA-AEA3-09FD65715CD5}" destId="{54A96D83-BD25-4A16-A8D3-61F85E7E8251}" srcOrd="1" destOrd="0" parTransId="{60EEB1D9-C013-4F32-B4C7-F08FBEB25935}" sibTransId="{A038107A-D4AA-453F-B12B-3C85424D3E94}"/>
    <dgm:cxn modelId="{20B78ED0-13B7-4D2D-8DA4-51C1E06BA863}" type="presOf" srcId="{6355A454-7D28-43DF-A22B-0F23E7C1B29F}" destId="{BD0F3467-0C64-4A97-B7CC-C2C168905A95}" srcOrd="0" destOrd="0" presId="urn:microsoft.com/office/officeart/2005/8/layout/list1"/>
    <dgm:cxn modelId="{9CE21AE3-6488-47CF-8839-A3F4C745B446}" srcId="{47C7B402-0E37-4AAA-AEA3-09FD65715CD5}" destId="{720CE23D-FDF5-49D6-BBCA-76B6AB057C8E}" srcOrd="2" destOrd="0" parTransId="{361B503A-F531-41F7-9528-FCD3AA92E1AF}" sibTransId="{C31027AE-7FA9-4CB6-AD0B-B09CDCF5522C}"/>
    <dgm:cxn modelId="{886592E5-C1A2-47B3-AB72-28CDC83D3D18}" srcId="{BE10337C-E895-4F9C-A0F4-ED052899433B}" destId="{CDE534AA-7183-459D-98E4-0C83746A3FDC}" srcOrd="1" destOrd="0" parTransId="{8776489E-14A0-41AA-858D-41BCEB20A0C1}" sibTransId="{21D6C4C7-2B9F-44EA-945D-C7401C86E080}"/>
    <dgm:cxn modelId="{8DDE8FF1-D200-44FA-8FF8-30A9394B2EC7}" type="presOf" srcId="{CFB34F76-1517-4F72-B35D-A8A2F36187A0}" destId="{8780F00D-91F8-48AC-97D3-0370894AA122}" srcOrd="0" destOrd="0" presId="urn:microsoft.com/office/officeart/2005/8/layout/list1"/>
    <dgm:cxn modelId="{07F1AFF3-73B9-4EFA-A81D-3703FC2D83D9}" type="presOf" srcId="{720CE23D-FDF5-49D6-BBCA-76B6AB057C8E}" destId="{2B216E11-BEB4-4B56-941F-8C614EE6A6EE}" srcOrd="0" destOrd="2" presId="urn:microsoft.com/office/officeart/2005/8/layout/list1"/>
    <dgm:cxn modelId="{78DF5677-DD17-4D31-BA97-C17D9B042B6C}" type="presParOf" srcId="{BD0F3467-0C64-4A97-B7CC-C2C168905A95}" destId="{B7A92A6B-FB59-4DDC-9554-A108219CDB1D}" srcOrd="0" destOrd="0" presId="urn:microsoft.com/office/officeart/2005/8/layout/list1"/>
    <dgm:cxn modelId="{B26A5E8A-3FAE-4EBA-83B5-E0E7DB87A473}" type="presParOf" srcId="{B7A92A6B-FB59-4DDC-9554-A108219CDB1D}" destId="{482ABBE3-DAE7-4610-BB30-594556608611}" srcOrd="0" destOrd="0" presId="urn:microsoft.com/office/officeart/2005/8/layout/list1"/>
    <dgm:cxn modelId="{9D09839E-5051-4694-B57E-9CFAD5BC3C11}" type="presParOf" srcId="{B7A92A6B-FB59-4DDC-9554-A108219CDB1D}" destId="{4169AE22-230F-48D6-A764-3FD284D3A270}" srcOrd="1" destOrd="0" presId="urn:microsoft.com/office/officeart/2005/8/layout/list1"/>
    <dgm:cxn modelId="{8980EE4D-D514-4A0B-8E98-21C7C1DD3DD2}" type="presParOf" srcId="{BD0F3467-0C64-4A97-B7CC-C2C168905A95}" destId="{A974C87C-F0A7-419D-8E30-7169FE924F01}" srcOrd="1" destOrd="0" presId="urn:microsoft.com/office/officeart/2005/8/layout/list1"/>
    <dgm:cxn modelId="{1DD5957F-09E0-43D9-B8B1-D92456BB5A6B}" type="presParOf" srcId="{BD0F3467-0C64-4A97-B7CC-C2C168905A95}" destId="{8780F00D-91F8-48AC-97D3-0370894AA122}" srcOrd="2" destOrd="0" presId="urn:microsoft.com/office/officeart/2005/8/layout/list1"/>
    <dgm:cxn modelId="{85CAD7B0-07CF-4B4B-9071-C5BF3590393E}" type="presParOf" srcId="{BD0F3467-0C64-4A97-B7CC-C2C168905A95}" destId="{BF230B6F-36AA-467D-9C51-E5EC478D08B3}" srcOrd="3" destOrd="0" presId="urn:microsoft.com/office/officeart/2005/8/layout/list1"/>
    <dgm:cxn modelId="{5483BAA7-9113-41F1-8082-9929D3EE9DD9}" type="presParOf" srcId="{BD0F3467-0C64-4A97-B7CC-C2C168905A95}" destId="{436688D1-606C-4933-A8D5-46EB0FE3B61D}" srcOrd="4" destOrd="0" presId="urn:microsoft.com/office/officeart/2005/8/layout/list1"/>
    <dgm:cxn modelId="{FC9549A5-65FC-4D45-85B9-E3A894409FE7}" type="presParOf" srcId="{436688D1-606C-4933-A8D5-46EB0FE3B61D}" destId="{A9DA68E8-958A-455A-9A1A-0D9C7C4DB92F}" srcOrd="0" destOrd="0" presId="urn:microsoft.com/office/officeart/2005/8/layout/list1"/>
    <dgm:cxn modelId="{11A6E8B5-4264-495F-A1DB-0344A79A04DC}" type="presParOf" srcId="{436688D1-606C-4933-A8D5-46EB0FE3B61D}" destId="{1E3042F5-1764-415A-B01B-31BD53721838}" srcOrd="1" destOrd="0" presId="urn:microsoft.com/office/officeart/2005/8/layout/list1"/>
    <dgm:cxn modelId="{FB65DDCD-D5E5-4543-9C15-5BEF05F58FA4}" type="presParOf" srcId="{BD0F3467-0C64-4A97-B7CC-C2C168905A95}" destId="{CAD1771F-520D-43F8-B026-D4114A21BB50}" srcOrd="5" destOrd="0" presId="urn:microsoft.com/office/officeart/2005/8/layout/list1"/>
    <dgm:cxn modelId="{41CC1568-0C1D-454C-9827-7030D4D1D2E2}" type="presParOf" srcId="{BD0F3467-0C64-4A97-B7CC-C2C168905A95}" destId="{2B216E11-BEB4-4B56-941F-8C614EE6A6EE}"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0FD75137-7D09-47DE-8F80-0D42E216F36F}" type="doc">
      <dgm:prSet loTypeId="urn:microsoft.com/office/officeart/2005/8/layout/bProcess3" loCatId="process" qsTypeId="urn:microsoft.com/office/officeart/2005/8/quickstyle/simple1" qsCatId="simple" csTypeId="urn:microsoft.com/office/officeart/2005/8/colors/accent1_3" csCatId="accent1" phldr="1"/>
      <dgm:spPr/>
      <dgm:t>
        <a:bodyPr/>
        <a:lstStyle/>
        <a:p>
          <a:endParaRPr lang="es-ES"/>
        </a:p>
      </dgm:t>
    </dgm:pt>
    <dgm:pt modelId="{3616EDA3-561E-4120-B463-B13842B3C898}">
      <dgm:prSet custT="1"/>
      <dgm:spPr>
        <a:solidFill>
          <a:srgbClr val="FF0000"/>
        </a:solidFill>
      </dgm:spPr>
      <dgm:t>
        <a:bodyPr/>
        <a:lstStyle/>
        <a:p>
          <a:r>
            <a:rPr lang="es-ES" sz="1200" dirty="0">
              <a:solidFill>
                <a:srgbClr val="3333FF"/>
              </a:solidFill>
            </a:rPr>
            <a:t>Compromiso del equipo directivo</a:t>
          </a:r>
        </a:p>
      </dgm:t>
    </dgm:pt>
    <dgm:pt modelId="{373E5700-66A6-4CFB-9AA8-369C9B6B447A}" type="parTrans" cxnId="{D2DBA8EB-5FAD-447B-95BE-48F0901DBDF3}">
      <dgm:prSet/>
      <dgm:spPr/>
      <dgm:t>
        <a:bodyPr/>
        <a:lstStyle/>
        <a:p>
          <a:endParaRPr lang="es-ES" sz="2800"/>
        </a:p>
      </dgm:t>
    </dgm:pt>
    <dgm:pt modelId="{5A0C3303-EC12-4937-B129-20F0668D3652}" type="sibTrans" cxnId="{D2DBA8EB-5FAD-447B-95BE-48F0901DBDF3}">
      <dgm:prSet custT="1"/>
      <dgm:spPr/>
      <dgm:t>
        <a:bodyPr/>
        <a:lstStyle/>
        <a:p>
          <a:endParaRPr lang="es-ES" sz="800" dirty="0"/>
        </a:p>
      </dgm:t>
    </dgm:pt>
    <dgm:pt modelId="{262CD316-88F9-4005-9169-13E518C2E875}">
      <dgm:prSet custT="1"/>
      <dgm:spPr/>
      <dgm:t>
        <a:bodyPr/>
        <a:lstStyle/>
        <a:p>
          <a:r>
            <a:rPr lang="es-ES" sz="1200" dirty="0"/>
            <a:t>Definir un plan de proyecto por fases. </a:t>
          </a:r>
        </a:p>
      </dgm:t>
    </dgm:pt>
    <dgm:pt modelId="{8E152CCB-58CD-43CD-A6CB-F7FD4947177B}" type="parTrans" cxnId="{6E5D3009-86A3-40A1-B43D-D9F4D77EFD17}">
      <dgm:prSet/>
      <dgm:spPr/>
      <dgm:t>
        <a:bodyPr/>
        <a:lstStyle/>
        <a:p>
          <a:endParaRPr lang="es-ES" sz="2800"/>
        </a:p>
      </dgm:t>
    </dgm:pt>
    <dgm:pt modelId="{57B39443-F7A2-4AC3-8B5C-BF5E2435C018}" type="sibTrans" cxnId="{6E5D3009-86A3-40A1-B43D-D9F4D77EFD17}">
      <dgm:prSet custT="1"/>
      <dgm:spPr/>
      <dgm:t>
        <a:bodyPr/>
        <a:lstStyle/>
        <a:p>
          <a:endParaRPr lang="es-ES" sz="800" dirty="0"/>
        </a:p>
      </dgm:t>
    </dgm:pt>
    <dgm:pt modelId="{E7E371E6-5698-4F4D-A5DC-43553CDD0B9A}">
      <dgm:prSet custT="1"/>
      <dgm:spPr/>
      <dgm:t>
        <a:bodyPr/>
        <a:lstStyle/>
        <a:p>
          <a:r>
            <a:rPr lang="es-ES" sz="1200" dirty="0"/>
            <a:t>Comunicación</a:t>
          </a:r>
        </a:p>
      </dgm:t>
    </dgm:pt>
    <dgm:pt modelId="{D6FEEDC0-1B5A-4DA4-A9D9-92362F23F8AC}" type="parTrans" cxnId="{E2C67814-ED4A-4792-9B1F-D8E68B37F65C}">
      <dgm:prSet/>
      <dgm:spPr/>
      <dgm:t>
        <a:bodyPr/>
        <a:lstStyle/>
        <a:p>
          <a:endParaRPr lang="es-ES" sz="2800"/>
        </a:p>
      </dgm:t>
    </dgm:pt>
    <dgm:pt modelId="{375677B1-CB0A-40AB-9764-BD2216712881}" type="sibTrans" cxnId="{E2C67814-ED4A-4792-9B1F-D8E68B37F65C}">
      <dgm:prSet custT="1"/>
      <dgm:spPr/>
      <dgm:t>
        <a:bodyPr/>
        <a:lstStyle/>
        <a:p>
          <a:endParaRPr lang="es-ES" sz="800" dirty="0"/>
        </a:p>
      </dgm:t>
    </dgm:pt>
    <dgm:pt modelId="{BFE45DEB-650C-4158-956D-FE0E04A151E8}">
      <dgm:prSet custT="1"/>
      <dgm:spPr/>
      <dgm:t>
        <a:bodyPr/>
        <a:lstStyle/>
        <a:p>
          <a:r>
            <a:rPr lang="es-ES" sz="1200" dirty="0"/>
            <a:t>Formación a la personas clave, información al resto de personas.</a:t>
          </a:r>
        </a:p>
      </dgm:t>
    </dgm:pt>
    <dgm:pt modelId="{A5BBFBFD-F2D9-496B-93D8-A97CF17F0D65}" type="parTrans" cxnId="{74C75CBA-5459-457F-8D46-0AFC6C5CE0E7}">
      <dgm:prSet/>
      <dgm:spPr/>
      <dgm:t>
        <a:bodyPr/>
        <a:lstStyle/>
        <a:p>
          <a:endParaRPr lang="es-ES" sz="2800"/>
        </a:p>
      </dgm:t>
    </dgm:pt>
    <dgm:pt modelId="{9B70B122-068A-468B-9622-1CF570345D05}" type="sibTrans" cxnId="{74C75CBA-5459-457F-8D46-0AFC6C5CE0E7}">
      <dgm:prSet custT="1"/>
      <dgm:spPr/>
      <dgm:t>
        <a:bodyPr/>
        <a:lstStyle/>
        <a:p>
          <a:endParaRPr lang="es-ES" sz="800" dirty="0"/>
        </a:p>
      </dgm:t>
    </dgm:pt>
    <dgm:pt modelId="{D9F03525-A298-49B5-B346-52D06A78E51E}">
      <dgm:prSet custT="1"/>
      <dgm:spPr/>
      <dgm:t>
        <a:bodyPr/>
        <a:lstStyle/>
        <a:p>
          <a:r>
            <a:rPr lang="es-ES" sz="1200" dirty="0"/>
            <a:t>Plan definido y consensuado:</a:t>
          </a:r>
        </a:p>
      </dgm:t>
    </dgm:pt>
    <dgm:pt modelId="{D36CA0BF-D9FF-4755-B99F-E4B6A08168E4}" type="parTrans" cxnId="{6730B279-0232-4ADC-9F94-B117F6C4AD01}">
      <dgm:prSet/>
      <dgm:spPr/>
      <dgm:t>
        <a:bodyPr/>
        <a:lstStyle/>
        <a:p>
          <a:endParaRPr lang="es-ES" sz="2800"/>
        </a:p>
      </dgm:t>
    </dgm:pt>
    <dgm:pt modelId="{BA2F2C75-3089-45E9-93A6-892C3F1FDC3E}" type="sibTrans" cxnId="{6730B279-0232-4ADC-9F94-B117F6C4AD01}">
      <dgm:prSet custT="1"/>
      <dgm:spPr/>
      <dgm:t>
        <a:bodyPr/>
        <a:lstStyle/>
        <a:p>
          <a:endParaRPr lang="es-ES" sz="800" dirty="0"/>
        </a:p>
      </dgm:t>
    </dgm:pt>
    <dgm:pt modelId="{44F831D6-369E-4379-A0A8-2ADBAF769878}">
      <dgm:prSet custT="1"/>
      <dgm:spPr/>
      <dgm:t>
        <a:bodyPr/>
        <a:lstStyle/>
        <a:p>
          <a:r>
            <a:rPr lang="es-ES" sz="1200" dirty="0"/>
            <a:t>Rollout – Puesta en marcha del plan.</a:t>
          </a:r>
        </a:p>
      </dgm:t>
    </dgm:pt>
    <dgm:pt modelId="{BCCAB8E9-EB09-444A-ACA6-1F071894E5C4}" type="parTrans" cxnId="{B1DD618E-D37D-41EB-994C-7D3EFFB30418}">
      <dgm:prSet/>
      <dgm:spPr/>
      <dgm:t>
        <a:bodyPr/>
        <a:lstStyle/>
        <a:p>
          <a:endParaRPr lang="es-ES" sz="2800"/>
        </a:p>
      </dgm:t>
    </dgm:pt>
    <dgm:pt modelId="{A0A82CB8-3601-4E6B-84AB-6FEF5EBF3BBF}" type="sibTrans" cxnId="{B1DD618E-D37D-41EB-994C-7D3EFFB30418}">
      <dgm:prSet/>
      <dgm:spPr/>
      <dgm:t>
        <a:bodyPr/>
        <a:lstStyle/>
        <a:p>
          <a:endParaRPr lang="es-ES" sz="2800"/>
        </a:p>
      </dgm:t>
    </dgm:pt>
    <dgm:pt modelId="{6D15CA5D-A5AF-4320-B722-D29202AAA3E1}">
      <dgm:prSet custT="1"/>
      <dgm:spPr/>
      <dgm:t>
        <a:bodyPr/>
        <a:lstStyle/>
        <a:p>
          <a:r>
            <a:rPr lang="es-ES" sz="1050" dirty="0"/>
            <a:t>Con empleados.</a:t>
          </a:r>
        </a:p>
      </dgm:t>
    </dgm:pt>
    <dgm:pt modelId="{EC192E58-8CB3-4644-AF25-722E425ED049}" type="parTrans" cxnId="{362AF2CF-A87D-4E17-AE54-CC828CB31F88}">
      <dgm:prSet/>
      <dgm:spPr/>
      <dgm:t>
        <a:bodyPr/>
        <a:lstStyle/>
        <a:p>
          <a:endParaRPr lang="es-ES" sz="2800"/>
        </a:p>
      </dgm:t>
    </dgm:pt>
    <dgm:pt modelId="{D596CD35-216C-4E77-8BCD-E9FB872199CB}" type="sibTrans" cxnId="{362AF2CF-A87D-4E17-AE54-CC828CB31F88}">
      <dgm:prSet/>
      <dgm:spPr/>
      <dgm:t>
        <a:bodyPr/>
        <a:lstStyle/>
        <a:p>
          <a:endParaRPr lang="es-ES" sz="2800"/>
        </a:p>
      </dgm:t>
    </dgm:pt>
    <dgm:pt modelId="{E1533191-65CE-4C48-8B6C-325C8B5B8F19}">
      <dgm:prSet custT="1"/>
      <dgm:spPr/>
      <dgm:t>
        <a:bodyPr/>
        <a:lstStyle/>
        <a:p>
          <a:r>
            <a:rPr lang="es-ES" sz="1200" dirty="0"/>
            <a:t>Creación de un mapa de la información:</a:t>
          </a:r>
        </a:p>
      </dgm:t>
    </dgm:pt>
    <dgm:pt modelId="{F45492B4-65BF-4C05-BB75-55F05850A854}" type="parTrans" cxnId="{C8364E31-5BAA-41FF-83DD-2559BB508C64}">
      <dgm:prSet/>
      <dgm:spPr/>
      <dgm:t>
        <a:bodyPr/>
        <a:lstStyle/>
        <a:p>
          <a:endParaRPr lang="es-ES" sz="2800"/>
        </a:p>
      </dgm:t>
    </dgm:pt>
    <dgm:pt modelId="{1C804094-8C82-4F64-AB16-096B9A9FA1CC}" type="sibTrans" cxnId="{C8364E31-5BAA-41FF-83DD-2559BB508C64}">
      <dgm:prSet custT="1"/>
      <dgm:spPr/>
      <dgm:t>
        <a:bodyPr/>
        <a:lstStyle/>
        <a:p>
          <a:endParaRPr lang="es-ES" sz="800" dirty="0"/>
        </a:p>
      </dgm:t>
    </dgm:pt>
    <dgm:pt modelId="{2E15F006-1693-4662-A96C-40B28C2D75EF}">
      <dgm:prSet custT="1"/>
      <dgm:spPr/>
      <dgm:t>
        <a:bodyPr/>
        <a:lstStyle/>
        <a:p>
          <a:r>
            <a:rPr lang="es-ES" sz="1200" dirty="0"/>
            <a:t>Priorizar el plan. </a:t>
          </a:r>
        </a:p>
      </dgm:t>
    </dgm:pt>
    <dgm:pt modelId="{7F226354-A21B-4487-BF3B-B26C81E50B2A}" type="parTrans" cxnId="{E3883D15-159B-4A42-A0B6-D487B0244D58}">
      <dgm:prSet/>
      <dgm:spPr/>
      <dgm:t>
        <a:bodyPr/>
        <a:lstStyle/>
        <a:p>
          <a:endParaRPr lang="es-ES" sz="2800"/>
        </a:p>
      </dgm:t>
    </dgm:pt>
    <dgm:pt modelId="{7E60BCBF-A64C-4CF2-B9B6-A01CF7A1D7CE}" type="sibTrans" cxnId="{E3883D15-159B-4A42-A0B6-D487B0244D58}">
      <dgm:prSet custT="1"/>
      <dgm:spPr/>
      <dgm:t>
        <a:bodyPr/>
        <a:lstStyle/>
        <a:p>
          <a:endParaRPr lang="es-ES" sz="800" dirty="0"/>
        </a:p>
      </dgm:t>
    </dgm:pt>
    <dgm:pt modelId="{842F0977-C4FB-47B0-95AA-0D7D10E69F4B}">
      <dgm:prSet custT="1"/>
      <dgm:spPr/>
      <dgm:t>
        <a:bodyPr/>
        <a:lstStyle/>
        <a:p>
          <a:r>
            <a:rPr lang="es-ES" sz="1050" dirty="0"/>
            <a:t>Con cliente.</a:t>
          </a:r>
        </a:p>
      </dgm:t>
    </dgm:pt>
    <dgm:pt modelId="{9FB64FC8-D9FA-4F47-A743-98948367FA73}" type="parTrans" cxnId="{41376786-2F8F-4183-86B5-EE275F720EF2}">
      <dgm:prSet/>
      <dgm:spPr/>
      <dgm:t>
        <a:bodyPr/>
        <a:lstStyle/>
        <a:p>
          <a:endParaRPr lang="es-ES" sz="2800"/>
        </a:p>
      </dgm:t>
    </dgm:pt>
    <dgm:pt modelId="{332B6F69-AA5D-4543-A917-B3BA004F7CAE}" type="sibTrans" cxnId="{41376786-2F8F-4183-86B5-EE275F720EF2}">
      <dgm:prSet/>
      <dgm:spPr/>
      <dgm:t>
        <a:bodyPr/>
        <a:lstStyle/>
        <a:p>
          <a:endParaRPr lang="es-ES" sz="2800"/>
        </a:p>
      </dgm:t>
    </dgm:pt>
    <dgm:pt modelId="{5286FC8D-84A8-4E40-A54F-3308DB0DE263}">
      <dgm:prSet custT="1"/>
      <dgm:spPr/>
      <dgm:t>
        <a:bodyPr/>
        <a:lstStyle/>
        <a:p>
          <a:r>
            <a:rPr lang="es-ES" sz="1050" dirty="0"/>
            <a:t>QuickWins</a:t>
          </a:r>
        </a:p>
      </dgm:t>
    </dgm:pt>
    <dgm:pt modelId="{DF0654B6-8F23-4FB5-838F-61F85518AA15}" type="parTrans" cxnId="{5F58B60F-ECA0-42A0-849F-5CC6C35697B4}">
      <dgm:prSet/>
      <dgm:spPr/>
      <dgm:t>
        <a:bodyPr/>
        <a:lstStyle/>
        <a:p>
          <a:endParaRPr lang="es-ES" sz="2800"/>
        </a:p>
      </dgm:t>
    </dgm:pt>
    <dgm:pt modelId="{B276C7DE-DF07-4A57-A1AB-F604518FAFC0}" type="sibTrans" cxnId="{5F58B60F-ECA0-42A0-849F-5CC6C35697B4}">
      <dgm:prSet/>
      <dgm:spPr/>
      <dgm:t>
        <a:bodyPr/>
        <a:lstStyle/>
        <a:p>
          <a:endParaRPr lang="es-ES" sz="2800"/>
        </a:p>
      </dgm:t>
    </dgm:pt>
    <dgm:pt modelId="{A3CECF6C-CFD0-4766-9EA3-A43CC7B8771F}">
      <dgm:prSet custT="1"/>
      <dgm:spPr/>
      <dgm:t>
        <a:bodyPr/>
        <a:lstStyle/>
        <a:p>
          <a:r>
            <a:rPr lang="es-ES" sz="1050" dirty="0"/>
            <a:t>(innovadores “vs” Transformistas).</a:t>
          </a:r>
        </a:p>
      </dgm:t>
    </dgm:pt>
    <dgm:pt modelId="{A8B96083-E5C9-4B03-BFE0-F3527434EECB}" type="parTrans" cxnId="{0FDDDF10-BC8C-40CF-A565-D75BA05A55AB}">
      <dgm:prSet/>
      <dgm:spPr/>
      <dgm:t>
        <a:bodyPr/>
        <a:lstStyle/>
        <a:p>
          <a:endParaRPr lang="es-ES" sz="2800"/>
        </a:p>
      </dgm:t>
    </dgm:pt>
    <dgm:pt modelId="{D50F3AA9-881F-41F3-8630-625F0D7E5CE1}" type="sibTrans" cxnId="{0FDDDF10-BC8C-40CF-A565-D75BA05A55AB}">
      <dgm:prSet/>
      <dgm:spPr/>
      <dgm:t>
        <a:bodyPr/>
        <a:lstStyle/>
        <a:p>
          <a:endParaRPr lang="es-ES" sz="2800"/>
        </a:p>
      </dgm:t>
    </dgm:pt>
    <dgm:pt modelId="{07F345F3-BE4C-477C-A7D6-C4EC9FB55F98}">
      <dgm:prSet custT="1"/>
      <dgm:spPr/>
      <dgm:t>
        <a:bodyPr/>
        <a:lstStyle/>
        <a:p>
          <a:r>
            <a:rPr lang="es-ES" sz="1050" dirty="0"/>
            <a:t>De donde viene.</a:t>
          </a:r>
        </a:p>
      </dgm:t>
    </dgm:pt>
    <dgm:pt modelId="{5B50C6BD-E1C8-4E0F-94DD-E670B2C44DAB}" type="parTrans" cxnId="{E4013529-661C-420B-8357-BF41F9D61835}">
      <dgm:prSet/>
      <dgm:spPr/>
      <dgm:t>
        <a:bodyPr/>
        <a:lstStyle/>
        <a:p>
          <a:endParaRPr lang="es-ES" sz="2800"/>
        </a:p>
      </dgm:t>
    </dgm:pt>
    <dgm:pt modelId="{2DAADF6B-3EB6-44C1-B09B-C8A6FD688B3D}" type="sibTrans" cxnId="{E4013529-661C-420B-8357-BF41F9D61835}">
      <dgm:prSet/>
      <dgm:spPr/>
      <dgm:t>
        <a:bodyPr/>
        <a:lstStyle/>
        <a:p>
          <a:endParaRPr lang="es-ES" sz="2800"/>
        </a:p>
      </dgm:t>
    </dgm:pt>
    <dgm:pt modelId="{53915868-E075-457E-BF96-C9072E858E87}">
      <dgm:prSet custT="1"/>
      <dgm:spPr/>
      <dgm:t>
        <a:bodyPr/>
        <a:lstStyle/>
        <a:p>
          <a:r>
            <a:rPr lang="es-ES" sz="1050" dirty="0"/>
            <a:t>Quién la origina.</a:t>
          </a:r>
        </a:p>
      </dgm:t>
    </dgm:pt>
    <dgm:pt modelId="{E20F229A-C110-4703-82DA-6D1721D0C465}" type="parTrans" cxnId="{34806175-D09E-44EF-BC21-D18918A09D01}">
      <dgm:prSet/>
      <dgm:spPr/>
      <dgm:t>
        <a:bodyPr/>
        <a:lstStyle/>
        <a:p>
          <a:endParaRPr lang="es-ES" sz="2800"/>
        </a:p>
      </dgm:t>
    </dgm:pt>
    <dgm:pt modelId="{355EDEDE-817F-4CF8-A5CB-650C4C8E546E}" type="sibTrans" cxnId="{34806175-D09E-44EF-BC21-D18918A09D01}">
      <dgm:prSet/>
      <dgm:spPr/>
      <dgm:t>
        <a:bodyPr/>
        <a:lstStyle/>
        <a:p>
          <a:endParaRPr lang="es-ES" sz="2800"/>
        </a:p>
      </dgm:t>
    </dgm:pt>
    <dgm:pt modelId="{8DEA85CE-322C-411B-8586-330B465F83CD}">
      <dgm:prSet custT="1"/>
      <dgm:spPr/>
      <dgm:t>
        <a:bodyPr/>
        <a:lstStyle/>
        <a:p>
          <a:r>
            <a:rPr lang="es-ES" sz="1050" dirty="0"/>
            <a:t>Quién la usa.</a:t>
          </a:r>
        </a:p>
      </dgm:t>
    </dgm:pt>
    <dgm:pt modelId="{2C1D8958-2012-4F1F-A319-70EAD0BE71E8}" type="parTrans" cxnId="{C367D691-F003-4A4D-A8F7-34975730A043}">
      <dgm:prSet/>
      <dgm:spPr/>
      <dgm:t>
        <a:bodyPr/>
        <a:lstStyle/>
        <a:p>
          <a:endParaRPr lang="es-ES" sz="2800"/>
        </a:p>
      </dgm:t>
    </dgm:pt>
    <dgm:pt modelId="{E762AF47-7341-4946-80C8-79D00FFE0E62}" type="sibTrans" cxnId="{C367D691-F003-4A4D-A8F7-34975730A043}">
      <dgm:prSet/>
      <dgm:spPr/>
      <dgm:t>
        <a:bodyPr/>
        <a:lstStyle/>
        <a:p>
          <a:endParaRPr lang="es-ES" sz="2800"/>
        </a:p>
      </dgm:t>
    </dgm:pt>
    <dgm:pt modelId="{5830EFD0-9717-4E50-96D1-700E7713D02A}">
      <dgm:prSet custT="1"/>
      <dgm:spPr/>
      <dgm:t>
        <a:bodyPr/>
        <a:lstStyle/>
        <a:p>
          <a:r>
            <a:rPr lang="es-ES" sz="1050" dirty="0"/>
            <a:t>Que dispara el proceso.</a:t>
          </a:r>
        </a:p>
      </dgm:t>
    </dgm:pt>
    <dgm:pt modelId="{9944FA83-0B26-455B-B5D6-C38E7B81168C}" type="parTrans" cxnId="{0ED85118-B9FC-4E1C-AC1B-A0525A2CAE9F}">
      <dgm:prSet/>
      <dgm:spPr/>
      <dgm:t>
        <a:bodyPr/>
        <a:lstStyle/>
        <a:p>
          <a:endParaRPr lang="es-ES" sz="2800"/>
        </a:p>
      </dgm:t>
    </dgm:pt>
    <dgm:pt modelId="{76922FD7-6C99-47A0-AFA2-8844848BB5F5}" type="sibTrans" cxnId="{0ED85118-B9FC-4E1C-AC1B-A0525A2CAE9F}">
      <dgm:prSet/>
      <dgm:spPr/>
      <dgm:t>
        <a:bodyPr/>
        <a:lstStyle/>
        <a:p>
          <a:endParaRPr lang="es-ES" sz="2800"/>
        </a:p>
      </dgm:t>
    </dgm:pt>
    <dgm:pt modelId="{115BBB73-6B7A-4726-9383-3A8ABC5F9BA6}">
      <dgm:prSet custT="1"/>
      <dgm:spPr/>
      <dgm:t>
        <a:bodyPr/>
        <a:lstStyle/>
        <a:p>
          <a:r>
            <a:rPr lang="es-ES" sz="1050" dirty="0"/>
            <a:t>Puntos de control, KPI</a:t>
          </a:r>
        </a:p>
      </dgm:t>
    </dgm:pt>
    <dgm:pt modelId="{B42776F9-723B-449E-9195-2FEC2426C5C0}" type="parTrans" cxnId="{9928E7CF-9909-4B51-9AB1-A4278ED39F2A}">
      <dgm:prSet/>
      <dgm:spPr/>
      <dgm:t>
        <a:bodyPr/>
        <a:lstStyle/>
        <a:p>
          <a:endParaRPr lang="es-ES" sz="2800"/>
        </a:p>
      </dgm:t>
    </dgm:pt>
    <dgm:pt modelId="{2B6BF1EC-A435-41C1-B746-0AD315026940}" type="sibTrans" cxnId="{9928E7CF-9909-4B51-9AB1-A4278ED39F2A}">
      <dgm:prSet/>
      <dgm:spPr/>
      <dgm:t>
        <a:bodyPr/>
        <a:lstStyle/>
        <a:p>
          <a:endParaRPr lang="es-ES" sz="2800"/>
        </a:p>
      </dgm:t>
    </dgm:pt>
    <dgm:pt modelId="{21A4370F-43E5-4973-BDD7-E6FC32E3B057}">
      <dgm:prSet custT="1"/>
      <dgm:spPr/>
      <dgm:t>
        <a:bodyPr/>
        <a:lstStyle/>
        <a:p>
          <a:r>
            <a:rPr lang="es-ES" sz="1050" dirty="0"/>
            <a:t>Localización de herramientas y discriminación.</a:t>
          </a:r>
        </a:p>
      </dgm:t>
    </dgm:pt>
    <dgm:pt modelId="{FD94D21A-9B62-4E53-B930-81C4E4D0F609}" type="parTrans" cxnId="{1C37B3C1-1187-4530-88B5-29B7B4AA97D3}">
      <dgm:prSet/>
      <dgm:spPr/>
      <dgm:t>
        <a:bodyPr/>
        <a:lstStyle/>
        <a:p>
          <a:endParaRPr lang="es-ES" sz="2800"/>
        </a:p>
      </dgm:t>
    </dgm:pt>
    <dgm:pt modelId="{911E02F3-8810-4927-B78B-AA28B039AE3E}" type="sibTrans" cxnId="{1C37B3C1-1187-4530-88B5-29B7B4AA97D3}">
      <dgm:prSet/>
      <dgm:spPr/>
      <dgm:t>
        <a:bodyPr/>
        <a:lstStyle/>
        <a:p>
          <a:endParaRPr lang="es-ES" sz="2800"/>
        </a:p>
      </dgm:t>
    </dgm:pt>
    <dgm:pt modelId="{FECFC447-EA93-44A0-B6DC-22CAF275609B}">
      <dgm:prSet custT="1"/>
      <dgm:spPr/>
      <dgm:t>
        <a:bodyPr/>
        <a:lstStyle/>
        <a:p>
          <a:r>
            <a:rPr lang="es-ES" sz="1050" dirty="0"/>
            <a:t>Gantt</a:t>
          </a:r>
        </a:p>
      </dgm:t>
    </dgm:pt>
    <dgm:pt modelId="{58DD5CEA-1A6D-46B8-A6FC-EAB1E2BAA6EE}" type="parTrans" cxnId="{8ADF5857-4775-4836-BBB5-7B3D00F62D0A}">
      <dgm:prSet/>
      <dgm:spPr/>
      <dgm:t>
        <a:bodyPr/>
        <a:lstStyle/>
        <a:p>
          <a:endParaRPr lang="es-ES" sz="2800"/>
        </a:p>
      </dgm:t>
    </dgm:pt>
    <dgm:pt modelId="{D3352AC0-A163-464B-B2FC-11A5024E7E4C}" type="sibTrans" cxnId="{8ADF5857-4775-4836-BBB5-7B3D00F62D0A}">
      <dgm:prSet/>
      <dgm:spPr/>
      <dgm:t>
        <a:bodyPr/>
        <a:lstStyle/>
        <a:p>
          <a:endParaRPr lang="es-ES" sz="2800"/>
        </a:p>
      </dgm:t>
    </dgm:pt>
    <dgm:pt modelId="{7FB8AF67-7EE2-4229-8E72-522256FB2801}">
      <dgm:prSet custT="1"/>
      <dgm:spPr/>
      <dgm:t>
        <a:bodyPr/>
        <a:lstStyle/>
        <a:p>
          <a:r>
            <a:rPr lang="es-ES" sz="1050" dirty="0"/>
            <a:t>Best practices</a:t>
          </a:r>
        </a:p>
      </dgm:t>
    </dgm:pt>
    <dgm:pt modelId="{7FF6A1AF-269A-4CB6-9621-260005298E05}" type="parTrans" cxnId="{33094E98-D20F-4DD7-8FBB-2EBF11AF88D7}">
      <dgm:prSet/>
      <dgm:spPr/>
      <dgm:t>
        <a:bodyPr/>
        <a:lstStyle/>
        <a:p>
          <a:endParaRPr lang="es-ES" sz="2800"/>
        </a:p>
      </dgm:t>
    </dgm:pt>
    <dgm:pt modelId="{14EAA7AF-9FAF-433F-BD72-642C26800C21}" type="sibTrans" cxnId="{33094E98-D20F-4DD7-8FBB-2EBF11AF88D7}">
      <dgm:prSet/>
      <dgm:spPr/>
      <dgm:t>
        <a:bodyPr/>
        <a:lstStyle/>
        <a:p>
          <a:endParaRPr lang="es-ES" sz="2800"/>
        </a:p>
      </dgm:t>
    </dgm:pt>
    <dgm:pt modelId="{28DDA1DF-0F98-4C96-B609-07C96F289F89}">
      <dgm:prSet custT="1"/>
      <dgm:spPr/>
      <dgm:t>
        <a:bodyPr/>
        <a:lstStyle/>
        <a:p>
          <a:r>
            <a:rPr lang="es-ES" sz="1200" dirty="0"/>
            <a:t>Análisis, diseño y desarrollo.</a:t>
          </a:r>
        </a:p>
      </dgm:t>
    </dgm:pt>
    <dgm:pt modelId="{C419ED3B-9FD5-446E-9506-FD8FC53B8C69}" type="parTrans" cxnId="{619A70A1-7FE5-40B3-AB02-F92F8D18F1B8}">
      <dgm:prSet/>
      <dgm:spPr/>
      <dgm:t>
        <a:bodyPr/>
        <a:lstStyle/>
        <a:p>
          <a:endParaRPr lang="es-ES" sz="2800"/>
        </a:p>
      </dgm:t>
    </dgm:pt>
    <dgm:pt modelId="{AAB8F875-1D78-4F4A-89C7-D2B7037DFB44}" type="sibTrans" cxnId="{619A70A1-7FE5-40B3-AB02-F92F8D18F1B8}">
      <dgm:prSet custT="1"/>
      <dgm:spPr/>
      <dgm:t>
        <a:bodyPr/>
        <a:lstStyle/>
        <a:p>
          <a:endParaRPr lang="es-ES" sz="800" dirty="0"/>
        </a:p>
      </dgm:t>
    </dgm:pt>
    <dgm:pt modelId="{3C472E10-341B-45F0-B9DA-3F4AC955F4D1}">
      <dgm:prSet custT="1"/>
      <dgm:spPr/>
      <dgm:t>
        <a:bodyPr/>
        <a:lstStyle/>
        <a:p>
          <a:r>
            <a:rPr lang="es-ES" sz="1200" dirty="0"/>
            <a:t>PMO y seguimiento del proyecto.</a:t>
          </a:r>
        </a:p>
      </dgm:t>
    </dgm:pt>
    <dgm:pt modelId="{0C91F4C7-AAA8-42CD-BB88-C0858D1E7104}" type="parTrans" cxnId="{3C60C43C-D9BB-422B-BF02-D108B41CCBB3}">
      <dgm:prSet/>
      <dgm:spPr/>
      <dgm:t>
        <a:bodyPr/>
        <a:lstStyle/>
        <a:p>
          <a:endParaRPr lang="es-ES" sz="2800"/>
        </a:p>
      </dgm:t>
    </dgm:pt>
    <dgm:pt modelId="{9F4FDF6D-DADE-4062-9ACD-E522EAAFD655}" type="sibTrans" cxnId="{3C60C43C-D9BB-422B-BF02-D108B41CCBB3}">
      <dgm:prSet custT="1"/>
      <dgm:spPr/>
      <dgm:t>
        <a:bodyPr/>
        <a:lstStyle/>
        <a:p>
          <a:endParaRPr lang="es-ES" sz="800" dirty="0"/>
        </a:p>
      </dgm:t>
    </dgm:pt>
    <dgm:pt modelId="{72161D26-F524-4AC4-BC9B-2D2B7F23F219}">
      <dgm:prSet custT="1"/>
      <dgm:spPr>
        <a:solidFill>
          <a:srgbClr val="00FF00"/>
        </a:solidFill>
      </dgm:spPr>
      <dgm:t>
        <a:bodyPr/>
        <a:lstStyle/>
        <a:p>
          <a:r>
            <a:rPr lang="es-ES" sz="1200" dirty="0">
              <a:solidFill>
                <a:schemeClr val="accent6">
                  <a:lumMod val="50000"/>
                </a:schemeClr>
              </a:solidFill>
            </a:rPr>
            <a:t>Business Case</a:t>
          </a:r>
        </a:p>
      </dgm:t>
    </dgm:pt>
    <dgm:pt modelId="{3EEBD498-67DA-4E4B-B8DA-8EEE5FC6EF08}" type="parTrans" cxnId="{45231BAB-2978-4970-9D5E-0BD6AE26424A}">
      <dgm:prSet/>
      <dgm:spPr/>
      <dgm:t>
        <a:bodyPr/>
        <a:lstStyle/>
        <a:p>
          <a:endParaRPr lang="es-ES" sz="2800"/>
        </a:p>
      </dgm:t>
    </dgm:pt>
    <dgm:pt modelId="{5BCE3D04-F778-44A1-A097-DD5C4F9712EB}" type="sibTrans" cxnId="{45231BAB-2978-4970-9D5E-0BD6AE26424A}">
      <dgm:prSet custT="1"/>
      <dgm:spPr/>
      <dgm:t>
        <a:bodyPr/>
        <a:lstStyle/>
        <a:p>
          <a:endParaRPr lang="es-ES" sz="800" dirty="0"/>
        </a:p>
      </dgm:t>
    </dgm:pt>
    <dgm:pt modelId="{F94579CE-91A3-46DD-9A55-4D6BEF573B9A}">
      <dgm:prSet custT="1"/>
      <dgm:spPr>
        <a:solidFill>
          <a:srgbClr val="00FF00"/>
        </a:solidFill>
      </dgm:spPr>
      <dgm:t>
        <a:bodyPr/>
        <a:lstStyle/>
        <a:p>
          <a:r>
            <a:rPr lang="es-ES" sz="1050" dirty="0">
              <a:solidFill>
                <a:schemeClr val="accent6">
                  <a:lumMod val="50000"/>
                </a:schemeClr>
              </a:solidFill>
            </a:rPr>
            <a:t>Cualitativo</a:t>
          </a:r>
        </a:p>
      </dgm:t>
    </dgm:pt>
    <dgm:pt modelId="{965B4BDC-9BF1-4E41-B369-B907BA08D154}" type="parTrans" cxnId="{07D48241-7DDF-4EDF-BD60-6B9520AE5844}">
      <dgm:prSet/>
      <dgm:spPr/>
      <dgm:t>
        <a:bodyPr/>
        <a:lstStyle/>
        <a:p>
          <a:endParaRPr lang="es-ES" sz="2800"/>
        </a:p>
      </dgm:t>
    </dgm:pt>
    <dgm:pt modelId="{0F4A8543-0015-4E70-BAB0-2DC8FE6D3769}" type="sibTrans" cxnId="{07D48241-7DDF-4EDF-BD60-6B9520AE5844}">
      <dgm:prSet/>
      <dgm:spPr/>
      <dgm:t>
        <a:bodyPr/>
        <a:lstStyle/>
        <a:p>
          <a:endParaRPr lang="es-ES" sz="2800"/>
        </a:p>
      </dgm:t>
    </dgm:pt>
    <dgm:pt modelId="{821F29DC-3F91-4F73-834E-E84F8D990466}">
      <dgm:prSet custT="1"/>
      <dgm:spPr>
        <a:solidFill>
          <a:srgbClr val="00FF00"/>
        </a:solidFill>
      </dgm:spPr>
      <dgm:t>
        <a:bodyPr/>
        <a:lstStyle/>
        <a:p>
          <a:r>
            <a:rPr lang="es-ES" sz="1050" dirty="0">
              <a:solidFill>
                <a:schemeClr val="accent6">
                  <a:lumMod val="50000"/>
                </a:schemeClr>
              </a:solidFill>
            </a:rPr>
            <a:t>Cuantitativo incluye ROI</a:t>
          </a:r>
        </a:p>
      </dgm:t>
    </dgm:pt>
    <dgm:pt modelId="{3BBBD0A0-DF57-48C7-8221-4BFC45895FCE}" type="parTrans" cxnId="{1DC8DB30-F2E0-46FD-9355-24BCF5AC1DCA}">
      <dgm:prSet/>
      <dgm:spPr/>
      <dgm:t>
        <a:bodyPr/>
        <a:lstStyle/>
        <a:p>
          <a:endParaRPr lang="es-ES" sz="2800"/>
        </a:p>
      </dgm:t>
    </dgm:pt>
    <dgm:pt modelId="{DC357B52-0EF5-4136-A927-2540C430B087}" type="sibTrans" cxnId="{1DC8DB30-F2E0-46FD-9355-24BCF5AC1DCA}">
      <dgm:prSet/>
      <dgm:spPr/>
      <dgm:t>
        <a:bodyPr/>
        <a:lstStyle/>
        <a:p>
          <a:endParaRPr lang="es-ES" sz="2800"/>
        </a:p>
      </dgm:t>
    </dgm:pt>
    <dgm:pt modelId="{968ECC2F-865A-4F16-99AD-4A3DCAFCDEE5}">
      <dgm:prSet custT="1"/>
      <dgm:spPr>
        <a:solidFill>
          <a:srgbClr val="FF0000"/>
        </a:solidFill>
      </dgm:spPr>
      <dgm:t>
        <a:bodyPr/>
        <a:lstStyle/>
        <a:p>
          <a:r>
            <a:rPr lang="es-ES" sz="1200" dirty="0">
              <a:solidFill>
                <a:srgbClr val="3333FF"/>
              </a:solidFill>
            </a:rPr>
            <a:t>Alineamiento tecnología – Negocio</a:t>
          </a:r>
        </a:p>
      </dgm:t>
    </dgm:pt>
    <dgm:pt modelId="{8424FAA0-A9FD-40FD-BC35-E227AD67A9B5}" type="parTrans" cxnId="{63BED31A-04CC-42F7-AF72-6A1408FAEE71}">
      <dgm:prSet/>
      <dgm:spPr/>
      <dgm:t>
        <a:bodyPr/>
        <a:lstStyle/>
        <a:p>
          <a:endParaRPr lang="es-ES" sz="2800"/>
        </a:p>
      </dgm:t>
    </dgm:pt>
    <dgm:pt modelId="{63230DA2-F65E-4D9A-8FCD-269E79215549}" type="sibTrans" cxnId="{63BED31A-04CC-42F7-AF72-6A1408FAEE71}">
      <dgm:prSet custT="1"/>
      <dgm:spPr/>
      <dgm:t>
        <a:bodyPr/>
        <a:lstStyle/>
        <a:p>
          <a:endParaRPr lang="es-ES" sz="800" dirty="0"/>
        </a:p>
      </dgm:t>
    </dgm:pt>
    <dgm:pt modelId="{2E197659-456B-4E7D-9DF8-4B0C7B1B9B49}">
      <dgm:prSet custT="1"/>
      <dgm:spPr/>
      <dgm:t>
        <a:bodyPr/>
        <a:lstStyle/>
        <a:p>
          <a:r>
            <a:rPr lang="es-ES" sz="1050" dirty="0"/>
            <a:t>Teniendo en cuenta el cliente</a:t>
          </a:r>
        </a:p>
      </dgm:t>
    </dgm:pt>
    <dgm:pt modelId="{B423AF98-1E66-4D8B-95D9-BCC420C53B66}" type="parTrans" cxnId="{B299E18E-9514-4E1F-A003-BEA9D02874CD}">
      <dgm:prSet/>
      <dgm:spPr/>
      <dgm:t>
        <a:bodyPr/>
        <a:lstStyle/>
        <a:p>
          <a:endParaRPr lang="es-ES" sz="2800"/>
        </a:p>
      </dgm:t>
    </dgm:pt>
    <dgm:pt modelId="{278E1402-2FBC-4326-92BA-C4A09AA1C177}" type="sibTrans" cxnId="{B299E18E-9514-4E1F-A003-BEA9D02874CD}">
      <dgm:prSet/>
      <dgm:spPr/>
      <dgm:t>
        <a:bodyPr/>
        <a:lstStyle/>
        <a:p>
          <a:endParaRPr lang="es-ES" sz="2800"/>
        </a:p>
      </dgm:t>
    </dgm:pt>
    <dgm:pt modelId="{15B40A7C-B6B9-45BC-ABC7-79315335EFB4}" type="pres">
      <dgm:prSet presAssocID="{0FD75137-7D09-47DE-8F80-0D42E216F36F}" presName="Name0" presStyleCnt="0">
        <dgm:presLayoutVars>
          <dgm:dir/>
          <dgm:resizeHandles val="exact"/>
        </dgm:presLayoutVars>
      </dgm:prSet>
      <dgm:spPr/>
    </dgm:pt>
    <dgm:pt modelId="{0B7EC34B-6072-4EDB-B78E-C387B0B19D5E}" type="pres">
      <dgm:prSet presAssocID="{3616EDA3-561E-4120-B463-B13842B3C898}" presName="node" presStyleLbl="node1" presStyleIdx="0" presStyleCnt="12">
        <dgm:presLayoutVars>
          <dgm:bulletEnabled val="1"/>
        </dgm:presLayoutVars>
      </dgm:prSet>
      <dgm:spPr/>
    </dgm:pt>
    <dgm:pt modelId="{A518F178-DD9D-404E-8C29-0F5BEF08FFBF}" type="pres">
      <dgm:prSet presAssocID="{5A0C3303-EC12-4937-B129-20F0668D3652}" presName="sibTrans" presStyleLbl="sibTrans1D1" presStyleIdx="0" presStyleCnt="11"/>
      <dgm:spPr/>
    </dgm:pt>
    <dgm:pt modelId="{C6B4C60C-84F4-4560-B35B-3449059ABA53}" type="pres">
      <dgm:prSet presAssocID="{5A0C3303-EC12-4937-B129-20F0668D3652}" presName="connectorText" presStyleLbl="sibTrans1D1" presStyleIdx="0" presStyleCnt="11"/>
      <dgm:spPr/>
    </dgm:pt>
    <dgm:pt modelId="{AA1221CD-A877-4632-9B8D-C3EE216DB157}" type="pres">
      <dgm:prSet presAssocID="{968ECC2F-865A-4F16-99AD-4A3DCAFCDEE5}" presName="node" presStyleLbl="node1" presStyleIdx="1" presStyleCnt="12">
        <dgm:presLayoutVars>
          <dgm:bulletEnabled val="1"/>
        </dgm:presLayoutVars>
      </dgm:prSet>
      <dgm:spPr/>
    </dgm:pt>
    <dgm:pt modelId="{416F421E-A903-4F7F-9347-AC3DF776723E}" type="pres">
      <dgm:prSet presAssocID="{63230DA2-F65E-4D9A-8FCD-269E79215549}" presName="sibTrans" presStyleLbl="sibTrans1D1" presStyleIdx="1" presStyleCnt="11"/>
      <dgm:spPr/>
    </dgm:pt>
    <dgm:pt modelId="{79B02DB8-7D0C-4F75-BA40-556478F51C8E}" type="pres">
      <dgm:prSet presAssocID="{63230DA2-F65E-4D9A-8FCD-269E79215549}" presName="connectorText" presStyleLbl="sibTrans1D1" presStyleIdx="1" presStyleCnt="11"/>
      <dgm:spPr/>
    </dgm:pt>
    <dgm:pt modelId="{74D20C42-5979-4C13-BC9A-10EDB9A2A073}" type="pres">
      <dgm:prSet presAssocID="{262CD316-88F9-4005-9169-13E518C2E875}" presName="node" presStyleLbl="node1" presStyleIdx="2" presStyleCnt="12">
        <dgm:presLayoutVars>
          <dgm:bulletEnabled val="1"/>
        </dgm:presLayoutVars>
      </dgm:prSet>
      <dgm:spPr/>
    </dgm:pt>
    <dgm:pt modelId="{62D70E81-4025-480A-89C4-918D36AF6A07}" type="pres">
      <dgm:prSet presAssocID="{57B39443-F7A2-4AC3-8B5C-BF5E2435C018}" presName="sibTrans" presStyleLbl="sibTrans1D1" presStyleIdx="2" presStyleCnt="11"/>
      <dgm:spPr/>
    </dgm:pt>
    <dgm:pt modelId="{30963B13-18F7-4D29-B86F-EB643ED75D27}" type="pres">
      <dgm:prSet presAssocID="{57B39443-F7A2-4AC3-8B5C-BF5E2435C018}" presName="connectorText" presStyleLbl="sibTrans1D1" presStyleIdx="2" presStyleCnt="11"/>
      <dgm:spPr/>
    </dgm:pt>
    <dgm:pt modelId="{101FF5FF-0140-4DB2-8F62-C02AB9F7650A}" type="pres">
      <dgm:prSet presAssocID="{72161D26-F524-4AC4-BC9B-2D2B7F23F219}" presName="node" presStyleLbl="node1" presStyleIdx="3" presStyleCnt="12">
        <dgm:presLayoutVars>
          <dgm:bulletEnabled val="1"/>
        </dgm:presLayoutVars>
      </dgm:prSet>
      <dgm:spPr/>
    </dgm:pt>
    <dgm:pt modelId="{F9F53061-3131-44D0-88AE-199310D28F47}" type="pres">
      <dgm:prSet presAssocID="{5BCE3D04-F778-44A1-A097-DD5C4F9712EB}" presName="sibTrans" presStyleLbl="sibTrans1D1" presStyleIdx="3" presStyleCnt="11"/>
      <dgm:spPr/>
    </dgm:pt>
    <dgm:pt modelId="{A3E6ED94-E05A-42D4-A39D-63E0C94E43D4}" type="pres">
      <dgm:prSet presAssocID="{5BCE3D04-F778-44A1-A097-DD5C4F9712EB}" presName="connectorText" presStyleLbl="sibTrans1D1" presStyleIdx="3" presStyleCnt="11"/>
      <dgm:spPr/>
    </dgm:pt>
    <dgm:pt modelId="{0778E29F-2BD2-4DCA-9B40-D23F17C82E87}" type="pres">
      <dgm:prSet presAssocID="{E1533191-65CE-4C48-8B6C-325C8B5B8F19}" presName="node" presStyleLbl="node1" presStyleIdx="4" presStyleCnt="12">
        <dgm:presLayoutVars>
          <dgm:bulletEnabled val="1"/>
        </dgm:presLayoutVars>
      </dgm:prSet>
      <dgm:spPr/>
    </dgm:pt>
    <dgm:pt modelId="{595D6EAE-B43A-4270-875E-3844B4790EB3}" type="pres">
      <dgm:prSet presAssocID="{1C804094-8C82-4F64-AB16-096B9A9FA1CC}" presName="sibTrans" presStyleLbl="sibTrans1D1" presStyleIdx="4" presStyleCnt="11"/>
      <dgm:spPr/>
    </dgm:pt>
    <dgm:pt modelId="{4AE0A333-3CDB-475E-B29E-05A4CE450D96}" type="pres">
      <dgm:prSet presAssocID="{1C804094-8C82-4F64-AB16-096B9A9FA1CC}" presName="connectorText" presStyleLbl="sibTrans1D1" presStyleIdx="4" presStyleCnt="11"/>
      <dgm:spPr/>
    </dgm:pt>
    <dgm:pt modelId="{16BEFB15-881B-479A-85F6-A248D1B9CE26}" type="pres">
      <dgm:prSet presAssocID="{E7E371E6-5698-4F4D-A5DC-43553CDD0B9A}" presName="node" presStyleLbl="node1" presStyleIdx="5" presStyleCnt="12">
        <dgm:presLayoutVars>
          <dgm:bulletEnabled val="1"/>
        </dgm:presLayoutVars>
      </dgm:prSet>
      <dgm:spPr/>
    </dgm:pt>
    <dgm:pt modelId="{216E7491-C991-4782-B02F-ACA7D867E186}" type="pres">
      <dgm:prSet presAssocID="{375677B1-CB0A-40AB-9764-BD2216712881}" presName="sibTrans" presStyleLbl="sibTrans1D1" presStyleIdx="5" presStyleCnt="11"/>
      <dgm:spPr/>
    </dgm:pt>
    <dgm:pt modelId="{CE451DC5-0D03-4F62-9355-71AACB4875A3}" type="pres">
      <dgm:prSet presAssocID="{375677B1-CB0A-40AB-9764-BD2216712881}" presName="connectorText" presStyleLbl="sibTrans1D1" presStyleIdx="5" presStyleCnt="11"/>
      <dgm:spPr/>
    </dgm:pt>
    <dgm:pt modelId="{AAD74965-B564-4778-BDA9-7F315F498669}" type="pres">
      <dgm:prSet presAssocID="{2E15F006-1693-4662-A96C-40B28C2D75EF}" presName="node" presStyleLbl="node1" presStyleIdx="6" presStyleCnt="12">
        <dgm:presLayoutVars>
          <dgm:bulletEnabled val="1"/>
        </dgm:presLayoutVars>
      </dgm:prSet>
      <dgm:spPr/>
    </dgm:pt>
    <dgm:pt modelId="{63AC7F4C-E5D0-4CDD-B7BE-C7C79DF2C0FC}" type="pres">
      <dgm:prSet presAssocID="{7E60BCBF-A64C-4CF2-B9B6-A01CF7A1D7CE}" presName="sibTrans" presStyleLbl="sibTrans1D1" presStyleIdx="6" presStyleCnt="11"/>
      <dgm:spPr/>
    </dgm:pt>
    <dgm:pt modelId="{0E8AD192-9138-4632-9D60-400EA573E799}" type="pres">
      <dgm:prSet presAssocID="{7E60BCBF-A64C-4CF2-B9B6-A01CF7A1D7CE}" presName="connectorText" presStyleLbl="sibTrans1D1" presStyleIdx="6" presStyleCnt="11"/>
      <dgm:spPr/>
    </dgm:pt>
    <dgm:pt modelId="{7E4DA183-388A-42A9-8048-20F284798117}" type="pres">
      <dgm:prSet presAssocID="{D9F03525-A298-49B5-B346-52D06A78E51E}" presName="node" presStyleLbl="node1" presStyleIdx="7" presStyleCnt="12">
        <dgm:presLayoutVars>
          <dgm:bulletEnabled val="1"/>
        </dgm:presLayoutVars>
      </dgm:prSet>
      <dgm:spPr/>
    </dgm:pt>
    <dgm:pt modelId="{3B68FFDB-E280-48C6-BC35-CA6C5B6DC705}" type="pres">
      <dgm:prSet presAssocID="{BA2F2C75-3089-45E9-93A6-892C3F1FDC3E}" presName="sibTrans" presStyleLbl="sibTrans1D1" presStyleIdx="7" presStyleCnt="11"/>
      <dgm:spPr/>
    </dgm:pt>
    <dgm:pt modelId="{25E59D35-E7A7-45A3-8010-D789DA0DA6BB}" type="pres">
      <dgm:prSet presAssocID="{BA2F2C75-3089-45E9-93A6-892C3F1FDC3E}" presName="connectorText" presStyleLbl="sibTrans1D1" presStyleIdx="7" presStyleCnt="11"/>
      <dgm:spPr/>
    </dgm:pt>
    <dgm:pt modelId="{C1B17043-D2FF-49AF-BD46-401B2931FC50}" type="pres">
      <dgm:prSet presAssocID="{BFE45DEB-650C-4158-956D-FE0E04A151E8}" presName="node" presStyleLbl="node1" presStyleIdx="8" presStyleCnt="12">
        <dgm:presLayoutVars>
          <dgm:bulletEnabled val="1"/>
        </dgm:presLayoutVars>
      </dgm:prSet>
      <dgm:spPr/>
    </dgm:pt>
    <dgm:pt modelId="{D580CE76-D1E5-4256-9F39-477787344FC9}" type="pres">
      <dgm:prSet presAssocID="{9B70B122-068A-468B-9622-1CF570345D05}" presName="sibTrans" presStyleLbl="sibTrans1D1" presStyleIdx="8" presStyleCnt="11"/>
      <dgm:spPr/>
    </dgm:pt>
    <dgm:pt modelId="{89DB1201-E2C4-4A61-A949-ABD94C3732E1}" type="pres">
      <dgm:prSet presAssocID="{9B70B122-068A-468B-9622-1CF570345D05}" presName="connectorText" presStyleLbl="sibTrans1D1" presStyleIdx="8" presStyleCnt="11"/>
      <dgm:spPr/>
    </dgm:pt>
    <dgm:pt modelId="{C9C4BFC0-2735-423C-A531-AD7082BE1F15}" type="pres">
      <dgm:prSet presAssocID="{28DDA1DF-0F98-4C96-B609-07C96F289F89}" presName="node" presStyleLbl="node1" presStyleIdx="9" presStyleCnt="12">
        <dgm:presLayoutVars>
          <dgm:bulletEnabled val="1"/>
        </dgm:presLayoutVars>
      </dgm:prSet>
      <dgm:spPr/>
    </dgm:pt>
    <dgm:pt modelId="{0E81187F-AB49-4B57-83B0-08B856F0B7E4}" type="pres">
      <dgm:prSet presAssocID="{AAB8F875-1D78-4F4A-89C7-D2B7037DFB44}" presName="sibTrans" presStyleLbl="sibTrans1D1" presStyleIdx="9" presStyleCnt="11"/>
      <dgm:spPr/>
    </dgm:pt>
    <dgm:pt modelId="{EDA8976A-AA14-4CA2-A53F-CFBA0527982C}" type="pres">
      <dgm:prSet presAssocID="{AAB8F875-1D78-4F4A-89C7-D2B7037DFB44}" presName="connectorText" presStyleLbl="sibTrans1D1" presStyleIdx="9" presStyleCnt="11"/>
      <dgm:spPr/>
    </dgm:pt>
    <dgm:pt modelId="{E1C2DB0F-4044-4655-B3CA-8FE3F08E12E1}" type="pres">
      <dgm:prSet presAssocID="{3C472E10-341B-45F0-B9DA-3F4AC955F4D1}" presName="node" presStyleLbl="node1" presStyleIdx="10" presStyleCnt="12">
        <dgm:presLayoutVars>
          <dgm:bulletEnabled val="1"/>
        </dgm:presLayoutVars>
      </dgm:prSet>
      <dgm:spPr/>
    </dgm:pt>
    <dgm:pt modelId="{6E1BD071-61EB-43A7-AA63-DF32948BAE2B}" type="pres">
      <dgm:prSet presAssocID="{9F4FDF6D-DADE-4062-9ACD-E522EAAFD655}" presName="sibTrans" presStyleLbl="sibTrans1D1" presStyleIdx="10" presStyleCnt="11"/>
      <dgm:spPr/>
    </dgm:pt>
    <dgm:pt modelId="{0E9618A9-5A40-4DFE-B07B-9F45E176FD61}" type="pres">
      <dgm:prSet presAssocID="{9F4FDF6D-DADE-4062-9ACD-E522EAAFD655}" presName="connectorText" presStyleLbl="sibTrans1D1" presStyleIdx="10" presStyleCnt="11"/>
      <dgm:spPr/>
    </dgm:pt>
    <dgm:pt modelId="{7D9C865F-1097-4340-B941-77712CD5A612}" type="pres">
      <dgm:prSet presAssocID="{44F831D6-369E-4379-A0A8-2ADBAF769878}" presName="node" presStyleLbl="node1" presStyleIdx="11" presStyleCnt="12">
        <dgm:presLayoutVars>
          <dgm:bulletEnabled val="1"/>
        </dgm:presLayoutVars>
      </dgm:prSet>
      <dgm:spPr/>
    </dgm:pt>
  </dgm:ptLst>
  <dgm:cxnLst>
    <dgm:cxn modelId="{5C44F500-EB40-4DA2-BC65-2F98B5FF2405}" type="presOf" srcId="{115BBB73-6B7A-4726-9383-3A8ABC5F9BA6}" destId="{AAD74965-B564-4778-BDA9-7F315F498669}" srcOrd="0" destOrd="3" presId="urn:microsoft.com/office/officeart/2005/8/layout/bProcess3"/>
    <dgm:cxn modelId="{E41B7101-288C-41B6-8395-CC30A59098DF}" type="presOf" srcId="{2E197659-456B-4E7D-9DF8-4B0C7B1B9B49}" destId="{AAD74965-B564-4778-BDA9-7F315F498669}" srcOrd="0" destOrd="1" presId="urn:microsoft.com/office/officeart/2005/8/layout/bProcess3"/>
    <dgm:cxn modelId="{6E5D3009-86A3-40A1-B43D-D9F4D77EFD17}" srcId="{0FD75137-7D09-47DE-8F80-0D42E216F36F}" destId="{262CD316-88F9-4005-9169-13E518C2E875}" srcOrd="2" destOrd="0" parTransId="{8E152CCB-58CD-43CD-A6CB-F7FD4947177B}" sibTransId="{57B39443-F7A2-4AC3-8B5C-BF5E2435C018}"/>
    <dgm:cxn modelId="{6849E309-DB9D-4984-B6B6-3CA20892AEE4}" type="presOf" srcId="{57B39443-F7A2-4AC3-8B5C-BF5E2435C018}" destId="{62D70E81-4025-480A-89C4-918D36AF6A07}" srcOrd="0" destOrd="0" presId="urn:microsoft.com/office/officeart/2005/8/layout/bProcess3"/>
    <dgm:cxn modelId="{5F58B60F-ECA0-42A0-849F-5CC6C35697B4}" srcId="{2E15F006-1693-4662-A96C-40B28C2D75EF}" destId="{5286FC8D-84A8-4E40-A54F-3308DB0DE263}" srcOrd="1" destOrd="0" parTransId="{DF0654B6-8F23-4FB5-838F-61F85518AA15}" sibTransId="{B276C7DE-DF07-4A57-A1AB-F604518FAFC0}"/>
    <dgm:cxn modelId="{0FDDDF10-BC8C-40CF-A565-D75BA05A55AB}" srcId="{262CD316-88F9-4005-9169-13E518C2E875}" destId="{A3CECF6C-CFD0-4766-9EA3-A43CC7B8771F}" srcOrd="1" destOrd="0" parTransId="{A8B96083-E5C9-4B03-BFE0-F3527434EECB}" sibTransId="{D50F3AA9-881F-41F3-8630-625F0D7E5CE1}"/>
    <dgm:cxn modelId="{E2C67814-ED4A-4792-9B1F-D8E68B37F65C}" srcId="{0FD75137-7D09-47DE-8F80-0D42E216F36F}" destId="{E7E371E6-5698-4F4D-A5DC-43553CDD0B9A}" srcOrd="5" destOrd="0" parTransId="{D6FEEDC0-1B5A-4DA4-A9D9-92362F23F8AC}" sibTransId="{375677B1-CB0A-40AB-9764-BD2216712881}"/>
    <dgm:cxn modelId="{E3883D15-159B-4A42-A0B6-D487B0244D58}" srcId="{0FD75137-7D09-47DE-8F80-0D42E216F36F}" destId="{2E15F006-1693-4662-A96C-40B28C2D75EF}" srcOrd="6" destOrd="0" parTransId="{7F226354-A21B-4487-BF3B-B26C81E50B2A}" sibTransId="{7E60BCBF-A64C-4CF2-B9B6-A01CF7A1D7CE}"/>
    <dgm:cxn modelId="{0ED85118-B9FC-4E1C-AC1B-A0525A2CAE9F}" srcId="{E1533191-65CE-4C48-8B6C-325C8B5B8F19}" destId="{5830EFD0-9717-4E50-96D1-700E7713D02A}" srcOrd="3" destOrd="0" parTransId="{9944FA83-0B26-455B-B5D6-C38E7B81168C}" sibTransId="{76922FD7-6C99-47A0-AFA2-8844848BB5F5}"/>
    <dgm:cxn modelId="{32BE8F18-DCC0-4CFD-8EF6-0C9C13634DAB}" type="presOf" srcId="{BA2F2C75-3089-45E9-93A6-892C3F1FDC3E}" destId="{3B68FFDB-E280-48C6-BC35-CA6C5B6DC705}" srcOrd="0" destOrd="0" presId="urn:microsoft.com/office/officeart/2005/8/layout/bProcess3"/>
    <dgm:cxn modelId="{63BED31A-04CC-42F7-AF72-6A1408FAEE71}" srcId="{0FD75137-7D09-47DE-8F80-0D42E216F36F}" destId="{968ECC2F-865A-4F16-99AD-4A3DCAFCDEE5}" srcOrd="1" destOrd="0" parTransId="{8424FAA0-A9FD-40FD-BC35-E227AD67A9B5}" sibTransId="{63230DA2-F65E-4D9A-8FCD-269E79215549}"/>
    <dgm:cxn modelId="{D77FED1F-E02F-4CD5-AAC0-9FE673CF7E21}" type="presOf" srcId="{07F345F3-BE4C-477C-A7D6-C4EC9FB55F98}" destId="{0778E29F-2BD2-4DCA-9B40-D23F17C82E87}" srcOrd="0" destOrd="1" presId="urn:microsoft.com/office/officeart/2005/8/layout/bProcess3"/>
    <dgm:cxn modelId="{F189B920-9F78-42BA-89E2-B30A2B4F2256}" type="presOf" srcId="{375677B1-CB0A-40AB-9764-BD2216712881}" destId="{216E7491-C991-4782-B02F-ACA7D867E186}" srcOrd="0" destOrd="0" presId="urn:microsoft.com/office/officeart/2005/8/layout/bProcess3"/>
    <dgm:cxn modelId="{6821D925-61DE-4EE0-96FB-C4380DB41ABF}" type="presOf" srcId="{AAB8F875-1D78-4F4A-89C7-D2B7037DFB44}" destId="{0E81187F-AB49-4B57-83B0-08B856F0B7E4}" srcOrd="0" destOrd="0" presId="urn:microsoft.com/office/officeart/2005/8/layout/bProcess3"/>
    <dgm:cxn modelId="{96655428-59B7-48B9-A8B1-172D1D4234B6}" type="presOf" srcId="{262CD316-88F9-4005-9169-13E518C2E875}" destId="{74D20C42-5979-4C13-BC9A-10EDB9A2A073}" srcOrd="0" destOrd="0" presId="urn:microsoft.com/office/officeart/2005/8/layout/bProcess3"/>
    <dgm:cxn modelId="{E4013529-661C-420B-8357-BF41F9D61835}" srcId="{E1533191-65CE-4C48-8B6C-325C8B5B8F19}" destId="{07F345F3-BE4C-477C-A7D6-C4EC9FB55F98}" srcOrd="0" destOrd="0" parTransId="{5B50C6BD-E1C8-4E0F-94DD-E670B2C44DAB}" sibTransId="{2DAADF6B-3EB6-44C1-B09B-C8A6FD688B3D}"/>
    <dgm:cxn modelId="{8EC3182E-3057-433E-8C5A-DBB8A54D02BB}" type="presOf" srcId="{0FD75137-7D09-47DE-8F80-0D42E216F36F}" destId="{15B40A7C-B6B9-45BC-ABC7-79315335EFB4}" srcOrd="0" destOrd="0" presId="urn:microsoft.com/office/officeart/2005/8/layout/bProcess3"/>
    <dgm:cxn modelId="{1DC8DB30-F2E0-46FD-9355-24BCF5AC1DCA}" srcId="{72161D26-F524-4AC4-BC9B-2D2B7F23F219}" destId="{821F29DC-3F91-4F73-834E-E84F8D990466}" srcOrd="1" destOrd="0" parTransId="{3BBBD0A0-DF57-48C7-8221-4BFC45895FCE}" sibTransId="{DC357B52-0EF5-4136-A927-2540C430B087}"/>
    <dgm:cxn modelId="{C8364E31-5BAA-41FF-83DD-2559BB508C64}" srcId="{0FD75137-7D09-47DE-8F80-0D42E216F36F}" destId="{E1533191-65CE-4C48-8B6C-325C8B5B8F19}" srcOrd="4" destOrd="0" parTransId="{F45492B4-65BF-4C05-BB75-55F05850A854}" sibTransId="{1C804094-8C82-4F64-AB16-096B9A9FA1CC}"/>
    <dgm:cxn modelId="{4E0B9132-173B-4398-A33C-8ACC1AF3DD5D}" type="presOf" srcId="{5BCE3D04-F778-44A1-A097-DD5C4F9712EB}" destId="{A3E6ED94-E05A-42D4-A39D-63E0C94E43D4}" srcOrd="1" destOrd="0" presId="urn:microsoft.com/office/officeart/2005/8/layout/bProcess3"/>
    <dgm:cxn modelId="{1D46AF32-2FC7-4378-B0E2-9D76C64D6E3D}" type="presOf" srcId="{842F0977-C4FB-47B0-95AA-0D7D10E69F4B}" destId="{16BEFB15-881B-479A-85F6-A248D1B9CE26}" srcOrd="0" destOrd="1" presId="urn:microsoft.com/office/officeart/2005/8/layout/bProcess3"/>
    <dgm:cxn modelId="{3C60C43C-D9BB-422B-BF02-D108B41CCBB3}" srcId="{0FD75137-7D09-47DE-8F80-0D42E216F36F}" destId="{3C472E10-341B-45F0-B9DA-3F4AC955F4D1}" srcOrd="10" destOrd="0" parTransId="{0C91F4C7-AAA8-42CD-BB88-C0858D1E7104}" sibTransId="{9F4FDF6D-DADE-4062-9ACD-E522EAAFD655}"/>
    <dgm:cxn modelId="{96F5983D-16A1-4492-B785-F919BAA797F3}" type="presOf" srcId="{5286FC8D-84A8-4E40-A54F-3308DB0DE263}" destId="{AAD74965-B564-4778-BDA9-7F315F498669}" srcOrd="0" destOrd="2" presId="urn:microsoft.com/office/officeart/2005/8/layout/bProcess3"/>
    <dgm:cxn modelId="{B39E795B-2CCD-455F-BF57-70785D088D41}" type="presOf" srcId="{53915868-E075-457E-BF96-C9072E858E87}" destId="{0778E29F-2BD2-4DCA-9B40-D23F17C82E87}" srcOrd="0" destOrd="2" presId="urn:microsoft.com/office/officeart/2005/8/layout/bProcess3"/>
    <dgm:cxn modelId="{1E612460-A3B2-4D5B-8360-B4CDAE4060D6}" type="presOf" srcId="{7FB8AF67-7EE2-4229-8E72-522256FB2801}" destId="{74D20C42-5979-4C13-BC9A-10EDB9A2A073}" srcOrd="0" destOrd="1" presId="urn:microsoft.com/office/officeart/2005/8/layout/bProcess3"/>
    <dgm:cxn modelId="{07D48241-7DDF-4EDF-BD60-6B9520AE5844}" srcId="{72161D26-F524-4AC4-BC9B-2D2B7F23F219}" destId="{F94579CE-91A3-46DD-9A55-4D6BEF573B9A}" srcOrd="0" destOrd="0" parTransId="{965B4BDC-9BF1-4E41-B369-B907BA08D154}" sibTransId="{0F4A8543-0015-4E70-BAB0-2DC8FE6D3769}"/>
    <dgm:cxn modelId="{3DC8CA43-D5F1-4376-94F6-6289F217351C}" type="presOf" srcId="{9B70B122-068A-468B-9622-1CF570345D05}" destId="{89DB1201-E2C4-4A61-A949-ABD94C3732E1}" srcOrd="1" destOrd="0" presId="urn:microsoft.com/office/officeart/2005/8/layout/bProcess3"/>
    <dgm:cxn modelId="{856E7166-F8DB-4DED-BEF3-65BCC132180A}" type="presOf" srcId="{5A0C3303-EC12-4937-B129-20F0668D3652}" destId="{C6B4C60C-84F4-4560-B35B-3449059ABA53}" srcOrd="1" destOrd="0" presId="urn:microsoft.com/office/officeart/2005/8/layout/bProcess3"/>
    <dgm:cxn modelId="{16FCCC69-6791-4421-9C63-CE46A03E9C1C}" type="presOf" srcId="{AAB8F875-1D78-4F4A-89C7-D2B7037DFB44}" destId="{EDA8976A-AA14-4CA2-A53F-CFBA0527982C}" srcOrd="1" destOrd="0" presId="urn:microsoft.com/office/officeart/2005/8/layout/bProcess3"/>
    <dgm:cxn modelId="{42C5F972-34DB-4290-A64D-44A93DA29231}" type="presOf" srcId="{3C472E10-341B-45F0-B9DA-3F4AC955F4D1}" destId="{E1C2DB0F-4044-4655-B3CA-8FE3F08E12E1}" srcOrd="0" destOrd="0" presId="urn:microsoft.com/office/officeart/2005/8/layout/bProcess3"/>
    <dgm:cxn modelId="{090BE353-758D-435B-A9B1-D61AA83CC614}" type="presOf" srcId="{5830EFD0-9717-4E50-96D1-700E7713D02A}" destId="{0778E29F-2BD2-4DCA-9B40-D23F17C82E87}" srcOrd="0" destOrd="4" presId="urn:microsoft.com/office/officeart/2005/8/layout/bProcess3"/>
    <dgm:cxn modelId="{34806175-D09E-44EF-BC21-D18918A09D01}" srcId="{E1533191-65CE-4C48-8B6C-325C8B5B8F19}" destId="{53915868-E075-457E-BF96-C9072E858E87}" srcOrd="1" destOrd="0" parTransId="{E20F229A-C110-4703-82DA-6D1721D0C465}" sibTransId="{355EDEDE-817F-4CF8-A5CB-650C4C8E546E}"/>
    <dgm:cxn modelId="{8ADF5857-4775-4836-BBB5-7B3D00F62D0A}" srcId="{D9F03525-A298-49B5-B346-52D06A78E51E}" destId="{FECFC447-EA93-44A0-B6DC-22CAF275609B}" srcOrd="0" destOrd="0" parTransId="{58DD5CEA-1A6D-46B8-A6FC-EAB1E2BAA6EE}" sibTransId="{D3352AC0-A163-464B-B2FC-11A5024E7E4C}"/>
    <dgm:cxn modelId="{DABCF478-4B18-4CC7-B4BF-9C8F9361BC52}" type="presOf" srcId="{1C804094-8C82-4F64-AB16-096B9A9FA1CC}" destId="{4AE0A333-3CDB-475E-B29E-05A4CE450D96}" srcOrd="1" destOrd="0" presId="urn:microsoft.com/office/officeart/2005/8/layout/bProcess3"/>
    <dgm:cxn modelId="{6730B279-0232-4ADC-9F94-B117F6C4AD01}" srcId="{0FD75137-7D09-47DE-8F80-0D42E216F36F}" destId="{D9F03525-A298-49B5-B346-52D06A78E51E}" srcOrd="7" destOrd="0" parTransId="{D36CA0BF-D9FF-4755-B99F-E4B6A08168E4}" sibTransId="{BA2F2C75-3089-45E9-93A6-892C3F1FDC3E}"/>
    <dgm:cxn modelId="{8ED9475A-E699-41D0-8DE7-C0DA70F60D7F}" type="presOf" srcId="{5A0C3303-EC12-4937-B129-20F0668D3652}" destId="{A518F178-DD9D-404E-8C29-0F5BEF08FFBF}" srcOrd="0" destOrd="0" presId="urn:microsoft.com/office/officeart/2005/8/layout/bProcess3"/>
    <dgm:cxn modelId="{BD57CF7D-F103-4D8C-821F-94751DD70BBF}" type="presOf" srcId="{968ECC2F-865A-4F16-99AD-4A3DCAFCDEE5}" destId="{AA1221CD-A877-4632-9B8D-C3EE216DB157}" srcOrd="0" destOrd="0" presId="urn:microsoft.com/office/officeart/2005/8/layout/bProcess3"/>
    <dgm:cxn modelId="{ED1DAD81-2133-49FA-B3CD-380CEB712A02}" type="presOf" srcId="{375677B1-CB0A-40AB-9764-BD2216712881}" destId="{CE451DC5-0D03-4F62-9355-71AACB4875A3}" srcOrd="1" destOrd="0" presId="urn:microsoft.com/office/officeart/2005/8/layout/bProcess3"/>
    <dgm:cxn modelId="{4EABAC82-B75D-4778-B6FE-95B9976CFF4F}" type="presOf" srcId="{63230DA2-F65E-4D9A-8FCD-269E79215549}" destId="{79B02DB8-7D0C-4F75-BA40-556478F51C8E}" srcOrd="1" destOrd="0" presId="urn:microsoft.com/office/officeart/2005/8/layout/bProcess3"/>
    <dgm:cxn modelId="{41376786-2F8F-4183-86B5-EE275F720EF2}" srcId="{E7E371E6-5698-4F4D-A5DC-43553CDD0B9A}" destId="{842F0977-C4FB-47B0-95AA-0D7D10E69F4B}" srcOrd="0" destOrd="0" parTransId="{9FB64FC8-D9FA-4F47-A743-98948367FA73}" sibTransId="{332B6F69-AA5D-4543-A917-B3BA004F7CAE}"/>
    <dgm:cxn modelId="{0DCFAC86-AAC1-4DE5-B16C-E6D4E4051A14}" type="presOf" srcId="{6D15CA5D-A5AF-4320-B722-D29202AAA3E1}" destId="{16BEFB15-881B-479A-85F6-A248D1B9CE26}" srcOrd="0" destOrd="2" presId="urn:microsoft.com/office/officeart/2005/8/layout/bProcess3"/>
    <dgm:cxn modelId="{19251F8A-C914-4E6F-9384-AAB5BC9D44DF}" type="presOf" srcId="{9B70B122-068A-468B-9622-1CF570345D05}" destId="{D580CE76-D1E5-4256-9F39-477787344FC9}" srcOrd="0" destOrd="0" presId="urn:microsoft.com/office/officeart/2005/8/layout/bProcess3"/>
    <dgm:cxn modelId="{B1DD618E-D37D-41EB-994C-7D3EFFB30418}" srcId="{0FD75137-7D09-47DE-8F80-0D42E216F36F}" destId="{44F831D6-369E-4379-A0A8-2ADBAF769878}" srcOrd="11" destOrd="0" parTransId="{BCCAB8E9-EB09-444A-ACA6-1F071894E5C4}" sibTransId="{A0A82CB8-3601-4E6B-84AB-6FEF5EBF3BBF}"/>
    <dgm:cxn modelId="{B299E18E-9514-4E1F-A003-BEA9D02874CD}" srcId="{2E15F006-1693-4662-A96C-40B28C2D75EF}" destId="{2E197659-456B-4E7D-9DF8-4B0C7B1B9B49}" srcOrd="0" destOrd="0" parTransId="{B423AF98-1E66-4D8B-95D9-BCC420C53B66}" sibTransId="{278E1402-2FBC-4326-92BA-C4A09AA1C177}"/>
    <dgm:cxn modelId="{9D128090-48CC-4DCB-8D7E-8BB6841ABB24}" type="presOf" srcId="{F94579CE-91A3-46DD-9A55-4D6BEF573B9A}" destId="{101FF5FF-0140-4DB2-8F62-C02AB9F7650A}" srcOrd="0" destOrd="1" presId="urn:microsoft.com/office/officeart/2005/8/layout/bProcess3"/>
    <dgm:cxn modelId="{C367D691-F003-4A4D-A8F7-34975730A043}" srcId="{E1533191-65CE-4C48-8B6C-325C8B5B8F19}" destId="{8DEA85CE-322C-411B-8586-330B465F83CD}" srcOrd="2" destOrd="0" parTransId="{2C1D8958-2012-4F1F-A319-70EAD0BE71E8}" sibTransId="{E762AF47-7341-4946-80C8-79D00FFE0E62}"/>
    <dgm:cxn modelId="{661F1092-FF31-4590-A4D8-1DE8C6ECF837}" type="presOf" srcId="{28DDA1DF-0F98-4C96-B609-07C96F289F89}" destId="{C9C4BFC0-2735-423C-A531-AD7082BE1F15}" srcOrd="0" destOrd="0" presId="urn:microsoft.com/office/officeart/2005/8/layout/bProcess3"/>
    <dgm:cxn modelId="{FC167093-7799-45A3-915F-BA404631B218}" type="presOf" srcId="{E1533191-65CE-4C48-8B6C-325C8B5B8F19}" destId="{0778E29F-2BD2-4DCA-9B40-D23F17C82E87}" srcOrd="0" destOrd="0" presId="urn:microsoft.com/office/officeart/2005/8/layout/bProcess3"/>
    <dgm:cxn modelId="{9E07FC94-BAA4-4FC9-A223-BBE8F49E1442}" type="presOf" srcId="{63230DA2-F65E-4D9A-8FCD-269E79215549}" destId="{416F421E-A903-4F7F-9347-AC3DF776723E}" srcOrd="0" destOrd="0" presId="urn:microsoft.com/office/officeart/2005/8/layout/bProcess3"/>
    <dgm:cxn modelId="{D90DD695-580D-4672-A533-5CDCA317164E}" type="presOf" srcId="{A3CECF6C-CFD0-4766-9EA3-A43CC7B8771F}" destId="{74D20C42-5979-4C13-BC9A-10EDB9A2A073}" srcOrd="0" destOrd="2" presId="urn:microsoft.com/office/officeart/2005/8/layout/bProcess3"/>
    <dgm:cxn modelId="{33094E98-D20F-4DD7-8FBB-2EBF11AF88D7}" srcId="{262CD316-88F9-4005-9169-13E518C2E875}" destId="{7FB8AF67-7EE2-4229-8E72-522256FB2801}" srcOrd="0" destOrd="0" parTransId="{7FF6A1AF-269A-4CB6-9621-260005298E05}" sibTransId="{14EAA7AF-9FAF-433F-BD72-642C26800C21}"/>
    <dgm:cxn modelId="{6ABA9498-8351-4E3C-8936-B8DB06D2162D}" type="presOf" srcId="{72161D26-F524-4AC4-BC9B-2D2B7F23F219}" destId="{101FF5FF-0140-4DB2-8F62-C02AB9F7650A}" srcOrd="0" destOrd="0" presId="urn:microsoft.com/office/officeart/2005/8/layout/bProcess3"/>
    <dgm:cxn modelId="{3082999F-819D-45C2-915B-763DC7118FFF}" type="presOf" srcId="{FECFC447-EA93-44A0-B6DC-22CAF275609B}" destId="{7E4DA183-388A-42A9-8048-20F284798117}" srcOrd="0" destOrd="1" presId="urn:microsoft.com/office/officeart/2005/8/layout/bProcess3"/>
    <dgm:cxn modelId="{619A70A1-7FE5-40B3-AB02-F92F8D18F1B8}" srcId="{0FD75137-7D09-47DE-8F80-0D42E216F36F}" destId="{28DDA1DF-0F98-4C96-B609-07C96F289F89}" srcOrd="9" destOrd="0" parTransId="{C419ED3B-9FD5-446E-9506-FD8FC53B8C69}" sibTransId="{AAB8F875-1D78-4F4A-89C7-D2B7037DFB44}"/>
    <dgm:cxn modelId="{45231BAB-2978-4970-9D5E-0BD6AE26424A}" srcId="{0FD75137-7D09-47DE-8F80-0D42E216F36F}" destId="{72161D26-F524-4AC4-BC9B-2D2B7F23F219}" srcOrd="3" destOrd="0" parTransId="{3EEBD498-67DA-4E4B-B8DA-8EEE5FC6EF08}" sibTransId="{5BCE3D04-F778-44A1-A097-DD5C4F9712EB}"/>
    <dgm:cxn modelId="{0262CBAC-863B-4204-815D-06ACA84045A3}" type="presOf" srcId="{9F4FDF6D-DADE-4062-9ACD-E522EAAFD655}" destId="{0E9618A9-5A40-4DFE-B07B-9F45E176FD61}" srcOrd="1" destOrd="0" presId="urn:microsoft.com/office/officeart/2005/8/layout/bProcess3"/>
    <dgm:cxn modelId="{51975DAE-7AF8-4561-B457-506003FEA9C7}" type="presOf" srcId="{3616EDA3-561E-4120-B463-B13842B3C898}" destId="{0B7EC34B-6072-4EDB-B78E-C387B0B19D5E}" srcOrd="0" destOrd="0" presId="urn:microsoft.com/office/officeart/2005/8/layout/bProcess3"/>
    <dgm:cxn modelId="{A67717B1-B7EA-4B0A-811D-0E1F9C606B99}" type="presOf" srcId="{1C804094-8C82-4F64-AB16-096B9A9FA1CC}" destId="{595D6EAE-B43A-4270-875E-3844B4790EB3}" srcOrd="0" destOrd="0" presId="urn:microsoft.com/office/officeart/2005/8/layout/bProcess3"/>
    <dgm:cxn modelId="{74C75CBA-5459-457F-8D46-0AFC6C5CE0E7}" srcId="{0FD75137-7D09-47DE-8F80-0D42E216F36F}" destId="{BFE45DEB-650C-4158-956D-FE0E04A151E8}" srcOrd="8" destOrd="0" parTransId="{A5BBFBFD-F2D9-496B-93D8-A97CF17F0D65}" sibTransId="{9B70B122-068A-468B-9622-1CF570345D05}"/>
    <dgm:cxn modelId="{1C37B3C1-1187-4530-88B5-29B7B4AA97D3}" srcId="{D9F03525-A298-49B5-B346-52D06A78E51E}" destId="{21A4370F-43E5-4973-BDD7-E6FC32E3B057}" srcOrd="1" destOrd="0" parTransId="{FD94D21A-9B62-4E53-B930-81C4E4D0F609}" sibTransId="{911E02F3-8810-4927-B78B-AA28B039AE3E}"/>
    <dgm:cxn modelId="{CE3A04C4-0BC6-4A0B-AAA8-25CFAA71D854}" type="presOf" srcId="{2E15F006-1693-4662-A96C-40B28C2D75EF}" destId="{AAD74965-B564-4778-BDA9-7F315F498669}" srcOrd="0" destOrd="0" presId="urn:microsoft.com/office/officeart/2005/8/layout/bProcess3"/>
    <dgm:cxn modelId="{F5EE45C7-5F02-43D2-8041-BE7FD47032D8}" type="presOf" srcId="{BFE45DEB-650C-4158-956D-FE0E04A151E8}" destId="{C1B17043-D2FF-49AF-BD46-401B2931FC50}" srcOrd="0" destOrd="0" presId="urn:microsoft.com/office/officeart/2005/8/layout/bProcess3"/>
    <dgm:cxn modelId="{6EA255CF-C020-46EA-A411-5528C2D86B80}" type="presOf" srcId="{5BCE3D04-F778-44A1-A097-DD5C4F9712EB}" destId="{F9F53061-3131-44D0-88AE-199310D28F47}" srcOrd="0" destOrd="0" presId="urn:microsoft.com/office/officeart/2005/8/layout/bProcess3"/>
    <dgm:cxn modelId="{9928E7CF-9909-4B51-9AB1-A4278ED39F2A}" srcId="{2E15F006-1693-4662-A96C-40B28C2D75EF}" destId="{115BBB73-6B7A-4726-9383-3A8ABC5F9BA6}" srcOrd="2" destOrd="0" parTransId="{B42776F9-723B-449E-9195-2FEC2426C5C0}" sibTransId="{2B6BF1EC-A435-41C1-B746-0AD315026940}"/>
    <dgm:cxn modelId="{362AF2CF-A87D-4E17-AE54-CC828CB31F88}" srcId="{E7E371E6-5698-4F4D-A5DC-43553CDD0B9A}" destId="{6D15CA5D-A5AF-4320-B722-D29202AAA3E1}" srcOrd="1" destOrd="0" parTransId="{EC192E58-8CB3-4644-AF25-722E425ED049}" sibTransId="{D596CD35-216C-4E77-8BCD-E9FB872199CB}"/>
    <dgm:cxn modelId="{460786D0-D30A-4D92-91A9-165822FA6C41}" type="presOf" srcId="{821F29DC-3F91-4F73-834E-E84F8D990466}" destId="{101FF5FF-0140-4DB2-8F62-C02AB9F7650A}" srcOrd="0" destOrd="2" presId="urn:microsoft.com/office/officeart/2005/8/layout/bProcess3"/>
    <dgm:cxn modelId="{981D78D2-C189-413E-8C6D-80EEA4930B66}" type="presOf" srcId="{7E60BCBF-A64C-4CF2-B9B6-A01CF7A1D7CE}" destId="{0E8AD192-9138-4632-9D60-400EA573E799}" srcOrd="1" destOrd="0" presId="urn:microsoft.com/office/officeart/2005/8/layout/bProcess3"/>
    <dgm:cxn modelId="{8721A3D8-66D9-489A-A8FC-E1F1084A9524}" type="presOf" srcId="{21A4370F-43E5-4973-BDD7-E6FC32E3B057}" destId="{7E4DA183-388A-42A9-8048-20F284798117}" srcOrd="0" destOrd="2" presId="urn:microsoft.com/office/officeart/2005/8/layout/bProcess3"/>
    <dgm:cxn modelId="{C1AD32DB-6735-44B8-BAE4-163DED3E8F9C}" type="presOf" srcId="{57B39443-F7A2-4AC3-8B5C-BF5E2435C018}" destId="{30963B13-18F7-4D29-B86F-EB643ED75D27}" srcOrd="1" destOrd="0" presId="urn:microsoft.com/office/officeart/2005/8/layout/bProcess3"/>
    <dgm:cxn modelId="{BE57ADDD-CAAF-40EC-8488-12B39EE45B66}" type="presOf" srcId="{E7E371E6-5698-4F4D-A5DC-43553CDD0B9A}" destId="{16BEFB15-881B-479A-85F6-A248D1B9CE26}" srcOrd="0" destOrd="0" presId="urn:microsoft.com/office/officeart/2005/8/layout/bProcess3"/>
    <dgm:cxn modelId="{271241E2-F9C6-4546-AB7D-A6CE61BE60FA}" type="presOf" srcId="{9F4FDF6D-DADE-4062-9ACD-E522EAAFD655}" destId="{6E1BD071-61EB-43A7-AA63-DF32948BAE2B}" srcOrd="0" destOrd="0" presId="urn:microsoft.com/office/officeart/2005/8/layout/bProcess3"/>
    <dgm:cxn modelId="{C5A688E5-486C-470C-B455-FCBEAF598C45}" type="presOf" srcId="{BA2F2C75-3089-45E9-93A6-892C3F1FDC3E}" destId="{25E59D35-E7A7-45A3-8010-D789DA0DA6BB}" srcOrd="1" destOrd="0" presId="urn:microsoft.com/office/officeart/2005/8/layout/bProcess3"/>
    <dgm:cxn modelId="{F804B5E8-1BA3-47DB-AD81-D37B97A6A27A}" type="presOf" srcId="{44F831D6-369E-4379-A0A8-2ADBAF769878}" destId="{7D9C865F-1097-4340-B941-77712CD5A612}" srcOrd="0" destOrd="0" presId="urn:microsoft.com/office/officeart/2005/8/layout/bProcess3"/>
    <dgm:cxn modelId="{D2DBA8EB-5FAD-447B-95BE-48F0901DBDF3}" srcId="{0FD75137-7D09-47DE-8F80-0D42E216F36F}" destId="{3616EDA3-561E-4120-B463-B13842B3C898}" srcOrd="0" destOrd="0" parTransId="{373E5700-66A6-4CFB-9AA8-369C9B6B447A}" sibTransId="{5A0C3303-EC12-4937-B129-20F0668D3652}"/>
    <dgm:cxn modelId="{CDCD17ED-9C9C-4B7A-9FDB-C00E13A999D8}" type="presOf" srcId="{D9F03525-A298-49B5-B346-52D06A78E51E}" destId="{7E4DA183-388A-42A9-8048-20F284798117}" srcOrd="0" destOrd="0" presId="urn:microsoft.com/office/officeart/2005/8/layout/bProcess3"/>
    <dgm:cxn modelId="{3FBEE8EE-71D4-4142-9795-417E35BEC5F8}" type="presOf" srcId="{8DEA85CE-322C-411B-8586-330B465F83CD}" destId="{0778E29F-2BD2-4DCA-9B40-D23F17C82E87}" srcOrd="0" destOrd="3" presId="urn:microsoft.com/office/officeart/2005/8/layout/bProcess3"/>
    <dgm:cxn modelId="{467324FB-7EBE-4774-BA90-7BEBB9FEA638}" type="presOf" srcId="{7E60BCBF-A64C-4CF2-B9B6-A01CF7A1D7CE}" destId="{63AC7F4C-E5D0-4CDD-B7BE-C7C79DF2C0FC}" srcOrd="0" destOrd="0" presId="urn:microsoft.com/office/officeart/2005/8/layout/bProcess3"/>
    <dgm:cxn modelId="{4AEAA1B5-4487-4400-87FC-405FB775EB0C}" type="presParOf" srcId="{15B40A7C-B6B9-45BC-ABC7-79315335EFB4}" destId="{0B7EC34B-6072-4EDB-B78E-C387B0B19D5E}" srcOrd="0" destOrd="0" presId="urn:microsoft.com/office/officeart/2005/8/layout/bProcess3"/>
    <dgm:cxn modelId="{B609E7CD-AEA8-416C-9CDF-3DE89B13B883}" type="presParOf" srcId="{15B40A7C-B6B9-45BC-ABC7-79315335EFB4}" destId="{A518F178-DD9D-404E-8C29-0F5BEF08FFBF}" srcOrd="1" destOrd="0" presId="urn:microsoft.com/office/officeart/2005/8/layout/bProcess3"/>
    <dgm:cxn modelId="{6045AA96-C9E1-4970-9CC1-BECE487BC192}" type="presParOf" srcId="{A518F178-DD9D-404E-8C29-0F5BEF08FFBF}" destId="{C6B4C60C-84F4-4560-B35B-3449059ABA53}" srcOrd="0" destOrd="0" presId="urn:microsoft.com/office/officeart/2005/8/layout/bProcess3"/>
    <dgm:cxn modelId="{0A5C5A35-B93F-496B-BDC4-6BB126EB4BA7}" type="presParOf" srcId="{15B40A7C-B6B9-45BC-ABC7-79315335EFB4}" destId="{AA1221CD-A877-4632-9B8D-C3EE216DB157}" srcOrd="2" destOrd="0" presId="urn:microsoft.com/office/officeart/2005/8/layout/bProcess3"/>
    <dgm:cxn modelId="{F5A7DDE9-192D-45F5-A823-5A500668FC4E}" type="presParOf" srcId="{15B40A7C-B6B9-45BC-ABC7-79315335EFB4}" destId="{416F421E-A903-4F7F-9347-AC3DF776723E}" srcOrd="3" destOrd="0" presId="urn:microsoft.com/office/officeart/2005/8/layout/bProcess3"/>
    <dgm:cxn modelId="{AEE9457A-1FC7-458D-86AE-7341DCAD63BA}" type="presParOf" srcId="{416F421E-A903-4F7F-9347-AC3DF776723E}" destId="{79B02DB8-7D0C-4F75-BA40-556478F51C8E}" srcOrd="0" destOrd="0" presId="urn:microsoft.com/office/officeart/2005/8/layout/bProcess3"/>
    <dgm:cxn modelId="{F6D2ADB3-EFBF-4D6C-A063-AB563C0E7AE0}" type="presParOf" srcId="{15B40A7C-B6B9-45BC-ABC7-79315335EFB4}" destId="{74D20C42-5979-4C13-BC9A-10EDB9A2A073}" srcOrd="4" destOrd="0" presId="urn:microsoft.com/office/officeart/2005/8/layout/bProcess3"/>
    <dgm:cxn modelId="{10730973-A998-47D9-A6AD-444328759A0D}" type="presParOf" srcId="{15B40A7C-B6B9-45BC-ABC7-79315335EFB4}" destId="{62D70E81-4025-480A-89C4-918D36AF6A07}" srcOrd="5" destOrd="0" presId="urn:microsoft.com/office/officeart/2005/8/layout/bProcess3"/>
    <dgm:cxn modelId="{72A31480-DC46-4F13-8DD1-9BC238DFADA5}" type="presParOf" srcId="{62D70E81-4025-480A-89C4-918D36AF6A07}" destId="{30963B13-18F7-4D29-B86F-EB643ED75D27}" srcOrd="0" destOrd="0" presId="urn:microsoft.com/office/officeart/2005/8/layout/bProcess3"/>
    <dgm:cxn modelId="{3B8E9C03-D18B-47CB-9DE4-2A8671681396}" type="presParOf" srcId="{15B40A7C-B6B9-45BC-ABC7-79315335EFB4}" destId="{101FF5FF-0140-4DB2-8F62-C02AB9F7650A}" srcOrd="6" destOrd="0" presId="urn:microsoft.com/office/officeart/2005/8/layout/bProcess3"/>
    <dgm:cxn modelId="{A5F18C4A-61D5-4096-8841-D4F9F55957C1}" type="presParOf" srcId="{15B40A7C-B6B9-45BC-ABC7-79315335EFB4}" destId="{F9F53061-3131-44D0-88AE-199310D28F47}" srcOrd="7" destOrd="0" presId="urn:microsoft.com/office/officeart/2005/8/layout/bProcess3"/>
    <dgm:cxn modelId="{6252767F-4526-47BD-9809-25FD2AE620D8}" type="presParOf" srcId="{F9F53061-3131-44D0-88AE-199310D28F47}" destId="{A3E6ED94-E05A-42D4-A39D-63E0C94E43D4}" srcOrd="0" destOrd="0" presId="urn:microsoft.com/office/officeart/2005/8/layout/bProcess3"/>
    <dgm:cxn modelId="{BC06095F-A06B-4F8F-A191-88BE2183B889}" type="presParOf" srcId="{15B40A7C-B6B9-45BC-ABC7-79315335EFB4}" destId="{0778E29F-2BD2-4DCA-9B40-D23F17C82E87}" srcOrd="8" destOrd="0" presId="urn:microsoft.com/office/officeart/2005/8/layout/bProcess3"/>
    <dgm:cxn modelId="{B81373DE-CC3E-4601-B87C-20734BA5B4AA}" type="presParOf" srcId="{15B40A7C-B6B9-45BC-ABC7-79315335EFB4}" destId="{595D6EAE-B43A-4270-875E-3844B4790EB3}" srcOrd="9" destOrd="0" presId="urn:microsoft.com/office/officeart/2005/8/layout/bProcess3"/>
    <dgm:cxn modelId="{85E4AC7C-66E2-4104-93CE-11888EACFD73}" type="presParOf" srcId="{595D6EAE-B43A-4270-875E-3844B4790EB3}" destId="{4AE0A333-3CDB-475E-B29E-05A4CE450D96}" srcOrd="0" destOrd="0" presId="urn:microsoft.com/office/officeart/2005/8/layout/bProcess3"/>
    <dgm:cxn modelId="{608A5BAD-4A82-45F0-8ABA-A8048559D318}" type="presParOf" srcId="{15B40A7C-B6B9-45BC-ABC7-79315335EFB4}" destId="{16BEFB15-881B-479A-85F6-A248D1B9CE26}" srcOrd="10" destOrd="0" presId="urn:microsoft.com/office/officeart/2005/8/layout/bProcess3"/>
    <dgm:cxn modelId="{A3500272-7F8E-418B-B7CE-8AB74232932E}" type="presParOf" srcId="{15B40A7C-B6B9-45BC-ABC7-79315335EFB4}" destId="{216E7491-C991-4782-B02F-ACA7D867E186}" srcOrd="11" destOrd="0" presId="urn:microsoft.com/office/officeart/2005/8/layout/bProcess3"/>
    <dgm:cxn modelId="{16CF0BE2-A994-4600-8124-B0E3064BEA13}" type="presParOf" srcId="{216E7491-C991-4782-B02F-ACA7D867E186}" destId="{CE451DC5-0D03-4F62-9355-71AACB4875A3}" srcOrd="0" destOrd="0" presId="urn:microsoft.com/office/officeart/2005/8/layout/bProcess3"/>
    <dgm:cxn modelId="{0374BE24-0018-44A4-A783-6B2B2CAFEF54}" type="presParOf" srcId="{15B40A7C-B6B9-45BC-ABC7-79315335EFB4}" destId="{AAD74965-B564-4778-BDA9-7F315F498669}" srcOrd="12" destOrd="0" presId="urn:microsoft.com/office/officeart/2005/8/layout/bProcess3"/>
    <dgm:cxn modelId="{3BED023C-5619-4656-8BAF-F19E5196BD8D}" type="presParOf" srcId="{15B40A7C-B6B9-45BC-ABC7-79315335EFB4}" destId="{63AC7F4C-E5D0-4CDD-B7BE-C7C79DF2C0FC}" srcOrd="13" destOrd="0" presId="urn:microsoft.com/office/officeart/2005/8/layout/bProcess3"/>
    <dgm:cxn modelId="{CEA881D4-AA96-4AF3-B7D0-E31015C5911B}" type="presParOf" srcId="{63AC7F4C-E5D0-4CDD-B7BE-C7C79DF2C0FC}" destId="{0E8AD192-9138-4632-9D60-400EA573E799}" srcOrd="0" destOrd="0" presId="urn:microsoft.com/office/officeart/2005/8/layout/bProcess3"/>
    <dgm:cxn modelId="{4F51913A-D05F-4CBF-968F-F378B4879492}" type="presParOf" srcId="{15B40A7C-B6B9-45BC-ABC7-79315335EFB4}" destId="{7E4DA183-388A-42A9-8048-20F284798117}" srcOrd="14" destOrd="0" presId="urn:microsoft.com/office/officeart/2005/8/layout/bProcess3"/>
    <dgm:cxn modelId="{9A21E7BD-9E4E-472D-9779-0FBDCD9047ED}" type="presParOf" srcId="{15B40A7C-B6B9-45BC-ABC7-79315335EFB4}" destId="{3B68FFDB-E280-48C6-BC35-CA6C5B6DC705}" srcOrd="15" destOrd="0" presId="urn:microsoft.com/office/officeart/2005/8/layout/bProcess3"/>
    <dgm:cxn modelId="{FB51346E-5EBD-49CA-AF02-B68C5C195093}" type="presParOf" srcId="{3B68FFDB-E280-48C6-BC35-CA6C5B6DC705}" destId="{25E59D35-E7A7-45A3-8010-D789DA0DA6BB}" srcOrd="0" destOrd="0" presId="urn:microsoft.com/office/officeart/2005/8/layout/bProcess3"/>
    <dgm:cxn modelId="{C67211B4-7B3B-4D5D-8CE1-FEA419A9F772}" type="presParOf" srcId="{15B40A7C-B6B9-45BC-ABC7-79315335EFB4}" destId="{C1B17043-D2FF-49AF-BD46-401B2931FC50}" srcOrd="16" destOrd="0" presId="urn:microsoft.com/office/officeart/2005/8/layout/bProcess3"/>
    <dgm:cxn modelId="{A7BF58A7-7D58-44DB-887E-9277ACCE8F49}" type="presParOf" srcId="{15B40A7C-B6B9-45BC-ABC7-79315335EFB4}" destId="{D580CE76-D1E5-4256-9F39-477787344FC9}" srcOrd="17" destOrd="0" presId="urn:microsoft.com/office/officeart/2005/8/layout/bProcess3"/>
    <dgm:cxn modelId="{1AF5600E-C164-41ED-9CBA-64A1A1F9B1C3}" type="presParOf" srcId="{D580CE76-D1E5-4256-9F39-477787344FC9}" destId="{89DB1201-E2C4-4A61-A949-ABD94C3732E1}" srcOrd="0" destOrd="0" presId="urn:microsoft.com/office/officeart/2005/8/layout/bProcess3"/>
    <dgm:cxn modelId="{13A9CE76-72E8-40C5-B2AE-EBEBB50774E2}" type="presParOf" srcId="{15B40A7C-B6B9-45BC-ABC7-79315335EFB4}" destId="{C9C4BFC0-2735-423C-A531-AD7082BE1F15}" srcOrd="18" destOrd="0" presId="urn:microsoft.com/office/officeart/2005/8/layout/bProcess3"/>
    <dgm:cxn modelId="{009C0DEC-0429-489D-A860-B81855759AC3}" type="presParOf" srcId="{15B40A7C-B6B9-45BC-ABC7-79315335EFB4}" destId="{0E81187F-AB49-4B57-83B0-08B856F0B7E4}" srcOrd="19" destOrd="0" presId="urn:microsoft.com/office/officeart/2005/8/layout/bProcess3"/>
    <dgm:cxn modelId="{CBD0F829-24F7-4F1F-865F-12387E2F88C4}" type="presParOf" srcId="{0E81187F-AB49-4B57-83B0-08B856F0B7E4}" destId="{EDA8976A-AA14-4CA2-A53F-CFBA0527982C}" srcOrd="0" destOrd="0" presId="urn:microsoft.com/office/officeart/2005/8/layout/bProcess3"/>
    <dgm:cxn modelId="{8461960B-1253-4747-83F3-6E3A59CC6097}" type="presParOf" srcId="{15B40A7C-B6B9-45BC-ABC7-79315335EFB4}" destId="{E1C2DB0F-4044-4655-B3CA-8FE3F08E12E1}" srcOrd="20" destOrd="0" presId="urn:microsoft.com/office/officeart/2005/8/layout/bProcess3"/>
    <dgm:cxn modelId="{083EA282-63CB-46DC-9BEB-B24F2B06427B}" type="presParOf" srcId="{15B40A7C-B6B9-45BC-ABC7-79315335EFB4}" destId="{6E1BD071-61EB-43A7-AA63-DF32948BAE2B}" srcOrd="21" destOrd="0" presId="urn:microsoft.com/office/officeart/2005/8/layout/bProcess3"/>
    <dgm:cxn modelId="{DF2C84B3-318F-4488-AAA7-CD84CA4D14FA}" type="presParOf" srcId="{6E1BD071-61EB-43A7-AA63-DF32948BAE2B}" destId="{0E9618A9-5A40-4DFE-B07B-9F45E176FD61}" srcOrd="0" destOrd="0" presId="urn:microsoft.com/office/officeart/2005/8/layout/bProcess3"/>
    <dgm:cxn modelId="{844A97EA-34CA-45C5-B5C6-3003C4567DFE}" type="presParOf" srcId="{15B40A7C-B6B9-45BC-ABC7-79315335EFB4}" destId="{7D9C865F-1097-4340-B941-77712CD5A612}" srcOrd="22"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823E7292-A036-4ACF-8BBB-7E78E5A20625}" type="doc">
      <dgm:prSet loTypeId="urn:microsoft.com/office/officeart/2005/8/layout/cycle3" loCatId="cycle" qsTypeId="urn:microsoft.com/office/officeart/2005/8/quickstyle/simple1" qsCatId="simple" csTypeId="urn:microsoft.com/office/officeart/2005/8/colors/accent1_4" csCatId="accent1" phldr="1"/>
      <dgm:spPr/>
      <dgm:t>
        <a:bodyPr/>
        <a:lstStyle/>
        <a:p>
          <a:endParaRPr lang="es-ES"/>
        </a:p>
      </dgm:t>
    </dgm:pt>
    <dgm:pt modelId="{DF704AD6-BA6B-4ACA-A9F7-2E053E5FABD2}">
      <dgm:prSet phldrT="[Texto]"/>
      <dgm:spPr/>
      <dgm:t>
        <a:bodyPr/>
        <a:lstStyle/>
        <a:p>
          <a:r>
            <a:rPr lang="es-ES" b="0" i="0" u="none" dirty="0"/>
            <a:t>Entendimiento del caso de negocio</a:t>
          </a:r>
          <a:endParaRPr lang="es-ES" dirty="0"/>
        </a:p>
      </dgm:t>
    </dgm:pt>
    <dgm:pt modelId="{CFA8A40C-C747-454D-B853-AF4466A7E6CA}" type="parTrans" cxnId="{70E70BE9-E766-4DC2-86E1-7DE41A73C631}">
      <dgm:prSet/>
      <dgm:spPr/>
      <dgm:t>
        <a:bodyPr/>
        <a:lstStyle/>
        <a:p>
          <a:endParaRPr lang="es-ES"/>
        </a:p>
      </dgm:t>
    </dgm:pt>
    <dgm:pt modelId="{86DDF109-78D0-4974-BDB5-190465A70198}" type="sibTrans" cxnId="{70E70BE9-E766-4DC2-86E1-7DE41A73C631}">
      <dgm:prSet/>
      <dgm:spPr/>
      <dgm:t>
        <a:bodyPr/>
        <a:lstStyle/>
        <a:p>
          <a:endParaRPr lang="es-ES"/>
        </a:p>
      </dgm:t>
    </dgm:pt>
    <dgm:pt modelId="{805EF062-97C9-4BD3-829B-39FBE38BC928}">
      <dgm:prSet/>
      <dgm:spPr/>
      <dgm:t>
        <a:bodyPr/>
        <a:lstStyle/>
        <a:p>
          <a:r>
            <a:rPr lang="es-ES" b="0" i="0" u="none" dirty="0"/>
            <a:t>Entendimiento de los datos</a:t>
          </a:r>
        </a:p>
      </dgm:t>
    </dgm:pt>
    <dgm:pt modelId="{F02A7C36-920C-4EE2-85CD-4D903BCD0646}" type="parTrans" cxnId="{087EB3D4-F568-499A-8CA8-6D582E00D53D}">
      <dgm:prSet/>
      <dgm:spPr/>
      <dgm:t>
        <a:bodyPr/>
        <a:lstStyle/>
        <a:p>
          <a:endParaRPr lang="es-ES"/>
        </a:p>
      </dgm:t>
    </dgm:pt>
    <dgm:pt modelId="{0A36C5F7-D760-49C4-9F78-83797895271E}" type="sibTrans" cxnId="{087EB3D4-F568-499A-8CA8-6D582E00D53D}">
      <dgm:prSet/>
      <dgm:spPr/>
      <dgm:t>
        <a:bodyPr/>
        <a:lstStyle/>
        <a:p>
          <a:endParaRPr lang="es-ES"/>
        </a:p>
      </dgm:t>
    </dgm:pt>
    <dgm:pt modelId="{083C96A4-236F-4BA4-9BF9-BDCDE1C7D627}">
      <dgm:prSet/>
      <dgm:spPr/>
      <dgm:t>
        <a:bodyPr/>
        <a:lstStyle/>
        <a:p>
          <a:r>
            <a:rPr lang="es-ES" b="0" i="0" u="none" dirty="0"/>
            <a:t>Preparación de los datos</a:t>
          </a:r>
        </a:p>
      </dgm:t>
    </dgm:pt>
    <dgm:pt modelId="{DB0A4D55-A6EB-478E-A20B-F5743A89EBAD}" type="parTrans" cxnId="{48D650E1-B14C-4E5C-8520-3555C35F474F}">
      <dgm:prSet/>
      <dgm:spPr/>
      <dgm:t>
        <a:bodyPr/>
        <a:lstStyle/>
        <a:p>
          <a:endParaRPr lang="es-ES"/>
        </a:p>
      </dgm:t>
    </dgm:pt>
    <dgm:pt modelId="{6B82723A-5153-4CE0-AAF6-C991E581AE7F}" type="sibTrans" cxnId="{48D650E1-B14C-4E5C-8520-3555C35F474F}">
      <dgm:prSet/>
      <dgm:spPr/>
      <dgm:t>
        <a:bodyPr/>
        <a:lstStyle/>
        <a:p>
          <a:endParaRPr lang="es-ES"/>
        </a:p>
      </dgm:t>
    </dgm:pt>
    <dgm:pt modelId="{9C860DF7-6289-4F2E-BE5A-1661E4DC10E4}">
      <dgm:prSet/>
      <dgm:spPr/>
      <dgm:t>
        <a:bodyPr/>
        <a:lstStyle/>
        <a:p>
          <a:r>
            <a:rPr lang="es-ES" b="0" i="0" u="none" dirty="0"/>
            <a:t>Modelado</a:t>
          </a:r>
        </a:p>
      </dgm:t>
    </dgm:pt>
    <dgm:pt modelId="{1202E2DA-8A97-4AE6-8F41-4848FD4A88D5}" type="parTrans" cxnId="{ED5AF77E-A7E0-4ECD-B559-31835250DEFC}">
      <dgm:prSet/>
      <dgm:spPr/>
      <dgm:t>
        <a:bodyPr/>
        <a:lstStyle/>
        <a:p>
          <a:endParaRPr lang="es-ES"/>
        </a:p>
      </dgm:t>
    </dgm:pt>
    <dgm:pt modelId="{E7D923B9-EEB5-4AE7-8274-8FB7569CB434}" type="sibTrans" cxnId="{ED5AF77E-A7E0-4ECD-B559-31835250DEFC}">
      <dgm:prSet/>
      <dgm:spPr/>
      <dgm:t>
        <a:bodyPr/>
        <a:lstStyle/>
        <a:p>
          <a:endParaRPr lang="es-ES"/>
        </a:p>
      </dgm:t>
    </dgm:pt>
    <dgm:pt modelId="{B26F927C-8488-456B-966C-294DB162152B}">
      <dgm:prSet/>
      <dgm:spPr/>
      <dgm:t>
        <a:bodyPr/>
        <a:lstStyle/>
        <a:p>
          <a:r>
            <a:rPr lang="es-ES" b="0" i="0" u="none" dirty="0"/>
            <a:t>Evaluación</a:t>
          </a:r>
        </a:p>
      </dgm:t>
    </dgm:pt>
    <dgm:pt modelId="{04B926C8-2B9A-4F7C-B935-3DE4235F42FC}" type="parTrans" cxnId="{1C999FA3-F37F-45A4-BE8A-A6F3C3300225}">
      <dgm:prSet/>
      <dgm:spPr/>
      <dgm:t>
        <a:bodyPr/>
        <a:lstStyle/>
        <a:p>
          <a:endParaRPr lang="es-ES"/>
        </a:p>
      </dgm:t>
    </dgm:pt>
    <dgm:pt modelId="{4E7CB2CC-E8D5-4E28-98D2-8D04A9A99518}" type="sibTrans" cxnId="{1C999FA3-F37F-45A4-BE8A-A6F3C3300225}">
      <dgm:prSet/>
      <dgm:spPr/>
      <dgm:t>
        <a:bodyPr/>
        <a:lstStyle/>
        <a:p>
          <a:endParaRPr lang="es-ES"/>
        </a:p>
      </dgm:t>
    </dgm:pt>
    <dgm:pt modelId="{55CCCD6B-3479-4693-877F-F832B3E42AFE}">
      <dgm:prSet/>
      <dgm:spPr/>
      <dgm:t>
        <a:bodyPr/>
        <a:lstStyle/>
        <a:p>
          <a:r>
            <a:rPr lang="es-ES" b="0" i="0" u="none" dirty="0"/>
            <a:t>Despliegue</a:t>
          </a:r>
        </a:p>
      </dgm:t>
    </dgm:pt>
    <dgm:pt modelId="{4E9A0A8C-B6B4-4B5D-A5C9-4B11283F2800}" type="parTrans" cxnId="{F5EAB620-FD93-42B5-83BF-CA3C50020BAD}">
      <dgm:prSet/>
      <dgm:spPr/>
      <dgm:t>
        <a:bodyPr/>
        <a:lstStyle/>
        <a:p>
          <a:endParaRPr lang="es-ES"/>
        </a:p>
      </dgm:t>
    </dgm:pt>
    <dgm:pt modelId="{3635453B-D36E-48FA-B0EF-572134C72784}" type="sibTrans" cxnId="{F5EAB620-FD93-42B5-83BF-CA3C50020BAD}">
      <dgm:prSet/>
      <dgm:spPr/>
      <dgm:t>
        <a:bodyPr/>
        <a:lstStyle/>
        <a:p>
          <a:endParaRPr lang="es-ES"/>
        </a:p>
      </dgm:t>
    </dgm:pt>
    <dgm:pt modelId="{4DA69987-A477-44B5-8911-865AAD96AD36}" type="pres">
      <dgm:prSet presAssocID="{823E7292-A036-4ACF-8BBB-7E78E5A20625}" presName="Name0" presStyleCnt="0">
        <dgm:presLayoutVars>
          <dgm:dir/>
          <dgm:resizeHandles val="exact"/>
        </dgm:presLayoutVars>
      </dgm:prSet>
      <dgm:spPr/>
    </dgm:pt>
    <dgm:pt modelId="{239772EF-0009-4B1A-B571-7917656F4EA4}" type="pres">
      <dgm:prSet presAssocID="{823E7292-A036-4ACF-8BBB-7E78E5A20625}" presName="cycle" presStyleCnt="0"/>
      <dgm:spPr/>
    </dgm:pt>
    <dgm:pt modelId="{3335DF23-7792-4D06-8BD5-D2BAE8D4C447}" type="pres">
      <dgm:prSet presAssocID="{DF704AD6-BA6B-4ACA-A9F7-2E053E5FABD2}" presName="nodeFirstNode" presStyleLbl="node1" presStyleIdx="0" presStyleCnt="6">
        <dgm:presLayoutVars>
          <dgm:bulletEnabled val="1"/>
        </dgm:presLayoutVars>
      </dgm:prSet>
      <dgm:spPr/>
    </dgm:pt>
    <dgm:pt modelId="{B1847AEC-760C-4D87-A64D-78C3164BAFD5}" type="pres">
      <dgm:prSet presAssocID="{86DDF109-78D0-4974-BDB5-190465A70198}" presName="sibTransFirstNode" presStyleLbl="bgShp" presStyleIdx="0" presStyleCnt="1"/>
      <dgm:spPr/>
    </dgm:pt>
    <dgm:pt modelId="{213C509B-973A-4E41-BA2A-DA6D1F3D2ADE}" type="pres">
      <dgm:prSet presAssocID="{805EF062-97C9-4BD3-829B-39FBE38BC928}" presName="nodeFollowingNodes" presStyleLbl="node1" presStyleIdx="1" presStyleCnt="6">
        <dgm:presLayoutVars>
          <dgm:bulletEnabled val="1"/>
        </dgm:presLayoutVars>
      </dgm:prSet>
      <dgm:spPr/>
    </dgm:pt>
    <dgm:pt modelId="{9DF2B110-725F-40BA-9868-2AA7772FE429}" type="pres">
      <dgm:prSet presAssocID="{083C96A4-236F-4BA4-9BF9-BDCDE1C7D627}" presName="nodeFollowingNodes" presStyleLbl="node1" presStyleIdx="2" presStyleCnt="6">
        <dgm:presLayoutVars>
          <dgm:bulletEnabled val="1"/>
        </dgm:presLayoutVars>
      </dgm:prSet>
      <dgm:spPr/>
    </dgm:pt>
    <dgm:pt modelId="{BF0A7631-1D32-4BB5-B5E8-04B167BE5102}" type="pres">
      <dgm:prSet presAssocID="{9C860DF7-6289-4F2E-BE5A-1661E4DC10E4}" presName="nodeFollowingNodes" presStyleLbl="node1" presStyleIdx="3" presStyleCnt="6">
        <dgm:presLayoutVars>
          <dgm:bulletEnabled val="1"/>
        </dgm:presLayoutVars>
      </dgm:prSet>
      <dgm:spPr/>
    </dgm:pt>
    <dgm:pt modelId="{1EA64458-AF99-4675-A8E1-74FB5D74DC5A}" type="pres">
      <dgm:prSet presAssocID="{B26F927C-8488-456B-966C-294DB162152B}" presName="nodeFollowingNodes" presStyleLbl="node1" presStyleIdx="4" presStyleCnt="6">
        <dgm:presLayoutVars>
          <dgm:bulletEnabled val="1"/>
        </dgm:presLayoutVars>
      </dgm:prSet>
      <dgm:spPr/>
    </dgm:pt>
    <dgm:pt modelId="{5ABC2BBA-7D3B-4EDE-AAB2-DFD09BD1CB95}" type="pres">
      <dgm:prSet presAssocID="{55CCCD6B-3479-4693-877F-F832B3E42AFE}" presName="nodeFollowingNodes" presStyleLbl="node1" presStyleIdx="5" presStyleCnt="6">
        <dgm:presLayoutVars>
          <dgm:bulletEnabled val="1"/>
        </dgm:presLayoutVars>
      </dgm:prSet>
      <dgm:spPr/>
    </dgm:pt>
  </dgm:ptLst>
  <dgm:cxnLst>
    <dgm:cxn modelId="{5E9AF702-7EA7-4DE7-93CF-072C7A55EC69}" type="presOf" srcId="{55CCCD6B-3479-4693-877F-F832B3E42AFE}" destId="{5ABC2BBA-7D3B-4EDE-AAB2-DFD09BD1CB95}" srcOrd="0" destOrd="0" presId="urn:microsoft.com/office/officeart/2005/8/layout/cycle3"/>
    <dgm:cxn modelId="{F5EAB620-FD93-42B5-83BF-CA3C50020BAD}" srcId="{823E7292-A036-4ACF-8BBB-7E78E5A20625}" destId="{55CCCD6B-3479-4693-877F-F832B3E42AFE}" srcOrd="5" destOrd="0" parTransId="{4E9A0A8C-B6B4-4B5D-A5C9-4B11283F2800}" sibTransId="{3635453B-D36E-48FA-B0EF-572134C72784}"/>
    <dgm:cxn modelId="{772D8E38-0B99-43ED-90A9-1D1AC0952D1B}" type="presOf" srcId="{DF704AD6-BA6B-4ACA-A9F7-2E053E5FABD2}" destId="{3335DF23-7792-4D06-8BD5-D2BAE8D4C447}" srcOrd="0" destOrd="0" presId="urn:microsoft.com/office/officeart/2005/8/layout/cycle3"/>
    <dgm:cxn modelId="{63A78339-66A9-4C79-B103-FDE11EB8469F}" type="presOf" srcId="{9C860DF7-6289-4F2E-BE5A-1661E4DC10E4}" destId="{BF0A7631-1D32-4BB5-B5E8-04B167BE5102}" srcOrd="0" destOrd="0" presId="urn:microsoft.com/office/officeart/2005/8/layout/cycle3"/>
    <dgm:cxn modelId="{FE502D6A-0E4F-44E4-A309-7BF50B98A8EA}" type="presOf" srcId="{86DDF109-78D0-4974-BDB5-190465A70198}" destId="{B1847AEC-760C-4D87-A64D-78C3164BAFD5}" srcOrd="0" destOrd="0" presId="urn:microsoft.com/office/officeart/2005/8/layout/cycle3"/>
    <dgm:cxn modelId="{6EA31A7B-81CB-452B-80FC-0B10284C495A}" type="presOf" srcId="{B26F927C-8488-456B-966C-294DB162152B}" destId="{1EA64458-AF99-4675-A8E1-74FB5D74DC5A}" srcOrd="0" destOrd="0" presId="urn:microsoft.com/office/officeart/2005/8/layout/cycle3"/>
    <dgm:cxn modelId="{ED5AF77E-A7E0-4ECD-B559-31835250DEFC}" srcId="{823E7292-A036-4ACF-8BBB-7E78E5A20625}" destId="{9C860DF7-6289-4F2E-BE5A-1661E4DC10E4}" srcOrd="3" destOrd="0" parTransId="{1202E2DA-8A97-4AE6-8F41-4848FD4A88D5}" sibTransId="{E7D923B9-EEB5-4AE7-8274-8FB7569CB434}"/>
    <dgm:cxn modelId="{1C999FA3-F37F-45A4-BE8A-A6F3C3300225}" srcId="{823E7292-A036-4ACF-8BBB-7E78E5A20625}" destId="{B26F927C-8488-456B-966C-294DB162152B}" srcOrd="4" destOrd="0" parTransId="{04B926C8-2B9A-4F7C-B935-3DE4235F42FC}" sibTransId="{4E7CB2CC-E8D5-4E28-98D2-8D04A9A99518}"/>
    <dgm:cxn modelId="{95FE8EA6-F068-47B1-9F8A-6ABAD393D7B3}" type="presOf" srcId="{805EF062-97C9-4BD3-829B-39FBE38BC928}" destId="{213C509B-973A-4E41-BA2A-DA6D1F3D2ADE}" srcOrd="0" destOrd="0" presId="urn:microsoft.com/office/officeart/2005/8/layout/cycle3"/>
    <dgm:cxn modelId="{285753C2-AA97-4D93-AFA6-0E2821C1EDFC}" type="presOf" srcId="{083C96A4-236F-4BA4-9BF9-BDCDE1C7D627}" destId="{9DF2B110-725F-40BA-9868-2AA7772FE429}" srcOrd="0" destOrd="0" presId="urn:microsoft.com/office/officeart/2005/8/layout/cycle3"/>
    <dgm:cxn modelId="{CE7F98C4-4DD0-49DC-A623-EBDB1F4B89FF}" type="presOf" srcId="{823E7292-A036-4ACF-8BBB-7E78E5A20625}" destId="{4DA69987-A477-44B5-8911-865AAD96AD36}" srcOrd="0" destOrd="0" presId="urn:microsoft.com/office/officeart/2005/8/layout/cycle3"/>
    <dgm:cxn modelId="{087EB3D4-F568-499A-8CA8-6D582E00D53D}" srcId="{823E7292-A036-4ACF-8BBB-7E78E5A20625}" destId="{805EF062-97C9-4BD3-829B-39FBE38BC928}" srcOrd="1" destOrd="0" parTransId="{F02A7C36-920C-4EE2-85CD-4D903BCD0646}" sibTransId="{0A36C5F7-D760-49C4-9F78-83797895271E}"/>
    <dgm:cxn modelId="{48D650E1-B14C-4E5C-8520-3555C35F474F}" srcId="{823E7292-A036-4ACF-8BBB-7E78E5A20625}" destId="{083C96A4-236F-4BA4-9BF9-BDCDE1C7D627}" srcOrd="2" destOrd="0" parTransId="{DB0A4D55-A6EB-478E-A20B-F5743A89EBAD}" sibTransId="{6B82723A-5153-4CE0-AAF6-C991E581AE7F}"/>
    <dgm:cxn modelId="{70E70BE9-E766-4DC2-86E1-7DE41A73C631}" srcId="{823E7292-A036-4ACF-8BBB-7E78E5A20625}" destId="{DF704AD6-BA6B-4ACA-A9F7-2E053E5FABD2}" srcOrd="0" destOrd="0" parTransId="{CFA8A40C-C747-454D-B853-AF4466A7E6CA}" sibTransId="{86DDF109-78D0-4974-BDB5-190465A70198}"/>
    <dgm:cxn modelId="{1757A3A1-CAA2-4FCB-BEEF-5748D171F13E}" type="presParOf" srcId="{4DA69987-A477-44B5-8911-865AAD96AD36}" destId="{239772EF-0009-4B1A-B571-7917656F4EA4}" srcOrd="0" destOrd="0" presId="urn:microsoft.com/office/officeart/2005/8/layout/cycle3"/>
    <dgm:cxn modelId="{8CB747D6-6B7D-48B0-A484-4DA56FA592F0}" type="presParOf" srcId="{239772EF-0009-4B1A-B571-7917656F4EA4}" destId="{3335DF23-7792-4D06-8BD5-D2BAE8D4C447}" srcOrd="0" destOrd="0" presId="urn:microsoft.com/office/officeart/2005/8/layout/cycle3"/>
    <dgm:cxn modelId="{7A6D352D-55D6-4D9D-A48C-86085537F4EE}" type="presParOf" srcId="{239772EF-0009-4B1A-B571-7917656F4EA4}" destId="{B1847AEC-760C-4D87-A64D-78C3164BAFD5}" srcOrd="1" destOrd="0" presId="urn:microsoft.com/office/officeart/2005/8/layout/cycle3"/>
    <dgm:cxn modelId="{1B64867C-BA5B-40AC-9BDB-1FC2FDF95873}" type="presParOf" srcId="{239772EF-0009-4B1A-B571-7917656F4EA4}" destId="{213C509B-973A-4E41-BA2A-DA6D1F3D2ADE}" srcOrd="2" destOrd="0" presId="urn:microsoft.com/office/officeart/2005/8/layout/cycle3"/>
    <dgm:cxn modelId="{8A06128A-0987-4CF3-851B-36E9587C5AC0}" type="presParOf" srcId="{239772EF-0009-4B1A-B571-7917656F4EA4}" destId="{9DF2B110-725F-40BA-9868-2AA7772FE429}" srcOrd="3" destOrd="0" presId="urn:microsoft.com/office/officeart/2005/8/layout/cycle3"/>
    <dgm:cxn modelId="{2C76DC5F-BC19-4875-AD87-E5FE58E53E51}" type="presParOf" srcId="{239772EF-0009-4B1A-B571-7917656F4EA4}" destId="{BF0A7631-1D32-4BB5-B5E8-04B167BE5102}" srcOrd="4" destOrd="0" presId="urn:microsoft.com/office/officeart/2005/8/layout/cycle3"/>
    <dgm:cxn modelId="{F4627B41-639C-4722-A28F-0C731483BF1C}" type="presParOf" srcId="{239772EF-0009-4B1A-B571-7917656F4EA4}" destId="{1EA64458-AF99-4675-A8E1-74FB5D74DC5A}" srcOrd="5" destOrd="0" presId="urn:microsoft.com/office/officeart/2005/8/layout/cycle3"/>
    <dgm:cxn modelId="{9FB24869-E1CA-4AF1-9C8B-48860AAAB2E5}" type="presParOf" srcId="{239772EF-0009-4B1A-B571-7917656F4EA4}" destId="{5ABC2BBA-7D3B-4EDE-AAB2-DFD09BD1CB95}" srcOrd="6"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8F220E24-5885-4FED-AC4A-8BD01B891B4A}"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s-ES"/>
        </a:p>
      </dgm:t>
    </dgm:pt>
    <dgm:pt modelId="{2FACD232-3699-4406-A288-AC7E9DC6CD42}">
      <dgm:prSet phldrT="[Texto]"/>
      <dgm:spPr/>
      <dgm:t>
        <a:bodyPr/>
        <a:lstStyle/>
        <a:p>
          <a:r>
            <a:rPr lang="es-ES" dirty="0"/>
            <a:t>Aumenta la autonomía y transparencia.</a:t>
          </a:r>
        </a:p>
      </dgm:t>
    </dgm:pt>
    <dgm:pt modelId="{0482AAB6-287B-4555-8448-2C233BC373E3}" type="parTrans" cxnId="{8E674144-CF27-44A8-8B17-8ED829D81E67}">
      <dgm:prSet/>
      <dgm:spPr/>
      <dgm:t>
        <a:bodyPr/>
        <a:lstStyle/>
        <a:p>
          <a:endParaRPr lang="es-ES"/>
        </a:p>
      </dgm:t>
    </dgm:pt>
    <dgm:pt modelId="{326E3FAE-9634-480A-A81C-C3DE56A39D3C}" type="sibTrans" cxnId="{8E674144-CF27-44A8-8B17-8ED829D81E67}">
      <dgm:prSet/>
      <dgm:spPr/>
      <dgm:t>
        <a:bodyPr/>
        <a:lstStyle/>
        <a:p>
          <a:endParaRPr lang="es-ES"/>
        </a:p>
      </dgm:t>
    </dgm:pt>
    <dgm:pt modelId="{A49B3E2E-E710-4597-8B01-CDC13B9D5EE9}">
      <dgm:prSet/>
      <dgm:spPr/>
      <dgm:t>
        <a:bodyPr/>
        <a:lstStyle/>
        <a:p>
          <a:r>
            <a:rPr lang="es-ES" dirty="0"/>
            <a:t>Permite dimensionar mejor los proyectos minimizando los riesgos.</a:t>
          </a:r>
        </a:p>
      </dgm:t>
    </dgm:pt>
    <dgm:pt modelId="{A0E81D50-B310-4E4F-A800-492718BE4462}" type="parTrans" cxnId="{5E917D31-FB03-4589-8A74-ED03DCF640E8}">
      <dgm:prSet/>
      <dgm:spPr/>
      <dgm:t>
        <a:bodyPr/>
        <a:lstStyle/>
        <a:p>
          <a:endParaRPr lang="es-ES"/>
        </a:p>
      </dgm:t>
    </dgm:pt>
    <dgm:pt modelId="{7FEC0F8A-E80E-4647-A025-880C035DECCA}" type="sibTrans" cxnId="{5E917D31-FB03-4589-8A74-ED03DCF640E8}">
      <dgm:prSet/>
      <dgm:spPr/>
      <dgm:t>
        <a:bodyPr/>
        <a:lstStyle/>
        <a:p>
          <a:endParaRPr lang="es-ES"/>
        </a:p>
      </dgm:t>
    </dgm:pt>
    <dgm:pt modelId="{BB987947-30C8-41FF-85D9-060AAE1AF2A2}">
      <dgm:prSet/>
      <dgm:spPr/>
      <dgm:t>
        <a:bodyPr/>
        <a:lstStyle/>
        <a:p>
          <a:r>
            <a:rPr lang="es-ES" dirty="0"/>
            <a:t>Facilita la priorización y toma de decisiones.</a:t>
          </a:r>
        </a:p>
      </dgm:t>
    </dgm:pt>
    <dgm:pt modelId="{DCBE6011-DFEB-4075-8417-8EC63A7D1EAA}" type="parTrans" cxnId="{006CC488-369B-4DC4-9CC7-3FBC3C2276F9}">
      <dgm:prSet/>
      <dgm:spPr/>
      <dgm:t>
        <a:bodyPr/>
        <a:lstStyle/>
        <a:p>
          <a:endParaRPr lang="es-ES"/>
        </a:p>
      </dgm:t>
    </dgm:pt>
    <dgm:pt modelId="{E961C915-2017-4717-8162-7A9E8B467776}" type="sibTrans" cxnId="{006CC488-369B-4DC4-9CC7-3FBC3C2276F9}">
      <dgm:prSet/>
      <dgm:spPr/>
      <dgm:t>
        <a:bodyPr/>
        <a:lstStyle/>
        <a:p>
          <a:endParaRPr lang="es-ES"/>
        </a:p>
      </dgm:t>
    </dgm:pt>
    <dgm:pt modelId="{72A59913-73EE-4E58-A7CD-1ED8CBAC4F57}">
      <dgm:prSet/>
      <dgm:spPr/>
      <dgm:t>
        <a:bodyPr/>
        <a:lstStyle/>
        <a:p>
          <a:r>
            <a:rPr lang="es-ES" dirty="0"/>
            <a:t>Pone el foco en las personas.</a:t>
          </a:r>
        </a:p>
      </dgm:t>
    </dgm:pt>
    <dgm:pt modelId="{63E434FF-9760-4DFF-BCE3-46401B2A5673}" type="parTrans" cxnId="{195D309E-FA91-46DE-B4E6-9ACF2148B335}">
      <dgm:prSet/>
      <dgm:spPr/>
      <dgm:t>
        <a:bodyPr/>
        <a:lstStyle/>
        <a:p>
          <a:endParaRPr lang="es-ES"/>
        </a:p>
      </dgm:t>
    </dgm:pt>
    <dgm:pt modelId="{10958521-7800-4999-8F1A-A84818C96030}" type="sibTrans" cxnId="{195D309E-FA91-46DE-B4E6-9ACF2148B335}">
      <dgm:prSet/>
      <dgm:spPr/>
      <dgm:t>
        <a:bodyPr/>
        <a:lstStyle/>
        <a:p>
          <a:endParaRPr lang="es-ES"/>
        </a:p>
      </dgm:t>
    </dgm:pt>
    <dgm:pt modelId="{0590123D-E2BC-4DBC-8CFB-E714F22503C7}">
      <dgm:prSet/>
      <dgm:spPr/>
      <dgm:t>
        <a:bodyPr/>
        <a:lstStyle/>
        <a:p>
          <a:r>
            <a:rPr lang="es-ES" dirty="0"/>
            <a:t>Fomenta la responsabilidad dentro del equipo.</a:t>
          </a:r>
        </a:p>
      </dgm:t>
    </dgm:pt>
    <dgm:pt modelId="{2B8805CA-2FA1-4646-BECF-CAFA537E3D6B}" type="parTrans" cxnId="{51256948-DE59-4FC7-AD2B-A620C7C566EE}">
      <dgm:prSet/>
      <dgm:spPr/>
      <dgm:t>
        <a:bodyPr/>
        <a:lstStyle/>
        <a:p>
          <a:endParaRPr lang="es-ES"/>
        </a:p>
      </dgm:t>
    </dgm:pt>
    <dgm:pt modelId="{C7C4E95B-5875-4E42-B00C-6802C12A1ACA}" type="sibTrans" cxnId="{51256948-DE59-4FC7-AD2B-A620C7C566EE}">
      <dgm:prSet/>
      <dgm:spPr/>
      <dgm:t>
        <a:bodyPr/>
        <a:lstStyle/>
        <a:p>
          <a:endParaRPr lang="es-ES"/>
        </a:p>
      </dgm:t>
    </dgm:pt>
    <dgm:pt modelId="{C1A47616-8F25-4D81-B7CA-A0452FA3071E}" type="pres">
      <dgm:prSet presAssocID="{8F220E24-5885-4FED-AC4A-8BD01B891B4A}" presName="linear" presStyleCnt="0">
        <dgm:presLayoutVars>
          <dgm:animLvl val="lvl"/>
          <dgm:resizeHandles val="exact"/>
        </dgm:presLayoutVars>
      </dgm:prSet>
      <dgm:spPr/>
    </dgm:pt>
    <dgm:pt modelId="{7C1180C5-9772-4856-BEF5-ECC3F9B9FCAD}" type="pres">
      <dgm:prSet presAssocID="{2FACD232-3699-4406-A288-AC7E9DC6CD42}" presName="parentText" presStyleLbl="node1" presStyleIdx="0" presStyleCnt="5">
        <dgm:presLayoutVars>
          <dgm:chMax val="0"/>
          <dgm:bulletEnabled val="1"/>
        </dgm:presLayoutVars>
      </dgm:prSet>
      <dgm:spPr/>
    </dgm:pt>
    <dgm:pt modelId="{16351002-31F0-4C23-A0AC-29EC95FA4094}" type="pres">
      <dgm:prSet presAssocID="{326E3FAE-9634-480A-A81C-C3DE56A39D3C}" presName="spacer" presStyleCnt="0"/>
      <dgm:spPr/>
    </dgm:pt>
    <dgm:pt modelId="{D7EAE18E-E2ED-49C1-8D10-7A8E081F49A9}" type="pres">
      <dgm:prSet presAssocID="{A49B3E2E-E710-4597-8B01-CDC13B9D5EE9}" presName="parentText" presStyleLbl="node1" presStyleIdx="1" presStyleCnt="5">
        <dgm:presLayoutVars>
          <dgm:chMax val="0"/>
          <dgm:bulletEnabled val="1"/>
        </dgm:presLayoutVars>
      </dgm:prSet>
      <dgm:spPr/>
    </dgm:pt>
    <dgm:pt modelId="{C29FA5F9-B14F-4668-8842-C0336058A6DD}" type="pres">
      <dgm:prSet presAssocID="{7FEC0F8A-E80E-4647-A025-880C035DECCA}" presName="spacer" presStyleCnt="0"/>
      <dgm:spPr/>
    </dgm:pt>
    <dgm:pt modelId="{1CF28A3D-8ADA-4BBB-A438-113A79330D59}" type="pres">
      <dgm:prSet presAssocID="{BB987947-30C8-41FF-85D9-060AAE1AF2A2}" presName="parentText" presStyleLbl="node1" presStyleIdx="2" presStyleCnt="5">
        <dgm:presLayoutVars>
          <dgm:chMax val="0"/>
          <dgm:bulletEnabled val="1"/>
        </dgm:presLayoutVars>
      </dgm:prSet>
      <dgm:spPr/>
    </dgm:pt>
    <dgm:pt modelId="{72D23F45-9FC6-48BD-B79A-368F9571A78C}" type="pres">
      <dgm:prSet presAssocID="{E961C915-2017-4717-8162-7A9E8B467776}" presName="spacer" presStyleCnt="0"/>
      <dgm:spPr/>
    </dgm:pt>
    <dgm:pt modelId="{788F6C25-67F8-4019-9465-9E28BAF1A693}" type="pres">
      <dgm:prSet presAssocID="{72A59913-73EE-4E58-A7CD-1ED8CBAC4F57}" presName="parentText" presStyleLbl="node1" presStyleIdx="3" presStyleCnt="5">
        <dgm:presLayoutVars>
          <dgm:chMax val="0"/>
          <dgm:bulletEnabled val="1"/>
        </dgm:presLayoutVars>
      </dgm:prSet>
      <dgm:spPr/>
    </dgm:pt>
    <dgm:pt modelId="{BA4BD3F8-1079-4F03-838F-C41DB5BA44AA}" type="pres">
      <dgm:prSet presAssocID="{10958521-7800-4999-8F1A-A84818C96030}" presName="spacer" presStyleCnt="0"/>
      <dgm:spPr/>
    </dgm:pt>
    <dgm:pt modelId="{1058253C-2A0D-4E04-8B30-69DB8D52AFA8}" type="pres">
      <dgm:prSet presAssocID="{0590123D-E2BC-4DBC-8CFB-E714F22503C7}" presName="parentText" presStyleLbl="node1" presStyleIdx="4" presStyleCnt="5">
        <dgm:presLayoutVars>
          <dgm:chMax val="0"/>
          <dgm:bulletEnabled val="1"/>
        </dgm:presLayoutVars>
      </dgm:prSet>
      <dgm:spPr/>
    </dgm:pt>
  </dgm:ptLst>
  <dgm:cxnLst>
    <dgm:cxn modelId="{5E917D31-FB03-4589-8A74-ED03DCF640E8}" srcId="{8F220E24-5885-4FED-AC4A-8BD01B891B4A}" destId="{A49B3E2E-E710-4597-8B01-CDC13B9D5EE9}" srcOrd="1" destOrd="0" parTransId="{A0E81D50-B310-4E4F-A800-492718BE4462}" sibTransId="{7FEC0F8A-E80E-4647-A025-880C035DECCA}"/>
    <dgm:cxn modelId="{8E674144-CF27-44A8-8B17-8ED829D81E67}" srcId="{8F220E24-5885-4FED-AC4A-8BD01B891B4A}" destId="{2FACD232-3699-4406-A288-AC7E9DC6CD42}" srcOrd="0" destOrd="0" parTransId="{0482AAB6-287B-4555-8448-2C233BC373E3}" sibTransId="{326E3FAE-9634-480A-A81C-C3DE56A39D3C}"/>
    <dgm:cxn modelId="{51256948-DE59-4FC7-AD2B-A620C7C566EE}" srcId="{8F220E24-5885-4FED-AC4A-8BD01B891B4A}" destId="{0590123D-E2BC-4DBC-8CFB-E714F22503C7}" srcOrd="4" destOrd="0" parTransId="{2B8805CA-2FA1-4646-BECF-CAFA537E3D6B}" sibTransId="{C7C4E95B-5875-4E42-B00C-6802C12A1ACA}"/>
    <dgm:cxn modelId="{2AFEFC4C-3547-4DE1-AAB1-916763DD2D54}" type="presOf" srcId="{0590123D-E2BC-4DBC-8CFB-E714F22503C7}" destId="{1058253C-2A0D-4E04-8B30-69DB8D52AFA8}" srcOrd="0" destOrd="0" presId="urn:microsoft.com/office/officeart/2005/8/layout/vList2"/>
    <dgm:cxn modelId="{D3CFD872-EFE5-4C07-AA34-E4F54127CDB1}" type="presOf" srcId="{72A59913-73EE-4E58-A7CD-1ED8CBAC4F57}" destId="{788F6C25-67F8-4019-9465-9E28BAF1A693}" srcOrd="0" destOrd="0" presId="urn:microsoft.com/office/officeart/2005/8/layout/vList2"/>
    <dgm:cxn modelId="{0370A47A-E015-4A17-935A-12FD6BBEF6E5}" type="presOf" srcId="{8F220E24-5885-4FED-AC4A-8BD01B891B4A}" destId="{C1A47616-8F25-4D81-B7CA-A0452FA3071E}" srcOrd="0" destOrd="0" presId="urn:microsoft.com/office/officeart/2005/8/layout/vList2"/>
    <dgm:cxn modelId="{006CC488-369B-4DC4-9CC7-3FBC3C2276F9}" srcId="{8F220E24-5885-4FED-AC4A-8BD01B891B4A}" destId="{BB987947-30C8-41FF-85D9-060AAE1AF2A2}" srcOrd="2" destOrd="0" parTransId="{DCBE6011-DFEB-4075-8417-8EC63A7D1EAA}" sibTransId="{E961C915-2017-4717-8162-7A9E8B467776}"/>
    <dgm:cxn modelId="{195D309E-FA91-46DE-B4E6-9ACF2148B335}" srcId="{8F220E24-5885-4FED-AC4A-8BD01B891B4A}" destId="{72A59913-73EE-4E58-A7CD-1ED8CBAC4F57}" srcOrd="3" destOrd="0" parTransId="{63E434FF-9760-4DFF-BCE3-46401B2A5673}" sibTransId="{10958521-7800-4999-8F1A-A84818C96030}"/>
    <dgm:cxn modelId="{074DF6A8-05A6-4C7A-A9D1-D896E5141DF1}" type="presOf" srcId="{BB987947-30C8-41FF-85D9-060AAE1AF2A2}" destId="{1CF28A3D-8ADA-4BBB-A438-113A79330D59}" srcOrd="0" destOrd="0" presId="urn:microsoft.com/office/officeart/2005/8/layout/vList2"/>
    <dgm:cxn modelId="{EADBCFED-ADDA-4000-9EA2-F928DAA38365}" type="presOf" srcId="{2FACD232-3699-4406-A288-AC7E9DC6CD42}" destId="{7C1180C5-9772-4856-BEF5-ECC3F9B9FCAD}" srcOrd="0" destOrd="0" presId="urn:microsoft.com/office/officeart/2005/8/layout/vList2"/>
    <dgm:cxn modelId="{4CD8BBF8-EF52-4E2F-B671-AC1C4A2829FF}" type="presOf" srcId="{A49B3E2E-E710-4597-8B01-CDC13B9D5EE9}" destId="{D7EAE18E-E2ED-49C1-8D10-7A8E081F49A9}" srcOrd="0" destOrd="0" presId="urn:microsoft.com/office/officeart/2005/8/layout/vList2"/>
    <dgm:cxn modelId="{99E862C4-A005-4F01-9BF1-D2AF5F9E4045}" type="presParOf" srcId="{C1A47616-8F25-4D81-B7CA-A0452FA3071E}" destId="{7C1180C5-9772-4856-BEF5-ECC3F9B9FCAD}" srcOrd="0" destOrd="0" presId="urn:microsoft.com/office/officeart/2005/8/layout/vList2"/>
    <dgm:cxn modelId="{A7FCBB32-0254-4D44-A97C-C53487A9388E}" type="presParOf" srcId="{C1A47616-8F25-4D81-B7CA-A0452FA3071E}" destId="{16351002-31F0-4C23-A0AC-29EC95FA4094}" srcOrd="1" destOrd="0" presId="urn:microsoft.com/office/officeart/2005/8/layout/vList2"/>
    <dgm:cxn modelId="{39FF0DA4-2517-451A-8D9C-90DD3A1457EA}" type="presParOf" srcId="{C1A47616-8F25-4D81-B7CA-A0452FA3071E}" destId="{D7EAE18E-E2ED-49C1-8D10-7A8E081F49A9}" srcOrd="2" destOrd="0" presId="urn:microsoft.com/office/officeart/2005/8/layout/vList2"/>
    <dgm:cxn modelId="{B13A3B9A-B402-43D2-97AD-926C09240D0C}" type="presParOf" srcId="{C1A47616-8F25-4D81-B7CA-A0452FA3071E}" destId="{C29FA5F9-B14F-4668-8842-C0336058A6DD}" srcOrd="3" destOrd="0" presId="urn:microsoft.com/office/officeart/2005/8/layout/vList2"/>
    <dgm:cxn modelId="{6FEDF7B7-77EF-4A17-8A4D-B36FB782B688}" type="presParOf" srcId="{C1A47616-8F25-4D81-B7CA-A0452FA3071E}" destId="{1CF28A3D-8ADA-4BBB-A438-113A79330D59}" srcOrd="4" destOrd="0" presId="urn:microsoft.com/office/officeart/2005/8/layout/vList2"/>
    <dgm:cxn modelId="{82973A78-B414-475E-B26D-FA34A7BE28D0}" type="presParOf" srcId="{C1A47616-8F25-4D81-B7CA-A0452FA3071E}" destId="{72D23F45-9FC6-48BD-B79A-368F9571A78C}" srcOrd="5" destOrd="0" presId="urn:microsoft.com/office/officeart/2005/8/layout/vList2"/>
    <dgm:cxn modelId="{3CF8FA55-1591-4FBA-A223-E1D2F06153E8}" type="presParOf" srcId="{C1A47616-8F25-4D81-B7CA-A0452FA3071E}" destId="{788F6C25-67F8-4019-9465-9E28BAF1A693}" srcOrd="6" destOrd="0" presId="urn:microsoft.com/office/officeart/2005/8/layout/vList2"/>
    <dgm:cxn modelId="{2400ABFA-CF62-4A7B-AF83-3126776E7B5D}" type="presParOf" srcId="{C1A47616-8F25-4D81-B7CA-A0452FA3071E}" destId="{BA4BD3F8-1079-4F03-838F-C41DB5BA44AA}" srcOrd="7" destOrd="0" presId="urn:microsoft.com/office/officeart/2005/8/layout/vList2"/>
    <dgm:cxn modelId="{62ECB940-ECE5-443E-AC8A-A3F11107780F}" type="presParOf" srcId="{C1A47616-8F25-4D81-B7CA-A0452FA3071E}" destId="{1058253C-2A0D-4E04-8B30-69DB8D52AFA8}"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4.xml><?xml version="1.0" encoding="utf-8"?>
<dgm:dataModel xmlns:dgm="http://schemas.openxmlformats.org/drawingml/2006/diagram" xmlns:a="http://schemas.openxmlformats.org/drawingml/2006/main">
  <dgm:ptLst>
    <dgm:pt modelId="{07CE1DB6-8AC8-41B5-9718-11C216F66524}" type="doc">
      <dgm:prSet loTypeId="urn:microsoft.com/office/officeart/2005/8/layout/vList2" loCatId="list" qsTypeId="urn:microsoft.com/office/officeart/2005/8/quickstyle/simple3" qsCatId="simple" csTypeId="urn:microsoft.com/office/officeart/2005/8/colors/accent5_4" csCatId="accent5" phldr="1"/>
      <dgm:spPr/>
      <dgm:t>
        <a:bodyPr/>
        <a:lstStyle/>
        <a:p>
          <a:endParaRPr lang="es-ES"/>
        </a:p>
      </dgm:t>
    </dgm:pt>
    <dgm:pt modelId="{37B3DB6E-99AF-46CC-918C-145F7EE3B3CA}">
      <dgm:prSet/>
      <dgm:spPr/>
      <dgm:t>
        <a:bodyPr/>
        <a:lstStyle/>
        <a:p>
          <a:r>
            <a:rPr lang="es-ES" dirty="0"/>
            <a:t>Funcionando.</a:t>
          </a:r>
        </a:p>
      </dgm:t>
    </dgm:pt>
    <dgm:pt modelId="{F95C9440-6E95-4F2A-A12E-B79767E0F100}" type="parTrans" cxnId="{684E2441-46E6-444E-901A-0CF84A784090}">
      <dgm:prSet/>
      <dgm:spPr/>
      <dgm:t>
        <a:bodyPr/>
        <a:lstStyle/>
        <a:p>
          <a:endParaRPr lang="es-ES"/>
        </a:p>
      </dgm:t>
    </dgm:pt>
    <dgm:pt modelId="{83FF2B1C-3C13-43C0-B090-6E126CBD58F5}" type="sibTrans" cxnId="{684E2441-46E6-444E-901A-0CF84A784090}">
      <dgm:prSet/>
      <dgm:spPr/>
      <dgm:t>
        <a:bodyPr/>
        <a:lstStyle/>
        <a:p>
          <a:endParaRPr lang="es-ES"/>
        </a:p>
      </dgm:t>
    </dgm:pt>
    <dgm:pt modelId="{47231C7D-6F4C-4D42-A043-936B55FF77B0}">
      <dgm:prSet/>
      <dgm:spPr/>
      <dgm:t>
        <a:bodyPr/>
        <a:lstStyle/>
        <a:p>
          <a:r>
            <a:rPr lang="es-ES" dirty="0"/>
            <a:t>On premise / </a:t>
          </a:r>
          <a:r>
            <a:rPr lang="es-ES" dirty="0">
              <a:solidFill>
                <a:schemeClr val="tx1"/>
              </a:solidFill>
            </a:rPr>
            <a:t>nube.</a:t>
          </a:r>
        </a:p>
      </dgm:t>
    </dgm:pt>
    <dgm:pt modelId="{FDEBBDEC-7BFE-45D6-9D25-781D43130E6C}" type="parTrans" cxnId="{4628671A-1B9D-4B81-A119-61368FF7F548}">
      <dgm:prSet/>
      <dgm:spPr/>
      <dgm:t>
        <a:bodyPr/>
        <a:lstStyle/>
        <a:p>
          <a:endParaRPr lang="es-ES"/>
        </a:p>
      </dgm:t>
    </dgm:pt>
    <dgm:pt modelId="{BC3DAAB5-C18E-4302-8DB8-0FC58672F906}" type="sibTrans" cxnId="{4628671A-1B9D-4B81-A119-61368FF7F548}">
      <dgm:prSet/>
      <dgm:spPr/>
      <dgm:t>
        <a:bodyPr/>
        <a:lstStyle/>
        <a:p>
          <a:endParaRPr lang="es-ES"/>
        </a:p>
      </dgm:t>
    </dgm:pt>
    <dgm:pt modelId="{4D267371-0648-42BD-B491-AEEB87C2C6EB}">
      <dgm:prSet/>
      <dgm:spPr/>
      <dgm:t>
        <a:bodyPr/>
        <a:lstStyle/>
        <a:p>
          <a:r>
            <a:rPr lang="es-ES" dirty="0"/>
            <a:t>Pantallas e informes a disposición del usuario.</a:t>
          </a:r>
        </a:p>
      </dgm:t>
    </dgm:pt>
    <dgm:pt modelId="{77793577-175B-4A1F-B1A3-81C98F167A81}" type="parTrans" cxnId="{8477B73D-F7EB-40DF-A165-FBF5115F3075}">
      <dgm:prSet/>
      <dgm:spPr/>
      <dgm:t>
        <a:bodyPr/>
        <a:lstStyle/>
        <a:p>
          <a:endParaRPr lang="es-ES"/>
        </a:p>
      </dgm:t>
    </dgm:pt>
    <dgm:pt modelId="{265E136C-3227-4389-8A53-606D018EA943}" type="sibTrans" cxnId="{8477B73D-F7EB-40DF-A165-FBF5115F3075}">
      <dgm:prSet/>
      <dgm:spPr/>
      <dgm:t>
        <a:bodyPr/>
        <a:lstStyle/>
        <a:p>
          <a:endParaRPr lang="es-ES"/>
        </a:p>
      </dgm:t>
    </dgm:pt>
    <dgm:pt modelId="{AE425ECC-3ACE-4546-9BA2-22658492636F}">
      <dgm:prSet/>
      <dgm:spPr/>
      <dgm:t>
        <a:bodyPr/>
        <a:lstStyle/>
        <a:p>
          <a:r>
            <a:rPr lang="es-ES" dirty="0"/>
            <a:t>Manuales y otra documentación.</a:t>
          </a:r>
        </a:p>
      </dgm:t>
    </dgm:pt>
    <dgm:pt modelId="{D8279133-0716-4AEA-9AC8-C53F37E68C35}" type="parTrans" cxnId="{D29ED661-4FA7-4267-B6DF-EF4A60963310}">
      <dgm:prSet/>
      <dgm:spPr/>
      <dgm:t>
        <a:bodyPr/>
        <a:lstStyle/>
        <a:p>
          <a:endParaRPr lang="es-ES"/>
        </a:p>
      </dgm:t>
    </dgm:pt>
    <dgm:pt modelId="{DA035623-2869-4633-ACC6-FA057CEA665E}" type="sibTrans" cxnId="{D29ED661-4FA7-4267-B6DF-EF4A60963310}">
      <dgm:prSet/>
      <dgm:spPr/>
      <dgm:t>
        <a:bodyPr/>
        <a:lstStyle/>
        <a:p>
          <a:endParaRPr lang="es-ES"/>
        </a:p>
      </dgm:t>
    </dgm:pt>
    <dgm:pt modelId="{FA715A34-4ADD-4C68-B3ED-2C468CBA390A}">
      <dgm:prSet/>
      <dgm:spPr/>
      <dgm:t>
        <a:bodyPr/>
        <a:lstStyle/>
        <a:p>
          <a:r>
            <a:rPr lang="es-ES" dirty="0"/>
            <a:t>Traspaso de información: Formación al usuario.</a:t>
          </a:r>
        </a:p>
      </dgm:t>
    </dgm:pt>
    <dgm:pt modelId="{F4DB21F1-727A-4459-9799-3B54E1152579}" type="parTrans" cxnId="{F4035942-8F47-41B3-B750-0EDFE9B99FF8}">
      <dgm:prSet/>
      <dgm:spPr/>
      <dgm:t>
        <a:bodyPr/>
        <a:lstStyle/>
        <a:p>
          <a:endParaRPr lang="es-ES"/>
        </a:p>
      </dgm:t>
    </dgm:pt>
    <dgm:pt modelId="{B777DF98-E026-4B7C-9A9E-30DE5F9039F0}" type="sibTrans" cxnId="{F4035942-8F47-41B3-B750-0EDFE9B99FF8}">
      <dgm:prSet/>
      <dgm:spPr/>
      <dgm:t>
        <a:bodyPr/>
        <a:lstStyle/>
        <a:p>
          <a:endParaRPr lang="es-ES"/>
        </a:p>
      </dgm:t>
    </dgm:pt>
    <dgm:pt modelId="{34350762-DA0A-4237-9FAF-0793F026D3DE}">
      <dgm:prSet/>
      <dgm:spPr/>
      <dgm:t>
        <a:bodyPr/>
        <a:lstStyle/>
        <a:p>
          <a:r>
            <a:rPr lang="es-ES" dirty="0"/>
            <a:t>Hypercare (posterior mantenimiento) con su SLA</a:t>
          </a:r>
        </a:p>
      </dgm:t>
    </dgm:pt>
    <dgm:pt modelId="{6E20DE58-B342-4C89-8D9E-FDFB169E3A64}" type="parTrans" cxnId="{9245552C-B34F-4623-9420-DC73A840D832}">
      <dgm:prSet/>
      <dgm:spPr/>
      <dgm:t>
        <a:bodyPr/>
        <a:lstStyle/>
        <a:p>
          <a:endParaRPr lang="es-ES"/>
        </a:p>
      </dgm:t>
    </dgm:pt>
    <dgm:pt modelId="{0BE7AD51-1AF2-4EC3-B1D5-1F310FEFDF2B}" type="sibTrans" cxnId="{9245552C-B34F-4623-9420-DC73A840D832}">
      <dgm:prSet/>
      <dgm:spPr/>
      <dgm:t>
        <a:bodyPr/>
        <a:lstStyle/>
        <a:p>
          <a:endParaRPr lang="es-ES"/>
        </a:p>
      </dgm:t>
    </dgm:pt>
    <dgm:pt modelId="{2CCFB7E6-6F0C-44A3-9650-877C936BEB6C}" type="pres">
      <dgm:prSet presAssocID="{07CE1DB6-8AC8-41B5-9718-11C216F66524}" presName="linear" presStyleCnt="0">
        <dgm:presLayoutVars>
          <dgm:animLvl val="lvl"/>
          <dgm:resizeHandles val="exact"/>
        </dgm:presLayoutVars>
      </dgm:prSet>
      <dgm:spPr/>
    </dgm:pt>
    <dgm:pt modelId="{3141BAE2-B6A1-4261-95AC-2308D3D879C3}" type="pres">
      <dgm:prSet presAssocID="{37B3DB6E-99AF-46CC-918C-145F7EE3B3CA}" presName="parentText" presStyleLbl="node1" presStyleIdx="0" presStyleCnt="6">
        <dgm:presLayoutVars>
          <dgm:chMax val="0"/>
          <dgm:bulletEnabled val="1"/>
        </dgm:presLayoutVars>
      </dgm:prSet>
      <dgm:spPr/>
    </dgm:pt>
    <dgm:pt modelId="{473BA966-E7DB-4972-A0F9-65FA63A0975F}" type="pres">
      <dgm:prSet presAssocID="{83FF2B1C-3C13-43C0-B090-6E126CBD58F5}" presName="spacer" presStyleCnt="0"/>
      <dgm:spPr/>
    </dgm:pt>
    <dgm:pt modelId="{07CDE90F-1651-419C-A437-BE6B5EBD162E}" type="pres">
      <dgm:prSet presAssocID="{47231C7D-6F4C-4D42-A043-936B55FF77B0}" presName="parentText" presStyleLbl="node1" presStyleIdx="1" presStyleCnt="6">
        <dgm:presLayoutVars>
          <dgm:chMax val="0"/>
          <dgm:bulletEnabled val="1"/>
        </dgm:presLayoutVars>
      </dgm:prSet>
      <dgm:spPr/>
    </dgm:pt>
    <dgm:pt modelId="{C2518FBC-7584-469D-A895-B7B02A88F294}" type="pres">
      <dgm:prSet presAssocID="{BC3DAAB5-C18E-4302-8DB8-0FC58672F906}" presName="spacer" presStyleCnt="0"/>
      <dgm:spPr/>
    </dgm:pt>
    <dgm:pt modelId="{2BF6F31C-B96B-4828-9ACF-901635E5D4B8}" type="pres">
      <dgm:prSet presAssocID="{4D267371-0648-42BD-B491-AEEB87C2C6EB}" presName="parentText" presStyleLbl="node1" presStyleIdx="2" presStyleCnt="6">
        <dgm:presLayoutVars>
          <dgm:chMax val="0"/>
          <dgm:bulletEnabled val="1"/>
        </dgm:presLayoutVars>
      </dgm:prSet>
      <dgm:spPr/>
    </dgm:pt>
    <dgm:pt modelId="{2DBC6516-8AF5-433B-88A3-EB45312EAB87}" type="pres">
      <dgm:prSet presAssocID="{265E136C-3227-4389-8A53-606D018EA943}" presName="spacer" presStyleCnt="0"/>
      <dgm:spPr/>
    </dgm:pt>
    <dgm:pt modelId="{4AC693F2-6B30-4FDA-8085-5667EB097EF2}" type="pres">
      <dgm:prSet presAssocID="{AE425ECC-3ACE-4546-9BA2-22658492636F}" presName="parentText" presStyleLbl="node1" presStyleIdx="3" presStyleCnt="6">
        <dgm:presLayoutVars>
          <dgm:chMax val="0"/>
          <dgm:bulletEnabled val="1"/>
        </dgm:presLayoutVars>
      </dgm:prSet>
      <dgm:spPr/>
    </dgm:pt>
    <dgm:pt modelId="{9B2DEA1B-25EC-4AF7-89AA-EC170723D3ED}" type="pres">
      <dgm:prSet presAssocID="{DA035623-2869-4633-ACC6-FA057CEA665E}" presName="spacer" presStyleCnt="0"/>
      <dgm:spPr/>
    </dgm:pt>
    <dgm:pt modelId="{739F3C48-C985-4854-89D6-9D98E3F035C7}" type="pres">
      <dgm:prSet presAssocID="{FA715A34-4ADD-4C68-B3ED-2C468CBA390A}" presName="parentText" presStyleLbl="node1" presStyleIdx="4" presStyleCnt="6">
        <dgm:presLayoutVars>
          <dgm:chMax val="0"/>
          <dgm:bulletEnabled val="1"/>
        </dgm:presLayoutVars>
      </dgm:prSet>
      <dgm:spPr/>
    </dgm:pt>
    <dgm:pt modelId="{7B03EA93-5BDC-49D5-AFAC-072BC7AB01DD}" type="pres">
      <dgm:prSet presAssocID="{B777DF98-E026-4B7C-9A9E-30DE5F9039F0}" presName="spacer" presStyleCnt="0"/>
      <dgm:spPr/>
    </dgm:pt>
    <dgm:pt modelId="{1C0F4F16-924C-4D9C-87B0-C324D8420759}" type="pres">
      <dgm:prSet presAssocID="{34350762-DA0A-4237-9FAF-0793F026D3DE}" presName="parentText" presStyleLbl="node1" presStyleIdx="5" presStyleCnt="6">
        <dgm:presLayoutVars>
          <dgm:chMax val="0"/>
          <dgm:bulletEnabled val="1"/>
        </dgm:presLayoutVars>
      </dgm:prSet>
      <dgm:spPr/>
    </dgm:pt>
  </dgm:ptLst>
  <dgm:cxnLst>
    <dgm:cxn modelId="{4628671A-1B9D-4B81-A119-61368FF7F548}" srcId="{07CE1DB6-8AC8-41B5-9718-11C216F66524}" destId="{47231C7D-6F4C-4D42-A043-936B55FF77B0}" srcOrd="1" destOrd="0" parTransId="{FDEBBDEC-7BFE-45D6-9D25-781D43130E6C}" sibTransId="{BC3DAAB5-C18E-4302-8DB8-0FC58672F906}"/>
    <dgm:cxn modelId="{9245552C-B34F-4623-9420-DC73A840D832}" srcId="{07CE1DB6-8AC8-41B5-9718-11C216F66524}" destId="{34350762-DA0A-4237-9FAF-0793F026D3DE}" srcOrd="5" destOrd="0" parTransId="{6E20DE58-B342-4C89-8D9E-FDFB169E3A64}" sibTransId="{0BE7AD51-1AF2-4EC3-B1D5-1F310FEFDF2B}"/>
    <dgm:cxn modelId="{8477B73D-F7EB-40DF-A165-FBF5115F3075}" srcId="{07CE1DB6-8AC8-41B5-9718-11C216F66524}" destId="{4D267371-0648-42BD-B491-AEEB87C2C6EB}" srcOrd="2" destOrd="0" parTransId="{77793577-175B-4A1F-B1A3-81C98F167A81}" sibTransId="{265E136C-3227-4389-8A53-606D018EA943}"/>
    <dgm:cxn modelId="{684E2441-46E6-444E-901A-0CF84A784090}" srcId="{07CE1DB6-8AC8-41B5-9718-11C216F66524}" destId="{37B3DB6E-99AF-46CC-918C-145F7EE3B3CA}" srcOrd="0" destOrd="0" parTransId="{F95C9440-6E95-4F2A-A12E-B79767E0F100}" sibTransId="{83FF2B1C-3C13-43C0-B090-6E126CBD58F5}"/>
    <dgm:cxn modelId="{D29ED661-4FA7-4267-B6DF-EF4A60963310}" srcId="{07CE1DB6-8AC8-41B5-9718-11C216F66524}" destId="{AE425ECC-3ACE-4546-9BA2-22658492636F}" srcOrd="3" destOrd="0" parTransId="{D8279133-0716-4AEA-9AC8-C53F37E68C35}" sibTransId="{DA035623-2869-4633-ACC6-FA057CEA665E}"/>
    <dgm:cxn modelId="{F4035942-8F47-41B3-B750-0EDFE9B99FF8}" srcId="{07CE1DB6-8AC8-41B5-9718-11C216F66524}" destId="{FA715A34-4ADD-4C68-B3ED-2C468CBA390A}" srcOrd="4" destOrd="0" parTransId="{F4DB21F1-727A-4459-9799-3B54E1152579}" sibTransId="{B777DF98-E026-4B7C-9A9E-30DE5F9039F0}"/>
    <dgm:cxn modelId="{87FE874F-DAB1-4C0C-933F-06A0DF453E9C}" type="presOf" srcId="{FA715A34-4ADD-4C68-B3ED-2C468CBA390A}" destId="{739F3C48-C985-4854-89D6-9D98E3F035C7}" srcOrd="0" destOrd="0" presId="urn:microsoft.com/office/officeart/2005/8/layout/vList2"/>
    <dgm:cxn modelId="{AA26FB51-6AA0-4CD5-BA7D-B5FF936694DE}" type="presOf" srcId="{34350762-DA0A-4237-9FAF-0793F026D3DE}" destId="{1C0F4F16-924C-4D9C-87B0-C324D8420759}" srcOrd="0" destOrd="0" presId="urn:microsoft.com/office/officeart/2005/8/layout/vList2"/>
    <dgm:cxn modelId="{8D46D0A6-E877-492D-93F1-41371DBDF610}" type="presOf" srcId="{AE425ECC-3ACE-4546-9BA2-22658492636F}" destId="{4AC693F2-6B30-4FDA-8085-5667EB097EF2}" srcOrd="0" destOrd="0" presId="urn:microsoft.com/office/officeart/2005/8/layout/vList2"/>
    <dgm:cxn modelId="{4E434AB2-9AF5-401D-9196-E4D9162FC1A5}" type="presOf" srcId="{37B3DB6E-99AF-46CC-918C-145F7EE3B3CA}" destId="{3141BAE2-B6A1-4261-95AC-2308D3D879C3}" srcOrd="0" destOrd="0" presId="urn:microsoft.com/office/officeart/2005/8/layout/vList2"/>
    <dgm:cxn modelId="{598AF8B8-C62B-488A-927A-5E4E78C05063}" type="presOf" srcId="{07CE1DB6-8AC8-41B5-9718-11C216F66524}" destId="{2CCFB7E6-6F0C-44A3-9650-877C936BEB6C}" srcOrd="0" destOrd="0" presId="urn:microsoft.com/office/officeart/2005/8/layout/vList2"/>
    <dgm:cxn modelId="{F4CD0FBA-6E05-47F1-AF6C-A1AB3B9760EF}" type="presOf" srcId="{4D267371-0648-42BD-B491-AEEB87C2C6EB}" destId="{2BF6F31C-B96B-4828-9ACF-901635E5D4B8}" srcOrd="0" destOrd="0" presId="urn:microsoft.com/office/officeart/2005/8/layout/vList2"/>
    <dgm:cxn modelId="{B1ECB9C7-8DEC-4EAB-9C95-3E4362F76BBB}" type="presOf" srcId="{47231C7D-6F4C-4D42-A043-936B55FF77B0}" destId="{07CDE90F-1651-419C-A437-BE6B5EBD162E}" srcOrd="0" destOrd="0" presId="urn:microsoft.com/office/officeart/2005/8/layout/vList2"/>
    <dgm:cxn modelId="{D9ABCE31-A1F5-479F-83E1-B5078E5CF374}" type="presParOf" srcId="{2CCFB7E6-6F0C-44A3-9650-877C936BEB6C}" destId="{3141BAE2-B6A1-4261-95AC-2308D3D879C3}" srcOrd="0" destOrd="0" presId="urn:microsoft.com/office/officeart/2005/8/layout/vList2"/>
    <dgm:cxn modelId="{774D4FCF-8DD3-4F86-8B4A-9B47BFBB50C9}" type="presParOf" srcId="{2CCFB7E6-6F0C-44A3-9650-877C936BEB6C}" destId="{473BA966-E7DB-4972-A0F9-65FA63A0975F}" srcOrd="1" destOrd="0" presId="urn:microsoft.com/office/officeart/2005/8/layout/vList2"/>
    <dgm:cxn modelId="{5D77E1BB-0B39-4B06-955E-35C344D31DDD}" type="presParOf" srcId="{2CCFB7E6-6F0C-44A3-9650-877C936BEB6C}" destId="{07CDE90F-1651-419C-A437-BE6B5EBD162E}" srcOrd="2" destOrd="0" presId="urn:microsoft.com/office/officeart/2005/8/layout/vList2"/>
    <dgm:cxn modelId="{25A6E710-FC3A-49C8-A900-764CFA9B8FAB}" type="presParOf" srcId="{2CCFB7E6-6F0C-44A3-9650-877C936BEB6C}" destId="{C2518FBC-7584-469D-A895-B7B02A88F294}" srcOrd="3" destOrd="0" presId="urn:microsoft.com/office/officeart/2005/8/layout/vList2"/>
    <dgm:cxn modelId="{C0A79E96-4C33-462D-AEA6-B9407E175066}" type="presParOf" srcId="{2CCFB7E6-6F0C-44A3-9650-877C936BEB6C}" destId="{2BF6F31C-B96B-4828-9ACF-901635E5D4B8}" srcOrd="4" destOrd="0" presId="urn:microsoft.com/office/officeart/2005/8/layout/vList2"/>
    <dgm:cxn modelId="{7EDE03FD-577E-4372-BAD8-9A67A1519300}" type="presParOf" srcId="{2CCFB7E6-6F0C-44A3-9650-877C936BEB6C}" destId="{2DBC6516-8AF5-433B-88A3-EB45312EAB87}" srcOrd="5" destOrd="0" presId="urn:microsoft.com/office/officeart/2005/8/layout/vList2"/>
    <dgm:cxn modelId="{7D7E8175-9B01-4426-BC10-CEF284EE9E47}" type="presParOf" srcId="{2CCFB7E6-6F0C-44A3-9650-877C936BEB6C}" destId="{4AC693F2-6B30-4FDA-8085-5667EB097EF2}" srcOrd="6" destOrd="0" presId="urn:microsoft.com/office/officeart/2005/8/layout/vList2"/>
    <dgm:cxn modelId="{71B9948E-E856-46A2-8415-29A402629C3E}" type="presParOf" srcId="{2CCFB7E6-6F0C-44A3-9650-877C936BEB6C}" destId="{9B2DEA1B-25EC-4AF7-89AA-EC170723D3ED}" srcOrd="7" destOrd="0" presId="urn:microsoft.com/office/officeart/2005/8/layout/vList2"/>
    <dgm:cxn modelId="{9964822F-4331-41E2-B1A5-A5219CF7B9A9}" type="presParOf" srcId="{2CCFB7E6-6F0C-44A3-9650-877C936BEB6C}" destId="{739F3C48-C985-4854-89D6-9D98E3F035C7}" srcOrd="8" destOrd="0" presId="urn:microsoft.com/office/officeart/2005/8/layout/vList2"/>
    <dgm:cxn modelId="{12A7EBA7-1397-4C74-AE60-CFA562280B9D}" type="presParOf" srcId="{2CCFB7E6-6F0C-44A3-9650-877C936BEB6C}" destId="{7B03EA93-5BDC-49D5-AFAC-072BC7AB01DD}" srcOrd="9" destOrd="0" presId="urn:microsoft.com/office/officeart/2005/8/layout/vList2"/>
    <dgm:cxn modelId="{25F4F780-40BC-4F87-A31E-D8EB4D327A03}" type="presParOf" srcId="{2CCFB7E6-6F0C-44A3-9650-877C936BEB6C}" destId="{1C0F4F16-924C-4D9C-87B0-C324D8420759}"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5.xml><?xml version="1.0" encoding="utf-8"?>
<dgm:dataModel xmlns:dgm="http://schemas.openxmlformats.org/drawingml/2006/diagram" xmlns:a="http://schemas.openxmlformats.org/drawingml/2006/main">
  <dgm:ptLst>
    <dgm:pt modelId="{251A7E14-83DB-4657-86C7-5DC3DBD98303}" type="doc">
      <dgm:prSet loTypeId="urn:microsoft.com/office/officeart/2005/8/layout/vList2" loCatId="list" qsTypeId="urn:microsoft.com/office/officeart/2005/8/quickstyle/simple3" qsCatId="simple" csTypeId="urn:microsoft.com/office/officeart/2005/8/colors/colorful5" csCatId="colorful" phldr="1"/>
      <dgm:spPr/>
      <dgm:t>
        <a:bodyPr/>
        <a:lstStyle/>
        <a:p>
          <a:endParaRPr lang="es-ES"/>
        </a:p>
      </dgm:t>
    </dgm:pt>
    <dgm:pt modelId="{6C051D4F-CBEF-4370-8628-870C6DC12E31}">
      <dgm:prSet/>
      <dgm:spPr/>
      <dgm:t>
        <a:bodyPr/>
        <a:lstStyle/>
        <a:p>
          <a:r>
            <a:rPr lang="es-ES" dirty="0"/>
            <a:t>Nuevas Tecnologías.</a:t>
          </a:r>
        </a:p>
      </dgm:t>
    </dgm:pt>
    <dgm:pt modelId="{D546A046-B2BC-4406-96EB-DEBB36A892E8}" type="parTrans" cxnId="{4B089740-D014-4684-BFCB-EF121E8FC4E8}">
      <dgm:prSet/>
      <dgm:spPr/>
      <dgm:t>
        <a:bodyPr/>
        <a:lstStyle/>
        <a:p>
          <a:endParaRPr lang="es-ES"/>
        </a:p>
      </dgm:t>
    </dgm:pt>
    <dgm:pt modelId="{C008D084-FAC3-4BC2-BF16-789F6A5E829F}" type="sibTrans" cxnId="{4B089740-D014-4684-BFCB-EF121E8FC4E8}">
      <dgm:prSet/>
      <dgm:spPr/>
      <dgm:t>
        <a:bodyPr/>
        <a:lstStyle/>
        <a:p>
          <a:endParaRPr lang="es-ES"/>
        </a:p>
      </dgm:t>
    </dgm:pt>
    <dgm:pt modelId="{E4AA5F9F-5EFD-4739-8D44-A33D8136F9B1}">
      <dgm:prSet/>
      <dgm:spPr/>
      <dgm:t>
        <a:bodyPr/>
        <a:lstStyle/>
        <a:p>
          <a:r>
            <a:rPr lang="es-ES" dirty="0"/>
            <a:t>Absolutamente enfocados al Real Time</a:t>
          </a:r>
        </a:p>
      </dgm:t>
    </dgm:pt>
    <dgm:pt modelId="{3E0C477D-909C-43C4-AFAB-528F5C3A0078}" type="parTrans" cxnId="{1751DDB0-7115-42E7-951D-D8B97A1A2290}">
      <dgm:prSet/>
      <dgm:spPr/>
      <dgm:t>
        <a:bodyPr/>
        <a:lstStyle/>
        <a:p>
          <a:endParaRPr lang="es-ES"/>
        </a:p>
      </dgm:t>
    </dgm:pt>
    <dgm:pt modelId="{D3AEA3BF-F6D0-4ECF-BB16-ED94C8331ED1}" type="sibTrans" cxnId="{1751DDB0-7115-42E7-951D-D8B97A1A2290}">
      <dgm:prSet/>
      <dgm:spPr/>
      <dgm:t>
        <a:bodyPr/>
        <a:lstStyle/>
        <a:p>
          <a:endParaRPr lang="es-ES"/>
        </a:p>
      </dgm:t>
    </dgm:pt>
    <dgm:pt modelId="{75CFA44F-842B-4689-B822-11178C23485C}">
      <dgm:prSet/>
      <dgm:spPr/>
      <dgm:t>
        <a:bodyPr/>
        <a:lstStyle/>
        <a:p>
          <a:r>
            <a:rPr lang="es-ES" dirty="0"/>
            <a:t>Nube </a:t>
          </a:r>
        </a:p>
      </dgm:t>
    </dgm:pt>
    <dgm:pt modelId="{59EE44ED-BDB2-4B34-9F01-399A78621F08}" type="parTrans" cxnId="{D62AE439-F87D-41E9-9320-DFDE90479701}">
      <dgm:prSet/>
      <dgm:spPr/>
      <dgm:t>
        <a:bodyPr/>
        <a:lstStyle/>
        <a:p>
          <a:endParaRPr lang="es-ES"/>
        </a:p>
      </dgm:t>
    </dgm:pt>
    <dgm:pt modelId="{18ABBE55-F947-44C8-9160-529C32F57593}" type="sibTrans" cxnId="{D62AE439-F87D-41E9-9320-DFDE90479701}">
      <dgm:prSet/>
      <dgm:spPr/>
      <dgm:t>
        <a:bodyPr/>
        <a:lstStyle/>
        <a:p>
          <a:endParaRPr lang="es-ES"/>
        </a:p>
      </dgm:t>
    </dgm:pt>
    <dgm:pt modelId="{D0343D00-6190-4C0A-8636-991E64A7FED0}" type="pres">
      <dgm:prSet presAssocID="{251A7E14-83DB-4657-86C7-5DC3DBD98303}" presName="linear" presStyleCnt="0">
        <dgm:presLayoutVars>
          <dgm:animLvl val="lvl"/>
          <dgm:resizeHandles val="exact"/>
        </dgm:presLayoutVars>
      </dgm:prSet>
      <dgm:spPr/>
    </dgm:pt>
    <dgm:pt modelId="{8D0FAC9E-C508-4BA8-9E57-BF5ACFEAC4EF}" type="pres">
      <dgm:prSet presAssocID="{6C051D4F-CBEF-4370-8628-870C6DC12E31}" presName="parentText" presStyleLbl="node1" presStyleIdx="0" presStyleCnt="3" custLinFactNeighborY="53215">
        <dgm:presLayoutVars>
          <dgm:chMax val="0"/>
          <dgm:bulletEnabled val="1"/>
        </dgm:presLayoutVars>
      </dgm:prSet>
      <dgm:spPr/>
    </dgm:pt>
    <dgm:pt modelId="{986F9C4C-8F40-4588-A62A-924A600339C9}" type="pres">
      <dgm:prSet presAssocID="{C008D084-FAC3-4BC2-BF16-789F6A5E829F}" presName="spacer" presStyleCnt="0"/>
      <dgm:spPr/>
    </dgm:pt>
    <dgm:pt modelId="{2F6AFC05-0DC6-4205-81A9-116FE6759381}" type="pres">
      <dgm:prSet presAssocID="{E4AA5F9F-5EFD-4739-8D44-A33D8136F9B1}" presName="parentText" presStyleLbl="node1" presStyleIdx="1" presStyleCnt="3">
        <dgm:presLayoutVars>
          <dgm:chMax val="0"/>
          <dgm:bulletEnabled val="1"/>
        </dgm:presLayoutVars>
      </dgm:prSet>
      <dgm:spPr/>
    </dgm:pt>
    <dgm:pt modelId="{6820FF9A-F000-41FC-BA01-DA8A38A209C7}" type="pres">
      <dgm:prSet presAssocID="{D3AEA3BF-F6D0-4ECF-BB16-ED94C8331ED1}" presName="spacer" presStyleCnt="0"/>
      <dgm:spPr/>
    </dgm:pt>
    <dgm:pt modelId="{33CC5F8C-AB94-40C4-A4C9-B2A2781BF558}" type="pres">
      <dgm:prSet presAssocID="{75CFA44F-842B-4689-B822-11178C23485C}" presName="parentText" presStyleLbl="node1" presStyleIdx="2" presStyleCnt="3">
        <dgm:presLayoutVars>
          <dgm:chMax val="0"/>
          <dgm:bulletEnabled val="1"/>
        </dgm:presLayoutVars>
      </dgm:prSet>
      <dgm:spPr/>
    </dgm:pt>
  </dgm:ptLst>
  <dgm:cxnLst>
    <dgm:cxn modelId="{3FD96E21-0EF0-4E40-814D-7C0A42CC6389}" type="presOf" srcId="{75CFA44F-842B-4689-B822-11178C23485C}" destId="{33CC5F8C-AB94-40C4-A4C9-B2A2781BF558}" srcOrd="0" destOrd="0" presId="urn:microsoft.com/office/officeart/2005/8/layout/vList2"/>
    <dgm:cxn modelId="{D62AE439-F87D-41E9-9320-DFDE90479701}" srcId="{251A7E14-83DB-4657-86C7-5DC3DBD98303}" destId="{75CFA44F-842B-4689-B822-11178C23485C}" srcOrd="2" destOrd="0" parTransId="{59EE44ED-BDB2-4B34-9F01-399A78621F08}" sibTransId="{18ABBE55-F947-44C8-9160-529C32F57593}"/>
    <dgm:cxn modelId="{4B089740-D014-4684-BFCB-EF121E8FC4E8}" srcId="{251A7E14-83DB-4657-86C7-5DC3DBD98303}" destId="{6C051D4F-CBEF-4370-8628-870C6DC12E31}" srcOrd="0" destOrd="0" parTransId="{D546A046-B2BC-4406-96EB-DEBB36A892E8}" sibTransId="{C008D084-FAC3-4BC2-BF16-789F6A5E829F}"/>
    <dgm:cxn modelId="{9E811EA4-CB1F-4F01-85FE-B07B62497AB7}" type="presOf" srcId="{251A7E14-83DB-4657-86C7-5DC3DBD98303}" destId="{D0343D00-6190-4C0A-8636-991E64A7FED0}" srcOrd="0" destOrd="0" presId="urn:microsoft.com/office/officeart/2005/8/layout/vList2"/>
    <dgm:cxn modelId="{1751DDB0-7115-42E7-951D-D8B97A1A2290}" srcId="{251A7E14-83DB-4657-86C7-5DC3DBD98303}" destId="{E4AA5F9F-5EFD-4739-8D44-A33D8136F9B1}" srcOrd="1" destOrd="0" parTransId="{3E0C477D-909C-43C4-AFAB-528F5C3A0078}" sibTransId="{D3AEA3BF-F6D0-4ECF-BB16-ED94C8331ED1}"/>
    <dgm:cxn modelId="{5B67F7C9-AA29-48A3-A3D2-A23A4967FDCD}" type="presOf" srcId="{6C051D4F-CBEF-4370-8628-870C6DC12E31}" destId="{8D0FAC9E-C508-4BA8-9E57-BF5ACFEAC4EF}" srcOrd="0" destOrd="0" presId="urn:microsoft.com/office/officeart/2005/8/layout/vList2"/>
    <dgm:cxn modelId="{47989EF5-5BC1-4F2A-A4A5-FEBC741148EC}" type="presOf" srcId="{E4AA5F9F-5EFD-4739-8D44-A33D8136F9B1}" destId="{2F6AFC05-0DC6-4205-81A9-116FE6759381}" srcOrd="0" destOrd="0" presId="urn:microsoft.com/office/officeart/2005/8/layout/vList2"/>
    <dgm:cxn modelId="{BD31FA2F-EB95-4C87-9D57-C220611F7116}" type="presParOf" srcId="{D0343D00-6190-4C0A-8636-991E64A7FED0}" destId="{8D0FAC9E-C508-4BA8-9E57-BF5ACFEAC4EF}" srcOrd="0" destOrd="0" presId="urn:microsoft.com/office/officeart/2005/8/layout/vList2"/>
    <dgm:cxn modelId="{41CFE124-648A-45B2-9543-85962D11128D}" type="presParOf" srcId="{D0343D00-6190-4C0A-8636-991E64A7FED0}" destId="{986F9C4C-8F40-4588-A62A-924A600339C9}" srcOrd="1" destOrd="0" presId="urn:microsoft.com/office/officeart/2005/8/layout/vList2"/>
    <dgm:cxn modelId="{B20DFE8F-2914-4474-A94D-F9962E538AAC}" type="presParOf" srcId="{D0343D00-6190-4C0A-8636-991E64A7FED0}" destId="{2F6AFC05-0DC6-4205-81A9-116FE6759381}" srcOrd="2" destOrd="0" presId="urn:microsoft.com/office/officeart/2005/8/layout/vList2"/>
    <dgm:cxn modelId="{3487F161-D780-4262-A19C-DC65FADADB94}" type="presParOf" srcId="{D0343D00-6190-4C0A-8636-991E64A7FED0}" destId="{6820FF9A-F000-41FC-BA01-DA8A38A209C7}" srcOrd="3" destOrd="0" presId="urn:microsoft.com/office/officeart/2005/8/layout/vList2"/>
    <dgm:cxn modelId="{2B1B5DCC-A964-46C6-9BF7-CC88F30E02A1}" type="presParOf" srcId="{D0343D00-6190-4C0A-8636-991E64A7FED0}" destId="{33CC5F8C-AB94-40C4-A4C9-B2A2781BF558}"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6.xml><?xml version="1.0" encoding="utf-8"?>
<dgm:dataModel xmlns:dgm="http://schemas.openxmlformats.org/drawingml/2006/diagram" xmlns:a="http://schemas.openxmlformats.org/drawingml/2006/main">
  <dgm:ptLst>
    <dgm:pt modelId="{A0B9CAEC-8FD0-48DC-8CB1-404AFF1DFFF8}" type="doc">
      <dgm:prSet loTypeId="urn:microsoft.com/office/officeart/2009/3/layout/FramedTextPicture" loCatId="picture" qsTypeId="urn:microsoft.com/office/officeart/2005/8/quickstyle/simple1" qsCatId="simple" csTypeId="urn:microsoft.com/office/officeart/2005/8/colors/accent1_2" csCatId="accent1" phldr="1"/>
      <dgm:spPr/>
      <dgm:t>
        <a:bodyPr/>
        <a:lstStyle/>
        <a:p>
          <a:endParaRPr lang="es-ES"/>
        </a:p>
      </dgm:t>
    </dgm:pt>
    <dgm:pt modelId="{12E4B648-FE1E-4BE2-9655-CDCEF9C0BE2E}">
      <dgm:prSet phldrT="[Texto]" custT="1"/>
      <dgm:spPr/>
      <dgm:t>
        <a:bodyPr/>
        <a:lstStyle/>
        <a:p>
          <a:r>
            <a:rPr lang="es-ES" sz="1600" dirty="0">
              <a:highlight>
                <a:srgbClr val="00FF00"/>
              </a:highlight>
            </a:rPr>
            <a:t>Centrados en las personas y empresas.</a:t>
          </a:r>
        </a:p>
      </dgm:t>
    </dgm:pt>
    <dgm:pt modelId="{2686E458-5CE8-4BC6-9A79-4F6ED24225B6}" type="parTrans" cxnId="{73196490-7531-440F-8A2D-7738749063E2}">
      <dgm:prSet/>
      <dgm:spPr/>
      <dgm:t>
        <a:bodyPr/>
        <a:lstStyle/>
        <a:p>
          <a:endParaRPr lang="es-ES" sz="2000"/>
        </a:p>
      </dgm:t>
    </dgm:pt>
    <dgm:pt modelId="{91B06BFD-20A6-4650-928C-3B843102D29C}" type="sibTrans" cxnId="{73196490-7531-440F-8A2D-7738749063E2}">
      <dgm:prSet/>
      <dgm:spPr/>
      <dgm:t>
        <a:bodyPr/>
        <a:lstStyle/>
        <a:p>
          <a:endParaRPr lang="es-ES" sz="2000"/>
        </a:p>
      </dgm:t>
    </dgm:pt>
    <dgm:pt modelId="{74692724-D4A1-4A16-A8B0-893138C846D3}">
      <dgm:prSet phldrT="[Texto]" custT="1"/>
      <dgm:spPr/>
      <dgm:t>
        <a:bodyPr/>
        <a:lstStyle/>
        <a:p>
          <a:r>
            <a:rPr lang="es-ES" sz="1200" dirty="0"/>
            <a:t>Los criterios de “Desarrollo Sostenible ODS” y buen gobierno en la empresa “ESG” serán tenidos en cuenta durante la fase de construcción y posterior puesta en producción de la herramienta poniendo a las personas en el medio. </a:t>
          </a:r>
        </a:p>
      </dgm:t>
    </dgm:pt>
    <dgm:pt modelId="{107729D1-6A91-4C93-B3CA-78907E794FB9}" type="parTrans" cxnId="{2D34CB9F-16FE-4CB3-A108-9C28A2A9E4EA}">
      <dgm:prSet/>
      <dgm:spPr/>
      <dgm:t>
        <a:bodyPr/>
        <a:lstStyle/>
        <a:p>
          <a:endParaRPr lang="es-ES" sz="2000"/>
        </a:p>
      </dgm:t>
    </dgm:pt>
    <dgm:pt modelId="{D2206F6E-77F3-4E38-ABD8-FAC112576881}" type="sibTrans" cxnId="{2D34CB9F-16FE-4CB3-A108-9C28A2A9E4EA}">
      <dgm:prSet/>
      <dgm:spPr/>
      <dgm:t>
        <a:bodyPr/>
        <a:lstStyle/>
        <a:p>
          <a:endParaRPr lang="es-ES" sz="2000"/>
        </a:p>
      </dgm:t>
    </dgm:pt>
    <dgm:pt modelId="{08DCD167-7117-4EBD-A5CA-7ED4380752A6}">
      <dgm:prSet phldrT="[Texto]" custT="1"/>
      <dgm:spPr/>
      <dgm:t>
        <a:bodyPr/>
        <a:lstStyle/>
        <a:p>
          <a:r>
            <a:rPr lang="es-ES" sz="1600" dirty="0">
              <a:highlight>
                <a:srgbClr val="00FF00"/>
              </a:highlight>
            </a:rPr>
            <a:t>Centrados en el medio ambiente</a:t>
          </a:r>
        </a:p>
      </dgm:t>
    </dgm:pt>
    <dgm:pt modelId="{F9376EED-5649-4AB8-AE10-7D5186BEE601}" type="parTrans" cxnId="{50DB3E96-B2D0-43A4-A600-556AF9AAAEBD}">
      <dgm:prSet/>
      <dgm:spPr/>
      <dgm:t>
        <a:bodyPr/>
        <a:lstStyle/>
        <a:p>
          <a:endParaRPr lang="es-ES" sz="2000"/>
        </a:p>
      </dgm:t>
    </dgm:pt>
    <dgm:pt modelId="{C3133520-BE1B-47FE-B21A-2AC6450754EE}" type="sibTrans" cxnId="{50DB3E96-B2D0-43A4-A600-556AF9AAAEBD}">
      <dgm:prSet/>
      <dgm:spPr/>
      <dgm:t>
        <a:bodyPr/>
        <a:lstStyle/>
        <a:p>
          <a:endParaRPr lang="es-ES" sz="2000"/>
        </a:p>
      </dgm:t>
    </dgm:pt>
    <dgm:pt modelId="{35301FEF-AFE2-46A8-B062-86737FFBDFF1}">
      <dgm:prSet phldrT="[Texto]" custT="1"/>
      <dgm:spPr/>
      <dgm:t>
        <a:bodyPr/>
        <a:lstStyle/>
        <a:p>
          <a:r>
            <a:rPr lang="es-ES" sz="1200" dirty="0"/>
            <a:t>El código generado y la posterior puesta en producción de la herramienta será respetuosa con el medio ambiente.</a:t>
          </a:r>
        </a:p>
      </dgm:t>
    </dgm:pt>
    <dgm:pt modelId="{0ACC1F1E-2F60-4F0E-BE06-D03FD308081A}" type="parTrans" cxnId="{EB2026C1-355D-459C-949B-1F38BA83E013}">
      <dgm:prSet/>
      <dgm:spPr/>
      <dgm:t>
        <a:bodyPr/>
        <a:lstStyle/>
        <a:p>
          <a:endParaRPr lang="es-ES" sz="2000"/>
        </a:p>
      </dgm:t>
    </dgm:pt>
    <dgm:pt modelId="{45067276-C8CD-4DCD-915A-F95EED8E377B}" type="sibTrans" cxnId="{EB2026C1-355D-459C-949B-1F38BA83E013}">
      <dgm:prSet/>
      <dgm:spPr/>
      <dgm:t>
        <a:bodyPr/>
        <a:lstStyle/>
        <a:p>
          <a:endParaRPr lang="es-ES" sz="2000"/>
        </a:p>
      </dgm:t>
    </dgm:pt>
    <dgm:pt modelId="{478D54EF-803F-4002-BEC2-229B7D004DEE}" type="pres">
      <dgm:prSet presAssocID="{A0B9CAEC-8FD0-48DC-8CB1-404AFF1DFFF8}" presName="Name0" presStyleCnt="0">
        <dgm:presLayoutVars>
          <dgm:chMax/>
          <dgm:chPref/>
          <dgm:dir/>
        </dgm:presLayoutVars>
      </dgm:prSet>
      <dgm:spPr/>
    </dgm:pt>
    <dgm:pt modelId="{C12203A9-7E49-4443-BEF6-AED8D5C87DD8}" type="pres">
      <dgm:prSet presAssocID="{12E4B648-FE1E-4BE2-9655-CDCEF9C0BE2E}" presName="composite" presStyleCnt="0">
        <dgm:presLayoutVars>
          <dgm:chMax/>
          <dgm:chPref/>
        </dgm:presLayoutVars>
      </dgm:prSet>
      <dgm:spPr/>
    </dgm:pt>
    <dgm:pt modelId="{FB9D9A0C-CDE6-4F63-BCA8-FAE572F369F4}" type="pres">
      <dgm:prSet presAssocID="{12E4B648-FE1E-4BE2-9655-CDCEF9C0BE2E}" presName="Image" presStyleLbl="bgImgPlace1" presStyleIdx="0" presStyleCnt="2"/>
      <dgm:spPr>
        <a:blipFill dpi="0" rotWithShape="1">
          <a:blip xmlns:r="http://schemas.openxmlformats.org/officeDocument/2006/relationships" r:embed="rId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t="17525" b="17525"/>
          </a:stretch>
        </a:blipFill>
      </dgm:spPr>
    </dgm:pt>
    <dgm:pt modelId="{38DD16D6-E242-4C7B-8A73-6C99CC5C5088}" type="pres">
      <dgm:prSet presAssocID="{12E4B648-FE1E-4BE2-9655-CDCEF9C0BE2E}" presName="ParentText" presStyleLbl="revTx" presStyleIdx="0" presStyleCnt="2" custScaleX="115653" custLinFactNeighborX="5932">
        <dgm:presLayoutVars>
          <dgm:chMax val="0"/>
          <dgm:chPref val="0"/>
          <dgm:bulletEnabled val="1"/>
        </dgm:presLayoutVars>
      </dgm:prSet>
      <dgm:spPr/>
    </dgm:pt>
    <dgm:pt modelId="{C3AE575D-20D2-40AB-B98E-1F0C67729186}" type="pres">
      <dgm:prSet presAssocID="{12E4B648-FE1E-4BE2-9655-CDCEF9C0BE2E}" presName="tlFrame" presStyleLbl="node1" presStyleIdx="0" presStyleCnt="8"/>
      <dgm:spPr/>
    </dgm:pt>
    <dgm:pt modelId="{7A612166-BB91-437B-87CD-D11354428CE0}" type="pres">
      <dgm:prSet presAssocID="{12E4B648-FE1E-4BE2-9655-CDCEF9C0BE2E}" presName="trFrame" presStyleLbl="node1" presStyleIdx="1" presStyleCnt="8"/>
      <dgm:spPr/>
    </dgm:pt>
    <dgm:pt modelId="{BFD3035B-93A1-42DF-9B59-4F9F412DD97F}" type="pres">
      <dgm:prSet presAssocID="{12E4B648-FE1E-4BE2-9655-CDCEF9C0BE2E}" presName="blFrame" presStyleLbl="node1" presStyleIdx="2" presStyleCnt="8"/>
      <dgm:spPr/>
    </dgm:pt>
    <dgm:pt modelId="{2325587E-BBCB-416D-9AE2-7AC33DDFD654}" type="pres">
      <dgm:prSet presAssocID="{12E4B648-FE1E-4BE2-9655-CDCEF9C0BE2E}" presName="brFrame" presStyleLbl="node1" presStyleIdx="3" presStyleCnt="8"/>
      <dgm:spPr/>
    </dgm:pt>
    <dgm:pt modelId="{96C1D038-B4A6-42D4-B4F3-86CD8B014A67}" type="pres">
      <dgm:prSet presAssocID="{91B06BFD-20A6-4650-928C-3B843102D29C}" presName="sibTrans" presStyleCnt="0"/>
      <dgm:spPr/>
    </dgm:pt>
    <dgm:pt modelId="{5D209F51-AE0D-41E9-BA90-42C49E783DB7}" type="pres">
      <dgm:prSet presAssocID="{08DCD167-7117-4EBD-A5CA-7ED4380752A6}" presName="composite" presStyleCnt="0">
        <dgm:presLayoutVars>
          <dgm:chMax/>
          <dgm:chPref/>
        </dgm:presLayoutVars>
      </dgm:prSet>
      <dgm:spPr/>
    </dgm:pt>
    <dgm:pt modelId="{5F206E9C-99AA-4E72-86F5-C29B67C1A394}" type="pres">
      <dgm:prSet presAssocID="{08DCD167-7117-4EBD-A5CA-7ED4380752A6}" presName="Image" presStyleLbl="bgImgPlace1" presStyleIdx="1" presStyleCnt="2"/>
      <dgm:spPr>
        <a:blipFill dpi="0" rotWithShape="1">
          <a:blip xmlns:r="http://schemas.openxmlformats.org/officeDocument/2006/relationships" r:embed="rId2"/>
          <a:srcRect/>
          <a:stretch>
            <a:fillRect t="6988" b="6988"/>
          </a:stretch>
        </a:blipFill>
      </dgm:spPr>
    </dgm:pt>
    <dgm:pt modelId="{C9D120C7-279B-4CD8-80A1-357052ED971D}" type="pres">
      <dgm:prSet presAssocID="{08DCD167-7117-4EBD-A5CA-7ED4380752A6}" presName="ParentText" presStyleLbl="revTx" presStyleIdx="1" presStyleCnt="2">
        <dgm:presLayoutVars>
          <dgm:chMax val="0"/>
          <dgm:chPref val="0"/>
          <dgm:bulletEnabled val="1"/>
        </dgm:presLayoutVars>
      </dgm:prSet>
      <dgm:spPr/>
    </dgm:pt>
    <dgm:pt modelId="{783833C9-960C-49FF-AE37-E5AB9804E9CA}" type="pres">
      <dgm:prSet presAssocID="{08DCD167-7117-4EBD-A5CA-7ED4380752A6}" presName="tlFrame" presStyleLbl="node1" presStyleIdx="4" presStyleCnt="8"/>
      <dgm:spPr/>
    </dgm:pt>
    <dgm:pt modelId="{568CD392-CB16-48A3-ABDE-ACA6EA5198C7}" type="pres">
      <dgm:prSet presAssocID="{08DCD167-7117-4EBD-A5CA-7ED4380752A6}" presName="trFrame" presStyleLbl="node1" presStyleIdx="5" presStyleCnt="8"/>
      <dgm:spPr/>
    </dgm:pt>
    <dgm:pt modelId="{FBC66A7E-FEF1-4ED3-84AE-1722F3BCFBAB}" type="pres">
      <dgm:prSet presAssocID="{08DCD167-7117-4EBD-A5CA-7ED4380752A6}" presName="blFrame" presStyleLbl="node1" presStyleIdx="6" presStyleCnt="8"/>
      <dgm:spPr/>
    </dgm:pt>
    <dgm:pt modelId="{7FB38627-8D3A-4182-8499-AA989AFFA7BE}" type="pres">
      <dgm:prSet presAssocID="{08DCD167-7117-4EBD-A5CA-7ED4380752A6}" presName="brFrame" presStyleLbl="node1" presStyleIdx="7" presStyleCnt="8"/>
      <dgm:spPr/>
    </dgm:pt>
  </dgm:ptLst>
  <dgm:cxnLst>
    <dgm:cxn modelId="{CD422E08-FA92-4E46-8117-DFA63575EA01}" type="presOf" srcId="{A0B9CAEC-8FD0-48DC-8CB1-404AFF1DFFF8}" destId="{478D54EF-803F-4002-BEC2-229B7D004DEE}" srcOrd="0" destOrd="0" presId="urn:microsoft.com/office/officeart/2009/3/layout/FramedTextPicture"/>
    <dgm:cxn modelId="{9B686F26-9E7B-4D14-B683-49AAB8CF79C0}" type="presOf" srcId="{12E4B648-FE1E-4BE2-9655-CDCEF9C0BE2E}" destId="{38DD16D6-E242-4C7B-8A73-6C99CC5C5088}" srcOrd="0" destOrd="0" presId="urn:microsoft.com/office/officeart/2009/3/layout/FramedTextPicture"/>
    <dgm:cxn modelId="{73196490-7531-440F-8A2D-7738749063E2}" srcId="{A0B9CAEC-8FD0-48DC-8CB1-404AFF1DFFF8}" destId="{12E4B648-FE1E-4BE2-9655-CDCEF9C0BE2E}" srcOrd="0" destOrd="0" parTransId="{2686E458-5CE8-4BC6-9A79-4F6ED24225B6}" sibTransId="{91B06BFD-20A6-4650-928C-3B843102D29C}"/>
    <dgm:cxn modelId="{50DB3E96-B2D0-43A4-A600-556AF9AAAEBD}" srcId="{A0B9CAEC-8FD0-48DC-8CB1-404AFF1DFFF8}" destId="{08DCD167-7117-4EBD-A5CA-7ED4380752A6}" srcOrd="1" destOrd="0" parTransId="{F9376EED-5649-4AB8-AE10-7D5186BEE601}" sibTransId="{C3133520-BE1B-47FE-B21A-2AC6450754EE}"/>
    <dgm:cxn modelId="{3422549D-6DA5-4807-A02F-A68DA3DF68E8}" type="presOf" srcId="{74692724-D4A1-4A16-A8B0-893138C846D3}" destId="{38DD16D6-E242-4C7B-8A73-6C99CC5C5088}" srcOrd="0" destOrd="1" presId="urn:microsoft.com/office/officeart/2009/3/layout/FramedTextPicture"/>
    <dgm:cxn modelId="{65C79A9F-45BF-4595-9811-1DDA3BD3DCCE}" type="presOf" srcId="{35301FEF-AFE2-46A8-B062-86737FFBDFF1}" destId="{C9D120C7-279B-4CD8-80A1-357052ED971D}" srcOrd="0" destOrd="1" presId="urn:microsoft.com/office/officeart/2009/3/layout/FramedTextPicture"/>
    <dgm:cxn modelId="{2D34CB9F-16FE-4CB3-A108-9C28A2A9E4EA}" srcId="{12E4B648-FE1E-4BE2-9655-CDCEF9C0BE2E}" destId="{74692724-D4A1-4A16-A8B0-893138C846D3}" srcOrd="0" destOrd="0" parTransId="{107729D1-6A91-4C93-B3CA-78907E794FB9}" sibTransId="{D2206F6E-77F3-4E38-ABD8-FAC112576881}"/>
    <dgm:cxn modelId="{EB2026C1-355D-459C-949B-1F38BA83E013}" srcId="{08DCD167-7117-4EBD-A5CA-7ED4380752A6}" destId="{35301FEF-AFE2-46A8-B062-86737FFBDFF1}" srcOrd="0" destOrd="0" parTransId="{0ACC1F1E-2F60-4F0E-BE06-D03FD308081A}" sibTransId="{45067276-C8CD-4DCD-915A-F95EED8E377B}"/>
    <dgm:cxn modelId="{4F9B3DEE-7B79-4E24-B543-B88B8C845B1F}" type="presOf" srcId="{08DCD167-7117-4EBD-A5CA-7ED4380752A6}" destId="{C9D120C7-279B-4CD8-80A1-357052ED971D}" srcOrd="0" destOrd="0" presId="urn:microsoft.com/office/officeart/2009/3/layout/FramedTextPicture"/>
    <dgm:cxn modelId="{722054E2-B760-4B2F-93AE-EE70E24E2B5B}" type="presParOf" srcId="{478D54EF-803F-4002-BEC2-229B7D004DEE}" destId="{C12203A9-7E49-4443-BEF6-AED8D5C87DD8}" srcOrd="0" destOrd="0" presId="urn:microsoft.com/office/officeart/2009/3/layout/FramedTextPicture"/>
    <dgm:cxn modelId="{3613E317-CDCC-47AC-9CA2-82E870D3CA04}" type="presParOf" srcId="{C12203A9-7E49-4443-BEF6-AED8D5C87DD8}" destId="{FB9D9A0C-CDE6-4F63-BCA8-FAE572F369F4}" srcOrd="0" destOrd="0" presId="urn:microsoft.com/office/officeart/2009/3/layout/FramedTextPicture"/>
    <dgm:cxn modelId="{F8A78088-A50E-456D-B56B-4E8CD2FF9DCF}" type="presParOf" srcId="{C12203A9-7E49-4443-BEF6-AED8D5C87DD8}" destId="{38DD16D6-E242-4C7B-8A73-6C99CC5C5088}" srcOrd="1" destOrd="0" presId="urn:microsoft.com/office/officeart/2009/3/layout/FramedTextPicture"/>
    <dgm:cxn modelId="{F3D077C1-9DF2-4B85-81C4-498068DA060D}" type="presParOf" srcId="{C12203A9-7E49-4443-BEF6-AED8D5C87DD8}" destId="{C3AE575D-20D2-40AB-B98E-1F0C67729186}" srcOrd="2" destOrd="0" presId="urn:microsoft.com/office/officeart/2009/3/layout/FramedTextPicture"/>
    <dgm:cxn modelId="{F8996F68-65A3-4EFC-BFE9-FB4BE33B838F}" type="presParOf" srcId="{C12203A9-7E49-4443-BEF6-AED8D5C87DD8}" destId="{7A612166-BB91-437B-87CD-D11354428CE0}" srcOrd="3" destOrd="0" presId="urn:microsoft.com/office/officeart/2009/3/layout/FramedTextPicture"/>
    <dgm:cxn modelId="{DCA903A6-7DFB-4579-A5F6-2446E8507D52}" type="presParOf" srcId="{C12203A9-7E49-4443-BEF6-AED8D5C87DD8}" destId="{BFD3035B-93A1-42DF-9B59-4F9F412DD97F}" srcOrd="4" destOrd="0" presId="urn:microsoft.com/office/officeart/2009/3/layout/FramedTextPicture"/>
    <dgm:cxn modelId="{82643B1C-C9F1-4F16-8A3A-2921BDCDCF6A}" type="presParOf" srcId="{C12203A9-7E49-4443-BEF6-AED8D5C87DD8}" destId="{2325587E-BBCB-416D-9AE2-7AC33DDFD654}" srcOrd="5" destOrd="0" presId="urn:microsoft.com/office/officeart/2009/3/layout/FramedTextPicture"/>
    <dgm:cxn modelId="{ED37F869-CE75-4D7B-9A7D-B2CBF6814CB3}" type="presParOf" srcId="{478D54EF-803F-4002-BEC2-229B7D004DEE}" destId="{96C1D038-B4A6-42D4-B4F3-86CD8B014A67}" srcOrd="1" destOrd="0" presId="urn:microsoft.com/office/officeart/2009/3/layout/FramedTextPicture"/>
    <dgm:cxn modelId="{9613BFC5-7B03-4F27-B72A-8E7A9A406253}" type="presParOf" srcId="{478D54EF-803F-4002-BEC2-229B7D004DEE}" destId="{5D209F51-AE0D-41E9-BA90-42C49E783DB7}" srcOrd="2" destOrd="0" presId="urn:microsoft.com/office/officeart/2009/3/layout/FramedTextPicture"/>
    <dgm:cxn modelId="{FDF64065-753E-4AF0-8FF5-7CFF7F13214C}" type="presParOf" srcId="{5D209F51-AE0D-41E9-BA90-42C49E783DB7}" destId="{5F206E9C-99AA-4E72-86F5-C29B67C1A394}" srcOrd="0" destOrd="0" presId="urn:microsoft.com/office/officeart/2009/3/layout/FramedTextPicture"/>
    <dgm:cxn modelId="{4675B859-9479-4822-87B4-32D3B97B4929}" type="presParOf" srcId="{5D209F51-AE0D-41E9-BA90-42C49E783DB7}" destId="{C9D120C7-279B-4CD8-80A1-357052ED971D}" srcOrd="1" destOrd="0" presId="urn:microsoft.com/office/officeart/2009/3/layout/FramedTextPicture"/>
    <dgm:cxn modelId="{01F1BD2E-1F30-4F61-938E-5F1D692DB788}" type="presParOf" srcId="{5D209F51-AE0D-41E9-BA90-42C49E783DB7}" destId="{783833C9-960C-49FF-AE37-E5AB9804E9CA}" srcOrd="2" destOrd="0" presId="urn:microsoft.com/office/officeart/2009/3/layout/FramedTextPicture"/>
    <dgm:cxn modelId="{F3857146-E65E-43AC-88EF-6EC2E178C738}" type="presParOf" srcId="{5D209F51-AE0D-41E9-BA90-42C49E783DB7}" destId="{568CD392-CB16-48A3-ABDE-ACA6EA5198C7}" srcOrd="3" destOrd="0" presId="urn:microsoft.com/office/officeart/2009/3/layout/FramedTextPicture"/>
    <dgm:cxn modelId="{C0F52CB7-4157-4A65-845E-248F4AF0C635}" type="presParOf" srcId="{5D209F51-AE0D-41E9-BA90-42C49E783DB7}" destId="{FBC66A7E-FEF1-4ED3-84AE-1722F3BCFBAB}" srcOrd="4" destOrd="0" presId="urn:microsoft.com/office/officeart/2009/3/layout/FramedTextPicture"/>
    <dgm:cxn modelId="{BB8E64AD-0827-4035-9328-1E7FD836B1B5}" type="presParOf" srcId="{5D209F51-AE0D-41E9-BA90-42C49E783DB7}" destId="{7FB38627-8D3A-4182-8499-AA989AFFA7BE}" srcOrd="5" destOrd="0" presId="urn:microsoft.com/office/officeart/2009/3/layout/FramedTextPi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7.xml><?xml version="1.0" encoding="utf-8"?>
<dgm:dataModel xmlns:dgm="http://schemas.openxmlformats.org/drawingml/2006/diagram" xmlns:a="http://schemas.openxmlformats.org/drawingml/2006/main">
  <dgm:ptLst>
    <dgm:pt modelId="{E737D0D1-C23C-4C76-8B7B-273682D0440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s-ES"/>
        </a:p>
      </dgm:t>
    </dgm:pt>
    <dgm:pt modelId="{9402B114-745F-48AB-AF69-2BCC9DBA14E8}">
      <dgm:prSet phldrT="[Texto]"/>
      <dgm:spPr/>
      <dgm:t>
        <a:bodyPr/>
        <a:lstStyle/>
        <a:p>
          <a:r>
            <a:rPr lang="es-ES" dirty="0"/>
            <a:t>Ambientales: Estos criterios evalúan el impacto de la empresa en el medio ambiente. </a:t>
          </a:r>
        </a:p>
      </dgm:t>
    </dgm:pt>
    <dgm:pt modelId="{1C7BCC10-DCF4-4EE2-9EE6-3F6F97D8D3D9}" type="parTrans" cxnId="{113BF967-F1F5-437A-BE97-AA72A09DD0CF}">
      <dgm:prSet/>
      <dgm:spPr/>
      <dgm:t>
        <a:bodyPr/>
        <a:lstStyle/>
        <a:p>
          <a:endParaRPr lang="es-ES"/>
        </a:p>
      </dgm:t>
    </dgm:pt>
    <dgm:pt modelId="{8E54A54C-CEB6-450D-91FB-9F125A4A745D}" type="sibTrans" cxnId="{113BF967-F1F5-437A-BE97-AA72A09DD0CF}">
      <dgm:prSet/>
      <dgm:spPr/>
      <dgm:t>
        <a:bodyPr/>
        <a:lstStyle/>
        <a:p>
          <a:endParaRPr lang="es-ES"/>
        </a:p>
      </dgm:t>
    </dgm:pt>
    <dgm:pt modelId="{F4AE4B38-EC83-47EB-B0A6-787F74D8099B}">
      <dgm:prSet phldrT="[Texto]"/>
      <dgm:spPr/>
      <dgm:t>
        <a:bodyPr/>
        <a:lstStyle/>
        <a:p>
          <a:r>
            <a:rPr lang="es-ES" dirty="0"/>
            <a:t>Reducir las emisiones de gases de efecto invernadero.</a:t>
          </a:r>
        </a:p>
      </dgm:t>
    </dgm:pt>
    <dgm:pt modelId="{0F528EB6-0952-42D0-91FB-11506D00CF65}" type="parTrans" cxnId="{7DB7E54A-F395-4EBF-BE7C-99CA28A7E7F3}">
      <dgm:prSet/>
      <dgm:spPr/>
      <dgm:t>
        <a:bodyPr/>
        <a:lstStyle/>
        <a:p>
          <a:endParaRPr lang="es-ES"/>
        </a:p>
      </dgm:t>
    </dgm:pt>
    <dgm:pt modelId="{F2B00E59-0378-487C-B59A-CB2D363E638D}" type="sibTrans" cxnId="{7DB7E54A-F395-4EBF-BE7C-99CA28A7E7F3}">
      <dgm:prSet/>
      <dgm:spPr/>
      <dgm:t>
        <a:bodyPr/>
        <a:lstStyle/>
        <a:p>
          <a:endParaRPr lang="es-ES"/>
        </a:p>
      </dgm:t>
    </dgm:pt>
    <dgm:pt modelId="{85DB384E-FAFC-4458-BDBE-7C6729387253}">
      <dgm:prSet phldrT="[Texto]"/>
      <dgm:spPr/>
      <dgm:t>
        <a:bodyPr/>
        <a:lstStyle/>
        <a:p>
          <a:r>
            <a:rPr lang="es-ES" dirty="0"/>
            <a:t>Sociales: Estos criterios evalúan el impacto de la empresa en la sociedad.  </a:t>
          </a:r>
        </a:p>
      </dgm:t>
    </dgm:pt>
    <dgm:pt modelId="{43A43883-01ED-439B-925A-1E30D76BBBC0}" type="parTrans" cxnId="{2004429F-1EE5-4F61-B11A-2AAA2F479F17}">
      <dgm:prSet/>
      <dgm:spPr/>
      <dgm:t>
        <a:bodyPr/>
        <a:lstStyle/>
        <a:p>
          <a:endParaRPr lang="es-ES"/>
        </a:p>
      </dgm:t>
    </dgm:pt>
    <dgm:pt modelId="{B2B7B032-46ED-429C-9EBE-559C362ACE7E}" type="sibTrans" cxnId="{2004429F-1EE5-4F61-B11A-2AAA2F479F17}">
      <dgm:prSet/>
      <dgm:spPr/>
      <dgm:t>
        <a:bodyPr/>
        <a:lstStyle/>
        <a:p>
          <a:endParaRPr lang="es-ES"/>
        </a:p>
      </dgm:t>
    </dgm:pt>
    <dgm:pt modelId="{DB744B20-4B3E-4697-8982-45E450AECB2C}">
      <dgm:prSet phldrT="[Texto]"/>
      <dgm:spPr/>
      <dgm:t>
        <a:bodyPr/>
        <a:lstStyle/>
        <a:p>
          <a:r>
            <a:rPr lang="es-ES" dirty="0"/>
            <a:t>Respetar los derechos humanos.</a:t>
          </a:r>
        </a:p>
      </dgm:t>
    </dgm:pt>
    <dgm:pt modelId="{CD6804C3-62CD-4A3E-AEF2-69884B84AA3B}" type="parTrans" cxnId="{A473EA73-A1AD-4DD5-92F2-EF337F437DAB}">
      <dgm:prSet/>
      <dgm:spPr/>
      <dgm:t>
        <a:bodyPr/>
        <a:lstStyle/>
        <a:p>
          <a:endParaRPr lang="es-ES"/>
        </a:p>
      </dgm:t>
    </dgm:pt>
    <dgm:pt modelId="{E85DCF52-8B19-47EE-A16E-D9746682531D}" type="sibTrans" cxnId="{A473EA73-A1AD-4DD5-92F2-EF337F437DAB}">
      <dgm:prSet/>
      <dgm:spPr/>
      <dgm:t>
        <a:bodyPr/>
        <a:lstStyle/>
        <a:p>
          <a:endParaRPr lang="es-ES"/>
        </a:p>
      </dgm:t>
    </dgm:pt>
    <dgm:pt modelId="{6ED90423-5291-4E7F-A527-C49F9F0B43A1}">
      <dgm:prSet phldrT="[Texto]"/>
      <dgm:spPr/>
      <dgm:t>
        <a:bodyPr/>
        <a:lstStyle/>
        <a:p>
          <a:r>
            <a:rPr lang="es-ES" dirty="0"/>
            <a:t>Gobernanza: Estos criterios evalúan la estructura y el funcionamiento de la empresa. </a:t>
          </a:r>
        </a:p>
      </dgm:t>
    </dgm:pt>
    <dgm:pt modelId="{26EBEE46-08CC-42A5-A652-775C694A95CF}" type="parTrans" cxnId="{7F6562BE-6217-412D-8D26-D899E54FC9F2}">
      <dgm:prSet/>
      <dgm:spPr/>
      <dgm:t>
        <a:bodyPr/>
        <a:lstStyle/>
        <a:p>
          <a:endParaRPr lang="es-ES"/>
        </a:p>
      </dgm:t>
    </dgm:pt>
    <dgm:pt modelId="{43F4BE98-E688-4856-A7E9-55077C6CC38A}" type="sibTrans" cxnId="{7F6562BE-6217-412D-8D26-D899E54FC9F2}">
      <dgm:prSet/>
      <dgm:spPr/>
      <dgm:t>
        <a:bodyPr/>
        <a:lstStyle/>
        <a:p>
          <a:endParaRPr lang="es-ES"/>
        </a:p>
      </dgm:t>
    </dgm:pt>
    <dgm:pt modelId="{57DB5526-2AA3-4D98-8171-66218237D0A6}">
      <dgm:prSet phldrT="[Texto]"/>
      <dgm:spPr/>
      <dgm:t>
        <a:bodyPr/>
        <a:lstStyle/>
        <a:p>
          <a:r>
            <a:rPr lang="es-ES" dirty="0"/>
            <a:t>Ser transparente con la información financiera y operativa.</a:t>
          </a:r>
        </a:p>
      </dgm:t>
    </dgm:pt>
    <dgm:pt modelId="{EDB024C0-8CE2-4723-A83A-7171FE8DDA4B}" type="parTrans" cxnId="{36648933-2B89-4B6E-953F-2C30949647C7}">
      <dgm:prSet/>
      <dgm:spPr/>
      <dgm:t>
        <a:bodyPr/>
        <a:lstStyle/>
        <a:p>
          <a:endParaRPr lang="es-ES"/>
        </a:p>
      </dgm:t>
    </dgm:pt>
    <dgm:pt modelId="{35712E7E-5E58-4217-BF31-5229F8859D4B}" type="sibTrans" cxnId="{36648933-2B89-4B6E-953F-2C30949647C7}">
      <dgm:prSet/>
      <dgm:spPr/>
      <dgm:t>
        <a:bodyPr/>
        <a:lstStyle/>
        <a:p>
          <a:endParaRPr lang="es-ES"/>
        </a:p>
      </dgm:t>
    </dgm:pt>
    <dgm:pt modelId="{C410F521-D9CC-4BED-ADB8-40C925326E38}">
      <dgm:prSet/>
      <dgm:spPr/>
      <dgm:t>
        <a:bodyPr/>
        <a:lstStyle/>
        <a:p>
          <a:r>
            <a:rPr lang="es-ES" dirty="0"/>
            <a:t>Utilizar energía renovable.</a:t>
          </a:r>
        </a:p>
      </dgm:t>
    </dgm:pt>
    <dgm:pt modelId="{BBD42924-6202-4950-8A4E-F33A661144D4}" type="parTrans" cxnId="{8774F802-3E1B-4B93-AF3B-ECFECDD85C20}">
      <dgm:prSet/>
      <dgm:spPr/>
      <dgm:t>
        <a:bodyPr/>
        <a:lstStyle/>
        <a:p>
          <a:endParaRPr lang="es-ES"/>
        </a:p>
      </dgm:t>
    </dgm:pt>
    <dgm:pt modelId="{4FDAB82A-2236-4424-ACFC-84768B4033BD}" type="sibTrans" cxnId="{8774F802-3E1B-4B93-AF3B-ECFECDD85C20}">
      <dgm:prSet/>
      <dgm:spPr/>
      <dgm:t>
        <a:bodyPr/>
        <a:lstStyle/>
        <a:p>
          <a:endParaRPr lang="es-ES"/>
        </a:p>
      </dgm:t>
    </dgm:pt>
    <dgm:pt modelId="{27ACFFDB-51B9-4C73-9E79-61D97A954476}">
      <dgm:prSet/>
      <dgm:spPr/>
      <dgm:t>
        <a:bodyPr/>
        <a:lstStyle/>
        <a:p>
          <a:r>
            <a:rPr lang="es-ES" dirty="0"/>
            <a:t>Reciclar y reutilizar materiales.</a:t>
          </a:r>
        </a:p>
      </dgm:t>
    </dgm:pt>
    <dgm:pt modelId="{9585990E-5F7E-4426-9114-957831689A58}" type="parTrans" cxnId="{5B11C377-3EC9-43EC-8CA9-6E82309FFEB7}">
      <dgm:prSet/>
      <dgm:spPr/>
      <dgm:t>
        <a:bodyPr/>
        <a:lstStyle/>
        <a:p>
          <a:endParaRPr lang="es-ES"/>
        </a:p>
      </dgm:t>
    </dgm:pt>
    <dgm:pt modelId="{53FF1E69-62C7-4A27-A8BC-1EF5BE42D8C1}" type="sibTrans" cxnId="{5B11C377-3EC9-43EC-8CA9-6E82309FFEB7}">
      <dgm:prSet/>
      <dgm:spPr/>
      <dgm:t>
        <a:bodyPr/>
        <a:lstStyle/>
        <a:p>
          <a:endParaRPr lang="es-ES"/>
        </a:p>
      </dgm:t>
    </dgm:pt>
    <dgm:pt modelId="{BE0E883B-0410-49F4-AA6B-3B647E0922B3}">
      <dgm:prSet/>
      <dgm:spPr/>
      <dgm:t>
        <a:bodyPr/>
        <a:lstStyle/>
        <a:p>
          <a:r>
            <a:rPr lang="es-ES" dirty="0"/>
            <a:t>Proteger la biodiversidad.</a:t>
          </a:r>
        </a:p>
      </dgm:t>
    </dgm:pt>
    <dgm:pt modelId="{F7480AD5-E51A-400E-BF2D-75B931974B3C}" type="parTrans" cxnId="{3F9335E0-9A29-4304-B92E-9D29EC54676B}">
      <dgm:prSet/>
      <dgm:spPr/>
      <dgm:t>
        <a:bodyPr/>
        <a:lstStyle/>
        <a:p>
          <a:endParaRPr lang="es-ES"/>
        </a:p>
      </dgm:t>
    </dgm:pt>
    <dgm:pt modelId="{1B1E5810-48DC-4968-825E-50CE07C3A8F0}" type="sibTrans" cxnId="{3F9335E0-9A29-4304-B92E-9D29EC54676B}">
      <dgm:prSet/>
      <dgm:spPr/>
      <dgm:t>
        <a:bodyPr/>
        <a:lstStyle/>
        <a:p>
          <a:endParaRPr lang="es-ES"/>
        </a:p>
      </dgm:t>
    </dgm:pt>
    <dgm:pt modelId="{942CD6CD-84A3-46DA-A013-99199C11E625}">
      <dgm:prSet/>
      <dgm:spPr/>
      <dgm:t>
        <a:bodyPr/>
        <a:lstStyle/>
        <a:p>
          <a:r>
            <a:rPr lang="es-ES" dirty="0"/>
            <a:t>Gestión de los residuos.</a:t>
          </a:r>
        </a:p>
      </dgm:t>
    </dgm:pt>
    <dgm:pt modelId="{4025387C-9D69-4479-BC9E-DC45266DA667}" type="parTrans" cxnId="{E533C72C-AD12-433D-983B-05176E124239}">
      <dgm:prSet/>
      <dgm:spPr/>
      <dgm:t>
        <a:bodyPr/>
        <a:lstStyle/>
        <a:p>
          <a:endParaRPr lang="es-ES"/>
        </a:p>
      </dgm:t>
    </dgm:pt>
    <dgm:pt modelId="{38ECED7C-4124-46C9-A620-F35A33269128}" type="sibTrans" cxnId="{E533C72C-AD12-433D-983B-05176E124239}">
      <dgm:prSet/>
      <dgm:spPr/>
      <dgm:t>
        <a:bodyPr/>
        <a:lstStyle/>
        <a:p>
          <a:endParaRPr lang="es-ES"/>
        </a:p>
      </dgm:t>
    </dgm:pt>
    <dgm:pt modelId="{AC9FB229-8536-4B77-8283-3167F1A7AAF0}">
      <dgm:prSet/>
      <dgm:spPr/>
      <dgm:t>
        <a:bodyPr/>
        <a:lstStyle/>
        <a:p>
          <a:r>
            <a:rPr lang="es-ES" dirty="0"/>
            <a:t>Promover la diversidad e inclusión.</a:t>
          </a:r>
        </a:p>
      </dgm:t>
    </dgm:pt>
    <dgm:pt modelId="{11A6594F-96BE-4EED-A646-D394754ABA9A}" type="parTrans" cxnId="{E79B3EFE-AD59-4EA6-BFD1-61FE32A1CC29}">
      <dgm:prSet/>
      <dgm:spPr/>
      <dgm:t>
        <a:bodyPr/>
        <a:lstStyle/>
        <a:p>
          <a:endParaRPr lang="es-ES"/>
        </a:p>
      </dgm:t>
    </dgm:pt>
    <dgm:pt modelId="{04C433F8-7374-43C6-9856-BF5554254F1B}" type="sibTrans" cxnId="{E79B3EFE-AD59-4EA6-BFD1-61FE32A1CC29}">
      <dgm:prSet/>
      <dgm:spPr/>
      <dgm:t>
        <a:bodyPr/>
        <a:lstStyle/>
        <a:p>
          <a:endParaRPr lang="es-ES"/>
        </a:p>
      </dgm:t>
    </dgm:pt>
    <dgm:pt modelId="{1AFA1D48-4E71-483C-9FF1-8FB090260815}">
      <dgm:prSet/>
      <dgm:spPr/>
      <dgm:t>
        <a:bodyPr/>
        <a:lstStyle/>
        <a:p>
          <a:r>
            <a:rPr lang="es-ES" dirty="0"/>
            <a:t>Ofrecer un entorno de trabajo seguro y saludable.</a:t>
          </a:r>
        </a:p>
      </dgm:t>
    </dgm:pt>
    <dgm:pt modelId="{313B5790-56EE-4482-8D5D-607A5216BD11}" type="parTrans" cxnId="{EA6AEFF0-C12D-46C9-80D0-B1F95ED6A8E0}">
      <dgm:prSet/>
      <dgm:spPr/>
      <dgm:t>
        <a:bodyPr/>
        <a:lstStyle/>
        <a:p>
          <a:endParaRPr lang="es-ES"/>
        </a:p>
      </dgm:t>
    </dgm:pt>
    <dgm:pt modelId="{C099A606-8250-481D-9659-6C84C1B72F75}" type="sibTrans" cxnId="{EA6AEFF0-C12D-46C9-80D0-B1F95ED6A8E0}">
      <dgm:prSet/>
      <dgm:spPr/>
      <dgm:t>
        <a:bodyPr/>
        <a:lstStyle/>
        <a:p>
          <a:endParaRPr lang="es-ES"/>
        </a:p>
      </dgm:t>
    </dgm:pt>
    <dgm:pt modelId="{69BFDB45-1E57-404A-BD42-D7120D6FFAE1}">
      <dgm:prSet/>
      <dgm:spPr/>
      <dgm:t>
        <a:bodyPr/>
        <a:lstStyle/>
        <a:p>
          <a:r>
            <a:rPr lang="es-ES" dirty="0"/>
            <a:t>Apoyar a las comunidades locales.</a:t>
          </a:r>
        </a:p>
      </dgm:t>
    </dgm:pt>
    <dgm:pt modelId="{CAF7D8BD-A054-4BBA-9289-826688A7BA26}" type="parTrans" cxnId="{AC6B6395-DED5-42A2-B4D8-BE8FE78D07A2}">
      <dgm:prSet/>
      <dgm:spPr/>
      <dgm:t>
        <a:bodyPr/>
        <a:lstStyle/>
        <a:p>
          <a:endParaRPr lang="es-ES"/>
        </a:p>
      </dgm:t>
    </dgm:pt>
    <dgm:pt modelId="{1CA19805-5F0C-47CF-891C-9EDC26687F33}" type="sibTrans" cxnId="{AC6B6395-DED5-42A2-B4D8-BE8FE78D07A2}">
      <dgm:prSet/>
      <dgm:spPr/>
      <dgm:t>
        <a:bodyPr/>
        <a:lstStyle/>
        <a:p>
          <a:endParaRPr lang="es-ES"/>
        </a:p>
      </dgm:t>
    </dgm:pt>
    <dgm:pt modelId="{70FB2D32-BC6D-4EB9-B5AE-64C79D718982}">
      <dgm:prSet/>
      <dgm:spPr/>
      <dgm:t>
        <a:bodyPr/>
        <a:lstStyle/>
        <a:p>
          <a:r>
            <a:rPr lang="es-ES" dirty="0"/>
            <a:t>Las contribuciones en especie se emplean en el 66,7% de los casos</a:t>
          </a:r>
        </a:p>
      </dgm:t>
    </dgm:pt>
    <dgm:pt modelId="{5FD0AE37-014D-478D-9A10-DD61F2C1B5DE}" type="parTrans" cxnId="{13AC5928-BD72-48BC-977D-CBB0EE19BFC7}">
      <dgm:prSet/>
      <dgm:spPr/>
      <dgm:t>
        <a:bodyPr/>
        <a:lstStyle/>
        <a:p>
          <a:endParaRPr lang="es-ES"/>
        </a:p>
      </dgm:t>
    </dgm:pt>
    <dgm:pt modelId="{76556DC1-A668-485A-B0BC-181612F68048}" type="sibTrans" cxnId="{13AC5928-BD72-48BC-977D-CBB0EE19BFC7}">
      <dgm:prSet/>
      <dgm:spPr/>
      <dgm:t>
        <a:bodyPr/>
        <a:lstStyle/>
        <a:p>
          <a:endParaRPr lang="es-ES"/>
        </a:p>
      </dgm:t>
    </dgm:pt>
    <dgm:pt modelId="{3BBB6F0C-A8FF-48D0-8209-121FDEAD8ED0}">
      <dgm:prSet/>
      <dgm:spPr/>
      <dgm:t>
        <a:bodyPr/>
        <a:lstStyle/>
        <a:p>
          <a:r>
            <a:rPr lang="es-ES" dirty="0"/>
            <a:t>Las donaciones financieras</a:t>
          </a:r>
        </a:p>
      </dgm:t>
    </dgm:pt>
    <dgm:pt modelId="{217AB472-4BC7-4A2E-9FC9-0233D62E3CBF}" type="parTrans" cxnId="{6738083E-BBDA-4CE3-9B15-BDA8CE0A20E5}">
      <dgm:prSet/>
      <dgm:spPr/>
      <dgm:t>
        <a:bodyPr/>
        <a:lstStyle/>
        <a:p>
          <a:endParaRPr lang="es-ES"/>
        </a:p>
      </dgm:t>
    </dgm:pt>
    <dgm:pt modelId="{F48CFBA4-D873-4895-AF30-1D509236600A}" type="sibTrans" cxnId="{6738083E-BBDA-4CE3-9B15-BDA8CE0A20E5}">
      <dgm:prSet/>
      <dgm:spPr/>
      <dgm:t>
        <a:bodyPr/>
        <a:lstStyle/>
        <a:p>
          <a:endParaRPr lang="es-ES"/>
        </a:p>
      </dgm:t>
    </dgm:pt>
    <dgm:pt modelId="{D590F85F-FC41-41AB-B0C8-2F11C50BE46F}">
      <dgm:prSet/>
      <dgm:spPr/>
      <dgm:t>
        <a:bodyPr/>
        <a:lstStyle/>
        <a:p>
          <a:r>
            <a:rPr lang="es-ES" dirty="0"/>
            <a:t>Voluntariado en la jornada laboral.</a:t>
          </a:r>
        </a:p>
      </dgm:t>
    </dgm:pt>
    <dgm:pt modelId="{EF9EC491-8B35-4C6D-8266-6414AC0E13AE}" type="parTrans" cxnId="{D4A415BC-C6C6-47CD-91B8-5EC996071AB1}">
      <dgm:prSet/>
      <dgm:spPr/>
      <dgm:t>
        <a:bodyPr/>
        <a:lstStyle/>
        <a:p>
          <a:endParaRPr lang="es-ES"/>
        </a:p>
      </dgm:t>
    </dgm:pt>
    <dgm:pt modelId="{6D979123-831B-4384-BFA6-BE8FFD851ACB}" type="sibTrans" cxnId="{D4A415BC-C6C6-47CD-91B8-5EC996071AB1}">
      <dgm:prSet/>
      <dgm:spPr/>
      <dgm:t>
        <a:bodyPr/>
        <a:lstStyle/>
        <a:p>
          <a:endParaRPr lang="es-ES"/>
        </a:p>
      </dgm:t>
    </dgm:pt>
    <dgm:pt modelId="{7426809C-3D85-4577-8238-82C2B21B7FC5}">
      <dgm:prSet/>
      <dgm:spPr/>
      <dgm:t>
        <a:bodyPr/>
        <a:lstStyle/>
        <a:p>
          <a:r>
            <a:rPr lang="es-ES" dirty="0"/>
            <a:t>Contar con un consejo de administración diverso e independiente.</a:t>
          </a:r>
        </a:p>
      </dgm:t>
    </dgm:pt>
    <dgm:pt modelId="{85E10288-7503-486C-A574-3CF73E222B44}" type="parTrans" cxnId="{71A7AF2B-7F4E-45EA-8D71-74860C8EDFFC}">
      <dgm:prSet/>
      <dgm:spPr/>
      <dgm:t>
        <a:bodyPr/>
        <a:lstStyle/>
        <a:p>
          <a:endParaRPr lang="es-ES"/>
        </a:p>
      </dgm:t>
    </dgm:pt>
    <dgm:pt modelId="{26EFF314-F76A-46B0-9665-6203B6BAB7EA}" type="sibTrans" cxnId="{71A7AF2B-7F4E-45EA-8D71-74860C8EDFFC}">
      <dgm:prSet/>
      <dgm:spPr/>
      <dgm:t>
        <a:bodyPr/>
        <a:lstStyle/>
        <a:p>
          <a:endParaRPr lang="es-ES"/>
        </a:p>
      </dgm:t>
    </dgm:pt>
    <dgm:pt modelId="{1756F17F-433E-41C2-9D36-6D082AFAF06C}">
      <dgm:prSet/>
      <dgm:spPr/>
      <dgm:t>
        <a:bodyPr/>
        <a:lstStyle/>
        <a:p>
          <a:r>
            <a:rPr lang="es-ES" dirty="0"/>
            <a:t>Adoptar un código de conducta para los empleados.</a:t>
          </a:r>
        </a:p>
      </dgm:t>
    </dgm:pt>
    <dgm:pt modelId="{FE41E140-E16E-448B-A95B-3A11FDE1B843}" type="parTrans" cxnId="{13D40431-45D8-465A-928D-98169DBFF1EC}">
      <dgm:prSet/>
      <dgm:spPr/>
      <dgm:t>
        <a:bodyPr/>
        <a:lstStyle/>
        <a:p>
          <a:endParaRPr lang="es-ES"/>
        </a:p>
      </dgm:t>
    </dgm:pt>
    <dgm:pt modelId="{B1F5CC61-E7C8-494B-B263-3E96A02D6DA6}" type="sibTrans" cxnId="{13D40431-45D8-465A-928D-98169DBFF1EC}">
      <dgm:prSet/>
      <dgm:spPr/>
      <dgm:t>
        <a:bodyPr/>
        <a:lstStyle/>
        <a:p>
          <a:endParaRPr lang="es-ES"/>
        </a:p>
      </dgm:t>
    </dgm:pt>
    <dgm:pt modelId="{DC62F236-5F59-4E5A-9ED8-DF28E2FC1D62}">
      <dgm:prSet/>
      <dgm:spPr/>
      <dgm:t>
        <a:bodyPr/>
        <a:lstStyle/>
        <a:p>
          <a:r>
            <a:rPr lang="es-ES" dirty="0"/>
            <a:t>Equidad salarial entre hombres y mujeres </a:t>
          </a:r>
        </a:p>
      </dgm:t>
    </dgm:pt>
    <dgm:pt modelId="{D73BD856-DCB2-4971-A728-E4FC0CE33B23}" type="parTrans" cxnId="{D6D59DEA-2AB2-49CE-B4AB-81A8FC83CE38}">
      <dgm:prSet/>
      <dgm:spPr/>
      <dgm:t>
        <a:bodyPr/>
        <a:lstStyle/>
        <a:p>
          <a:endParaRPr lang="es-ES"/>
        </a:p>
      </dgm:t>
    </dgm:pt>
    <dgm:pt modelId="{25B78153-782F-46C1-B3A0-4BE2A97EAD13}" type="sibTrans" cxnId="{D6D59DEA-2AB2-49CE-B4AB-81A8FC83CE38}">
      <dgm:prSet/>
      <dgm:spPr/>
      <dgm:t>
        <a:bodyPr/>
        <a:lstStyle/>
        <a:p>
          <a:endParaRPr lang="es-ES"/>
        </a:p>
      </dgm:t>
    </dgm:pt>
    <dgm:pt modelId="{CF1AC650-5F25-4DD8-9918-7B0A6756215D}">
      <dgm:prSet/>
      <dgm:spPr/>
      <dgm:t>
        <a:bodyPr/>
        <a:lstStyle/>
        <a:p>
          <a:r>
            <a:rPr lang="es-ES" dirty="0"/>
            <a:t>Formación a los profesionales en nuevas habilidades como los principios ESG.</a:t>
          </a:r>
        </a:p>
      </dgm:t>
    </dgm:pt>
    <dgm:pt modelId="{60C0CFB9-2529-43E4-B57B-262ED5228C17}" type="parTrans" cxnId="{054F481D-A83F-432C-A54F-D05F08927947}">
      <dgm:prSet/>
      <dgm:spPr/>
      <dgm:t>
        <a:bodyPr/>
        <a:lstStyle/>
        <a:p>
          <a:endParaRPr lang="es-ES"/>
        </a:p>
      </dgm:t>
    </dgm:pt>
    <dgm:pt modelId="{198B5FE1-307A-4FF1-8946-5BAA66F7821F}" type="sibTrans" cxnId="{054F481D-A83F-432C-A54F-D05F08927947}">
      <dgm:prSet/>
      <dgm:spPr/>
      <dgm:t>
        <a:bodyPr/>
        <a:lstStyle/>
        <a:p>
          <a:endParaRPr lang="es-ES"/>
        </a:p>
      </dgm:t>
    </dgm:pt>
    <dgm:pt modelId="{3B5D5C42-5671-448A-A91E-278AC8DF3DD3}" type="pres">
      <dgm:prSet presAssocID="{E737D0D1-C23C-4C76-8B7B-273682D04404}" presName="Name0" presStyleCnt="0">
        <dgm:presLayoutVars>
          <dgm:dir/>
          <dgm:animLvl val="lvl"/>
          <dgm:resizeHandles val="exact"/>
        </dgm:presLayoutVars>
      </dgm:prSet>
      <dgm:spPr/>
    </dgm:pt>
    <dgm:pt modelId="{1A3B3F66-246C-4819-83F9-2D3F8D798647}" type="pres">
      <dgm:prSet presAssocID="{9402B114-745F-48AB-AF69-2BCC9DBA14E8}" presName="composite" presStyleCnt="0"/>
      <dgm:spPr/>
    </dgm:pt>
    <dgm:pt modelId="{C55DA0C9-2055-495C-AC5A-2680118EB129}" type="pres">
      <dgm:prSet presAssocID="{9402B114-745F-48AB-AF69-2BCC9DBA14E8}" presName="parTx" presStyleLbl="alignNode1" presStyleIdx="0" presStyleCnt="3">
        <dgm:presLayoutVars>
          <dgm:chMax val="0"/>
          <dgm:chPref val="0"/>
          <dgm:bulletEnabled val="1"/>
        </dgm:presLayoutVars>
      </dgm:prSet>
      <dgm:spPr/>
    </dgm:pt>
    <dgm:pt modelId="{51C35E58-7FBC-4678-BBF2-8ECD5D8351FB}" type="pres">
      <dgm:prSet presAssocID="{9402B114-745F-48AB-AF69-2BCC9DBA14E8}" presName="desTx" presStyleLbl="alignAccFollowNode1" presStyleIdx="0" presStyleCnt="3">
        <dgm:presLayoutVars>
          <dgm:bulletEnabled val="1"/>
        </dgm:presLayoutVars>
      </dgm:prSet>
      <dgm:spPr/>
    </dgm:pt>
    <dgm:pt modelId="{5FFF4FE4-2DE1-4FCC-924A-6670A7FFDED2}" type="pres">
      <dgm:prSet presAssocID="{8E54A54C-CEB6-450D-91FB-9F125A4A745D}" presName="space" presStyleCnt="0"/>
      <dgm:spPr/>
    </dgm:pt>
    <dgm:pt modelId="{5334AF6D-58BB-465A-B1E4-130F8BB996E6}" type="pres">
      <dgm:prSet presAssocID="{85DB384E-FAFC-4458-BDBE-7C6729387253}" presName="composite" presStyleCnt="0"/>
      <dgm:spPr/>
    </dgm:pt>
    <dgm:pt modelId="{541F8DE3-92B5-49F2-BBE8-AB5983E45E45}" type="pres">
      <dgm:prSet presAssocID="{85DB384E-FAFC-4458-BDBE-7C6729387253}" presName="parTx" presStyleLbl="alignNode1" presStyleIdx="1" presStyleCnt="3">
        <dgm:presLayoutVars>
          <dgm:chMax val="0"/>
          <dgm:chPref val="0"/>
          <dgm:bulletEnabled val="1"/>
        </dgm:presLayoutVars>
      </dgm:prSet>
      <dgm:spPr/>
    </dgm:pt>
    <dgm:pt modelId="{686C5CFD-84A0-4CEB-912C-7FC4917AB88F}" type="pres">
      <dgm:prSet presAssocID="{85DB384E-FAFC-4458-BDBE-7C6729387253}" presName="desTx" presStyleLbl="alignAccFollowNode1" presStyleIdx="1" presStyleCnt="3">
        <dgm:presLayoutVars>
          <dgm:bulletEnabled val="1"/>
        </dgm:presLayoutVars>
      </dgm:prSet>
      <dgm:spPr/>
    </dgm:pt>
    <dgm:pt modelId="{9F152801-39B5-4968-81A2-CFF2C8BAA852}" type="pres">
      <dgm:prSet presAssocID="{B2B7B032-46ED-429C-9EBE-559C362ACE7E}" presName="space" presStyleCnt="0"/>
      <dgm:spPr/>
    </dgm:pt>
    <dgm:pt modelId="{00C9F85D-463D-416D-8728-42F5C6E0F173}" type="pres">
      <dgm:prSet presAssocID="{6ED90423-5291-4E7F-A527-C49F9F0B43A1}" presName="composite" presStyleCnt="0"/>
      <dgm:spPr/>
    </dgm:pt>
    <dgm:pt modelId="{F8048CC8-71E1-4040-8BB6-020FED2805C1}" type="pres">
      <dgm:prSet presAssocID="{6ED90423-5291-4E7F-A527-C49F9F0B43A1}" presName="parTx" presStyleLbl="alignNode1" presStyleIdx="2" presStyleCnt="3">
        <dgm:presLayoutVars>
          <dgm:chMax val="0"/>
          <dgm:chPref val="0"/>
          <dgm:bulletEnabled val="1"/>
        </dgm:presLayoutVars>
      </dgm:prSet>
      <dgm:spPr/>
    </dgm:pt>
    <dgm:pt modelId="{7B3238A8-91EB-49F8-81C9-10C0457D9B5F}" type="pres">
      <dgm:prSet presAssocID="{6ED90423-5291-4E7F-A527-C49F9F0B43A1}" presName="desTx" presStyleLbl="alignAccFollowNode1" presStyleIdx="2" presStyleCnt="3">
        <dgm:presLayoutVars>
          <dgm:bulletEnabled val="1"/>
        </dgm:presLayoutVars>
      </dgm:prSet>
      <dgm:spPr/>
    </dgm:pt>
  </dgm:ptLst>
  <dgm:cxnLst>
    <dgm:cxn modelId="{8774F802-3E1B-4B93-AF3B-ECFECDD85C20}" srcId="{9402B114-745F-48AB-AF69-2BCC9DBA14E8}" destId="{C410F521-D9CC-4BED-ADB8-40C925326E38}" srcOrd="1" destOrd="0" parTransId="{BBD42924-6202-4950-8A4E-F33A661144D4}" sibTransId="{4FDAB82A-2236-4424-ACFC-84768B4033BD}"/>
    <dgm:cxn modelId="{8C629413-C8E0-483A-BFCC-4B1B6FE4ED4C}" type="presOf" srcId="{7426809C-3D85-4577-8238-82C2B21B7FC5}" destId="{7B3238A8-91EB-49F8-81C9-10C0457D9B5F}" srcOrd="0" destOrd="1" presId="urn:microsoft.com/office/officeart/2005/8/layout/hList1"/>
    <dgm:cxn modelId="{D24CDD13-8723-4871-9356-5DC4AAD91C07}" type="presOf" srcId="{D590F85F-FC41-41AB-B0C8-2F11C50BE46F}" destId="{686C5CFD-84A0-4CEB-912C-7FC4917AB88F}" srcOrd="0" destOrd="6" presId="urn:microsoft.com/office/officeart/2005/8/layout/hList1"/>
    <dgm:cxn modelId="{EA896518-0AB6-46F1-8D74-2699F44DED3E}" type="presOf" srcId="{57DB5526-2AA3-4D98-8171-66218237D0A6}" destId="{7B3238A8-91EB-49F8-81C9-10C0457D9B5F}" srcOrd="0" destOrd="0" presId="urn:microsoft.com/office/officeart/2005/8/layout/hList1"/>
    <dgm:cxn modelId="{054F481D-A83F-432C-A54F-D05F08927947}" srcId="{6ED90423-5291-4E7F-A527-C49F9F0B43A1}" destId="{CF1AC650-5F25-4DD8-9918-7B0A6756215D}" srcOrd="4" destOrd="0" parTransId="{60C0CFB9-2529-43E4-B57B-262ED5228C17}" sibTransId="{198B5FE1-307A-4FF1-8946-5BAA66F7821F}"/>
    <dgm:cxn modelId="{8162CA27-FB03-4C77-B5DB-A72BA6E63F97}" type="presOf" srcId="{6ED90423-5291-4E7F-A527-C49F9F0B43A1}" destId="{F8048CC8-71E1-4040-8BB6-020FED2805C1}" srcOrd="0" destOrd="0" presId="urn:microsoft.com/office/officeart/2005/8/layout/hList1"/>
    <dgm:cxn modelId="{13AC5928-BD72-48BC-977D-CBB0EE19BFC7}" srcId="{85DB384E-FAFC-4458-BDBE-7C6729387253}" destId="{70FB2D32-BC6D-4EB9-B5AE-64C79D718982}" srcOrd="4" destOrd="0" parTransId="{5FD0AE37-014D-478D-9A10-DD61F2C1B5DE}" sibTransId="{76556DC1-A668-485A-B0BC-181612F68048}"/>
    <dgm:cxn modelId="{71A7AF2B-7F4E-45EA-8D71-74860C8EDFFC}" srcId="{6ED90423-5291-4E7F-A527-C49F9F0B43A1}" destId="{7426809C-3D85-4577-8238-82C2B21B7FC5}" srcOrd="1" destOrd="0" parTransId="{85E10288-7503-486C-A574-3CF73E222B44}" sibTransId="{26EFF314-F76A-46B0-9665-6203B6BAB7EA}"/>
    <dgm:cxn modelId="{E533C72C-AD12-433D-983B-05176E124239}" srcId="{9402B114-745F-48AB-AF69-2BCC9DBA14E8}" destId="{942CD6CD-84A3-46DA-A013-99199C11E625}" srcOrd="4" destOrd="0" parTransId="{4025387C-9D69-4479-BC9E-DC45266DA667}" sibTransId="{38ECED7C-4124-46C9-A620-F35A33269128}"/>
    <dgm:cxn modelId="{13D40431-45D8-465A-928D-98169DBFF1EC}" srcId="{6ED90423-5291-4E7F-A527-C49F9F0B43A1}" destId="{1756F17F-433E-41C2-9D36-6D082AFAF06C}" srcOrd="2" destOrd="0" parTransId="{FE41E140-E16E-448B-A95B-3A11FDE1B843}" sibTransId="{B1F5CC61-E7C8-494B-B263-3E96A02D6DA6}"/>
    <dgm:cxn modelId="{36648933-2B89-4B6E-953F-2C30949647C7}" srcId="{6ED90423-5291-4E7F-A527-C49F9F0B43A1}" destId="{57DB5526-2AA3-4D98-8171-66218237D0A6}" srcOrd="0" destOrd="0" parTransId="{EDB024C0-8CE2-4723-A83A-7171FE8DDA4B}" sibTransId="{35712E7E-5E58-4217-BF31-5229F8859D4B}"/>
    <dgm:cxn modelId="{6738083E-BBDA-4CE3-9B15-BDA8CE0A20E5}" srcId="{85DB384E-FAFC-4458-BDBE-7C6729387253}" destId="{3BBB6F0C-A8FF-48D0-8209-121FDEAD8ED0}" srcOrd="5" destOrd="0" parTransId="{217AB472-4BC7-4A2E-9FC9-0233D62E3CBF}" sibTransId="{F48CFBA4-D873-4895-AF30-1D509236600A}"/>
    <dgm:cxn modelId="{113BF967-F1F5-437A-BE97-AA72A09DD0CF}" srcId="{E737D0D1-C23C-4C76-8B7B-273682D04404}" destId="{9402B114-745F-48AB-AF69-2BCC9DBA14E8}" srcOrd="0" destOrd="0" parTransId="{1C7BCC10-DCF4-4EE2-9EE6-3F6F97D8D3D9}" sibTransId="{8E54A54C-CEB6-450D-91FB-9F125A4A745D}"/>
    <dgm:cxn modelId="{886EAE49-BCCE-4D8C-85A4-469AA4E2FB4B}" type="presOf" srcId="{E737D0D1-C23C-4C76-8B7B-273682D04404}" destId="{3B5D5C42-5671-448A-A91E-278AC8DF3DD3}" srcOrd="0" destOrd="0" presId="urn:microsoft.com/office/officeart/2005/8/layout/hList1"/>
    <dgm:cxn modelId="{7DB7E54A-F395-4EBF-BE7C-99CA28A7E7F3}" srcId="{9402B114-745F-48AB-AF69-2BCC9DBA14E8}" destId="{F4AE4B38-EC83-47EB-B0A6-787F74D8099B}" srcOrd="0" destOrd="0" parTransId="{0F528EB6-0952-42D0-91FB-11506D00CF65}" sibTransId="{F2B00E59-0378-487C-B59A-CB2D363E638D}"/>
    <dgm:cxn modelId="{A473EA73-A1AD-4DD5-92F2-EF337F437DAB}" srcId="{85DB384E-FAFC-4458-BDBE-7C6729387253}" destId="{DB744B20-4B3E-4697-8982-45E450AECB2C}" srcOrd="0" destOrd="0" parTransId="{CD6804C3-62CD-4A3E-AEF2-69884B84AA3B}" sibTransId="{E85DCF52-8B19-47EE-A16E-D9746682531D}"/>
    <dgm:cxn modelId="{F8343F75-DD08-4A22-8FF0-3E64DACF249E}" type="presOf" srcId="{70FB2D32-BC6D-4EB9-B5AE-64C79D718982}" destId="{686C5CFD-84A0-4CEB-912C-7FC4917AB88F}" srcOrd="0" destOrd="4" presId="urn:microsoft.com/office/officeart/2005/8/layout/hList1"/>
    <dgm:cxn modelId="{FE994E57-AE34-4861-BF8C-E95860A9EDA2}" type="presOf" srcId="{1756F17F-433E-41C2-9D36-6D082AFAF06C}" destId="{7B3238A8-91EB-49F8-81C9-10C0457D9B5F}" srcOrd="0" destOrd="2" presId="urn:microsoft.com/office/officeart/2005/8/layout/hList1"/>
    <dgm:cxn modelId="{5B11C377-3EC9-43EC-8CA9-6E82309FFEB7}" srcId="{9402B114-745F-48AB-AF69-2BCC9DBA14E8}" destId="{27ACFFDB-51B9-4C73-9E79-61D97A954476}" srcOrd="2" destOrd="0" parTransId="{9585990E-5F7E-4426-9114-957831689A58}" sibTransId="{53FF1E69-62C7-4A27-A8BC-1EF5BE42D8C1}"/>
    <dgm:cxn modelId="{F037B05A-87D0-4964-A629-A4F19FE376E0}" type="presOf" srcId="{27ACFFDB-51B9-4C73-9E79-61D97A954476}" destId="{51C35E58-7FBC-4678-BBF2-8ECD5D8351FB}" srcOrd="0" destOrd="2" presId="urn:microsoft.com/office/officeart/2005/8/layout/hList1"/>
    <dgm:cxn modelId="{A52AE281-FC29-4E41-BEAA-AFFB8DE7FA07}" type="presOf" srcId="{85DB384E-FAFC-4458-BDBE-7C6729387253}" destId="{541F8DE3-92B5-49F2-BBE8-AB5983E45E45}" srcOrd="0" destOrd="0" presId="urn:microsoft.com/office/officeart/2005/8/layout/hList1"/>
    <dgm:cxn modelId="{BA357583-ADAE-451D-A949-CBC4D1552BC8}" type="presOf" srcId="{DC62F236-5F59-4E5A-9ED8-DF28E2FC1D62}" destId="{7B3238A8-91EB-49F8-81C9-10C0457D9B5F}" srcOrd="0" destOrd="3" presId="urn:microsoft.com/office/officeart/2005/8/layout/hList1"/>
    <dgm:cxn modelId="{472FAC84-1CB3-40CF-920C-F2533B06CC9E}" type="presOf" srcId="{1AFA1D48-4E71-483C-9FF1-8FB090260815}" destId="{686C5CFD-84A0-4CEB-912C-7FC4917AB88F}" srcOrd="0" destOrd="2" presId="urn:microsoft.com/office/officeart/2005/8/layout/hList1"/>
    <dgm:cxn modelId="{CDAA5285-293A-4372-B6DE-E4AB8AC0932B}" type="presOf" srcId="{69BFDB45-1E57-404A-BD42-D7120D6FFAE1}" destId="{686C5CFD-84A0-4CEB-912C-7FC4917AB88F}" srcOrd="0" destOrd="3" presId="urn:microsoft.com/office/officeart/2005/8/layout/hList1"/>
    <dgm:cxn modelId="{9D2C1686-C02A-4445-A038-FF19960117A1}" type="presOf" srcId="{DB744B20-4B3E-4697-8982-45E450AECB2C}" destId="{686C5CFD-84A0-4CEB-912C-7FC4917AB88F}" srcOrd="0" destOrd="0" presId="urn:microsoft.com/office/officeart/2005/8/layout/hList1"/>
    <dgm:cxn modelId="{A0B1A389-0606-436A-B718-2E86FE5D8087}" type="presOf" srcId="{9402B114-745F-48AB-AF69-2BCC9DBA14E8}" destId="{C55DA0C9-2055-495C-AC5A-2680118EB129}" srcOrd="0" destOrd="0" presId="urn:microsoft.com/office/officeart/2005/8/layout/hList1"/>
    <dgm:cxn modelId="{8997AC8B-9A5C-4E9D-8EA6-DE0129F31029}" type="presOf" srcId="{CF1AC650-5F25-4DD8-9918-7B0A6756215D}" destId="{7B3238A8-91EB-49F8-81C9-10C0457D9B5F}" srcOrd="0" destOrd="4" presId="urn:microsoft.com/office/officeart/2005/8/layout/hList1"/>
    <dgm:cxn modelId="{7A835A8F-9C03-4C3E-A355-521228C5A763}" type="presOf" srcId="{BE0E883B-0410-49F4-AA6B-3B647E0922B3}" destId="{51C35E58-7FBC-4678-BBF2-8ECD5D8351FB}" srcOrd="0" destOrd="3" presId="urn:microsoft.com/office/officeart/2005/8/layout/hList1"/>
    <dgm:cxn modelId="{AC6B6395-DED5-42A2-B4D8-BE8FE78D07A2}" srcId="{85DB384E-FAFC-4458-BDBE-7C6729387253}" destId="{69BFDB45-1E57-404A-BD42-D7120D6FFAE1}" srcOrd="3" destOrd="0" parTransId="{CAF7D8BD-A054-4BBA-9289-826688A7BA26}" sibTransId="{1CA19805-5F0C-47CF-891C-9EDC26687F33}"/>
    <dgm:cxn modelId="{2004429F-1EE5-4F61-B11A-2AAA2F479F17}" srcId="{E737D0D1-C23C-4C76-8B7B-273682D04404}" destId="{85DB384E-FAFC-4458-BDBE-7C6729387253}" srcOrd="1" destOrd="0" parTransId="{43A43883-01ED-439B-925A-1E30D76BBBC0}" sibTransId="{B2B7B032-46ED-429C-9EBE-559C362ACE7E}"/>
    <dgm:cxn modelId="{E7636BA7-D623-4523-8B10-FBF9CE2FF844}" type="presOf" srcId="{942CD6CD-84A3-46DA-A013-99199C11E625}" destId="{51C35E58-7FBC-4678-BBF2-8ECD5D8351FB}" srcOrd="0" destOrd="4" presId="urn:microsoft.com/office/officeart/2005/8/layout/hList1"/>
    <dgm:cxn modelId="{7C922BAB-E4F2-402B-8A04-C90EFB102E52}" type="presOf" srcId="{AC9FB229-8536-4B77-8283-3167F1A7AAF0}" destId="{686C5CFD-84A0-4CEB-912C-7FC4917AB88F}" srcOrd="0" destOrd="1" presId="urn:microsoft.com/office/officeart/2005/8/layout/hList1"/>
    <dgm:cxn modelId="{BB26E8AD-855D-4FC5-A485-2AEC43D29A5B}" type="presOf" srcId="{F4AE4B38-EC83-47EB-B0A6-787F74D8099B}" destId="{51C35E58-7FBC-4678-BBF2-8ECD5D8351FB}" srcOrd="0" destOrd="0" presId="urn:microsoft.com/office/officeart/2005/8/layout/hList1"/>
    <dgm:cxn modelId="{D4A415BC-C6C6-47CD-91B8-5EC996071AB1}" srcId="{85DB384E-FAFC-4458-BDBE-7C6729387253}" destId="{D590F85F-FC41-41AB-B0C8-2F11C50BE46F}" srcOrd="6" destOrd="0" parTransId="{EF9EC491-8B35-4C6D-8266-6414AC0E13AE}" sibTransId="{6D979123-831B-4384-BFA6-BE8FFD851ACB}"/>
    <dgm:cxn modelId="{7F6562BE-6217-412D-8D26-D899E54FC9F2}" srcId="{E737D0D1-C23C-4C76-8B7B-273682D04404}" destId="{6ED90423-5291-4E7F-A527-C49F9F0B43A1}" srcOrd="2" destOrd="0" parTransId="{26EBEE46-08CC-42A5-A652-775C694A95CF}" sibTransId="{43F4BE98-E688-4856-A7E9-55077C6CC38A}"/>
    <dgm:cxn modelId="{3F9335E0-9A29-4304-B92E-9D29EC54676B}" srcId="{9402B114-745F-48AB-AF69-2BCC9DBA14E8}" destId="{BE0E883B-0410-49F4-AA6B-3B647E0922B3}" srcOrd="3" destOrd="0" parTransId="{F7480AD5-E51A-400E-BF2D-75B931974B3C}" sibTransId="{1B1E5810-48DC-4968-825E-50CE07C3A8F0}"/>
    <dgm:cxn modelId="{D6D59DEA-2AB2-49CE-B4AB-81A8FC83CE38}" srcId="{6ED90423-5291-4E7F-A527-C49F9F0B43A1}" destId="{DC62F236-5F59-4E5A-9ED8-DF28E2FC1D62}" srcOrd="3" destOrd="0" parTransId="{D73BD856-DCB2-4971-A728-E4FC0CE33B23}" sibTransId="{25B78153-782F-46C1-B3A0-4BE2A97EAD13}"/>
    <dgm:cxn modelId="{D7D006EF-D697-468C-ADFB-60A05BF41324}" type="presOf" srcId="{C410F521-D9CC-4BED-ADB8-40C925326E38}" destId="{51C35E58-7FBC-4678-BBF2-8ECD5D8351FB}" srcOrd="0" destOrd="1" presId="urn:microsoft.com/office/officeart/2005/8/layout/hList1"/>
    <dgm:cxn modelId="{EA6AEFF0-C12D-46C9-80D0-B1F95ED6A8E0}" srcId="{85DB384E-FAFC-4458-BDBE-7C6729387253}" destId="{1AFA1D48-4E71-483C-9FF1-8FB090260815}" srcOrd="2" destOrd="0" parTransId="{313B5790-56EE-4482-8D5D-607A5216BD11}" sibTransId="{C099A606-8250-481D-9659-6C84C1B72F75}"/>
    <dgm:cxn modelId="{E79B3EFE-AD59-4EA6-BFD1-61FE32A1CC29}" srcId="{85DB384E-FAFC-4458-BDBE-7C6729387253}" destId="{AC9FB229-8536-4B77-8283-3167F1A7AAF0}" srcOrd="1" destOrd="0" parTransId="{11A6594F-96BE-4EED-A646-D394754ABA9A}" sibTransId="{04C433F8-7374-43C6-9856-BF5554254F1B}"/>
    <dgm:cxn modelId="{E96E70FF-D689-467E-B9E0-E50DBDF9F65D}" type="presOf" srcId="{3BBB6F0C-A8FF-48D0-8209-121FDEAD8ED0}" destId="{686C5CFD-84A0-4CEB-912C-7FC4917AB88F}" srcOrd="0" destOrd="5" presId="urn:microsoft.com/office/officeart/2005/8/layout/hList1"/>
    <dgm:cxn modelId="{BDD3A74D-BFE7-4F0A-8F91-91540EC5C63A}" type="presParOf" srcId="{3B5D5C42-5671-448A-A91E-278AC8DF3DD3}" destId="{1A3B3F66-246C-4819-83F9-2D3F8D798647}" srcOrd="0" destOrd="0" presId="urn:microsoft.com/office/officeart/2005/8/layout/hList1"/>
    <dgm:cxn modelId="{3019939E-5935-4A5F-8313-DBE1520F8677}" type="presParOf" srcId="{1A3B3F66-246C-4819-83F9-2D3F8D798647}" destId="{C55DA0C9-2055-495C-AC5A-2680118EB129}" srcOrd="0" destOrd="0" presId="urn:microsoft.com/office/officeart/2005/8/layout/hList1"/>
    <dgm:cxn modelId="{F99A0C0E-B498-45C7-85F3-B0DA9094CC23}" type="presParOf" srcId="{1A3B3F66-246C-4819-83F9-2D3F8D798647}" destId="{51C35E58-7FBC-4678-BBF2-8ECD5D8351FB}" srcOrd="1" destOrd="0" presId="urn:microsoft.com/office/officeart/2005/8/layout/hList1"/>
    <dgm:cxn modelId="{81C18D84-E50C-4AEE-9031-C3FF683EF5B8}" type="presParOf" srcId="{3B5D5C42-5671-448A-A91E-278AC8DF3DD3}" destId="{5FFF4FE4-2DE1-4FCC-924A-6670A7FFDED2}" srcOrd="1" destOrd="0" presId="urn:microsoft.com/office/officeart/2005/8/layout/hList1"/>
    <dgm:cxn modelId="{92D111C0-FB36-4AEA-BC5F-0B504F57DD50}" type="presParOf" srcId="{3B5D5C42-5671-448A-A91E-278AC8DF3DD3}" destId="{5334AF6D-58BB-465A-B1E4-130F8BB996E6}" srcOrd="2" destOrd="0" presId="urn:microsoft.com/office/officeart/2005/8/layout/hList1"/>
    <dgm:cxn modelId="{3409543D-58B8-4BD1-8268-D0E1BBEFB9E5}" type="presParOf" srcId="{5334AF6D-58BB-465A-B1E4-130F8BB996E6}" destId="{541F8DE3-92B5-49F2-BBE8-AB5983E45E45}" srcOrd="0" destOrd="0" presId="urn:microsoft.com/office/officeart/2005/8/layout/hList1"/>
    <dgm:cxn modelId="{4BA9675F-CD41-4657-94DD-813A1DB0B246}" type="presParOf" srcId="{5334AF6D-58BB-465A-B1E4-130F8BB996E6}" destId="{686C5CFD-84A0-4CEB-912C-7FC4917AB88F}" srcOrd="1" destOrd="0" presId="urn:microsoft.com/office/officeart/2005/8/layout/hList1"/>
    <dgm:cxn modelId="{8764FB4A-D6E6-4D6F-9456-CAE88A3248BA}" type="presParOf" srcId="{3B5D5C42-5671-448A-A91E-278AC8DF3DD3}" destId="{9F152801-39B5-4968-81A2-CFF2C8BAA852}" srcOrd="3" destOrd="0" presId="urn:microsoft.com/office/officeart/2005/8/layout/hList1"/>
    <dgm:cxn modelId="{5C59FB45-EB44-4DE3-8025-1DAE3438D856}" type="presParOf" srcId="{3B5D5C42-5671-448A-A91E-278AC8DF3DD3}" destId="{00C9F85D-463D-416D-8728-42F5C6E0F173}" srcOrd="4" destOrd="0" presId="urn:microsoft.com/office/officeart/2005/8/layout/hList1"/>
    <dgm:cxn modelId="{0D01D088-760A-4ACD-8282-5174F5F0528A}" type="presParOf" srcId="{00C9F85D-463D-416D-8728-42F5C6E0F173}" destId="{F8048CC8-71E1-4040-8BB6-020FED2805C1}" srcOrd="0" destOrd="0" presId="urn:microsoft.com/office/officeart/2005/8/layout/hList1"/>
    <dgm:cxn modelId="{AB180AF6-99E3-4BFA-AC32-21F240F1FC81}" type="presParOf" srcId="{00C9F85D-463D-416D-8728-42F5C6E0F173}" destId="{7B3238A8-91EB-49F8-81C9-10C0457D9B5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8.xml><?xml version="1.0" encoding="utf-8"?>
<dgm:dataModel xmlns:dgm="http://schemas.openxmlformats.org/drawingml/2006/diagram" xmlns:a="http://schemas.openxmlformats.org/drawingml/2006/main">
  <dgm:ptLst>
    <dgm:pt modelId="{C4BA136D-D86B-42AD-9CDD-06373A9E7ED5}" type="doc">
      <dgm:prSet loTypeId="urn:microsoft.com/office/officeart/2005/8/layout/chevron1" loCatId="process" qsTypeId="urn:microsoft.com/office/officeart/2005/8/quickstyle/simple1" qsCatId="simple" csTypeId="urn:microsoft.com/office/officeart/2005/8/colors/accent1_4" csCatId="accent1" phldr="1"/>
      <dgm:spPr/>
      <dgm:t>
        <a:bodyPr/>
        <a:lstStyle/>
        <a:p>
          <a:endParaRPr lang="es-ES"/>
        </a:p>
      </dgm:t>
    </dgm:pt>
    <dgm:pt modelId="{07417B59-65C4-471D-BACB-802291224D01}">
      <dgm:prSet phldrT="[Texto]"/>
      <dgm:spPr/>
      <dgm:t>
        <a:bodyPr/>
        <a:lstStyle/>
        <a:p>
          <a:r>
            <a:rPr lang="es-ES" dirty="0"/>
            <a:t>Es una iniciativa que parte del máximo responsable</a:t>
          </a:r>
        </a:p>
      </dgm:t>
    </dgm:pt>
    <dgm:pt modelId="{7D396ACA-9012-4EC0-A47E-A8E45C595CCC}" type="parTrans" cxnId="{B54D1677-8042-48D5-B189-673BF06EED9A}">
      <dgm:prSet/>
      <dgm:spPr/>
      <dgm:t>
        <a:bodyPr/>
        <a:lstStyle/>
        <a:p>
          <a:endParaRPr lang="es-ES"/>
        </a:p>
      </dgm:t>
    </dgm:pt>
    <dgm:pt modelId="{4AA05C30-2BDE-4A8E-98FD-9B7B187CD760}" type="sibTrans" cxnId="{B54D1677-8042-48D5-B189-673BF06EED9A}">
      <dgm:prSet/>
      <dgm:spPr/>
      <dgm:t>
        <a:bodyPr/>
        <a:lstStyle/>
        <a:p>
          <a:endParaRPr lang="es-ES"/>
        </a:p>
      </dgm:t>
    </dgm:pt>
    <dgm:pt modelId="{5431ED3C-06F1-4677-8910-BFFC8C6E6BFC}">
      <dgm:prSet/>
      <dgm:spPr/>
      <dgm:t>
        <a:bodyPr/>
        <a:lstStyle/>
        <a:p>
          <a:r>
            <a:rPr lang="es-ES" dirty="0"/>
            <a:t>Conocer lo que esperan los clientes / la sociedad respecto a la UAM</a:t>
          </a:r>
        </a:p>
      </dgm:t>
    </dgm:pt>
    <dgm:pt modelId="{A2CA0DD0-8008-4093-8901-5DA5B96D9CAF}" type="parTrans" cxnId="{DB985A0A-F8A0-42AE-A369-DACEF0FDC50C}">
      <dgm:prSet/>
      <dgm:spPr/>
      <dgm:t>
        <a:bodyPr/>
        <a:lstStyle/>
        <a:p>
          <a:endParaRPr lang="es-ES"/>
        </a:p>
      </dgm:t>
    </dgm:pt>
    <dgm:pt modelId="{43D5C3B4-C1D3-4162-9EC8-5BD3985136B2}" type="sibTrans" cxnId="{DB985A0A-F8A0-42AE-A369-DACEF0FDC50C}">
      <dgm:prSet/>
      <dgm:spPr/>
      <dgm:t>
        <a:bodyPr/>
        <a:lstStyle/>
        <a:p>
          <a:endParaRPr lang="es-ES"/>
        </a:p>
      </dgm:t>
    </dgm:pt>
    <dgm:pt modelId="{531A2B0E-E07D-44B9-9286-43E8251C9B93}">
      <dgm:prSet/>
      <dgm:spPr/>
      <dgm:t>
        <a:bodyPr/>
        <a:lstStyle/>
        <a:p>
          <a:r>
            <a:rPr lang="es-ES" dirty="0"/>
            <a:t>Lo que espera la sociedad en general</a:t>
          </a:r>
        </a:p>
      </dgm:t>
    </dgm:pt>
    <dgm:pt modelId="{18CCE310-AE77-4BB2-9FB9-D0C3D237394A}" type="parTrans" cxnId="{9B0450D5-26CC-4A7B-A846-90130B6A0831}">
      <dgm:prSet/>
      <dgm:spPr/>
      <dgm:t>
        <a:bodyPr/>
        <a:lstStyle/>
        <a:p>
          <a:endParaRPr lang="es-ES"/>
        </a:p>
      </dgm:t>
    </dgm:pt>
    <dgm:pt modelId="{6CACBCD4-BD6C-40F7-8BA6-7DC03B574D3D}" type="sibTrans" cxnId="{9B0450D5-26CC-4A7B-A846-90130B6A0831}">
      <dgm:prSet/>
      <dgm:spPr/>
      <dgm:t>
        <a:bodyPr/>
        <a:lstStyle/>
        <a:p>
          <a:endParaRPr lang="es-ES"/>
        </a:p>
      </dgm:t>
    </dgm:pt>
    <dgm:pt modelId="{27D53013-AAE0-4E7C-B3DB-CBC902BC5DA7}">
      <dgm:prSet/>
      <dgm:spPr/>
      <dgm:t>
        <a:bodyPr/>
        <a:lstStyle/>
        <a:p>
          <a:r>
            <a:rPr lang="es-ES" dirty="0"/>
            <a:t>Las tendencias generales y los observatorios de sostenibilidad.</a:t>
          </a:r>
        </a:p>
      </dgm:t>
    </dgm:pt>
    <dgm:pt modelId="{45478BF0-05C6-4E3C-AE55-AF257A9D1D51}" type="parTrans" cxnId="{3E97BEA4-7077-4FFA-A01C-1EA2A2598651}">
      <dgm:prSet/>
      <dgm:spPr/>
      <dgm:t>
        <a:bodyPr/>
        <a:lstStyle/>
        <a:p>
          <a:endParaRPr lang="es-ES"/>
        </a:p>
      </dgm:t>
    </dgm:pt>
    <dgm:pt modelId="{E9BCA13A-25E6-43BD-BF74-8F7AE5A0BA0B}" type="sibTrans" cxnId="{3E97BEA4-7077-4FFA-A01C-1EA2A2598651}">
      <dgm:prSet/>
      <dgm:spPr/>
      <dgm:t>
        <a:bodyPr/>
        <a:lstStyle/>
        <a:p>
          <a:endParaRPr lang="es-ES"/>
        </a:p>
      </dgm:t>
    </dgm:pt>
    <dgm:pt modelId="{479A6B0B-80B5-4A4A-B3BA-653010DDC037}">
      <dgm:prSet/>
      <dgm:spPr/>
      <dgm:t>
        <a:bodyPr/>
        <a:lstStyle/>
        <a:p>
          <a:r>
            <a:rPr lang="es-ES" dirty="0"/>
            <a:t>Proceso de transformación</a:t>
          </a:r>
        </a:p>
      </dgm:t>
    </dgm:pt>
    <dgm:pt modelId="{EE38C09B-4BDF-48D5-A964-775885B43E15}" type="parTrans" cxnId="{48F1B9E5-5963-47C9-9839-08E14209B19A}">
      <dgm:prSet/>
      <dgm:spPr/>
      <dgm:t>
        <a:bodyPr/>
        <a:lstStyle/>
        <a:p>
          <a:endParaRPr lang="es-ES"/>
        </a:p>
      </dgm:t>
    </dgm:pt>
    <dgm:pt modelId="{210BE2E9-AE0A-4193-BB53-4590146BE7A4}" type="sibTrans" cxnId="{48F1B9E5-5963-47C9-9839-08E14209B19A}">
      <dgm:prSet/>
      <dgm:spPr/>
      <dgm:t>
        <a:bodyPr/>
        <a:lstStyle/>
        <a:p>
          <a:endParaRPr lang="es-ES"/>
        </a:p>
      </dgm:t>
    </dgm:pt>
    <dgm:pt modelId="{04741BB6-89C9-4970-9679-2031D92D9123}">
      <dgm:prSet/>
      <dgm:spPr/>
      <dgm:t>
        <a:bodyPr/>
        <a:lstStyle/>
        <a:p>
          <a:r>
            <a:rPr lang="es-ES" dirty="0"/>
            <a:t>Plan de transformación. ⊂:</a:t>
          </a:r>
        </a:p>
      </dgm:t>
    </dgm:pt>
    <dgm:pt modelId="{2DE438B9-01DF-4F0B-A0AB-98F952985610}" type="parTrans" cxnId="{FCC8962E-0C72-49CB-8215-AC0D520B15A2}">
      <dgm:prSet/>
      <dgm:spPr/>
      <dgm:t>
        <a:bodyPr/>
        <a:lstStyle/>
        <a:p>
          <a:endParaRPr lang="es-ES"/>
        </a:p>
      </dgm:t>
    </dgm:pt>
    <dgm:pt modelId="{4D34DB98-3767-4275-88E5-BD0E5B43E1B5}" type="sibTrans" cxnId="{FCC8962E-0C72-49CB-8215-AC0D520B15A2}">
      <dgm:prSet/>
      <dgm:spPr/>
      <dgm:t>
        <a:bodyPr/>
        <a:lstStyle/>
        <a:p>
          <a:endParaRPr lang="es-ES"/>
        </a:p>
      </dgm:t>
    </dgm:pt>
    <dgm:pt modelId="{D65B3388-C9FF-405D-B027-B1C8B845DF7E}">
      <dgm:prSet/>
      <dgm:spPr/>
      <dgm:t>
        <a:bodyPr/>
        <a:lstStyle/>
        <a:p>
          <a:r>
            <a:rPr lang="es-ES" dirty="0"/>
            <a:t>Comunicación externa ⊂ de la memoria.</a:t>
          </a:r>
        </a:p>
      </dgm:t>
    </dgm:pt>
    <dgm:pt modelId="{6F1AC4CD-0FDA-436B-90D8-3A1CF6892FDD}" type="parTrans" cxnId="{7AB40D94-CEC1-4FB9-A42E-C52732F6AFD4}">
      <dgm:prSet/>
      <dgm:spPr/>
      <dgm:t>
        <a:bodyPr/>
        <a:lstStyle/>
        <a:p>
          <a:endParaRPr lang="es-ES"/>
        </a:p>
      </dgm:t>
    </dgm:pt>
    <dgm:pt modelId="{8FAF12BE-392B-4D65-9E46-13FF8E945E89}" type="sibTrans" cxnId="{7AB40D94-CEC1-4FB9-A42E-C52732F6AFD4}">
      <dgm:prSet/>
      <dgm:spPr/>
      <dgm:t>
        <a:bodyPr/>
        <a:lstStyle/>
        <a:p>
          <a:endParaRPr lang="es-ES"/>
        </a:p>
      </dgm:t>
    </dgm:pt>
    <dgm:pt modelId="{F79E095D-26AC-4D9D-813D-5FFC05381AFE}">
      <dgm:prSet/>
      <dgm:spPr/>
      <dgm:t>
        <a:bodyPr/>
        <a:lstStyle/>
        <a:p>
          <a:r>
            <a:rPr lang="es-ES" dirty="0"/>
            <a:t>Comunicación interna que a su vez ⊂ plan formación.</a:t>
          </a:r>
        </a:p>
      </dgm:t>
    </dgm:pt>
    <dgm:pt modelId="{AD60FBF4-018A-4ECF-941C-80AB617691C7}" type="parTrans" cxnId="{B72A4C1C-95B2-4F4E-A68F-ED1FE9CEE24A}">
      <dgm:prSet/>
      <dgm:spPr/>
      <dgm:t>
        <a:bodyPr/>
        <a:lstStyle/>
        <a:p>
          <a:endParaRPr lang="es-ES"/>
        </a:p>
      </dgm:t>
    </dgm:pt>
    <dgm:pt modelId="{C324DB6D-B060-47CC-95E1-B0AA8B3D08C7}" type="sibTrans" cxnId="{B72A4C1C-95B2-4F4E-A68F-ED1FE9CEE24A}">
      <dgm:prSet/>
      <dgm:spPr/>
      <dgm:t>
        <a:bodyPr/>
        <a:lstStyle/>
        <a:p>
          <a:endParaRPr lang="es-ES"/>
        </a:p>
      </dgm:t>
    </dgm:pt>
    <dgm:pt modelId="{8CA5BA95-2C4E-43B7-8ECB-98454E3A4575}">
      <dgm:prSet/>
      <dgm:spPr/>
      <dgm:t>
        <a:bodyPr/>
        <a:lstStyle/>
        <a:p>
          <a:r>
            <a:rPr lang="es-ES" dirty="0"/>
            <a:t>Plan de transformación detallado.</a:t>
          </a:r>
        </a:p>
      </dgm:t>
    </dgm:pt>
    <dgm:pt modelId="{EF14AE32-5C01-46D6-993E-2A1FD6764F3E}" type="parTrans" cxnId="{DFD3831D-DEA8-4BF6-AED9-5747AFB53899}">
      <dgm:prSet/>
      <dgm:spPr/>
      <dgm:t>
        <a:bodyPr/>
        <a:lstStyle/>
        <a:p>
          <a:endParaRPr lang="es-ES"/>
        </a:p>
      </dgm:t>
    </dgm:pt>
    <dgm:pt modelId="{4E336A91-E65C-46CD-BBAC-8F389A09C416}" type="sibTrans" cxnId="{DFD3831D-DEA8-4BF6-AED9-5747AFB53899}">
      <dgm:prSet/>
      <dgm:spPr/>
      <dgm:t>
        <a:bodyPr/>
        <a:lstStyle/>
        <a:p>
          <a:endParaRPr lang="es-ES"/>
        </a:p>
      </dgm:t>
    </dgm:pt>
    <dgm:pt modelId="{E3A13606-7B17-4826-9F03-9B72BBD93893}">
      <dgm:prSet/>
      <dgm:spPr/>
      <dgm:t>
        <a:bodyPr/>
        <a:lstStyle/>
        <a:p>
          <a:r>
            <a:rPr lang="es-ES" dirty="0"/>
            <a:t>Puesta en marcha del plan director.</a:t>
          </a:r>
        </a:p>
      </dgm:t>
    </dgm:pt>
    <dgm:pt modelId="{F8F1927C-41A7-4C5D-A365-2E074A223384}" type="parTrans" cxnId="{15006E06-023F-48DB-A648-2DCC3DB9A064}">
      <dgm:prSet/>
      <dgm:spPr/>
      <dgm:t>
        <a:bodyPr/>
        <a:lstStyle/>
        <a:p>
          <a:endParaRPr lang="es-ES"/>
        </a:p>
      </dgm:t>
    </dgm:pt>
    <dgm:pt modelId="{175586E8-BD2D-4DFD-9EA9-EC054E6EED87}" type="sibTrans" cxnId="{15006E06-023F-48DB-A648-2DCC3DB9A064}">
      <dgm:prSet/>
      <dgm:spPr/>
      <dgm:t>
        <a:bodyPr/>
        <a:lstStyle/>
        <a:p>
          <a:endParaRPr lang="es-ES"/>
        </a:p>
      </dgm:t>
    </dgm:pt>
    <dgm:pt modelId="{96A783D5-F810-44AF-8E67-C5EB9A2C86D6}">
      <dgm:prSet/>
      <dgm:spPr/>
      <dgm:t>
        <a:bodyPr/>
        <a:lstStyle/>
        <a:p>
          <a:r>
            <a:rPr lang="es-ES" dirty="0"/>
            <a:t>Plan de auditoría.</a:t>
          </a:r>
        </a:p>
      </dgm:t>
    </dgm:pt>
    <dgm:pt modelId="{72F36ECB-8333-4D96-821E-4D29AF5FC21F}" type="parTrans" cxnId="{820997F6-2145-49F1-9627-4EB30D8E08A4}">
      <dgm:prSet/>
      <dgm:spPr/>
      <dgm:t>
        <a:bodyPr/>
        <a:lstStyle/>
        <a:p>
          <a:endParaRPr lang="es-ES"/>
        </a:p>
      </dgm:t>
    </dgm:pt>
    <dgm:pt modelId="{99C0B2BE-9597-458A-AF0D-FE83AD71C85C}" type="sibTrans" cxnId="{820997F6-2145-49F1-9627-4EB30D8E08A4}">
      <dgm:prSet/>
      <dgm:spPr/>
      <dgm:t>
        <a:bodyPr/>
        <a:lstStyle/>
        <a:p>
          <a:endParaRPr lang="es-ES"/>
        </a:p>
      </dgm:t>
    </dgm:pt>
    <dgm:pt modelId="{B66A5F30-3AF9-40AD-9763-F1C31C6C9E0B}">
      <dgm:prSet phldrT="[Texto]"/>
      <dgm:spPr/>
      <dgm:t>
        <a:bodyPr/>
        <a:lstStyle/>
        <a:p>
          <a:r>
            <a:rPr lang="es-ES" dirty="0"/>
            <a:t>Y delega en la “oficina del programa”.</a:t>
          </a:r>
        </a:p>
      </dgm:t>
    </dgm:pt>
    <dgm:pt modelId="{92F85B32-8DF2-49B7-865D-F6388707A755}" type="parTrans" cxnId="{B1C73BFF-27DE-44F7-BB99-58B21A0C832D}">
      <dgm:prSet/>
      <dgm:spPr/>
      <dgm:t>
        <a:bodyPr/>
        <a:lstStyle/>
        <a:p>
          <a:endParaRPr lang="es-ES"/>
        </a:p>
      </dgm:t>
    </dgm:pt>
    <dgm:pt modelId="{3A783FA1-0EBB-4FB7-A8B7-93151EB70CB9}" type="sibTrans" cxnId="{B1C73BFF-27DE-44F7-BB99-58B21A0C832D}">
      <dgm:prSet/>
      <dgm:spPr/>
      <dgm:t>
        <a:bodyPr/>
        <a:lstStyle/>
        <a:p>
          <a:endParaRPr lang="es-ES"/>
        </a:p>
      </dgm:t>
    </dgm:pt>
    <dgm:pt modelId="{8C7C5680-685B-4B9B-98EA-3A32A694CE1A}">
      <dgm:prSet/>
      <dgm:spPr/>
      <dgm:t>
        <a:bodyPr/>
        <a:lstStyle/>
        <a:p>
          <a:r>
            <a:rPr lang="es-ES" dirty="0"/>
            <a:t>Medir el desempeño mediante KPI.</a:t>
          </a:r>
        </a:p>
      </dgm:t>
    </dgm:pt>
    <dgm:pt modelId="{000C1474-CA95-483C-9E47-B08E95C6ABDE}" type="parTrans" cxnId="{B016D59E-D27D-40B9-95D6-261DE6C52B66}">
      <dgm:prSet/>
      <dgm:spPr/>
      <dgm:t>
        <a:bodyPr/>
        <a:lstStyle/>
        <a:p>
          <a:endParaRPr lang="es-ES"/>
        </a:p>
      </dgm:t>
    </dgm:pt>
    <dgm:pt modelId="{B9BCF6D0-CECC-4F68-B0E5-C685CEC500FE}" type="sibTrans" cxnId="{B016D59E-D27D-40B9-95D6-261DE6C52B66}">
      <dgm:prSet/>
      <dgm:spPr/>
      <dgm:t>
        <a:bodyPr/>
        <a:lstStyle/>
        <a:p>
          <a:endParaRPr lang="es-ES"/>
        </a:p>
      </dgm:t>
    </dgm:pt>
    <dgm:pt modelId="{0E4074FB-835A-4709-A7B6-BB3528826FF2}">
      <dgm:prSet phldrT="[Texto]"/>
      <dgm:spPr/>
      <dgm:t>
        <a:bodyPr/>
        <a:lstStyle/>
        <a:p>
          <a:r>
            <a:rPr lang="es-ES" dirty="0"/>
            <a:t>Que designa responsables específicos para elaborar una estrategia ESG y ODS simple e integrada con el Plan Director</a:t>
          </a:r>
        </a:p>
      </dgm:t>
    </dgm:pt>
    <dgm:pt modelId="{F7574CB3-297B-4283-B1E4-A9C87E2706C5}" type="parTrans" cxnId="{4791FF96-6010-4CB0-AB9C-E05AD73B58EF}">
      <dgm:prSet/>
      <dgm:spPr/>
      <dgm:t>
        <a:bodyPr/>
        <a:lstStyle/>
        <a:p>
          <a:endParaRPr lang="es-ES"/>
        </a:p>
      </dgm:t>
    </dgm:pt>
    <dgm:pt modelId="{15616E16-32B6-43EE-9EB3-887624F2F151}" type="sibTrans" cxnId="{4791FF96-6010-4CB0-AB9C-E05AD73B58EF}">
      <dgm:prSet/>
      <dgm:spPr/>
      <dgm:t>
        <a:bodyPr/>
        <a:lstStyle/>
        <a:p>
          <a:endParaRPr lang="es-ES"/>
        </a:p>
      </dgm:t>
    </dgm:pt>
    <dgm:pt modelId="{6082BD6D-3D74-4CC0-B763-B3692BB8B242}">
      <dgm:prSet/>
      <dgm:spPr/>
      <dgm:t>
        <a:bodyPr/>
        <a:lstStyle/>
        <a:p>
          <a:r>
            <a:rPr lang="es-ES" dirty="0"/>
            <a:t>Calculadora de huella de carbono de todo el proceso empresarial.</a:t>
          </a:r>
        </a:p>
      </dgm:t>
    </dgm:pt>
    <dgm:pt modelId="{EB448D76-B7BF-4DDF-BC21-BF6BFDDDE7DD}" type="parTrans" cxnId="{56DE89DE-E17F-4F91-AE52-14F15A4263C9}">
      <dgm:prSet/>
      <dgm:spPr/>
      <dgm:t>
        <a:bodyPr/>
        <a:lstStyle/>
        <a:p>
          <a:endParaRPr lang="es-ES"/>
        </a:p>
      </dgm:t>
    </dgm:pt>
    <dgm:pt modelId="{56B4A79D-350E-4C13-B499-F4D42C130576}" type="sibTrans" cxnId="{56DE89DE-E17F-4F91-AE52-14F15A4263C9}">
      <dgm:prSet/>
      <dgm:spPr/>
      <dgm:t>
        <a:bodyPr/>
        <a:lstStyle/>
        <a:p>
          <a:endParaRPr lang="es-ES"/>
        </a:p>
      </dgm:t>
    </dgm:pt>
    <dgm:pt modelId="{8E87A8CD-E64E-49B0-8B69-719590663926}">
      <dgm:prSet/>
      <dgm:spPr/>
      <dgm:t>
        <a:bodyPr/>
        <a:lstStyle/>
        <a:p>
          <a:r>
            <a:rPr lang="es-ES" dirty="0"/>
            <a:t>Conocimiento sensibilidad de los colaboradores interno y de la UAM en general. </a:t>
          </a:r>
        </a:p>
      </dgm:t>
    </dgm:pt>
    <dgm:pt modelId="{92FD9572-8E32-414B-8AEF-7E0AD719418B}" type="parTrans" cxnId="{48B1C22A-2CD1-4827-9460-6F42629C067F}">
      <dgm:prSet/>
      <dgm:spPr/>
      <dgm:t>
        <a:bodyPr/>
        <a:lstStyle/>
        <a:p>
          <a:endParaRPr lang="es-ES"/>
        </a:p>
      </dgm:t>
    </dgm:pt>
    <dgm:pt modelId="{7DD66EE2-7299-42D5-81DA-90B03DA4B277}" type="sibTrans" cxnId="{48B1C22A-2CD1-4827-9460-6F42629C067F}">
      <dgm:prSet/>
      <dgm:spPr/>
      <dgm:t>
        <a:bodyPr/>
        <a:lstStyle/>
        <a:p>
          <a:endParaRPr lang="es-ES"/>
        </a:p>
      </dgm:t>
    </dgm:pt>
    <dgm:pt modelId="{487D1F67-E233-4A78-BF54-215C461C4E64}" type="pres">
      <dgm:prSet presAssocID="{C4BA136D-D86B-42AD-9CDD-06373A9E7ED5}" presName="Name0" presStyleCnt="0">
        <dgm:presLayoutVars>
          <dgm:dir/>
          <dgm:animLvl val="lvl"/>
          <dgm:resizeHandles val="exact"/>
        </dgm:presLayoutVars>
      </dgm:prSet>
      <dgm:spPr/>
    </dgm:pt>
    <dgm:pt modelId="{8F5C14F5-6793-42CA-B58C-9469141469F2}" type="pres">
      <dgm:prSet presAssocID="{07417B59-65C4-471D-BACB-802291224D01}" presName="composite" presStyleCnt="0"/>
      <dgm:spPr/>
    </dgm:pt>
    <dgm:pt modelId="{86442F00-C0B3-40A0-8F4D-8C62E4593B5E}" type="pres">
      <dgm:prSet presAssocID="{07417B59-65C4-471D-BACB-802291224D01}" presName="parTx" presStyleLbl="node1" presStyleIdx="0" presStyleCnt="3">
        <dgm:presLayoutVars>
          <dgm:chMax val="0"/>
          <dgm:chPref val="0"/>
          <dgm:bulletEnabled val="1"/>
        </dgm:presLayoutVars>
      </dgm:prSet>
      <dgm:spPr>
        <a:prstGeom prst="homePlate">
          <a:avLst/>
        </a:prstGeom>
      </dgm:spPr>
    </dgm:pt>
    <dgm:pt modelId="{79646AAE-79C1-4E0B-A419-5AB9FF2BB0C5}" type="pres">
      <dgm:prSet presAssocID="{07417B59-65C4-471D-BACB-802291224D01}" presName="desTx" presStyleLbl="revTx" presStyleIdx="0" presStyleCnt="3">
        <dgm:presLayoutVars>
          <dgm:bulletEnabled val="1"/>
        </dgm:presLayoutVars>
      </dgm:prSet>
      <dgm:spPr/>
    </dgm:pt>
    <dgm:pt modelId="{AAEC8395-B5D6-45DA-BFAD-B48938332CF9}" type="pres">
      <dgm:prSet presAssocID="{4AA05C30-2BDE-4A8E-98FD-9B7B187CD760}" presName="space" presStyleCnt="0"/>
      <dgm:spPr/>
    </dgm:pt>
    <dgm:pt modelId="{1197592B-C9BB-44F7-85A5-115443347A88}" type="pres">
      <dgm:prSet presAssocID="{5431ED3C-06F1-4677-8910-BFFC8C6E6BFC}" presName="composite" presStyleCnt="0"/>
      <dgm:spPr/>
    </dgm:pt>
    <dgm:pt modelId="{D8F4DB0F-23D4-4D0B-A06E-DE502388D886}" type="pres">
      <dgm:prSet presAssocID="{5431ED3C-06F1-4677-8910-BFFC8C6E6BFC}" presName="parTx" presStyleLbl="node1" presStyleIdx="1" presStyleCnt="3">
        <dgm:presLayoutVars>
          <dgm:chMax val="0"/>
          <dgm:chPref val="0"/>
          <dgm:bulletEnabled val="1"/>
        </dgm:presLayoutVars>
      </dgm:prSet>
      <dgm:spPr/>
    </dgm:pt>
    <dgm:pt modelId="{48997F12-4CF7-4EBE-95DD-18C0B8F14FCC}" type="pres">
      <dgm:prSet presAssocID="{5431ED3C-06F1-4677-8910-BFFC8C6E6BFC}" presName="desTx" presStyleLbl="revTx" presStyleIdx="1" presStyleCnt="3">
        <dgm:presLayoutVars>
          <dgm:bulletEnabled val="1"/>
        </dgm:presLayoutVars>
      </dgm:prSet>
      <dgm:spPr/>
    </dgm:pt>
    <dgm:pt modelId="{95E2FCC6-77D2-4B35-B9F8-99790E586543}" type="pres">
      <dgm:prSet presAssocID="{43D5C3B4-C1D3-4162-9EC8-5BD3985136B2}" presName="space" presStyleCnt="0"/>
      <dgm:spPr/>
    </dgm:pt>
    <dgm:pt modelId="{D61FA0FD-5223-4482-A5CA-8D63CE5D4416}" type="pres">
      <dgm:prSet presAssocID="{479A6B0B-80B5-4A4A-B3BA-653010DDC037}" presName="composite" presStyleCnt="0"/>
      <dgm:spPr/>
    </dgm:pt>
    <dgm:pt modelId="{A6800F7B-61C3-4CC7-8FAA-ED536E1717BE}" type="pres">
      <dgm:prSet presAssocID="{479A6B0B-80B5-4A4A-B3BA-653010DDC037}" presName="parTx" presStyleLbl="node1" presStyleIdx="2" presStyleCnt="3">
        <dgm:presLayoutVars>
          <dgm:chMax val="0"/>
          <dgm:chPref val="0"/>
          <dgm:bulletEnabled val="1"/>
        </dgm:presLayoutVars>
      </dgm:prSet>
      <dgm:spPr/>
    </dgm:pt>
    <dgm:pt modelId="{BB907D77-9A80-4FB6-9ACA-4C09F3FCC1EF}" type="pres">
      <dgm:prSet presAssocID="{479A6B0B-80B5-4A4A-B3BA-653010DDC037}" presName="desTx" presStyleLbl="revTx" presStyleIdx="2" presStyleCnt="3">
        <dgm:presLayoutVars>
          <dgm:bulletEnabled val="1"/>
        </dgm:presLayoutVars>
      </dgm:prSet>
      <dgm:spPr/>
    </dgm:pt>
  </dgm:ptLst>
  <dgm:cxnLst>
    <dgm:cxn modelId="{09A3A204-9022-4286-AE18-AEF2310AB922}" type="presOf" srcId="{C4BA136D-D86B-42AD-9CDD-06373A9E7ED5}" destId="{487D1F67-E233-4A78-BF54-215C461C4E64}" srcOrd="0" destOrd="0" presId="urn:microsoft.com/office/officeart/2005/8/layout/chevron1"/>
    <dgm:cxn modelId="{15006E06-023F-48DB-A648-2DCC3DB9A064}" srcId="{479A6B0B-80B5-4A4A-B3BA-653010DDC037}" destId="{E3A13606-7B17-4826-9F03-9B72BBD93893}" srcOrd="1" destOrd="0" parTransId="{F8F1927C-41A7-4C5D-A365-2E074A223384}" sibTransId="{175586E8-BD2D-4DFD-9EA9-EC054E6EED87}"/>
    <dgm:cxn modelId="{83A25A09-BD6C-4ADD-ABBC-773DAFDDFD9B}" type="presOf" srcId="{D65B3388-C9FF-405D-B027-B1C8B845DF7E}" destId="{BB907D77-9A80-4FB6-9ACA-4C09F3FCC1EF}" srcOrd="0" destOrd="1" presId="urn:microsoft.com/office/officeart/2005/8/layout/chevron1"/>
    <dgm:cxn modelId="{DB985A0A-F8A0-42AE-A369-DACEF0FDC50C}" srcId="{C4BA136D-D86B-42AD-9CDD-06373A9E7ED5}" destId="{5431ED3C-06F1-4677-8910-BFFC8C6E6BFC}" srcOrd="1" destOrd="0" parTransId="{A2CA0DD0-8008-4093-8901-5DA5B96D9CAF}" sibTransId="{43D5C3B4-C1D3-4162-9EC8-5BD3985136B2}"/>
    <dgm:cxn modelId="{EF43330E-9580-44A1-B677-3A6196C57EB1}" type="presOf" srcId="{8E87A8CD-E64E-49B0-8B69-719590663926}" destId="{48997F12-4CF7-4EBE-95DD-18C0B8F14FCC}" srcOrd="0" destOrd="3" presId="urn:microsoft.com/office/officeart/2005/8/layout/chevron1"/>
    <dgm:cxn modelId="{B72A4C1C-95B2-4F4E-A68F-ED1FE9CEE24A}" srcId="{04741BB6-89C9-4970-9679-2031D92D9123}" destId="{F79E095D-26AC-4D9D-813D-5FFC05381AFE}" srcOrd="1" destOrd="0" parTransId="{AD60FBF4-018A-4ECF-941C-80AB617691C7}" sibTransId="{C324DB6D-B060-47CC-95E1-B0AA8B3D08C7}"/>
    <dgm:cxn modelId="{DFD3831D-DEA8-4BF6-AED9-5747AFB53899}" srcId="{04741BB6-89C9-4970-9679-2031D92D9123}" destId="{8CA5BA95-2C4E-43B7-8ECB-98454E3A4575}" srcOrd="3" destOrd="0" parTransId="{EF14AE32-5C01-46D6-993E-2A1FD6764F3E}" sibTransId="{4E336A91-E65C-46CD-BBAC-8F389A09C416}"/>
    <dgm:cxn modelId="{48B1C22A-2CD1-4827-9460-6F42629C067F}" srcId="{5431ED3C-06F1-4677-8910-BFFC8C6E6BFC}" destId="{8E87A8CD-E64E-49B0-8B69-719590663926}" srcOrd="3" destOrd="0" parTransId="{92FD9572-8E32-414B-8AEF-7E0AD719418B}" sibTransId="{7DD66EE2-7299-42D5-81DA-90B03DA4B277}"/>
    <dgm:cxn modelId="{FCC8962E-0C72-49CB-8215-AC0D520B15A2}" srcId="{479A6B0B-80B5-4A4A-B3BA-653010DDC037}" destId="{04741BB6-89C9-4970-9679-2031D92D9123}" srcOrd="0" destOrd="0" parTransId="{2DE438B9-01DF-4F0B-A0AB-98F952985610}" sibTransId="{4D34DB98-3767-4275-88E5-BD0E5B43E1B5}"/>
    <dgm:cxn modelId="{BC32C230-39B1-4501-89F2-5347225A4490}" type="presOf" srcId="{E3A13606-7B17-4826-9F03-9B72BBD93893}" destId="{BB907D77-9A80-4FB6-9ACA-4C09F3FCC1EF}" srcOrd="0" destOrd="5" presId="urn:microsoft.com/office/officeart/2005/8/layout/chevron1"/>
    <dgm:cxn modelId="{243EAC39-FA27-4520-9312-CBA0568F29C8}" type="presOf" srcId="{B66A5F30-3AF9-40AD-9763-F1C31C6C9E0B}" destId="{79646AAE-79C1-4E0B-A419-5AB9FF2BB0C5}" srcOrd="0" destOrd="0" presId="urn:microsoft.com/office/officeart/2005/8/layout/chevron1"/>
    <dgm:cxn modelId="{90BE105B-2CAA-497B-8FD7-F9FDCB3684DE}" type="presOf" srcId="{07417B59-65C4-471D-BACB-802291224D01}" destId="{86442F00-C0B3-40A0-8F4D-8C62E4593B5E}" srcOrd="0" destOrd="0" presId="urn:microsoft.com/office/officeart/2005/8/layout/chevron1"/>
    <dgm:cxn modelId="{53714C5B-6C5B-429D-8DCB-92A34E400459}" type="presOf" srcId="{531A2B0E-E07D-44B9-9286-43E8251C9B93}" destId="{48997F12-4CF7-4EBE-95DD-18C0B8F14FCC}" srcOrd="0" destOrd="1" presId="urn:microsoft.com/office/officeart/2005/8/layout/chevron1"/>
    <dgm:cxn modelId="{3041D85F-11E7-4F2B-86A7-D2EB9AC909C8}" type="presOf" srcId="{04741BB6-89C9-4970-9679-2031D92D9123}" destId="{BB907D77-9A80-4FB6-9ACA-4C09F3FCC1EF}" srcOrd="0" destOrd="0" presId="urn:microsoft.com/office/officeart/2005/8/layout/chevron1"/>
    <dgm:cxn modelId="{62C02143-8929-4366-8DC1-F4D4E211E9A0}" type="presOf" srcId="{0E4074FB-835A-4709-A7B6-BB3528826FF2}" destId="{79646AAE-79C1-4E0B-A419-5AB9FF2BB0C5}" srcOrd="0" destOrd="1" presId="urn:microsoft.com/office/officeart/2005/8/layout/chevron1"/>
    <dgm:cxn modelId="{252C3869-8D50-4B25-A283-E52E1CAA5BE2}" type="presOf" srcId="{96A783D5-F810-44AF-8E67-C5EB9A2C86D6}" destId="{BB907D77-9A80-4FB6-9ACA-4C09F3FCC1EF}" srcOrd="0" destOrd="3" presId="urn:microsoft.com/office/officeart/2005/8/layout/chevron1"/>
    <dgm:cxn modelId="{B54D1677-8042-48D5-B189-673BF06EED9A}" srcId="{C4BA136D-D86B-42AD-9CDD-06373A9E7ED5}" destId="{07417B59-65C4-471D-BACB-802291224D01}" srcOrd="0" destOrd="0" parTransId="{7D396ACA-9012-4EC0-A47E-A8E45C595CCC}" sibTransId="{4AA05C30-2BDE-4A8E-98FD-9B7B187CD760}"/>
    <dgm:cxn modelId="{B6E6157A-9AD7-43EB-A4CE-AEEF1561D60A}" type="presOf" srcId="{8C7C5680-685B-4B9B-98EA-3A32A694CE1A}" destId="{BB907D77-9A80-4FB6-9ACA-4C09F3FCC1EF}" srcOrd="0" destOrd="6" presId="urn:microsoft.com/office/officeart/2005/8/layout/chevron1"/>
    <dgm:cxn modelId="{4387DA7B-5FE6-412E-8733-67D43BFDF238}" type="presOf" srcId="{5431ED3C-06F1-4677-8910-BFFC8C6E6BFC}" destId="{D8F4DB0F-23D4-4D0B-A06E-DE502388D886}" srcOrd="0" destOrd="0" presId="urn:microsoft.com/office/officeart/2005/8/layout/chevron1"/>
    <dgm:cxn modelId="{504E307E-2367-4BA5-9CE6-A0553B731357}" type="presOf" srcId="{27D53013-AAE0-4E7C-B3DB-CBC902BC5DA7}" destId="{48997F12-4CF7-4EBE-95DD-18C0B8F14FCC}" srcOrd="0" destOrd="0" presId="urn:microsoft.com/office/officeart/2005/8/layout/chevron1"/>
    <dgm:cxn modelId="{7AB40D94-CEC1-4FB9-A42E-C52732F6AFD4}" srcId="{04741BB6-89C9-4970-9679-2031D92D9123}" destId="{D65B3388-C9FF-405D-B027-B1C8B845DF7E}" srcOrd="0" destOrd="0" parTransId="{6F1AC4CD-0FDA-436B-90D8-3A1CF6892FDD}" sibTransId="{8FAF12BE-392B-4D65-9E46-13FF8E945E89}"/>
    <dgm:cxn modelId="{4791FF96-6010-4CB0-AB9C-E05AD73B58EF}" srcId="{07417B59-65C4-471D-BACB-802291224D01}" destId="{0E4074FB-835A-4709-A7B6-BB3528826FF2}" srcOrd="1" destOrd="0" parTransId="{F7574CB3-297B-4283-B1E4-A9C87E2706C5}" sibTransId="{15616E16-32B6-43EE-9EB3-887624F2F151}"/>
    <dgm:cxn modelId="{B016D59E-D27D-40B9-95D6-261DE6C52B66}" srcId="{479A6B0B-80B5-4A4A-B3BA-653010DDC037}" destId="{8C7C5680-685B-4B9B-98EA-3A32A694CE1A}" srcOrd="2" destOrd="0" parTransId="{000C1474-CA95-483C-9E47-B08E95C6ABDE}" sibTransId="{B9BCF6D0-CECC-4F68-B0E5-C685CEC500FE}"/>
    <dgm:cxn modelId="{3E97BEA4-7077-4FFA-A01C-1EA2A2598651}" srcId="{5431ED3C-06F1-4677-8910-BFFC8C6E6BFC}" destId="{27D53013-AAE0-4E7C-B3DB-CBC902BC5DA7}" srcOrd="0" destOrd="0" parTransId="{45478BF0-05C6-4E3C-AE55-AF257A9D1D51}" sibTransId="{E9BCA13A-25E6-43BD-BF74-8F7AE5A0BA0B}"/>
    <dgm:cxn modelId="{A86DC4AF-B619-462F-9C5C-62B30A246611}" type="presOf" srcId="{F79E095D-26AC-4D9D-813D-5FFC05381AFE}" destId="{BB907D77-9A80-4FB6-9ACA-4C09F3FCC1EF}" srcOrd="0" destOrd="2" presId="urn:microsoft.com/office/officeart/2005/8/layout/chevron1"/>
    <dgm:cxn modelId="{9B0450D5-26CC-4A7B-A846-90130B6A0831}" srcId="{5431ED3C-06F1-4677-8910-BFFC8C6E6BFC}" destId="{531A2B0E-E07D-44B9-9286-43E8251C9B93}" srcOrd="1" destOrd="0" parTransId="{18CCE310-AE77-4BB2-9FB9-D0C3D237394A}" sibTransId="{6CACBCD4-BD6C-40F7-8BA6-7DC03B574D3D}"/>
    <dgm:cxn modelId="{56DE89DE-E17F-4F91-AE52-14F15A4263C9}" srcId="{5431ED3C-06F1-4677-8910-BFFC8C6E6BFC}" destId="{6082BD6D-3D74-4CC0-B763-B3692BB8B242}" srcOrd="2" destOrd="0" parTransId="{EB448D76-B7BF-4DDF-BC21-BF6BFDDDE7DD}" sibTransId="{56B4A79D-350E-4C13-B499-F4D42C130576}"/>
    <dgm:cxn modelId="{48F1B9E5-5963-47C9-9839-08E14209B19A}" srcId="{C4BA136D-D86B-42AD-9CDD-06373A9E7ED5}" destId="{479A6B0B-80B5-4A4A-B3BA-653010DDC037}" srcOrd="2" destOrd="0" parTransId="{EE38C09B-4BDF-48D5-A964-775885B43E15}" sibTransId="{210BE2E9-AE0A-4193-BB53-4590146BE7A4}"/>
    <dgm:cxn modelId="{0E8FFFED-38AF-4C91-A60F-3736621AA5C9}" type="presOf" srcId="{479A6B0B-80B5-4A4A-B3BA-653010DDC037}" destId="{A6800F7B-61C3-4CC7-8FAA-ED536E1717BE}" srcOrd="0" destOrd="0" presId="urn:microsoft.com/office/officeart/2005/8/layout/chevron1"/>
    <dgm:cxn modelId="{8C1A05F2-46A7-4FB3-9A89-7723E811790B}" type="presOf" srcId="{8CA5BA95-2C4E-43B7-8ECB-98454E3A4575}" destId="{BB907D77-9A80-4FB6-9ACA-4C09F3FCC1EF}" srcOrd="0" destOrd="4" presId="urn:microsoft.com/office/officeart/2005/8/layout/chevron1"/>
    <dgm:cxn modelId="{901CF2F5-F892-47EC-AF92-5AC2EB472855}" type="presOf" srcId="{6082BD6D-3D74-4CC0-B763-B3692BB8B242}" destId="{48997F12-4CF7-4EBE-95DD-18C0B8F14FCC}" srcOrd="0" destOrd="2" presId="urn:microsoft.com/office/officeart/2005/8/layout/chevron1"/>
    <dgm:cxn modelId="{820997F6-2145-49F1-9627-4EB30D8E08A4}" srcId="{04741BB6-89C9-4970-9679-2031D92D9123}" destId="{96A783D5-F810-44AF-8E67-C5EB9A2C86D6}" srcOrd="2" destOrd="0" parTransId="{72F36ECB-8333-4D96-821E-4D29AF5FC21F}" sibTransId="{99C0B2BE-9597-458A-AF0D-FE83AD71C85C}"/>
    <dgm:cxn modelId="{B1C73BFF-27DE-44F7-BB99-58B21A0C832D}" srcId="{07417B59-65C4-471D-BACB-802291224D01}" destId="{B66A5F30-3AF9-40AD-9763-F1C31C6C9E0B}" srcOrd="0" destOrd="0" parTransId="{92F85B32-8DF2-49B7-865D-F6388707A755}" sibTransId="{3A783FA1-0EBB-4FB7-A8B7-93151EB70CB9}"/>
    <dgm:cxn modelId="{3BF0CBD3-18B4-490F-A786-95E628A87FEA}" type="presParOf" srcId="{487D1F67-E233-4A78-BF54-215C461C4E64}" destId="{8F5C14F5-6793-42CA-B58C-9469141469F2}" srcOrd="0" destOrd="0" presId="urn:microsoft.com/office/officeart/2005/8/layout/chevron1"/>
    <dgm:cxn modelId="{CE0F1BB4-EAAC-4DAE-8FE5-C951057C7B80}" type="presParOf" srcId="{8F5C14F5-6793-42CA-B58C-9469141469F2}" destId="{86442F00-C0B3-40A0-8F4D-8C62E4593B5E}" srcOrd="0" destOrd="0" presId="urn:microsoft.com/office/officeart/2005/8/layout/chevron1"/>
    <dgm:cxn modelId="{4710F8AD-D4CE-4B11-83C0-0023BE6B2C25}" type="presParOf" srcId="{8F5C14F5-6793-42CA-B58C-9469141469F2}" destId="{79646AAE-79C1-4E0B-A419-5AB9FF2BB0C5}" srcOrd="1" destOrd="0" presId="urn:microsoft.com/office/officeart/2005/8/layout/chevron1"/>
    <dgm:cxn modelId="{75C84F63-D515-4AEB-B3CC-E3F2CE2FD952}" type="presParOf" srcId="{487D1F67-E233-4A78-BF54-215C461C4E64}" destId="{AAEC8395-B5D6-45DA-BFAD-B48938332CF9}" srcOrd="1" destOrd="0" presId="urn:microsoft.com/office/officeart/2005/8/layout/chevron1"/>
    <dgm:cxn modelId="{E20D35B3-76C4-4F23-AD3F-13DC187081E4}" type="presParOf" srcId="{487D1F67-E233-4A78-BF54-215C461C4E64}" destId="{1197592B-C9BB-44F7-85A5-115443347A88}" srcOrd="2" destOrd="0" presId="urn:microsoft.com/office/officeart/2005/8/layout/chevron1"/>
    <dgm:cxn modelId="{EB366B32-F1A3-4728-9126-7A40B30895B1}" type="presParOf" srcId="{1197592B-C9BB-44F7-85A5-115443347A88}" destId="{D8F4DB0F-23D4-4D0B-A06E-DE502388D886}" srcOrd="0" destOrd="0" presId="urn:microsoft.com/office/officeart/2005/8/layout/chevron1"/>
    <dgm:cxn modelId="{D768AF47-FA22-4727-8248-249C8E9AD503}" type="presParOf" srcId="{1197592B-C9BB-44F7-85A5-115443347A88}" destId="{48997F12-4CF7-4EBE-95DD-18C0B8F14FCC}" srcOrd="1" destOrd="0" presId="urn:microsoft.com/office/officeart/2005/8/layout/chevron1"/>
    <dgm:cxn modelId="{F6B83F0C-37F6-44B6-93A6-FDF6065A0FD6}" type="presParOf" srcId="{487D1F67-E233-4A78-BF54-215C461C4E64}" destId="{95E2FCC6-77D2-4B35-B9F8-99790E586543}" srcOrd="3" destOrd="0" presId="urn:microsoft.com/office/officeart/2005/8/layout/chevron1"/>
    <dgm:cxn modelId="{31AD8CA5-46FA-4B03-97A1-D2BF13F8C1AE}" type="presParOf" srcId="{487D1F67-E233-4A78-BF54-215C461C4E64}" destId="{D61FA0FD-5223-4482-A5CA-8D63CE5D4416}" srcOrd="4" destOrd="0" presId="urn:microsoft.com/office/officeart/2005/8/layout/chevron1"/>
    <dgm:cxn modelId="{975DFC35-1714-4513-A12B-26A72ACE36AA}" type="presParOf" srcId="{D61FA0FD-5223-4482-A5CA-8D63CE5D4416}" destId="{A6800F7B-61C3-4CC7-8FAA-ED536E1717BE}" srcOrd="0" destOrd="0" presId="urn:microsoft.com/office/officeart/2005/8/layout/chevron1"/>
    <dgm:cxn modelId="{C310F78C-72F0-41F4-84E0-89D64A5EC3D1}" type="presParOf" srcId="{D61FA0FD-5223-4482-A5CA-8D63CE5D4416}" destId="{BB907D77-9A80-4FB6-9ACA-4C09F3FCC1EF}"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9.xml><?xml version="1.0" encoding="utf-8"?>
<dgm:dataModel xmlns:dgm="http://schemas.openxmlformats.org/drawingml/2006/diagram" xmlns:a="http://schemas.openxmlformats.org/drawingml/2006/main">
  <dgm:ptLst>
    <dgm:pt modelId="{F397A47D-B3C3-4C47-9D2F-D5338DFA0AB9}"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s-ES"/>
        </a:p>
      </dgm:t>
    </dgm:pt>
    <dgm:pt modelId="{4E532CEC-B71F-4EA3-9592-32F84C0A091E}">
      <dgm:prSet custT="1"/>
      <dgm:spPr/>
      <dgm:t>
        <a:bodyPr/>
        <a:lstStyle/>
        <a:p>
          <a:r>
            <a:rPr lang="es-ES" sz="1600" dirty="0"/>
            <a:t>El sector de la </a:t>
          </a:r>
          <a:r>
            <a:rPr lang="es-ES" sz="1600" dirty="0">
              <a:highlight>
                <a:srgbClr val="008000"/>
              </a:highlight>
            </a:rPr>
            <a:t>tecnología de la información supone un 7% del consumo </a:t>
          </a:r>
          <a:r>
            <a:rPr lang="es-ES" sz="1600" dirty="0"/>
            <a:t>mundial de energía.</a:t>
          </a:r>
        </a:p>
      </dgm:t>
    </dgm:pt>
    <dgm:pt modelId="{467043C1-4709-4AD5-AF49-DB2C5664F29F}" type="parTrans" cxnId="{875F12F3-F14F-49DB-A5A3-0F95365B8A1E}">
      <dgm:prSet/>
      <dgm:spPr/>
      <dgm:t>
        <a:bodyPr/>
        <a:lstStyle/>
        <a:p>
          <a:endParaRPr lang="es-ES" sz="1600"/>
        </a:p>
      </dgm:t>
    </dgm:pt>
    <dgm:pt modelId="{D09ACC8C-EFFA-4C55-8EFE-48BD56539FE9}" type="sibTrans" cxnId="{875F12F3-F14F-49DB-A5A3-0F95365B8A1E}">
      <dgm:prSet/>
      <dgm:spPr/>
      <dgm:t>
        <a:bodyPr/>
        <a:lstStyle/>
        <a:p>
          <a:endParaRPr lang="es-ES" sz="1600"/>
        </a:p>
      </dgm:t>
    </dgm:pt>
    <dgm:pt modelId="{1C5A665C-4A7F-42EF-BEE7-20CB2E57AE6A}">
      <dgm:prSet custT="1"/>
      <dgm:spPr/>
      <dgm:t>
        <a:bodyPr/>
        <a:lstStyle/>
        <a:p>
          <a:r>
            <a:rPr lang="es-ES" sz="1600" dirty="0"/>
            <a:t>La programación verde o green computing implica aplicar criterios metodológicos específicos en su definición , construcción y test.</a:t>
          </a:r>
        </a:p>
      </dgm:t>
    </dgm:pt>
    <dgm:pt modelId="{F4C4ECB1-9D57-4528-ACAD-9C2029B020E3}" type="parTrans" cxnId="{F2111C21-0FC5-47B7-8B95-AFEC188D8912}">
      <dgm:prSet/>
      <dgm:spPr/>
      <dgm:t>
        <a:bodyPr/>
        <a:lstStyle/>
        <a:p>
          <a:endParaRPr lang="es-ES" sz="1600"/>
        </a:p>
      </dgm:t>
    </dgm:pt>
    <dgm:pt modelId="{AE9B84E9-4913-4AE9-9EB9-1CFFACE4B4C6}" type="sibTrans" cxnId="{F2111C21-0FC5-47B7-8B95-AFEC188D8912}">
      <dgm:prSet/>
      <dgm:spPr/>
      <dgm:t>
        <a:bodyPr/>
        <a:lstStyle/>
        <a:p>
          <a:endParaRPr lang="es-ES" sz="1600"/>
        </a:p>
      </dgm:t>
    </dgm:pt>
    <dgm:pt modelId="{0F29B7D0-1218-4BD4-A62F-A79C5477C097}">
      <dgm:prSet custT="1"/>
      <dgm:spPr/>
      <dgm:t>
        <a:bodyPr/>
        <a:lstStyle/>
        <a:p>
          <a:r>
            <a:rPr lang="es-ES" sz="1600" dirty="0"/>
            <a:t>Busca </a:t>
          </a:r>
          <a:r>
            <a:rPr lang="es-ES" sz="1600" dirty="0">
              <a:highlight>
                <a:srgbClr val="008000"/>
              </a:highlight>
            </a:rPr>
            <a:t>reducir el impacto ecológico en su puesta en producción al hacer un uso más eficiente de los recursos técnicos.</a:t>
          </a:r>
        </a:p>
      </dgm:t>
    </dgm:pt>
    <dgm:pt modelId="{28475798-A767-4D36-9304-5B2CDF1AAC81}" type="parTrans" cxnId="{E5EF78A6-8C57-4476-B042-1BFF73ADF7C1}">
      <dgm:prSet/>
      <dgm:spPr/>
      <dgm:t>
        <a:bodyPr/>
        <a:lstStyle/>
        <a:p>
          <a:endParaRPr lang="es-ES" sz="1600"/>
        </a:p>
      </dgm:t>
    </dgm:pt>
    <dgm:pt modelId="{A95280C8-DBA2-4252-9FF6-D34E7B27230B}" type="sibTrans" cxnId="{E5EF78A6-8C57-4476-B042-1BFF73ADF7C1}">
      <dgm:prSet/>
      <dgm:spPr/>
      <dgm:t>
        <a:bodyPr/>
        <a:lstStyle/>
        <a:p>
          <a:endParaRPr lang="es-ES" sz="1600"/>
        </a:p>
      </dgm:t>
    </dgm:pt>
    <dgm:pt modelId="{B734FB14-211A-4DEF-BBAB-D3AF6FDA55F5}" type="pres">
      <dgm:prSet presAssocID="{F397A47D-B3C3-4C47-9D2F-D5338DFA0AB9}" presName="diagram" presStyleCnt="0">
        <dgm:presLayoutVars>
          <dgm:dir/>
          <dgm:resizeHandles val="exact"/>
        </dgm:presLayoutVars>
      </dgm:prSet>
      <dgm:spPr/>
    </dgm:pt>
    <dgm:pt modelId="{1754084D-BABD-49AD-B302-EFB109693F32}" type="pres">
      <dgm:prSet presAssocID="{4E532CEC-B71F-4EA3-9592-32F84C0A091E}" presName="node" presStyleLbl="node1" presStyleIdx="0" presStyleCnt="3">
        <dgm:presLayoutVars>
          <dgm:bulletEnabled val="1"/>
        </dgm:presLayoutVars>
      </dgm:prSet>
      <dgm:spPr/>
    </dgm:pt>
    <dgm:pt modelId="{99B04393-E055-4980-A2BE-8BDBB6CA135F}" type="pres">
      <dgm:prSet presAssocID="{D09ACC8C-EFFA-4C55-8EFE-48BD56539FE9}" presName="sibTrans" presStyleCnt="0"/>
      <dgm:spPr/>
    </dgm:pt>
    <dgm:pt modelId="{904167A2-5667-4537-8650-C8791ACAC35F}" type="pres">
      <dgm:prSet presAssocID="{1C5A665C-4A7F-42EF-BEE7-20CB2E57AE6A}" presName="node" presStyleLbl="node1" presStyleIdx="1" presStyleCnt="3">
        <dgm:presLayoutVars>
          <dgm:bulletEnabled val="1"/>
        </dgm:presLayoutVars>
      </dgm:prSet>
      <dgm:spPr/>
    </dgm:pt>
    <dgm:pt modelId="{5A206441-093F-4C72-81AB-E8CF30845B69}" type="pres">
      <dgm:prSet presAssocID="{AE9B84E9-4913-4AE9-9EB9-1CFFACE4B4C6}" presName="sibTrans" presStyleCnt="0"/>
      <dgm:spPr/>
    </dgm:pt>
    <dgm:pt modelId="{B34A3A5F-E17C-40A6-BEA8-0269A7639C99}" type="pres">
      <dgm:prSet presAssocID="{0F29B7D0-1218-4BD4-A62F-A79C5477C097}" presName="node" presStyleLbl="node1" presStyleIdx="2" presStyleCnt="3">
        <dgm:presLayoutVars>
          <dgm:bulletEnabled val="1"/>
        </dgm:presLayoutVars>
      </dgm:prSet>
      <dgm:spPr/>
    </dgm:pt>
  </dgm:ptLst>
  <dgm:cxnLst>
    <dgm:cxn modelId="{F2111C21-0FC5-47B7-8B95-AFEC188D8912}" srcId="{F397A47D-B3C3-4C47-9D2F-D5338DFA0AB9}" destId="{1C5A665C-4A7F-42EF-BEE7-20CB2E57AE6A}" srcOrd="1" destOrd="0" parTransId="{F4C4ECB1-9D57-4528-ACAD-9C2029B020E3}" sibTransId="{AE9B84E9-4913-4AE9-9EB9-1CFFACE4B4C6}"/>
    <dgm:cxn modelId="{FF72DC95-D2B6-47F9-BD9A-0D1D481E934C}" type="presOf" srcId="{0F29B7D0-1218-4BD4-A62F-A79C5477C097}" destId="{B34A3A5F-E17C-40A6-BEA8-0269A7639C99}" srcOrd="0" destOrd="0" presId="urn:microsoft.com/office/officeart/2005/8/layout/default"/>
    <dgm:cxn modelId="{54112E97-A361-4467-B83A-CAC8BAB30B10}" type="presOf" srcId="{F397A47D-B3C3-4C47-9D2F-D5338DFA0AB9}" destId="{B734FB14-211A-4DEF-BBAB-D3AF6FDA55F5}" srcOrd="0" destOrd="0" presId="urn:microsoft.com/office/officeart/2005/8/layout/default"/>
    <dgm:cxn modelId="{E5EF78A6-8C57-4476-B042-1BFF73ADF7C1}" srcId="{F397A47D-B3C3-4C47-9D2F-D5338DFA0AB9}" destId="{0F29B7D0-1218-4BD4-A62F-A79C5477C097}" srcOrd="2" destOrd="0" parTransId="{28475798-A767-4D36-9304-5B2CDF1AAC81}" sibTransId="{A95280C8-DBA2-4252-9FF6-D34E7B27230B}"/>
    <dgm:cxn modelId="{1155F6AA-5375-425B-B859-514E49A0F394}" type="presOf" srcId="{4E532CEC-B71F-4EA3-9592-32F84C0A091E}" destId="{1754084D-BABD-49AD-B302-EFB109693F32}" srcOrd="0" destOrd="0" presId="urn:microsoft.com/office/officeart/2005/8/layout/default"/>
    <dgm:cxn modelId="{CC4746EA-9D03-449C-8CF3-A9CB4B674287}" type="presOf" srcId="{1C5A665C-4A7F-42EF-BEE7-20CB2E57AE6A}" destId="{904167A2-5667-4537-8650-C8791ACAC35F}" srcOrd="0" destOrd="0" presId="urn:microsoft.com/office/officeart/2005/8/layout/default"/>
    <dgm:cxn modelId="{875F12F3-F14F-49DB-A5A3-0F95365B8A1E}" srcId="{F397A47D-B3C3-4C47-9D2F-D5338DFA0AB9}" destId="{4E532CEC-B71F-4EA3-9592-32F84C0A091E}" srcOrd="0" destOrd="0" parTransId="{467043C1-4709-4AD5-AF49-DB2C5664F29F}" sibTransId="{D09ACC8C-EFFA-4C55-8EFE-48BD56539FE9}"/>
    <dgm:cxn modelId="{50D2C0AD-9795-4E90-A70F-E83D3DE4C050}" type="presParOf" srcId="{B734FB14-211A-4DEF-BBAB-D3AF6FDA55F5}" destId="{1754084D-BABD-49AD-B302-EFB109693F32}" srcOrd="0" destOrd="0" presId="urn:microsoft.com/office/officeart/2005/8/layout/default"/>
    <dgm:cxn modelId="{42C595B1-F85E-4DCB-AB13-C96A644267F7}" type="presParOf" srcId="{B734FB14-211A-4DEF-BBAB-D3AF6FDA55F5}" destId="{99B04393-E055-4980-A2BE-8BDBB6CA135F}" srcOrd="1" destOrd="0" presId="urn:microsoft.com/office/officeart/2005/8/layout/default"/>
    <dgm:cxn modelId="{E9896462-2B0A-440F-9B78-A986C2107FC0}" type="presParOf" srcId="{B734FB14-211A-4DEF-BBAB-D3AF6FDA55F5}" destId="{904167A2-5667-4537-8650-C8791ACAC35F}" srcOrd="2" destOrd="0" presId="urn:microsoft.com/office/officeart/2005/8/layout/default"/>
    <dgm:cxn modelId="{259C57D7-5E6D-421B-9DFF-98FCD0B83536}" type="presParOf" srcId="{B734FB14-211A-4DEF-BBAB-D3AF6FDA55F5}" destId="{5A206441-093F-4C72-81AB-E8CF30845B69}" srcOrd="3" destOrd="0" presId="urn:microsoft.com/office/officeart/2005/8/layout/default"/>
    <dgm:cxn modelId="{18BC3BD0-BA68-4E32-A7FD-63B2FDB12CE3}" type="presParOf" srcId="{B734FB14-211A-4DEF-BBAB-D3AF6FDA55F5}" destId="{B34A3A5F-E17C-40A6-BEA8-0269A7639C99}"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0.xml><?xml version="1.0" encoding="utf-8"?>
<dgm:dataModel xmlns:dgm="http://schemas.openxmlformats.org/drawingml/2006/diagram" xmlns:a="http://schemas.openxmlformats.org/drawingml/2006/main">
  <dgm:ptLst>
    <dgm:pt modelId="{4DA8E720-CB66-4025-88FC-8CFA6385B7A7}" type="doc">
      <dgm:prSet loTypeId="urn:microsoft.com/office/officeart/2005/8/layout/lProcess2" loCatId="list" qsTypeId="urn:microsoft.com/office/officeart/2005/8/quickstyle/simple1" qsCatId="simple" csTypeId="urn:microsoft.com/office/officeart/2005/8/colors/accent1_3" csCatId="accent1" phldr="1"/>
      <dgm:spPr/>
      <dgm:t>
        <a:bodyPr/>
        <a:lstStyle/>
        <a:p>
          <a:endParaRPr lang="es-ES"/>
        </a:p>
      </dgm:t>
    </dgm:pt>
    <dgm:pt modelId="{0C35D941-E3B7-4523-B269-0D56E5F15237}">
      <dgm:prSet phldrT="[Texto]"/>
      <dgm:spPr/>
      <dgm:t>
        <a:bodyPr/>
        <a:lstStyle/>
        <a:p>
          <a:r>
            <a:rPr lang="es-ES" dirty="0"/>
            <a:t>Energía: </a:t>
          </a:r>
        </a:p>
      </dgm:t>
    </dgm:pt>
    <dgm:pt modelId="{F4C383FC-98D6-4ED4-B54A-F174501E32DF}" type="parTrans" cxnId="{16351456-89E8-4E01-8593-F93A899E041E}">
      <dgm:prSet/>
      <dgm:spPr/>
      <dgm:t>
        <a:bodyPr/>
        <a:lstStyle/>
        <a:p>
          <a:endParaRPr lang="es-ES"/>
        </a:p>
      </dgm:t>
    </dgm:pt>
    <dgm:pt modelId="{8BFFCE4B-8874-4F9E-82A9-8723BAE430B1}" type="sibTrans" cxnId="{16351456-89E8-4E01-8593-F93A899E041E}">
      <dgm:prSet/>
      <dgm:spPr/>
      <dgm:t>
        <a:bodyPr/>
        <a:lstStyle/>
        <a:p>
          <a:endParaRPr lang="es-ES"/>
        </a:p>
      </dgm:t>
    </dgm:pt>
    <dgm:pt modelId="{82BCDDF4-ABBA-4DE1-BB0C-4F465F3D4580}">
      <dgm:prSet/>
      <dgm:spPr/>
      <dgm:t>
        <a:bodyPr/>
        <a:lstStyle/>
        <a:p>
          <a:r>
            <a:rPr lang="es-ES" dirty="0"/>
            <a:t>El primer objetivo es el de hacer un uso más eficiente de la energía eléctrica empleada en procesar información. </a:t>
          </a:r>
        </a:p>
      </dgm:t>
    </dgm:pt>
    <dgm:pt modelId="{D2D86A37-B828-4683-8085-5EAEA2A0F9E6}" type="parTrans" cxnId="{1AF1C678-402F-4970-A7C8-B6B5AF5FD440}">
      <dgm:prSet/>
      <dgm:spPr/>
      <dgm:t>
        <a:bodyPr/>
        <a:lstStyle/>
        <a:p>
          <a:endParaRPr lang="es-ES"/>
        </a:p>
      </dgm:t>
    </dgm:pt>
    <dgm:pt modelId="{D9984DD6-BC2E-463A-BC3C-925605D0E527}" type="sibTrans" cxnId="{1AF1C678-402F-4970-A7C8-B6B5AF5FD440}">
      <dgm:prSet/>
      <dgm:spPr/>
      <dgm:t>
        <a:bodyPr/>
        <a:lstStyle/>
        <a:p>
          <a:endParaRPr lang="es-ES"/>
        </a:p>
      </dgm:t>
    </dgm:pt>
    <dgm:pt modelId="{C3E78101-F6D4-481E-AEF2-F5EB93FAF14A}">
      <dgm:prSet/>
      <dgm:spPr/>
      <dgm:t>
        <a:bodyPr/>
        <a:lstStyle/>
        <a:p>
          <a:r>
            <a:rPr lang="es-ES" dirty="0"/>
            <a:t>Por eso, se buscan códigos más sostenibles y compactos que minimicen el consumo de energía por operación útil.</a:t>
          </a:r>
        </a:p>
      </dgm:t>
    </dgm:pt>
    <dgm:pt modelId="{D92B336D-0948-49A8-95B8-2F13A5B9DD30}" type="parTrans" cxnId="{78167BEC-6188-435A-B7D4-1E35DCFB4DE8}">
      <dgm:prSet/>
      <dgm:spPr/>
      <dgm:t>
        <a:bodyPr/>
        <a:lstStyle/>
        <a:p>
          <a:endParaRPr lang="es-ES"/>
        </a:p>
      </dgm:t>
    </dgm:pt>
    <dgm:pt modelId="{C9EF74A0-FAB9-4F8F-9ED1-CDA5BF7B380F}" type="sibTrans" cxnId="{78167BEC-6188-435A-B7D4-1E35DCFB4DE8}">
      <dgm:prSet/>
      <dgm:spPr/>
      <dgm:t>
        <a:bodyPr/>
        <a:lstStyle/>
        <a:p>
          <a:endParaRPr lang="es-ES"/>
        </a:p>
      </dgm:t>
    </dgm:pt>
    <dgm:pt modelId="{26BADA07-8C7E-431B-B71F-B2835C161E94}">
      <dgm:prSet/>
      <dgm:spPr/>
      <dgm:t>
        <a:bodyPr/>
        <a:lstStyle/>
        <a:p>
          <a:r>
            <a:rPr lang="es-ES" dirty="0"/>
            <a:t>Sistema operativo.</a:t>
          </a:r>
        </a:p>
      </dgm:t>
    </dgm:pt>
    <dgm:pt modelId="{4E4BE5A7-971F-46B5-9BA7-2117144E8D6A}" type="parTrans" cxnId="{8F26CE0F-4189-4642-AE25-6B9B914A99AB}">
      <dgm:prSet/>
      <dgm:spPr/>
      <dgm:t>
        <a:bodyPr/>
        <a:lstStyle/>
        <a:p>
          <a:endParaRPr lang="es-ES"/>
        </a:p>
      </dgm:t>
    </dgm:pt>
    <dgm:pt modelId="{55C1E0FF-813A-40AE-A68F-8F4CC8EBEADC}" type="sibTrans" cxnId="{8F26CE0F-4189-4642-AE25-6B9B914A99AB}">
      <dgm:prSet/>
      <dgm:spPr/>
      <dgm:t>
        <a:bodyPr/>
        <a:lstStyle/>
        <a:p>
          <a:endParaRPr lang="es-ES"/>
        </a:p>
      </dgm:t>
    </dgm:pt>
    <dgm:pt modelId="{B13A9565-BD59-4264-ACD6-AEAA7F2940F2}">
      <dgm:prSet/>
      <dgm:spPr/>
      <dgm:t>
        <a:bodyPr/>
        <a:lstStyle/>
        <a:p>
          <a:r>
            <a:rPr lang="es-ES" dirty="0"/>
            <a:t>Realizando la misma función, algunos programas cuidadosamente definidos y confeccionados, son más eficientes que otros y consumen menos recursos. </a:t>
          </a:r>
        </a:p>
      </dgm:t>
    </dgm:pt>
    <dgm:pt modelId="{05D6B960-6E7C-43BE-8F0F-B79BEF87F7BF}" type="parTrans" cxnId="{258CF6C3-0FC4-40F0-B5C0-D4972E94D39E}">
      <dgm:prSet/>
      <dgm:spPr/>
      <dgm:t>
        <a:bodyPr/>
        <a:lstStyle/>
        <a:p>
          <a:endParaRPr lang="es-ES"/>
        </a:p>
      </dgm:t>
    </dgm:pt>
    <dgm:pt modelId="{BB5E844E-879D-4012-B344-D06AE74FCFC3}" type="sibTrans" cxnId="{258CF6C3-0FC4-40F0-B5C0-D4972E94D39E}">
      <dgm:prSet/>
      <dgm:spPr/>
      <dgm:t>
        <a:bodyPr/>
        <a:lstStyle/>
        <a:p>
          <a:endParaRPr lang="es-ES"/>
        </a:p>
      </dgm:t>
    </dgm:pt>
    <dgm:pt modelId="{5798EF43-FCDD-42A9-9D77-7F52C65F5285}">
      <dgm:prSet/>
      <dgm:spPr/>
      <dgm:t>
        <a:bodyPr/>
        <a:lstStyle/>
        <a:p>
          <a:r>
            <a:rPr lang="es-ES" dirty="0"/>
            <a:t>Hardware: </a:t>
          </a:r>
        </a:p>
      </dgm:t>
    </dgm:pt>
    <dgm:pt modelId="{3C3DA73F-4E4B-479E-8C5B-E2F6028679D0}" type="parTrans" cxnId="{1083F698-BB85-4B6D-B3F7-48CB58FBE21B}">
      <dgm:prSet/>
      <dgm:spPr/>
      <dgm:t>
        <a:bodyPr/>
        <a:lstStyle/>
        <a:p>
          <a:endParaRPr lang="es-ES"/>
        </a:p>
      </dgm:t>
    </dgm:pt>
    <dgm:pt modelId="{D6152969-4881-4986-A677-8AD4E9F0F7A1}" type="sibTrans" cxnId="{1083F698-BB85-4B6D-B3F7-48CB58FBE21B}">
      <dgm:prSet/>
      <dgm:spPr/>
      <dgm:t>
        <a:bodyPr/>
        <a:lstStyle/>
        <a:p>
          <a:endParaRPr lang="es-ES"/>
        </a:p>
      </dgm:t>
    </dgm:pt>
    <dgm:pt modelId="{A18CF6F1-67F1-42DB-B7DE-845659E05581}">
      <dgm:prSet/>
      <dgm:spPr/>
      <dgm:t>
        <a:bodyPr/>
        <a:lstStyle/>
        <a:p>
          <a:r>
            <a:rPr lang="es-ES" dirty="0"/>
            <a:t>Se busca la eficiencia conjunta: software adaptado al hardware (ya prácticamente nube) y viceversa.</a:t>
          </a:r>
        </a:p>
      </dgm:t>
    </dgm:pt>
    <dgm:pt modelId="{311C23D8-2681-4267-96D3-DD39A891D3E4}" type="parTrans" cxnId="{8061F902-794F-46A5-96BE-52D28199629A}">
      <dgm:prSet/>
      <dgm:spPr/>
      <dgm:t>
        <a:bodyPr/>
        <a:lstStyle/>
        <a:p>
          <a:endParaRPr lang="es-ES"/>
        </a:p>
      </dgm:t>
    </dgm:pt>
    <dgm:pt modelId="{24AFD82C-B7DA-40CB-A2DE-36D7E39617D7}" type="sibTrans" cxnId="{8061F902-794F-46A5-96BE-52D28199629A}">
      <dgm:prSet/>
      <dgm:spPr/>
      <dgm:t>
        <a:bodyPr/>
        <a:lstStyle/>
        <a:p>
          <a:endParaRPr lang="es-ES"/>
        </a:p>
      </dgm:t>
    </dgm:pt>
    <dgm:pt modelId="{C2AF8636-622C-4B93-BA1F-6BC42AFAFEFE}">
      <dgm:prSet/>
      <dgm:spPr/>
      <dgm:t>
        <a:bodyPr/>
        <a:lstStyle/>
        <a:p>
          <a:r>
            <a:rPr lang="es-ES" dirty="0"/>
            <a:t>Servicios y código producido. </a:t>
          </a:r>
        </a:p>
      </dgm:t>
    </dgm:pt>
    <dgm:pt modelId="{E0FDFE6C-402A-4284-AA66-8403B008CDEB}" type="parTrans" cxnId="{B944CB19-E793-44C1-9E0B-D075EEE4A632}">
      <dgm:prSet/>
      <dgm:spPr/>
      <dgm:t>
        <a:bodyPr/>
        <a:lstStyle/>
        <a:p>
          <a:endParaRPr lang="es-ES"/>
        </a:p>
      </dgm:t>
    </dgm:pt>
    <dgm:pt modelId="{B70F3F40-DF6E-4B17-B4D0-88DFAE63D720}" type="sibTrans" cxnId="{B944CB19-E793-44C1-9E0B-D075EEE4A632}">
      <dgm:prSet/>
      <dgm:spPr/>
      <dgm:t>
        <a:bodyPr/>
        <a:lstStyle/>
        <a:p>
          <a:endParaRPr lang="es-ES"/>
        </a:p>
      </dgm:t>
    </dgm:pt>
    <dgm:pt modelId="{F194C935-0991-4C6F-97C9-B0CB607AA431}">
      <dgm:prSet/>
      <dgm:spPr/>
      <dgm:t>
        <a:bodyPr/>
        <a:lstStyle/>
        <a:p>
          <a:r>
            <a:rPr lang="es-ES" dirty="0"/>
            <a:t>En el arranque del proyecto, se determinará el más adecuado en función de los resultados a obtener.</a:t>
          </a:r>
        </a:p>
      </dgm:t>
    </dgm:pt>
    <dgm:pt modelId="{1EB778DC-88FC-4F79-8F91-D0957DD0764B}" type="parTrans" cxnId="{CE869EF5-DECF-410E-A2D9-A9DFC1EA00A5}">
      <dgm:prSet/>
      <dgm:spPr/>
      <dgm:t>
        <a:bodyPr/>
        <a:lstStyle/>
        <a:p>
          <a:endParaRPr lang="es-ES"/>
        </a:p>
      </dgm:t>
    </dgm:pt>
    <dgm:pt modelId="{EFC1A226-95FA-4CD2-9B1D-54C12106D50E}" type="sibTrans" cxnId="{CE869EF5-DECF-410E-A2D9-A9DFC1EA00A5}">
      <dgm:prSet/>
      <dgm:spPr/>
      <dgm:t>
        <a:bodyPr/>
        <a:lstStyle/>
        <a:p>
          <a:endParaRPr lang="es-ES"/>
        </a:p>
      </dgm:t>
    </dgm:pt>
    <dgm:pt modelId="{834EC477-0BD3-4E39-AA73-EC831A20CA2C}" type="pres">
      <dgm:prSet presAssocID="{4DA8E720-CB66-4025-88FC-8CFA6385B7A7}" presName="theList" presStyleCnt="0">
        <dgm:presLayoutVars>
          <dgm:dir/>
          <dgm:animLvl val="lvl"/>
          <dgm:resizeHandles val="exact"/>
        </dgm:presLayoutVars>
      </dgm:prSet>
      <dgm:spPr/>
    </dgm:pt>
    <dgm:pt modelId="{E52AFF7C-7AFA-4D9C-85AC-81161F8A7039}" type="pres">
      <dgm:prSet presAssocID="{5798EF43-FCDD-42A9-9D77-7F52C65F5285}" presName="compNode" presStyleCnt="0"/>
      <dgm:spPr/>
    </dgm:pt>
    <dgm:pt modelId="{CC77F4B1-09A7-444B-9ED1-D41A8D064512}" type="pres">
      <dgm:prSet presAssocID="{5798EF43-FCDD-42A9-9D77-7F52C65F5285}" presName="aNode" presStyleLbl="bgShp" presStyleIdx="0" presStyleCnt="4"/>
      <dgm:spPr/>
    </dgm:pt>
    <dgm:pt modelId="{6A038119-A689-4F53-AEB4-808B7E10108A}" type="pres">
      <dgm:prSet presAssocID="{5798EF43-FCDD-42A9-9D77-7F52C65F5285}" presName="textNode" presStyleLbl="bgShp" presStyleIdx="0" presStyleCnt="4"/>
      <dgm:spPr/>
    </dgm:pt>
    <dgm:pt modelId="{A6CFBF42-29F0-4FF6-9066-1095414621E7}" type="pres">
      <dgm:prSet presAssocID="{5798EF43-FCDD-42A9-9D77-7F52C65F5285}" presName="compChildNode" presStyleCnt="0"/>
      <dgm:spPr/>
    </dgm:pt>
    <dgm:pt modelId="{038E4F2C-6FF6-4A18-A836-9789AC14F7B4}" type="pres">
      <dgm:prSet presAssocID="{5798EF43-FCDD-42A9-9D77-7F52C65F5285}" presName="theInnerList" presStyleCnt="0"/>
      <dgm:spPr/>
    </dgm:pt>
    <dgm:pt modelId="{8C37EC22-6FAB-4828-8E28-24CCF9E793C6}" type="pres">
      <dgm:prSet presAssocID="{A18CF6F1-67F1-42DB-B7DE-845659E05581}" presName="childNode" presStyleLbl="node1" presStyleIdx="0" presStyleCnt="5">
        <dgm:presLayoutVars>
          <dgm:bulletEnabled val="1"/>
        </dgm:presLayoutVars>
      </dgm:prSet>
      <dgm:spPr/>
    </dgm:pt>
    <dgm:pt modelId="{43CFFFD8-1B2C-4FEF-8009-27D2C43BFDF6}" type="pres">
      <dgm:prSet presAssocID="{5798EF43-FCDD-42A9-9D77-7F52C65F5285}" presName="aSpace" presStyleCnt="0"/>
      <dgm:spPr/>
    </dgm:pt>
    <dgm:pt modelId="{84244250-BC35-4962-ADF7-62FB64B1E876}" type="pres">
      <dgm:prSet presAssocID="{26BADA07-8C7E-431B-B71F-B2835C161E94}" presName="compNode" presStyleCnt="0"/>
      <dgm:spPr/>
    </dgm:pt>
    <dgm:pt modelId="{952E3022-1E65-430E-8600-7A40D4FED712}" type="pres">
      <dgm:prSet presAssocID="{26BADA07-8C7E-431B-B71F-B2835C161E94}" presName="aNode" presStyleLbl="bgShp" presStyleIdx="1" presStyleCnt="4"/>
      <dgm:spPr/>
    </dgm:pt>
    <dgm:pt modelId="{03163EA0-BF4B-43DC-A0B8-DF284AFABFF8}" type="pres">
      <dgm:prSet presAssocID="{26BADA07-8C7E-431B-B71F-B2835C161E94}" presName="textNode" presStyleLbl="bgShp" presStyleIdx="1" presStyleCnt="4"/>
      <dgm:spPr/>
    </dgm:pt>
    <dgm:pt modelId="{26B6243C-A1B7-433A-BEC7-61CD07452F89}" type="pres">
      <dgm:prSet presAssocID="{26BADA07-8C7E-431B-B71F-B2835C161E94}" presName="compChildNode" presStyleCnt="0"/>
      <dgm:spPr/>
    </dgm:pt>
    <dgm:pt modelId="{0EE76057-9709-4FBC-B6B7-F4FE077F8A0C}" type="pres">
      <dgm:prSet presAssocID="{26BADA07-8C7E-431B-B71F-B2835C161E94}" presName="theInnerList" presStyleCnt="0"/>
      <dgm:spPr/>
    </dgm:pt>
    <dgm:pt modelId="{E77C5681-62C9-4CDB-8E17-B630D319161B}" type="pres">
      <dgm:prSet presAssocID="{F194C935-0991-4C6F-97C9-B0CB607AA431}" presName="childNode" presStyleLbl="node1" presStyleIdx="1" presStyleCnt="5">
        <dgm:presLayoutVars>
          <dgm:bulletEnabled val="1"/>
        </dgm:presLayoutVars>
      </dgm:prSet>
      <dgm:spPr/>
    </dgm:pt>
    <dgm:pt modelId="{CEE6FEFA-1E0F-4471-9AF2-37A0581C3507}" type="pres">
      <dgm:prSet presAssocID="{26BADA07-8C7E-431B-B71F-B2835C161E94}" presName="aSpace" presStyleCnt="0"/>
      <dgm:spPr/>
    </dgm:pt>
    <dgm:pt modelId="{900246D9-1FC7-4133-A8FA-AC4F5EFF9F8B}" type="pres">
      <dgm:prSet presAssocID="{C2AF8636-622C-4B93-BA1F-6BC42AFAFEFE}" presName="compNode" presStyleCnt="0"/>
      <dgm:spPr/>
    </dgm:pt>
    <dgm:pt modelId="{2605C579-BE86-45CD-9775-97179FC45052}" type="pres">
      <dgm:prSet presAssocID="{C2AF8636-622C-4B93-BA1F-6BC42AFAFEFE}" presName="aNode" presStyleLbl="bgShp" presStyleIdx="2" presStyleCnt="4"/>
      <dgm:spPr/>
    </dgm:pt>
    <dgm:pt modelId="{949A34A1-3C01-484C-9759-017D9E007E2E}" type="pres">
      <dgm:prSet presAssocID="{C2AF8636-622C-4B93-BA1F-6BC42AFAFEFE}" presName="textNode" presStyleLbl="bgShp" presStyleIdx="2" presStyleCnt="4"/>
      <dgm:spPr/>
    </dgm:pt>
    <dgm:pt modelId="{7BB814BD-726D-4819-BD3B-3A50F4989365}" type="pres">
      <dgm:prSet presAssocID="{C2AF8636-622C-4B93-BA1F-6BC42AFAFEFE}" presName="compChildNode" presStyleCnt="0"/>
      <dgm:spPr/>
    </dgm:pt>
    <dgm:pt modelId="{0E9431E8-CC3A-42CB-900F-2BD9D2598129}" type="pres">
      <dgm:prSet presAssocID="{C2AF8636-622C-4B93-BA1F-6BC42AFAFEFE}" presName="theInnerList" presStyleCnt="0"/>
      <dgm:spPr/>
    </dgm:pt>
    <dgm:pt modelId="{82306B64-538E-45BB-AAA7-B1F36CEAC248}" type="pres">
      <dgm:prSet presAssocID="{B13A9565-BD59-4264-ACD6-AEAA7F2940F2}" presName="childNode" presStyleLbl="node1" presStyleIdx="2" presStyleCnt="5">
        <dgm:presLayoutVars>
          <dgm:bulletEnabled val="1"/>
        </dgm:presLayoutVars>
      </dgm:prSet>
      <dgm:spPr/>
    </dgm:pt>
    <dgm:pt modelId="{51BBF407-8723-423F-85C9-05A299FBCE55}" type="pres">
      <dgm:prSet presAssocID="{C2AF8636-622C-4B93-BA1F-6BC42AFAFEFE}" presName="aSpace" presStyleCnt="0"/>
      <dgm:spPr/>
    </dgm:pt>
    <dgm:pt modelId="{0A600A4D-4CA6-4349-93D9-7D6711D2AA30}" type="pres">
      <dgm:prSet presAssocID="{0C35D941-E3B7-4523-B269-0D56E5F15237}" presName="compNode" presStyleCnt="0"/>
      <dgm:spPr/>
    </dgm:pt>
    <dgm:pt modelId="{AAA34052-DF97-4C58-BF4B-709AB965FCDC}" type="pres">
      <dgm:prSet presAssocID="{0C35D941-E3B7-4523-B269-0D56E5F15237}" presName="aNode" presStyleLbl="bgShp" presStyleIdx="3" presStyleCnt="4"/>
      <dgm:spPr/>
    </dgm:pt>
    <dgm:pt modelId="{F392BAF0-2370-468F-AD1A-66F6AF3579A0}" type="pres">
      <dgm:prSet presAssocID="{0C35D941-E3B7-4523-B269-0D56E5F15237}" presName="textNode" presStyleLbl="bgShp" presStyleIdx="3" presStyleCnt="4"/>
      <dgm:spPr/>
    </dgm:pt>
    <dgm:pt modelId="{864DC920-9BF1-4D93-AE6F-BDEAE9DB14DB}" type="pres">
      <dgm:prSet presAssocID="{0C35D941-E3B7-4523-B269-0D56E5F15237}" presName="compChildNode" presStyleCnt="0"/>
      <dgm:spPr/>
    </dgm:pt>
    <dgm:pt modelId="{34EC7AAE-709A-45BB-9DBA-6192520CE43B}" type="pres">
      <dgm:prSet presAssocID="{0C35D941-E3B7-4523-B269-0D56E5F15237}" presName="theInnerList" presStyleCnt="0"/>
      <dgm:spPr/>
    </dgm:pt>
    <dgm:pt modelId="{BACF342E-DE76-4DE9-BBE6-9AE1D9643F99}" type="pres">
      <dgm:prSet presAssocID="{82BCDDF4-ABBA-4DE1-BB0C-4F465F3D4580}" presName="childNode" presStyleLbl="node1" presStyleIdx="3" presStyleCnt="5">
        <dgm:presLayoutVars>
          <dgm:bulletEnabled val="1"/>
        </dgm:presLayoutVars>
      </dgm:prSet>
      <dgm:spPr/>
    </dgm:pt>
    <dgm:pt modelId="{D7220576-1AC3-4127-B080-66C2AD59BE7D}" type="pres">
      <dgm:prSet presAssocID="{82BCDDF4-ABBA-4DE1-BB0C-4F465F3D4580}" presName="aSpace2" presStyleCnt="0"/>
      <dgm:spPr/>
    </dgm:pt>
    <dgm:pt modelId="{DC6CC484-58A6-48C0-8EFD-72934A939993}" type="pres">
      <dgm:prSet presAssocID="{C3E78101-F6D4-481E-AEF2-F5EB93FAF14A}" presName="childNode" presStyleLbl="node1" presStyleIdx="4" presStyleCnt="5">
        <dgm:presLayoutVars>
          <dgm:bulletEnabled val="1"/>
        </dgm:presLayoutVars>
      </dgm:prSet>
      <dgm:spPr/>
    </dgm:pt>
  </dgm:ptLst>
  <dgm:cxnLst>
    <dgm:cxn modelId="{8061F902-794F-46A5-96BE-52D28199629A}" srcId="{5798EF43-FCDD-42A9-9D77-7F52C65F5285}" destId="{A18CF6F1-67F1-42DB-B7DE-845659E05581}" srcOrd="0" destOrd="0" parTransId="{311C23D8-2681-4267-96D3-DD39A891D3E4}" sibTransId="{24AFD82C-B7DA-40CB-A2DE-36D7E39617D7}"/>
    <dgm:cxn modelId="{E8079E09-317F-454B-BC5E-24681677A1C5}" type="presOf" srcId="{26BADA07-8C7E-431B-B71F-B2835C161E94}" destId="{03163EA0-BF4B-43DC-A0B8-DF284AFABFF8}" srcOrd="1" destOrd="0" presId="urn:microsoft.com/office/officeart/2005/8/layout/lProcess2"/>
    <dgm:cxn modelId="{DD9AC50C-6A1F-46D8-96C2-31DB9B6E9BE5}" type="presOf" srcId="{4DA8E720-CB66-4025-88FC-8CFA6385B7A7}" destId="{834EC477-0BD3-4E39-AA73-EC831A20CA2C}" srcOrd="0" destOrd="0" presId="urn:microsoft.com/office/officeart/2005/8/layout/lProcess2"/>
    <dgm:cxn modelId="{8F26CE0F-4189-4642-AE25-6B9B914A99AB}" srcId="{4DA8E720-CB66-4025-88FC-8CFA6385B7A7}" destId="{26BADA07-8C7E-431B-B71F-B2835C161E94}" srcOrd="1" destOrd="0" parTransId="{4E4BE5A7-971F-46B5-9BA7-2117144E8D6A}" sibTransId="{55C1E0FF-813A-40AE-A68F-8F4CC8EBEADC}"/>
    <dgm:cxn modelId="{B944CB19-E793-44C1-9E0B-D075EEE4A632}" srcId="{4DA8E720-CB66-4025-88FC-8CFA6385B7A7}" destId="{C2AF8636-622C-4B93-BA1F-6BC42AFAFEFE}" srcOrd="2" destOrd="0" parTransId="{E0FDFE6C-402A-4284-AA66-8403B008CDEB}" sibTransId="{B70F3F40-DF6E-4B17-B4D0-88DFAE63D720}"/>
    <dgm:cxn modelId="{CEED0627-D374-47D5-ABC1-B146BED6ABEF}" type="presOf" srcId="{5798EF43-FCDD-42A9-9D77-7F52C65F5285}" destId="{CC77F4B1-09A7-444B-9ED1-D41A8D064512}" srcOrd="0" destOrd="0" presId="urn:microsoft.com/office/officeart/2005/8/layout/lProcess2"/>
    <dgm:cxn modelId="{45389570-D6FB-4534-9ED7-8F64B84E42A8}" type="presOf" srcId="{C3E78101-F6D4-481E-AEF2-F5EB93FAF14A}" destId="{DC6CC484-58A6-48C0-8EFD-72934A939993}" srcOrd="0" destOrd="0" presId="urn:microsoft.com/office/officeart/2005/8/layout/lProcess2"/>
    <dgm:cxn modelId="{33C43E72-1D1A-42A5-A0E9-8A15E4C69839}" type="presOf" srcId="{82BCDDF4-ABBA-4DE1-BB0C-4F465F3D4580}" destId="{BACF342E-DE76-4DE9-BBE6-9AE1D9643F99}" srcOrd="0" destOrd="0" presId="urn:microsoft.com/office/officeart/2005/8/layout/lProcess2"/>
    <dgm:cxn modelId="{16351456-89E8-4E01-8593-F93A899E041E}" srcId="{4DA8E720-CB66-4025-88FC-8CFA6385B7A7}" destId="{0C35D941-E3B7-4523-B269-0D56E5F15237}" srcOrd="3" destOrd="0" parTransId="{F4C383FC-98D6-4ED4-B54A-F174501E32DF}" sibTransId="{8BFFCE4B-8874-4F9E-82A9-8723BAE430B1}"/>
    <dgm:cxn modelId="{1AF1C678-402F-4970-A7C8-B6B5AF5FD440}" srcId="{0C35D941-E3B7-4523-B269-0D56E5F15237}" destId="{82BCDDF4-ABBA-4DE1-BB0C-4F465F3D4580}" srcOrd="0" destOrd="0" parTransId="{D2D86A37-B828-4683-8085-5EAEA2A0F9E6}" sibTransId="{D9984DD6-BC2E-463A-BC3C-925605D0E527}"/>
    <dgm:cxn modelId="{5CCAB285-F1AF-4503-A0BF-5141687D543A}" type="presOf" srcId="{26BADA07-8C7E-431B-B71F-B2835C161E94}" destId="{952E3022-1E65-430E-8600-7A40D4FED712}" srcOrd="0" destOrd="0" presId="urn:microsoft.com/office/officeart/2005/8/layout/lProcess2"/>
    <dgm:cxn modelId="{AE908389-7388-4B07-A7AC-A0D7F7C92239}" type="presOf" srcId="{0C35D941-E3B7-4523-B269-0D56E5F15237}" destId="{F392BAF0-2370-468F-AD1A-66F6AF3579A0}" srcOrd="1" destOrd="0" presId="urn:microsoft.com/office/officeart/2005/8/layout/lProcess2"/>
    <dgm:cxn modelId="{E3A0928F-FA9A-4259-A978-A48D9FCB1581}" type="presOf" srcId="{A18CF6F1-67F1-42DB-B7DE-845659E05581}" destId="{8C37EC22-6FAB-4828-8E28-24CCF9E793C6}" srcOrd="0" destOrd="0" presId="urn:microsoft.com/office/officeart/2005/8/layout/lProcess2"/>
    <dgm:cxn modelId="{64E48196-6C52-4BF7-BE3F-CFF48357DA73}" type="presOf" srcId="{F194C935-0991-4C6F-97C9-B0CB607AA431}" destId="{E77C5681-62C9-4CDB-8E17-B630D319161B}" srcOrd="0" destOrd="0" presId="urn:microsoft.com/office/officeart/2005/8/layout/lProcess2"/>
    <dgm:cxn modelId="{1083F698-BB85-4B6D-B3F7-48CB58FBE21B}" srcId="{4DA8E720-CB66-4025-88FC-8CFA6385B7A7}" destId="{5798EF43-FCDD-42A9-9D77-7F52C65F5285}" srcOrd="0" destOrd="0" parTransId="{3C3DA73F-4E4B-479E-8C5B-E2F6028679D0}" sibTransId="{D6152969-4881-4986-A677-8AD4E9F0F7A1}"/>
    <dgm:cxn modelId="{E7ED2EAD-7D88-4108-AB03-D22FD8E951E6}" type="presOf" srcId="{C2AF8636-622C-4B93-BA1F-6BC42AFAFEFE}" destId="{2605C579-BE86-45CD-9775-97179FC45052}" srcOrd="0" destOrd="0" presId="urn:microsoft.com/office/officeart/2005/8/layout/lProcess2"/>
    <dgm:cxn modelId="{110AE5BF-CF91-4885-AC17-5BFAFB5C7FEE}" type="presOf" srcId="{5798EF43-FCDD-42A9-9D77-7F52C65F5285}" destId="{6A038119-A689-4F53-AEB4-808B7E10108A}" srcOrd="1" destOrd="0" presId="urn:microsoft.com/office/officeart/2005/8/layout/lProcess2"/>
    <dgm:cxn modelId="{258CF6C3-0FC4-40F0-B5C0-D4972E94D39E}" srcId="{C2AF8636-622C-4B93-BA1F-6BC42AFAFEFE}" destId="{B13A9565-BD59-4264-ACD6-AEAA7F2940F2}" srcOrd="0" destOrd="0" parTransId="{05D6B960-6E7C-43BE-8F0F-B79BEF87F7BF}" sibTransId="{BB5E844E-879D-4012-B344-D06AE74FCFC3}"/>
    <dgm:cxn modelId="{46F7ECE8-4D3B-4C3E-86B6-8569895C931B}" type="presOf" srcId="{0C35D941-E3B7-4523-B269-0D56E5F15237}" destId="{AAA34052-DF97-4C58-BF4B-709AB965FCDC}" srcOrd="0" destOrd="0" presId="urn:microsoft.com/office/officeart/2005/8/layout/lProcess2"/>
    <dgm:cxn modelId="{78167BEC-6188-435A-B7D4-1E35DCFB4DE8}" srcId="{0C35D941-E3B7-4523-B269-0D56E5F15237}" destId="{C3E78101-F6D4-481E-AEF2-F5EB93FAF14A}" srcOrd="1" destOrd="0" parTransId="{D92B336D-0948-49A8-95B8-2F13A5B9DD30}" sibTransId="{C9EF74A0-FAB9-4F8F-9ED1-CDA5BF7B380F}"/>
    <dgm:cxn modelId="{F9C9C4F2-EA8D-4D5C-BA71-A0C4A4E031A0}" type="presOf" srcId="{C2AF8636-622C-4B93-BA1F-6BC42AFAFEFE}" destId="{949A34A1-3C01-484C-9759-017D9E007E2E}" srcOrd="1" destOrd="0" presId="urn:microsoft.com/office/officeart/2005/8/layout/lProcess2"/>
    <dgm:cxn modelId="{CE869EF5-DECF-410E-A2D9-A9DFC1EA00A5}" srcId="{26BADA07-8C7E-431B-B71F-B2835C161E94}" destId="{F194C935-0991-4C6F-97C9-B0CB607AA431}" srcOrd="0" destOrd="0" parTransId="{1EB778DC-88FC-4F79-8F91-D0957DD0764B}" sibTransId="{EFC1A226-95FA-4CD2-9B1D-54C12106D50E}"/>
    <dgm:cxn modelId="{3D1BB9FE-B1B5-4095-B3FB-100A9FC93D81}" type="presOf" srcId="{B13A9565-BD59-4264-ACD6-AEAA7F2940F2}" destId="{82306B64-538E-45BB-AAA7-B1F36CEAC248}" srcOrd="0" destOrd="0" presId="urn:microsoft.com/office/officeart/2005/8/layout/lProcess2"/>
    <dgm:cxn modelId="{F23A4841-B87D-4A92-95D1-7BF9681B1E05}" type="presParOf" srcId="{834EC477-0BD3-4E39-AA73-EC831A20CA2C}" destId="{E52AFF7C-7AFA-4D9C-85AC-81161F8A7039}" srcOrd="0" destOrd="0" presId="urn:microsoft.com/office/officeart/2005/8/layout/lProcess2"/>
    <dgm:cxn modelId="{D3C24439-BAB0-4051-BB6E-466739919529}" type="presParOf" srcId="{E52AFF7C-7AFA-4D9C-85AC-81161F8A7039}" destId="{CC77F4B1-09A7-444B-9ED1-D41A8D064512}" srcOrd="0" destOrd="0" presId="urn:microsoft.com/office/officeart/2005/8/layout/lProcess2"/>
    <dgm:cxn modelId="{49A87FD7-5FD5-4F94-ACD7-B5CA590FC977}" type="presParOf" srcId="{E52AFF7C-7AFA-4D9C-85AC-81161F8A7039}" destId="{6A038119-A689-4F53-AEB4-808B7E10108A}" srcOrd="1" destOrd="0" presId="urn:microsoft.com/office/officeart/2005/8/layout/lProcess2"/>
    <dgm:cxn modelId="{E3CDF833-212A-428A-B8E8-699C02E9B284}" type="presParOf" srcId="{E52AFF7C-7AFA-4D9C-85AC-81161F8A7039}" destId="{A6CFBF42-29F0-4FF6-9066-1095414621E7}" srcOrd="2" destOrd="0" presId="urn:microsoft.com/office/officeart/2005/8/layout/lProcess2"/>
    <dgm:cxn modelId="{94C70383-0955-42C4-BCDA-5DFB591D4390}" type="presParOf" srcId="{A6CFBF42-29F0-4FF6-9066-1095414621E7}" destId="{038E4F2C-6FF6-4A18-A836-9789AC14F7B4}" srcOrd="0" destOrd="0" presId="urn:microsoft.com/office/officeart/2005/8/layout/lProcess2"/>
    <dgm:cxn modelId="{74AD4568-5C14-4B57-ABC5-BD04FC580173}" type="presParOf" srcId="{038E4F2C-6FF6-4A18-A836-9789AC14F7B4}" destId="{8C37EC22-6FAB-4828-8E28-24CCF9E793C6}" srcOrd="0" destOrd="0" presId="urn:microsoft.com/office/officeart/2005/8/layout/lProcess2"/>
    <dgm:cxn modelId="{4623D1B9-07A6-4478-A97A-94D52082AE49}" type="presParOf" srcId="{834EC477-0BD3-4E39-AA73-EC831A20CA2C}" destId="{43CFFFD8-1B2C-4FEF-8009-27D2C43BFDF6}" srcOrd="1" destOrd="0" presId="urn:microsoft.com/office/officeart/2005/8/layout/lProcess2"/>
    <dgm:cxn modelId="{B749DE56-9DB1-4D7F-9B7C-683C17B25E1C}" type="presParOf" srcId="{834EC477-0BD3-4E39-AA73-EC831A20CA2C}" destId="{84244250-BC35-4962-ADF7-62FB64B1E876}" srcOrd="2" destOrd="0" presId="urn:microsoft.com/office/officeart/2005/8/layout/lProcess2"/>
    <dgm:cxn modelId="{AC01F0EB-6A8F-4A0C-ACD4-4019B71F151D}" type="presParOf" srcId="{84244250-BC35-4962-ADF7-62FB64B1E876}" destId="{952E3022-1E65-430E-8600-7A40D4FED712}" srcOrd="0" destOrd="0" presId="urn:microsoft.com/office/officeart/2005/8/layout/lProcess2"/>
    <dgm:cxn modelId="{69D92724-1588-49AC-88BE-06CC1D1B467F}" type="presParOf" srcId="{84244250-BC35-4962-ADF7-62FB64B1E876}" destId="{03163EA0-BF4B-43DC-A0B8-DF284AFABFF8}" srcOrd="1" destOrd="0" presId="urn:microsoft.com/office/officeart/2005/8/layout/lProcess2"/>
    <dgm:cxn modelId="{1932D396-99DC-4E16-B889-AF077A5D3A04}" type="presParOf" srcId="{84244250-BC35-4962-ADF7-62FB64B1E876}" destId="{26B6243C-A1B7-433A-BEC7-61CD07452F89}" srcOrd="2" destOrd="0" presId="urn:microsoft.com/office/officeart/2005/8/layout/lProcess2"/>
    <dgm:cxn modelId="{19CBBCE3-3582-47D4-89A1-C27E0065F808}" type="presParOf" srcId="{26B6243C-A1B7-433A-BEC7-61CD07452F89}" destId="{0EE76057-9709-4FBC-B6B7-F4FE077F8A0C}" srcOrd="0" destOrd="0" presId="urn:microsoft.com/office/officeart/2005/8/layout/lProcess2"/>
    <dgm:cxn modelId="{E131E80E-A4DC-44A7-AA85-3AED4C7EFCB6}" type="presParOf" srcId="{0EE76057-9709-4FBC-B6B7-F4FE077F8A0C}" destId="{E77C5681-62C9-4CDB-8E17-B630D319161B}" srcOrd="0" destOrd="0" presId="urn:microsoft.com/office/officeart/2005/8/layout/lProcess2"/>
    <dgm:cxn modelId="{23FAE8F3-ED4C-4A44-ACFD-21C1A6491F1A}" type="presParOf" srcId="{834EC477-0BD3-4E39-AA73-EC831A20CA2C}" destId="{CEE6FEFA-1E0F-4471-9AF2-37A0581C3507}" srcOrd="3" destOrd="0" presId="urn:microsoft.com/office/officeart/2005/8/layout/lProcess2"/>
    <dgm:cxn modelId="{7BBC152F-6341-4FCE-B211-CB5633F6F3BC}" type="presParOf" srcId="{834EC477-0BD3-4E39-AA73-EC831A20CA2C}" destId="{900246D9-1FC7-4133-A8FA-AC4F5EFF9F8B}" srcOrd="4" destOrd="0" presId="urn:microsoft.com/office/officeart/2005/8/layout/lProcess2"/>
    <dgm:cxn modelId="{3F45F7B8-6ACB-4246-AC04-67BAC8372BE1}" type="presParOf" srcId="{900246D9-1FC7-4133-A8FA-AC4F5EFF9F8B}" destId="{2605C579-BE86-45CD-9775-97179FC45052}" srcOrd="0" destOrd="0" presId="urn:microsoft.com/office/officeart/2005/8/layout/lProcess2"/>
    <dgm:cxn modelId="{40D00E6F-D40D-4C9B-B4D1-11F2369F5E8F}" type="presParOf" srcId="{900246D9-1FC7-4133-A8FA-AC4F5EFF9F8B}" destId="{949A34A1-3C01-484C-9759-017D9E007E2E}" srcOrd="1" destOrd="0" presId="urn:microsoft.com/office/officeart/2005/8/layout/lProcess2"/>
    <dgm:cxn modelId="{C8E70CB8-F490-4454-9CE3-E355A1268260}" type="presParOf" srcId="{900246D9-1FC7-4133-A8FA-AC4F5EFF9F8B}" destId="{7BB814BD-726D-4819-BD3B-3A50F4989365}" srcOrd="2" destOrd="0" presId="urn:microsoft.com/office/officeart/2005/8/layout/lProcess2"/>
    <dgm:cxn modelId="{C13D3954-6FD4-4C69-AA54-7F24F5E0603B}" type="presParOf" srcId="{7BB814BD-726D-4819-BD3B-3A50F4989365}" destId="{0E9431E8-CC3A-42CB-900F-2BD9D2598129}" srcOrd="0" destOrd="0" presId="urn:microsoft.com/office/officeart/2005/8/layout/lProcess2"/>
    <dgm:cxn modelId="{64D7DDA4-8DF0-4F3A-8675-9FCE595C269E}" type="presParOf" srcId="{0E9431E8-CC3A-42CB-900F-2BD9D2598129}" destId="{82306B64-538E-45BB-AAA7-B1F36CEAC248}" srcOrd="0" destOrd="0" presId="urn:microsoft.com/office/officeart/2005/8/layout/lProcess2"/>
    <dgm:cxn modelId="{C2B867FF-1B06-412E-8910-EFB72C42BA5A}" type="presParOf" srcId="{834EC477-0BD3-4E39-AA73-EC831A20CA2C}" destId="{51BBF407-8723-423F-85C9-05A299FBCE55}" srcOrd="5" destOrd="0" presId="urn:microsoft.com/office/officeart/2005/8/layout/lProcess2"/>
    <dgm:cxn modelId="{C9F72BC8-29EB-485E-B7D5-3248FAFDF087}" type="presParOf" srcId="{834EC477-0BD3-4E39-AA73-EC831A20CA2C}" destId="{0A600A4D-4CA6-4349-93D9-7D6711D2AA30}" srcOrd="6" destOrd="0" presId="urn:microsoft.com/office/officeart/2005/8/layout/lProcess2"/>
    <dgm:cxn modelId="{DF0E22CD-6BE0-4DE7-BF76-4DA7DE35C48F}" type="presParOf" srcId="{0A600A4D-4CA6-4349-93D9-7D6711D2AA30}" destId="{AAA34052-DF97-4C58-BF4B-709AB965FCDC}" srcOrd="0" destOrd="0" presId="urn:microsoft.com/office/officeart/2005/8/layout/lProcess2"/>
    <dgm:cxn modelId="{2048B529-3C2C-450F-92EF-5A8212107043}" type="presParOf" srcId="{0A600A4D-4CA6-4349-93D9-7D6711D2AA30}" destId="{F392BAF0-2370-468F-AD1A-66F6AF3579A0}" srcOrd="1" destOrd="0" presId="urn:microsoft.com/office/officeart/2005/8/layout/lProcess2"/>
    <dgm:cxn modelId="{A11870CF-1F84-45B8-BA2E-6C0F5B237E9D}" type="presParOf" srcId="{0A600A4D-4CA6-4349-93D9-7D6711D2AA30}" destId="{864DC920-9BF1-4D93-AE6F-BDEAE9DB14DB}" srcOrd="2" destOrd="0" presId="urn:microsoft.com/office/officeart/2005/8/layout/lProcess2"/>
    <dgm:cxn modelId="{3700FEB8-5AB4-445F-87F9-0D6D38061C18}" type="presParOf" srcId="{864DC920-9BF1-4D93-AE6F-BDEAE9DB14DB}" destId="{34EC7AAE-709A-45BB-9DBA-6192520CE43B}" srcOrd="0" destOrd="0" presId="urn:microsoft.com/office/officeart/2005/8/layout/lProcess2"/>
    <dgm:cxn modelId="{77E985C4-8B71-49BF-B477-C435C2B59C84}" type="presParOf" srcId="{34EC7AAE-709A-45BB-9DBA-6192520CE43B}" destId="{BACF342E-DE76-4DE9-BBE6-9AE1D9643F99}" srcOrd="0" destOrd="0" presId="urn:microsoft.com/office/officeart/2005/8/layout/lProcess2"/>
    <dgm:cxn modelId="{76BFF81E-9E75-4D24-BB02-A774F0EB2C3C}" type="presParOf" srcId="{34EC7AAE-709A-45BB-9DBA-6192520CE43B}" destId="{D7220576-1AC3-4127-B080-66C2AD59BE7D}" srcOrd="1" destOrd="0" presId="urn:microsoft.com/office/officeart/2005/8/layout/lProcess2"/>
    <dgm:cxn modelId="{F85180F3-2818-42B6-93A6-3C774ECD60C6}" type="presParOf" srcId="{34EC7AAE-709A-45BB-9DBA-6192520CE43B}" destId="{DC6CC484-58A6-48C0-8EFD-72934A939993}"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1.xml><?xml version="1.0" encoding="utf-8"?>
<dgm:dataModel xmlns:dgm="http://schemas.openxmlformats.org/drawingml/2006/diagram" xmlns:a="http://schemas.openxmlformats.org/drawingml/2006/main">
  <dgm:ptLst>
    <dgm:pt modelId="{558413DD-89D0-4599-9E78-E95F066075C6}" type="doc">
      <dgm:prSet loTypeId="urn:microsoft.com/office/officeart/2005/8/layout/vProcess5" loCatId="process" qsTypeId="urn:microsoft.com/office/officeart/2005/8/quickstyle/simple1" qsCatId="simple" csTypeId="urn:microsoft.com/office/officeart/2005/8/colors/accent1_4" csCatId="accent1" phldr="1"/>
      <dgm:spPr/>
      <dgm:t>
        <a:bodyPr/>
        <a:lstStyle/>
        <a:p>
          <a:endParaRPr lang="es-ES"/>
        </a:p>
      </dgm:t>
    </dgm:pt>
    <dgm:pt modelId="{EAC4C140-1754-4CF3-A837-90DC382BB304}">
      <dgm:prSet phldrT="[Texto]"/>
      <dgm:spPr/>
      <dgm:t>
        <a:bodyPr/>
        <a:lstStyle/>
        <a:p>
          <a:r>
            <a:rPr lang="es-ES" dirty="0"/>
            <a:t>Partiendo del Product Backlog (expresión escrita de lo que se quiere hacer).</a:t>
          </a:r>
        </a:p>
      </dgm:t>
    </dgm:pt>
    <dgm:pt modelId="{B0ED0A76-4A88-4291-9AE5-48842EEBBDFB}" type="parTrans" cxnId="{9D598A07-00D6-488D-859D-2962FCFE42F4}">
      <dgm:prSet/>
      <dgm:spPr/>
      <dgm:t>
        <a:bodyPr/>
        <a:lstStyle/>
        <a:p>
          <a:endParaRPr lang="es-ES"/>
        </a:p>
      </dgm:t>
    </dgm:pt>
    <dgm:pt modelId="{05747E98-B99E-48AB-8647-3D7C267ADAC5}" type="sibTrans" cxnId="{9D598A07-00D6-488D-859D-2962FCFE42F4}">
      <dgm:prSet/>
      <dgm:spPr/>
      <dgm:t>
        <a:bodyPr/>
        <a:lstStyle/>
        <a:p>
          <a:endParaRPr lang="es-ES" dirty="0"/>
        </a:p>
      </dgm:t>
    </dgm:pt>
    <dgm:pt modelId="{4573D41F-E3A1-4F57-95BD-AC06B98BFEF2}">
      <dgm:prSet/>
      <dgm:spPr/>
      <dgm:t>
        <a:bodyPr/>
        <a:lstStyle/>
        <a:p>
          <a:r>
            <a:rPr lang="es-ES" dirty="0"/>
            <a:t>Definir profundamente la metodología.</a:t>
          </a:r>
        </a:p>
      </dgm:t>
    </dgm:pt>
    <dgm:pt modelId="{5AAD451C-374D-4507-A932-537C37D0C87E}" type="parTrans" cxnId="{DBB0B31C-3848-44B1-972A-8217668D53B6}">
      <dgm:prSet/>
      <dgm:spPr/>
      <dgm:t>
        <a:bodyPr/>
        <a:lstStyle/>
        <a:p>
          <a:endParaRPr lang="es-ES"/>
        </a:p>
      </dgm:t>
    </dgm:pt>
    <dgm:pt modelId="{D7E01EDA-1359-4428-98B6-A6C3012FFD5A}" type="sibTrans" cxnId="{DBB0B31C-3848-44B1-972A-8217668D53B6}">
      <dgm:prSet/>
      <dgm:spPr/>
      <dgm:t>
        <a:bodyPr/>
        <a:lstStyle/>
        <a:p>
          <a:endParaRPr lang="es-ES" dirty="0"/>
        </a:p>
      </dgm:t>
    </dgm:pt>
    <dgm:pt modelId="{D7866932-E1E3-4CD2-B7D4-4E9A1DFE1EBB}">
      <dgm:prSet/>
      <dgm:spPr/>
      <dgm:t>
        <a:bodyPr/>
        <a:lstStyle/>
        <a:p>
          <a:r>
            <a:rPr lang="es-ES" dirty="0"/>
            <a:t>Construir código sostenible conforme a la metodología definida.</a:t>
          </a:r>
        </a:p>
      </dgm:t>
    </dgm:pt>
    <dgm:pt modelId="{F412165C-BA9D-4B54-916A-87C206705482}" type="parTrans" cxnId="{4365F962-57FC-4C2E-B284-D1B2C8ED78A4}">
      <dgm:prSet/>
      <dgm:spPr/>
      <dgm:t>
        <a:bodyPr/>
        <a:lstStyle/>
        <a:p>
          <a:endParaRPr lang="es-ES"/>
        </a:p>
      </dgm:t>
    </dgm:pt>
    <dgm:pt modelId="{ACB0EE50-38D9-4EB2-AA93-F6FBFD35B600}" type="sibTrans" cxnId="{4365F962-57FC-4C2E-B284-D1B2C8ED78A4}">
      <dgm:prSet/>
      <dgm:spPr/>
      <dgm:t>
        <a:bodyPr/>
        <a:lstStyle/>
        <a:p>
          <a:endParaRPr lang="es-ES" dirty="0"/>
        </a:p>
      </dgm:t>
    </dgm:pt>
    <dgm:pt modelId="{AFC90E76-C046-4218-B2A8-EF074D9B855C}">
      <dgm:prSet/>
      <dgm:spPr/>
      <dgm:t>
        <a:bodyPr/>
        <a:lstStyle/>
        <a:p>
          <a:r>
            <a:rPr lang="es-ES" dirty="0"/>
            <a:t>Validación de la sostenibilidad del código producido.</a:t>
          </a:r>
        </a:p>
      </dgm:t>
    </dgm:pt>
    <dgm:pt modelId="{47F336EA-D76E-4712-B493-B66AEBEA7648}" type="parTrans" cxnId="{D340FCF8-D8F7-4853-905B-ADCBD242313C}">
      <dgm:prSet/>
      <dgm:spPr/>
      <dgm:t>
        <a:bodyPr/>
        <a:lstStyle/>
        <a:p>
          <a:endParaRPr lang="es-ES"/>
        </a:p>
      </dgm:t>
    </dgm:pt>
    <dgm:pt modelId="{B95518C1-70ED-4D95-947E-5D0472E97DF6}" type="sibTrans" cxnId="{D340FCF8-D8F7-4853-905B-ADCBD242313C}">
      <dgm:prSet/>
      <dgm:spPr/>
      <dgm:t>
        <a:bodyPr/>
        <a:lstStyle/>
        <a:p>
          <a:endParaRPr lang="es-ES" dirty="0"/>
        </a:p>
      </dgm:t>
    </dgm:pt>
    <dgm:pt modelId="{F6C19939-204D-4CEA-9049-916B244FF5B9}">
      <dgm:prSet/>
      <dgm:spPr/>
      <dgm:t>
        <a:bodyPr/>
        <a:lstStyle/>
        <a:p>
          <a:r>
            <a:rPr lang="es-ES" dirty="0"/>
            <a:t>Roll out en nube para servicio SaaS</a:t>
          </a:r>
        </a:p>
      </dgm:t>
    </dgm:pt>
    <dgm:pt modelId="{A45D40AF-B1A4-4EBC-80B1-B6A16E2FF708}" type="parTrans" cxnId="{E0D766B8-6D97-43ED-BD56-7833AE4985D2}">
      <dgm:prSet/>
      <dgm:spPr/>
      <dgm:t>
        <a:bodyPr/>
        <a:lstStyle/>
        <a:p>
          <a:endParaRPr lang="es-ES"/>
        </a:p>
      </dgm:t>
    </dgm:pt>
    <dgm:pt modelId="{F3B7BC06-004B-4129-8C15-8636A3A7E58A}" type="sibTrans" cxnId="{E0D766B8-6D97-43ED-BD56-7833AE4985D2}">
      <dgm:prSet/>
      <dgm:spPr/>
      <dgm:t>
        <a:bodyPr/>
        <a:lstStyle/>
        <a:p>
          <a:endParaRPr lang="es-ES"/>
        </a:p>
      </dgm:t>
    </dgm:pt>
    <dgm:pt modelId="{BC63B925-0DA6-4D06-8DC8-FD28F85E8BF4}" type="pres">
      <dgm:prSet presAssocID="{558413DD-89D0-4599-9E78-E95F066075C6}" presName="outerComposite" presStyleCnt="0">
        <dgm:presLayoutVars>
          <dgm:chMax val="5"/>
          <dgm:dir/>
          <dgm:resizeHandles val="exact"/>
        </dgm:presLayoutVars>
      </dgm:prSet>
      <dgm:spPr/>
    </dgm:pt>
    <dgm:pt modelId="{3B278BA6-BA78-460C-8D86-9F1EE9CF1EC7}" type="pres">
      <dgm:prSet presAssocID="{558413DD-89D0-4599-9E78-E95F066075C6}" presName="dummyMaxCanvas" presStyleCnt="0">
        <dgm:presLayoutVars/>
      </dgm:prSet>
      <dgm:spPr/>
    </dgm:pt>
    <dgm:pt modelId="{2A10E39A-5EDC-4F82-A382-9DBD1131F095}" type="pres">
      <dgm:prSet presAssocID="{558413DD-89D0-4599-9E78-E95F066075C6}" presName="FiveNodes_1" presStyleLbl="node1" presStyleIdx="0" presStyleCnt="5">
        <dgm:presLayoutVars>
          <dgm:bulletEnabled val="1"/>
        </dgm:presLayoutVars>
      </dgm:prSet>
      <dgm:spPr/>
    </dgm:pt>
    <dgm:pt modelId="{673475BD-CBE7-46FC-B1D6-9ACCC255ADFD}" type="pres">
      <dgm:prSet presAssocID="{558413DD-89D0-4599-9E78-E95F066075C6}" presName="FiveNodes_2" presStyleLbl="node1" presStyleIdx="1" presStyleCnt="5">
        <dgm:presLayoutVars>
          <dgm:bulletEnabled val="1"/>
        </dgm:presLayoutVars>
      </dgm:prSet>
      <dgm:spPr/>
    </dgm:pt>
    <dgm:pt modelId="{7AC00B09-3B1B-4317-AF53-DB2AC4B5B0EC}" type="pres">
      <dgm:prSet presAssocID="{558413DD-89D0-4599-9E78-E95F066075C6}" presName="FiveNodes_3" presStyleLbl="node1" presStyleIdx="2" presStyleCnt="5">
        <dgm:presLayoutVars>
          <dgm:bulletEnabled val="1"/>
        </dgm:presLayoutVars>
      </dgm:prSet>
      <dgm:spPr/>
    </dgm:pt>
    <dgm:pt modelId="{EB73772D-13D4-43A3-9EBE-E45983E9C98E}" type="pres">
      <dgm:prSet presAssocID="{558413DD-89D0-4599-9E78-E95F066075C6}" presName="FiveNodes_4" presStyleLbl="node1" presStyleIdx="3" presStyleCnt="5">
        <dgm:presLayoutVars>
          <dgm:bulletEnabled val="1"/>
        </dgm:presLayoutVars>
      </dgm:prSet>
      <dgm:spPr/>
    </dgm:pt>
    <dgm:pt modelId="{B03CC34F-6AF8-4CAC-87B5-5462E6ABFD8A}" type="pres">
      <dgm:prSet presAssocID="{558413DD-89D0-4599-9E78-E95F066075C6}" presName="FiveNodes_5" presStyleLbl="node1" presStyleIdx="4" presStyleCnt="5">
        <dgm:presLayoutVars>
          <dgm:bulletEnabled val="1"/>
        </dgm:presLayoutVars>
      </dgm:prSet>
      <dgm:spPr/>
    </dgm:pt>
    <dgm:pt modelId="{48091E65-F5F0-4A54-A4F4-FB7EBE4B0961}" type="pres">
      <dgm:prSet presAssocID="{558413DD-89D0-4599-9E78-E95F066075C6}" presName="FiveConn_1-2" presStyleLbl="fgAccFollowNode1" presStyleIdx="0" presStyleCnt="4">
        <dgm:presLayoutVars>
          <dgm:bulletEnabled val="1"/>
        </dgm:presLayoutVars>
      </dgm:prSet>
      <dgm:spPr/>
    </dgm:pt>
    <dgm:pt modelId="{4B27C256-7DAC-41AB-B0F7-6FBC848B7C12}" type="pres">
      <dgm:prSet presAssocID="{558413DD-89D0-4599-9E78-E95F066075C6}" presName="FiveConn_2-3" presStyleLbl="fgAccFollowNode1" presStyleIdx="1" presStyleCnt="4">
        <dgm:presLayoutVars>
          <dgm:bulletEnabled val="1"/>
        </dgm:presLayoutVars>
      </dgm:prSet>
      <dgm:spPr/>
    </dgm:pt>
    <dgm:pt modelId="{F2966AEB-66F2-48FB-A6BD-DD5D263E2657}" type="pres">
      <dgm:prSet presAssocID="{558413DD-89D0-4599-9E78-E95F066075C6}" presName="FiveConn_3-4" presStyleLbl="fgAccFollowNode1" presStyleIdx="2" presStyleCnt="4">
        <dgm:presLayoutVars>
          <dgm:bulletEnabled val="1"/>
        </dgm:presLayoutVars>
      </dgm:prSet>
      <dgm:spPr/>
    </dgm:pt>
    <dgm:pt modelId="{87E0A2BF-8430-471D-8D4E-6952F1D9579C}" type="pres">
      <dgm:prSet presAssocID="{558413DD-89D0-4599-9E78-E95F066075C6}" presName="FiveConn_4-5" presStyleLbl="fgAccFollowNode1" presStyleIdx="3" presStyleCnt="4">
        <dgm:presLayoutVars>
          <dgm:bulletEnabled val="1"/>
        </dgm:presLayoutVars>
      </dgm:prSet>
      <dgm:spPr/>
    </dgm:pt>
    <dgm:pt modelId="{EB4A2A01-1A2B-462C-A19D-271D7190DE30}" type="pres">
      <dgm:prSet presAssocID="{558413DD-89D0-4599-9E78-E95F066075C6}" presName="FiveNodes_1_text" presStyleLbl="node1" presStyleIdx="4" presStyleCnt="5">
        <dgm:presLayoutVars>
          <dgm:bulletEnabled val="1"/>
        </dgm:presLayoutVars>
      </dgm:prSet>
      <dgm:spPr/>
    </dgm:pt>
    <dgm:pt modelId="{527D5721-02E0-4CC4-8B9F-B54077593331}" type="pres">
      <dgm:prSet presAssocID="{558413DD-89D0-4599-9E78-E95F066075C6}" presName="FiveNodes_2_text" presStyleLbl="node1" presStyleIdx="4" presStyleCnt="5">
        <dgm:presLayoutVars>
          <dgm:bulletEnabled val="1"/>
        </dgm:presLayoutVars>
      </dgm:prSet>
      <dgm:spPr/>
    </dgm:pt>
    <dgm:pt modelId="{D188AD22-E3DD-42D1-8B5F-AD7637EFB5F7}" type="pres">
      <dgm:prSet presAssocID="{558413DD-89D0-4599-9E78-E95F066075C6}" presName="FiveNodes_3_text" presStyleLbl="node1" presStyleIdx="4" presStyleCnt="5">
        <dgm:presLayoutVars>
          <dgm:bulletEnabled val="1"/>
        </dgm:presLayoutVars>
      </dgm:prSet>
      <dgm:spPr/>
    </dgm:pt>
    <dgm:pt modelId="{9AAA32D3-D1B6-4F6F-B022-129A2F85CA61}" type="pres">
      <dgm:prSet presAssocID="{558413DD-89D0-4599-9E78-E95F066075C6}" presName="FiveNodes_4_text" presStyleLbl="node1" presStyleIdx="4" presStyleCnt="5">
        <dgm:presLayoutVars>
          <dgm:bulletEnabled val="1"/>
        </dgm:presLayoutVars>
      </dgm:prSet>
      <dgm:spPr/>
    </dgm:pt>
    <dgm:pt modelId="{A9B78A0B-2252-4D5D-8E08-39E18074EB33}" type="pres">
      <dgm:prSet presAssocID="{558413DD-89D0-4599-9E78-E95F066075C6}" presName="FiveNodes_5_text" presStyleLbl="node1" presStyleIdx="4" presStyleCnt="5">
        <dgm:presLayoutVars>
          <dgm:bulletEnabled val="1"/>
        </dgm:presLayoutVars>
      </dgm:prSet>
      <dgm:spPr/>
    </dgm:pt>
  </dgm:ptLst>
  <dgm:cxnLst>
    <dgm:cxn modelId="{9D598A07-00D6-488D-859D-2962FCFE42F4}" srcId="{558413DD-89D0-4599-9E78-E95F066075C6}" destId="{EAC4C140-1754-4CF3-A837-90DC382BB304}" srcOrd="0" destOrd="0" parTransId="{B0ED0A76-4A88-4291-9AE5-48842EEBBDFB}" sibTransId="{05747E98-B99E-48AB-8647-3D7C267ADAC5}"/>
    <dgm:cxn modelId="{DBB0B31C-3848-44B1-972A-8217668D53B6}" srcId="{558413DD-89D0-4599-9E78-E95F066075C6}" destId="{4573D41F-E3A1-4F57-95BD-AC06B98BFEF2}" srcOrd="1" destOrd="0" parTransId="{5AAD451C-374D-4507-A932-537C37D0C87E}" sibTransId="{D7E01EDA-1359-4428-98B6-A6C3012FFD5A}"/>
    <dgm:cxn modelId="{9CB3571D-98AE-4872-B184-8BA36149557D}" type="presOf" srcId="{EAC4C140-1754-4CF3-A837-90DC382BB304}" destId="{2A10E39A-5EDC-4F82-A382-9DBD1131F095}" srcOrd="0" destOrd="0" presId="urn:microsoft.com/office/officeart/2005/8/layout/vProcess5"/>
    <dgm:cxn modelId="{3AF7E21F-639A-42BF-8CB7-CB9368720D22}" type="presOf" srcId="{05747E98-B99E-48AB-8647-3D7C267ADAC5}" destId="{48091E65-F5F0-4A54-A4F4-FB7EBE4B0961}" srcOrd="0" destOrd="0" presId="urn:microsoft.com/office/officeart/2005/8/layout/vProcess5"/>
    <dgm:cxn modelId="{2DDE3821-4DA3-4B3D-BCEC-44D50CE516EB}" type="presOf" srcId="{D7866932-E1E3-4CD2-B7D4-4E9A1DFE1EBB}" destId="{D188AD22-E3DD-42D1-8B5F-AD7637EFB5F7}" srcOrd="1" destOrd="0" presId="urn:microsoft.com/office/officeart/2005/8/layout/vProcess5"/>
    <dgm:cxn modelId="{9CE89521-E4E2-4B78-A419-4E986541ECC4}" type="presOf" srcId="{AFC90E76-C046-4218-B2A8-EF074D9B855C}" destId="{EB73772D-13D4-43A3-9EBE-E45983E9C98E}" srcOrd="0" destOrd="0" presId="urn:microsoft.com/office/officeart/2005/8/layout/vProcess5"/>
    <dgm:cxn modelId="{92F6C02D-DEE1-4337-A0F2-591A604B4749}" type="presOf" srcId="{4573D41F-E3A1-4F57-95BD-AC06B98BFEF2}" destId="{527D5721-02E0-4CC4-8B9F-B54077593331}" srcOrd="1" destOrd="0" presId="urn:microsoft.com/office/officeart/2005/8/layout/vProcess5"/>
    <dgm:cxn modelId="{249D913E-4949-41A0-8799-22168F00BB99}" type="presOf" srcId="{AFC90E76-C046-4218-B2A8-EF074D9B855C}" destId="{9AAA32D3-D1B6-4F6F-B022-129A2F85CA61}" srcOrd="1" destOrd="0" presId="urn:microsoft.com/office/officeart/2005/8/layout/vProcess5"/>
    <dgm:cxn modelId="{4365F962-57FC-4C2E-B284-D1B2C8ED78A4}" srcId="{558413DD-89D0-4599-9E78-E95F066075C6}" destId="{D7866932-E1E3-4CD2-B7D4-4E9A1DFE1EBB}" srcOrd="2" destOrd="0" parTransId="{F412165C-BA9D-4B54-916A-87C206705482}" sibTransId="{ACB0EE50-38D9-4EB2-AA93-F6FBFD35B600}"/>
    <dgm:cxn modelId="{6F67C459-0BE5-4BC5-AD3B-44D755F769B3}" type="presOf" srcId="{D7E01EDA-1359-4428-98B6-A6C3012FFD5A}" destId="{4B27C256-7DAC-41AB-B0F7-6FBC848B7C12}" srcOrd="0" destOrd="0" presId="urn:microsoft.com/office/officeart/2005/8/layout/vProcess5"/>
    <dgm:cxn modelId="{48FCB17B-3943-4F48-B768-4E6A86654F63}" type="presOf" srcId="{EAC4C140-1754-4CF3-A837-90DC382BB304}" destId="{EB4A2A01-1A2B-462C-A19D-271D7190DE30}" srcOrd="1" destOrd="0" presId="urn:microsoft.com/office/officeart/2005/8/layout/vProcess5"/>
    <dgm:cxn modelId="{B1DE3F81-AA28-4885-9BB4-A3276767BB0C}" type="presOf" srcId="{B95518C1-70ED-4D95-947E-5D0472E97DF6}" destId="{87E0A2BF-8430-471D-8D4E-6952F1D9579C}" srcOrd="0" destOrd="0" presId="urn:microsoft.com/office/officeart/2005/8/layout/vProcess5"/>
    <dgm:cxn modelId="{C8258388-BE0B-41C7-875C-A3F09A8FF301}" type="presOf" srcId="{F6C19939-204D-4CEA-9049-916B244FF5B9}" destId="{A9B78A0B-2252-4D5D-8E08-39E18074EB33}" srcOrd="1" destOrd="0" presId="urn:microsoft.com/office/officeart/2005/8/layout/vProcess5"/>
    <dgm:cxn modelId="{544072B5-5C23-4ED3-BF11-D8509CD42DA0}" type="presOf" srcId="{558413DD-89D0-4599-9E78-E95F066075C6}" destId="{BC63B925-0DA6-4D06-8DC8-FD28F85E8BF4}" srcOrd="0" destOrd="0" presId="urn:microsoft.com/office/officeart/2005/8/layout/vProcess5"/>
    <dgm:cxn modelId="{E0D766B8-6D97-43ED-BD56-7833AE4985D2}" srcId="{558413DD-89D0-4599-9E78-E95F066075C6}" destId="{F6C19939-204D-4CEA-9049-916B244FF5B9}" srcOrd="4" destOrd="0" parTransId="{A45D40AF-B1A4-4EBC-80B1-B6A16E2FF708}" sibTransId="{F3B7BC06-004B-4129-8C15-8636A3A7E58A}"/>
    <dgm:cxn modelId="{5670A5C0-D02E-4669-BC41-A4A830037F9F}" type="presOf" srcId="{F6C19939-204D-4CEA-9049-916B244FF5B9}" destId="{B03CC34F-6AF8-4CAC-87B5-5462E6ABFD8A}" srcOrd="0" destOrd="0" presId="urn:microsoft.com/office/officeart/2005/8/layout/vProcess5"/>
    <dgm:cxn modelId="{CC26ECE6-F511-4AF6-B464-D8724371F3B4}" type="presOf" srcId="{ACB0EE50-38D9-4EB2-AA93-F6FBFD35B600}" destId="{F2966AEB-66F2-48FB-A6BD-DD5D263E2657}" srcOrd="0" destOrd="0" presId="urn:microsoft.com/office/officeart/2005/8/layout/vProcess5"/>
    <dgm:cxn modelId="{3E4FBCF1-D0A3-4E3B-A885-2F9F9A2159E3}" type="presOf" srcId="{4573D41F-E3A1-4F57-95BD-AC06B98BFEF2}" destId="{673475BD-CBE7-46FC-B1D6-9ACCC255ADFD}" srcOrd="0" destOrd="0" presId="urn:microsoft.com/office/officeart/2005/8/layout/vProcess5"/>
    <dgm:cxn modelId="{D340FCF8-D8F7-4853-905B-ADCBD242313C}" srcId="{558413DD-89D0-4599-9E78-E95F066075C6}" destId="{AFC90E76-C046-4218-B2A8-EF074D9B855C}" srcOrd="3" destOrd="0" parTransId="{47F336EA-D76E-4712-B493-B66AEBEA7648}" sibTransId="{B95518C1-70ED-4D95-947E-5D0472E97DF6}"/>
    <dgm:cxn modelId="{13D511FC-833E-45B8-9C42-CE5492B8FA55}" type="presOf" srcId="{D7866932-E1E3-4CD2-B7D4-4E9A1DFE1EBB}" destId="{7AC00B09-3B1B-4317-AF53-DB2AC4B5B0EC}" srcOrd="0" destOrd="0" presId="urn:microsoft.com/office/officeart/2005/8/layout/vProcess5"/>
    <dgm:cxn modelId="{56241F1D-AE9D-4207-BFB7-1ABC3414F96D}" type="presParOf" srcId="{BC63B925-0DA6-4D06-8DC8-FD28F85E8BF4}" destId="{3B278BA6-BA78-460C-8D86-9F1EE9CF1EC7}" srcOrd="0" destOrd="0" presId="urn:microsoft.com/office/officeart/2005/8/layout/vProcess5"/>
    <dgm:cxn modelId="{100EAB1D-BABC-4C12-82B6-75BD0C0CD3C9}" type="presParOf" srcId="{BC63B925-0DA6-4D06-8DC8-FD28F85E8BF4}" destId="{2A10E39A-5EDC-4F82-A382-9DBD1131F095}" srcOrd="1" destOrd="0" presId="urn:microsoft.com/office/officeart/2005/8/layout/vProcess5"/>
    <dgm:cxn modelId="{E674E2E8-7351-4F2D-9159-AB6EE009E725}" type="presParOf" srcId="{BC63B925-0DA6-4D06-8DC8-FD28F85E8BF4}" destId="{673475BD-CBE7-46FC-B1D6-9ACCC255ADFD}" srcOrd="2" destOrd="0" presId="urn:microsoft.com/office/officeart/2005/8/layout/vProcess5"/>
    <dgm:cxn modelId="{C15A5CCF-CE5B-44F5-B0EE-1E6CE9508B11}" type="presParOf" srcId="{BC63B925-0DA6-4D06-8DC8-FD28F85E8BF4}" destId="{7AC00B09-3B1B-4317-AF53-DB2AC4B5B0EC}" srcOrd="3" destOrd="0" presId="urn:microsoft.com/office/officeart/2005/8/layout/vProcess5"/>
    <dgm:cxn modelId="{E0F64CDB-11D6-4382-B355-D093FC1CD800}" type="presParOf" srcId="{BC63B925-0DA6-4D06-8DC8-FD28F85E8BF4}" destId="{EB73772D-13D4-43A3-9EBE-E45983E9C98E}" srcOrd="4" destOrd="0" presId="urn:microsoft.com/office/officeart/2005/8/layout/vProcess5"/>
    <dgm:cxn modelId="{C264440A-0FB6-4771-8542-66B11BC7D735}" type="presParOf" srcId="{BC63B925-0DA6-4D06-8DC8-FD28F85E8BF4}" destId="{B03CC34F-6AF8-4CAC-87B5-5462E6ABFD8A}" srcOrd="5" destOrd="0" presId="urn:microsoft.com/office/officeart/2005/8/layout/vProcess5"/>
    <dgm:cxn modelId="{7AA5BBC9-B7F9-48E8-A2E0-911C220E7221}" type="presParOf" srcId="{BC63B925-0DA6-4D06-8DC8-FD28F85E8BF4}" destId="{48091E65-F5F0-4A54-A4F4-FB7EBE4B0961}" srcOrd="6" destOrd="0" presId="urn:microsoft.com/office/officeart/2005/8/layout/vProcess5"/>
    <dgm:cxn modelId="{A3668796-9B1C-4AE6-917F-E2B1BBC94605}" type="presParOf" srcId="{BC63B925-0DA6-4D06-8DC8-FD28F85E8BF4}" destId="{4B27C256-7DAC-41AB-B0F7-6FBC848B7C12}" srcOrd="7" destOrd="0" presId="urn:microsoft.com/office/officeart/2005/8/layout/vProcess5"/>
    <dgm:cxn modelId="{222B5F0E-4610-4CDB-85AB-60EF0AE79006}" type="presParOf" srcId="{BC63B925-0DA6-4D06-8DC8-FD28F85E8BF4}" destId="{F2966AEB-66F2-48FB-A6BD-DD5D263E2657}" srcOrd="8" destOrd="0" presId="urn:microsoft.com/office/officeart/2005/8/layout/vProcess5"/>
    <dgm:cxn modelId="{01B13248-6DE0-4DB4-AB61-8FBFBE072763}" type="presParOf" srcId="{BC63B925-0DA6-4D06-8DC8-FD28F85E8BF4}" destId="{87E0A2BF-8430-471D-8D4E-6952F1D9579C}" srcOrd="9" destOrd="0" presId="urn:microsoft.com/office/officeart/2005/8/layout/vProcess5"/>
    <dgm:cxn modelId="{1ECD8258-8347-4E15-B876-A715F4AB5C58}" type="presParOf" srcId="{BC63B925-0DA6-4D06-8DC8-FD28F85E8BF4}" destId="{EB4A2A01-1A2B-462C-A19D-271D7190DE30}" srcOrd="10" destOrd="0" presId="urn:microsoft.com/office/officeart/2005/8/layout/vProcess5"/>
    <dgm:cxn modelId="{31B5DDA7-27B6-425A-AF05-47990FFA2CFC}" type="presParOf" srcId="{BC63B925-0DA6-4D06-8DC8-FD28F85E8BF4}" destId="{527D5721-02E0-4CC4-8B9F-B54077593331}" srcOrd="11" destOrd="0" presId="urn:microsoft.com/office/officeart/2005/8/layout/vProcess5"/>
    <dgm:cxn modelId="{232CBE03-4B8C-4660-958D-88FD4B4CD96F}" type="presParOf" srcId="{BC63B925-0DA6-4D06-8DC8-FD28F85E8BF4}" destId="{D188AD22-E3DD-42D1-8B5F-AD7637EFB5F7}" srcOrd="12" destOrd="0" presId="urn:microsoft.com/office/officeart/2005/8/layout/vProcess5"/>
    <dgm:cxn modelId="{DCCD0E17-FB2C-4F95-8299-84EA95068FDA}" type="presParOf" srcId="{BC63B925-0DA6-4D06-8DC8-FD28F85E8BF4}" destId="{9AAA32D3-D1B6-4F6F-B022-129A2F85CA61}" srcOrd="13" destOrd="0" presId="urn:microsoft.com/office/officeart/2005/8/layout/vProcess5"/>
    <dgm:cxn modelId="{672F8C7C-43D8-40B1-8515-DF443E80F5BB}" type="presParOf" srcId="{BC63B925-0DA6-4D06-8DC8-FD28F85E8BF4}" destId="{A9B78A0B-2252-4D5D-8E08-39E18074EB33}"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2.xml><?xml version="1.0" encoding="utf-8"?>
<dgm:dataModel xmlns:dgm="http://schemas.openxmlformats.org/drawingml/2006/diagram" xmlns:a="http://schemas.openxmlformats.org/drawingml/2006/main">
  <dgm:ptLst>
    <dgm:pt modelId="{7AC1A172-D81A-466C-8A71-9A151B8D0B4F}"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s-ES"/>
        </a:p>
      </dgm:t>
    </dgm:pt>
    <dgm:pt modelId="{66623352-C3AF-45E6-906B-4501857CA40D}">
      <dgm:prSet phldrT="[Texto]"/>
      <dgm:spPr/>
      <dgm:t>
        <a:bodyPr/>
        <a:lstStyle/>
        <a:p>
          <a:r>
            <a:rPr lang="es-ES" dirty="0"/>
            <a:t>La transformación digital es un proceso que nunca acaba, se centra en el Customer Journey.</a:t>
          </a:r>
        </a:p>
      </dgm:t>
    </dgm:pt>
    <dgm:pt modelId="{5A9A46AF-349A-4B3E-A91D-760A4766DA43}" type="parTrans" cxnId="{71E550E4-6A6A-4B22-A3B7-762CE4A8B286}">
      <dgm:prSet/>
      <dgm:spPr/>
      <dgm:t>
        <a:bodyPr/>
        <a:lstStyle/>
        <a:p>
          <a:endParaRPr lang="es-ES"/>
        </a:p>
      </dgm:t>
    </dgm:pt>
    <dgm:pt modelId="{4305F07E-9A6F-4327-9B38-73F3921E08D6}" type="sibTrans" cxnId="{71E550E4-6A6A-4B22-A3B7-762CE4A8B286}">
      <dgm:prSet/>
      <dgm:spPr/>
      <dgm:t>
        <a:bodyPr/>
        <a:lstStyle/>
        <a:p>
          <a:endParaRPr lang="es-ES"/>
        </a:p>
      </dgm:t>
    </dgm:pt>
    <dgm:pt modelId="{A5460CBE-46BD-4ADA-8BA7-235F3C43A1AC}">
      <dgm:prSet/>
      <dgm:spPr/>
      <dgm:t>
        <a:bodyPr/>
        <a:lstStyle/>
        <a:p>
          <a:r>
            <a:rPr lang="es-ES" dirty="0"/>
            <a:t>Supone llevar la organización allí donde y cuando están las personas y sus requerimientos.</a:t>
          </a:r>
        </a:p>
      </dgm:t>
    </dgm:pt>
    <dgm:pt modelId="{2ACEBA12-52D8-47B8-933A-473910691661}" type="parTrans" cxnId="{BAC81ED2-A0C7-43A0-A712-D98F306ADBF4}">
      <dgm:prSet/>
      <dgm:spPr/>
      <dgm:t>
        <a:bodyPr/>
        <a:lstStyle/>
        <a:p>
          <a:endParaRPr lang="es-ES"/>
        </a:p>
      </dgm:t>
    </dgm:pt>
    <dgm:pt modelId="{6382CE74-AECD-4263-87DB-C6A9F6AB5B76}" type="sibTrans" cxnId="{BAC81ED2-A0C7-43A0-A712-D98F306ADBF4}">
      <dgm:prSet/>
      <dgm:spPr/>
      <dgm:t>
        <a:bodyPr/>
        <a:lstStyle/>
        <a:p>
          <a:endParaRPr lang="es-ES"/>
        </a:p>
      </dgm:t>
    </dgm:pt>
    <dgm:pt modelId="{B5871BC9-A1A2-4FA6-B6FD-3446CD8EFF36}">
      <dgm:prSet/>
      <dgm:spPr/>
      <dgm:t>
        <a:bodyPr/>
        <a:lstStyle/>
        <a:p>
          <a:r>
            <a:rPr lang="es-ES" dirty="0"/>
            <a:t>El CEO tiene que liderar el proceso.</a:t>
          </a:r>
        </a:p>
      </dgm:t>
    </dgm:pt>
    <dgm:pt modelId="{4857C946-A450-467F-BF6D-6346E9E2D9B8}" type="parTrans" cxnId="{BEB7EAEA-383A-4E7D-BCED-AD826B472D8A}">
      <dgm:prSet/>
      <dgm:spPr/>
      <dgm:t>
        <a:bodyPr/>
        <a:lstStyle/>
        <a:p>
          <a:endParaRPr lang="es-ES"/>
        </a:p>
      </dgm:t>
    </dgm:pt>
    <dgm:pt modelId="{66BC8D69-7E64-4A76-8DE9-BA577C428ED3}" type="sibTrans" cxnId="{BEB7EAEA-383A-4E7D-BCED-AD826B472D8A}">
      <dgm:prSet/>
      <dgm:spPr/>
      <dgm:t>
        <a:bodyPr/>
        <a:lstStyle/>
        <a:p>
          <a:endParaRPr lang="es-ES"/>
        </a:p>
      </dgm:t>
    </dgm:pt>
    <dgm:pt modelId="{F575D8EE-43F2-4A4B-98C0-F163DF54DABA}">
      <dgm:prSet/>
      <dgm:spPr/>
      <dgm:t>
        <a:bodyPr/>
        <a:lstStyle/>
        <a:p>
          <a:r>
            <a:rPr lang="es-ES" dirty="0"/>
            <a:t>Big Data, IA, IoT, Blockchain son piezas del puzzle.</a:t>
          </a:r>
        </a:p>
      </dgm:t>
    </dgm:pt>
    <dgm:pt modelId="{7E7C0A8F-11A9-4072-970A-BF4FFC5BD036}" type="parTrans" cxnId="{C6CE404F-0AF3-414F-B0F9-26A7869E0258}">
      <dgm:prSet/>
      <dgm:spPr/>
      <dgm:t>
        <a:bodyPr/>
        <a:lstStyle/>
        <a:p>
          <a:endParaRPr lang="es-ES"/>
        </a:p>
      </dgm:t>
    </dgm:pt>
    <dgm:pt modelId="{193A5274-E5CE-4210-982A-99B1744FEB05}" type="sibTrans" cxnId="{C6CE404F-0AF3-414F-B0F9-26A7869E0258}">
      <dgm:prSet/>
      <dgm:spPr/>
      <dgm:t>
        <a:bodyPr/>
        <a:lstStyle/>
        <a:p>
          <a:endParaRPr lang="es-ES"/>
        </a:p>
      </dgm:t>
    </dgm:pt>
    <dgm:pt modelId="{0CBB3101-220A-4D51-9BA0-8D70FDFD3442}">
      <dgm:prSet/>
      <dgm:spPr/>
      <dgm:t>
        <a:bodyPr/>
        <a:lstStyle/>
        <a:p>
          <a:r>
            <a:rPr lang="es-ES" dirty="0"/>
            <a:t>Big Data: Tecnologías para capturar datos.</a:t>
          </a:r>
        </a:p>
      </dgm:t>
    </dgm:pt>
    <dgm:pt modelId="{0E5879C2-2289-49E8-AEC9-34D71A6B8824}" type="parTrans" cxnId="{AF1519D1-E028-450F-968D-63E15071006C}">
      <dgm:prSet/>
      <dgm:spPr/>
      <dgm:t>
        <a:bodyPr/>
        <a:lstStyle/>
        <a:p>
          <a:endParaRPr lang="es-ES"/>
        </a:p>
      </dgm:t>
    </dgm:pt>
    <dgm:pt modelId="{025CF4ED-B878-4E9D-9619-5FED710BC02B}" type="sibTrans" cxnId="{AF1519D1-E028-450F-968D-63E15071006C}">
      <dgm:prSet/>
      <dgm:spPr/>
      <dgm:t>
        <a:bodyPr/>
        <a:lstStyle/>
        <a:p>
          <a:endParaRPr lang="es-ES"/>
        </a:p>
      </dgm:t>
    </dgm:pt>
    <dgm:pt modelId="{F62ED4E9-6AB6-4799-9B79-2F0D4F3971F8}">
      <dgm:prSet/>
      <dgm:spPr/>
      <dgm:t>
        <a:bodyPr/>
        <a:lstStyle/>
        <a:p>
          <a:r>
            <a:rPr lang="es-ES" dirty="0"/>
            <a:t>IA: Tecnologías para convertir los datos en información.</a:t>
          </a:r>
        </a:p>
      </dgm:t>
    </dgm:pt>
    <dgm:pt modelId="{DF946680-AE04-4724-855E-B361F9C57B87}" type="parTrans" cxnId="{49694BAC-059E-4F7B-8B31-B409A101AD16}">
      <dgm:prSet/>
      <dgm:spPr/>
      <dgm:t>
        <a:bodyPr/>
        <a:lstStyle/>
        <a:p>
          <a:endParaRPr lang="es-ES"/>
        </a:p>
      </dgm:t>
    </dgm:pt>
    <dgm:pt modelId="{DE82CCBF-065C-44D6-B108-935B9E76ECEA}" type="sibTrans" cxnId="{49694BAC-059E-4F7B-8B31-B409A101AD16}">
      <dgm:prSet/>
      <dgm:spPr/>
      <dgm:t>
        <a:bodyPr/>
        <a:lstStyle/>
        <a:p>
          <a:endParaRPr lang="es-ES"/>
        </a:p>
      </dgm:t>
    </dgm:pt>
    <dgm:pt modelId="{FC49F1B1-F30B-4D5C-AD64-5FB074AA3C87}">
      <dgm:prSet/>
      <dgm:spPr/>
      <dgm:t>
        <a:bodyPr/>
        <a:lstStyle/>
        <a:p>
          <a:r>
            <a:rPr lang="es-ES" dirty="0"/>
            <a:t>No es difícil una vez que has entendido el concepto.</a:t>
          </a:r>
        </a:p>
      </dgm:t>
    </dgm:pt>
    <dgm:pt modelId="{59AFB823-6C60-4FAC-8CA9-656B56D3D6CE}" type="parTrans" cxnId="{B7CBB5BA-B296-44AD-8E40-B90C1837A0B8}">
      <dgm:prSet/>
      <dgm:spPr/>
      <dgm:t>
        <a:bodyPr/>
        <a:lstStyle/>
        <a:p>
          <a:endParaRPr lang="es-ES"/>
        </a:p>
      </dgm:t>
    </dgm:pt>
    <dgm:pt modelId="{B4B7CA34-CEC6-4E88-AF48-38B90398DFF7}" type="sibTrans" cxnId="{B7CBB5BA-B296-44AD-8E40-B90C1837A0B8}">
      <dgm:prSet/>
      <dgm:spPr/>
      <dgm:t>
        <a:bodyPr/>
        <a:lstStyle/>
        <a:p>
          <a:endParaRPr lang="es-ES"/>
        </a:p>
      </dgm:t>
    </dgm:pt>
    <dgm:pt modelId="{1D270E16-9160-45FE-9E91-FB792087B4D9}">
      <dgm:prSet/>
      <dgm:spPr>
        <a:solidFill>
          <a:srgbClr val="3333FF"/>
        </a:solidFill>
      </dgm:spPr>
      <dgm:t>
        <a:bodyPr/>
        <a:lstStyle/>
        <a:p>
          <a:r>
            <a:rPr lang="es-ES" dirty="0"/>
            <a:t>¡¡¡ Si no eres digital eres vegetal !!!</a:t>
          </a:r>
        </a:p>
      </dgm:t>
    </dgm:pt>
    <dgm:pt modelId="{FACDBA7E-1973-4F81-9F0B-865F49411EEE}" type="parTrans" cxnId="{8D80A834-7C6A-4E26-AEEF-489921EA1CF0}">
      <dgm:prSet/>
      <dgm:spPr/>
      <dgm:t>
        <a:bodyPr/>
        <a:lstStyle/>
        <a:p>
          <a:endParaRPr lang="es-ES"/>
        </a:p>
      </dgm:t>
    </dgm:pt>
    <dgm:pt modelId="{E9D6D50A-CE8D-4D3C-B01D-7485DF20692C}" type="sibTrans" cxnId="{8D80A834-7C6A-4E26-AEEF-489921EA1CF0}">
      <dgm:prSet/>
      <dgm:spPr/>
      <dgm:t>
        <a:bodyPr/>
        <a:lstStyle/>
        <a:p>
          <a:endParaRPr lang="es-ES"/>
        </a:p>
      </dgm:t>
    </dgm:pt>
    <dgm:pt modelId="{2FEF95A3-EA78-44FB-8D86-638A0F5E3883}">
      <dgm:prSet/>
      <dgm:spPr/>
      <dgm:t>
        <a:bodyPr/>
        <a:lstStyle/>
        <a:p>
          <a:r>
            <a:rPr lang="es-ES" dirty="0"/>
            <a:t>Equipo y metodología</a:t>
          </a:r>
        </a:p>
      </dgm:t>
    </dgm:pt>
    <dgm:pt modelId="{5824EE45-A4DB-470D-B036-2A2F53D88996}" type="parTrans" cxnId="{0A3DF6CD-CD5F-4374-A8F6-B67D6DC257B0}">
      <dgm:prSet/>
      <dgm:spPr/>
      <dgm:t>
        <a:bodyPr/>
        <a:lstStyle/>
        <a:p>
          <a:endParaRPr lang="es-ES"/>
        </a:p>
      </dgm:t>
    </dgm:pt>
    <dgm:pt modelId="{4DDDFA5E-1091-4F96-9A95-DD4A637F92E5}" type="sibTrans" cxnId="{0A3DF6CD-CD5F-4374-A8F6-B67D6DC257B0}">
      <dgm:prSet/>
      <dgm:spPr/>
      <dgm:t>
        <a:bodyPr/>
        <a:lstStyle/>
        <a:p>
          <a:endParaRPr lang="es-ES"/>
        </a:p>
      </dgm:t>
    </dgm:pt>
    <dgm:pt modelId="{B80E6B5C-E9FD-4FC7-9750-AD29C8FA1717}" type="pres">
      <dgm:prSet presAssocID="{7AC1A172-D81A-466C-8A71-9A151B8D0B4F}" presName="diagram" presStyleCnt="0">
        <dgm:presLayoutVars>
          <dgm:dir/>
          <dgm:resizeHandles val="exact"/>
        </dgm:presLayoutVars>
      </dgm:prSet>
      <dgm:spPr/>
    </dgm:pt>
    <dgm:pt modelId="{ECD3B3E4-FA66-4D39-AD5F-21EC3E2AFF40}" type="pres">
      <dgm:prSet presAssocID="{66623352-C3AF-45E6-906B-4501857CA40D}" presName="node" presStyleLbl="node1" presStyleIdx="0" presStyleCnt="9">
        <dgm:presLayoutVars>
          <dgm:bulletEnabled val="1"/>
        </dgm:presLayoutVars>
      </dgm:prSet>
      <dgm:spPr/>
    </dgm:pt>
    <dgm:pt modelId="{E6CC0F38-272F-46B8-A273-85E97125328A}" type="pres">
      <dgm:prSet presAssocID="{4305F07E-9A6F-4327-9B38-73F3921E08D6}" presName="sibTrans" presStyleCnt="0"/>
      <dgm:spPr/>
    </dgm:pt>
    <dgm:pt modelId="{3A49BF2A-AE07-4835-8FB6-0BC92500A837}" type="pres">
      <dgm:prSet presAssocID="{A5460CBE-46BD-4ADA-8BA7-235F3C43A1AC}" presName="node" presStyleLbl="node1" presStyleIdx="1" presStyleCnt="9">
        <dgm:presLayoutVars>
          <dgm:bulletEnabled val="1"/>
        </dgm:presLayoutVars>
      </dgm:prSet>
      <dgm:spPr/>
    </dgm:pt>
    <dgm:pt modelId="{226E9DA3-553A-47AE-B9D9-014465DD67DB}" type="pres">
      <dgm:prSet presAssocID="{6382CE74-AECD-4263-87DB-C6A9F6AB5B76}" presName="sibTrans" presStyleCnt="0"/>
      <dgm:spPr/>
    </dgm:pt>
    <dgm:pt modelId="{54D257F7-97E7-4531-AF8C-EC8954AF793A}" type="pres">
      <dgm:prSet presAssocID="{B5871BC9-A1A2-4FA6-B6FD-3446CD8EFF36}" presName="node" presStyleLbl="node1" presStyleIdx="2" presStyleCnt="9">
        <dgm:presLayoutVars>
          <dgm:bulletEnabled val="1"/>
        </dgm:presLayoutVars>
      </dgm:prSet>
      <dgm:spPr/>
    </dgm:pt>
    <dgm:pt modelId="{44CAD6CC-2AE6-4BAD-B813-CA5A88BA1577}" type="pres">
      <dgm:prSet presAssocID="{66BC8D69-7E64-4A76-8DE9-BA577C428ED3}" presName="sibTrans" presStyleCnt="0"/>
      <dgm:spPr/>
    </dgm:pt>
    <dgm:pt modelId="{DF61C311-3B11-4F00-9A6F-ED462CBA3152}" type="pres">
      <dgm:prSet presAssocID="{F575D8EE-43F2-4A4B-98C0-F163DF54DABA}" presName="node" presStyleLbl="node1" presStyleIdx="3" presStyleCnt="9">
        <dgm:presLayoutVars>
          <dgm:bulletEnabled val="1"/>
        </dgm:presLayoutVars>
      </dgm:prSet>
      <dgm:spPr/>
    </dgm:pt>
    <dgm:pt modelId="{B5EC7F19-2F41-407D-98E7-6E9925D77BA1}" type="pres">
      <dgm:prSet presAssocID="{193A5274-E5CE-4210-982A-99B1744FEB05}" presName="sibTrans" presStyleCnt="0"/>
      <dgm:spPr/>
    </dgm:pt>
    <dgm:pt modelId="{8F24ED49-AF16-4F35-9B6F-F9D68886B3E1}" type="pres">
      <dgm:prSet presAssocID="{0CBB3101-220A-4D51-9BA0-8D70FDFD3442}" presName="node" presStyleLbl="node1" presStyleIdx="4" presStyleCnt="9">
        <dgm:presLayoutVars>
          <dgm:bulletEnabled val="1"/>
        </dgm:presLayoutVars>
      </dgm:prSet>
      <dgm:spPr/>
    </dgm:pt>
    <dgm:pt modelId="{6FB3FD5F-FB9E-4DE5-B198-7CBF93C5537E}" type="pres">
      <dgm:prSet presAssocID="{025CF4ED-B878-4E9D-9619-5FED710BC02B}" presName="sibTrans" presStyleCnt="0"/>
      <dgm:spPr/>
    </dgm:pt>
    <dgm:pt modelId="{CC4199BE-6889-4144-A4BC-4BEA2F4CC200}" type="pres">
      <dgm:prSet presAssocID="{F62ED4E9-6AB6-4799-9B79-2F0D4F3971F8}" presName="node" presStyleLbl="node1" presStyleIdx="5" presStyleCnt="9">
        <dgm:presLayoutVars>
          <dgm:bulletEnabled val="1"/>
        </dgm:presLayoutVars>
      </dgm:prSet>
      <dgm:spPr/>
    </dgm:pt>
    <dgm:pt modelId="{D299A0E4-399E-432E-841A-9596C96DEBC8}" type="pres">
      <dgm:prSet presAssocID="{DE82CCBF-065C-44D6-B108-935B9E76ECEA}" presName="sibTrans" presStyleCnt="0"/>
      <dgm:spPr/>
    </dgm:pt>
    <dgm:pt modelId="{1744EE14-6958-4977-BBE6-689D48057629}" type="pres">
      <dgm:prSet presAssocID="{2FEF95A3-EA78-44FB-8D86-638A0F5E3883}" presName="node" presStyleLbl="node1" presStyleIdx="6" presStyleCnt="9">
        <dgm:presLayoutVars>
          <dgm:bulletEnabled val="1"/>
        </dgm:presLayoutVars>
      </dgm:prSet>
      <dgm:spPr/>
    </dgm:pt>
    <dgm:pt modelId="{5C9D5D22-4644-44F4-9AD6-5459544AC427}" type="pres">
      <dgm:prSet presAssocID="{4DDDFA5E-1091-4F96-9A95-DD4A637F92E5}" presName="sibTrans" presStyleCnt="0"/>
      <dgm:spPr/>
    </dgm:pt>
    <dgm:pt modelId="{4579DB58-B677-40E3-99BB-88B183F7B0A2}" type="pres">
      <dgm:prSet presAssocID="{FC49F1B1-F30B-4D5C-AD64-5FB074AA3C87}" presName="node" presStyleLbl="node1" presStyleIdx="7" presStyleCnt="9">
        <dgm:presLayoutVars>
          <dgm:bulletEnabled val="1"/>
        </dgm:presLayoutVars>
      </dgm:prSet>
      <dgm:spPr/>
    </dgm:pt>
    <dgm:pt modelId="{D54EDD2C-ACF9-496E-894B-E8D6307348DF}" type="pres">
      <dgm:prSet presAssocID="{B4B7CA34-CEC6-4E88-AF48-38B90398DFF7}" presName="sibTrans" presStyleCnt="0"/>
      <dgm:spPr/>
    </dgm:pt>
    <dgm:pt modelId="{DCD64C2B-D2C6-4056-87BE-C01907BB8F6B}" type="pres">
      <dgm:prSet presAssocID="{1D270E16-9160-45FE-9E91-FB792087B4D9}" presName="node" presStyleLbl="node1" presStyleIdx="8" presStyleCnt="9">
        <dgm:presLayoutVars>
          <dgm:bulletEnabled val="1"/>
        </dgm:presLayoutVars>
      </dgm:prSet>
      <dgm:spPr/>
    </dgm:pt>
  </dgm:ptLst>
  <dgm:cxnLst>
    <dgm:cxn modelId="{3EFA221B-47BE-4215-BF59-F81AACF014CF}" type="presOf" srcId="{0CBB3101-220A-4D51-9BA0-8D70FDFD3442}" destId="{8F24ED49-AF16-4F35-9B6F-F9D68886B3E1}" srcOrd="0" destOrd="0" presId="urn:microsoft.com/office/officeart/2005/8/layout/default"/>
    <dgm:cxn modelId="{9F52471E-21FE-4E03-8D64-C6FD5AADC2CD}" type="presOf" srcId="{B5871BC9-A1A2-4FA6-B6FD-3446CD8EFF36}" destId="{54D257F7-97E7-4531-AF8C-EC8954AF793A}" srcOrd="0" destOrd="0" presId="urn:microsoft.com/office/officeart/2005/8/layout/default"/>
    <dgm:cxn modelId="{09756B20-9AD8-4C36-BCE2-3067AB3DDC13}" type="presOf" srcId="{FC49F1B1-F30B-4D5C-AD64-5FB074AA3C87}" destId="{4579DB58-B677-40E3-99BB-88B183F7B0A2}" srcOrd="0" destOrd="0" presId="urn:microsoft.com/office/officeart/2005/8/layout/default"/>
    <dgm:cxn modelId="{B5A57429-5C0B-4D0E-A709-59E145215BEF}" type="presOf" srcId="{F62ED4E9-6AB6-4799-9B79-2F0D4F3971F8}" destId="{CC4199BE-6889-4144-A4BC-4BEA2F4CC200}" srcOrd="0" destOrd="0" presId="urn:microsoft.com/office/officeart/2005/8/layout/default"/>
    <dgm:cxn modelId="{8D80A834-7C6A-4E26-AEEF-489921EA1CF0}" srcId="{7AC1A172-D81A-466C-8A71-9A151B8D0B4F}" destId="{1D270E16-9160-45FE-9E91-FB792087B4D9}" srcOrd="8" destOrd="0" parTransId="{FACDBA7E-1973-4F81-9F0B-865F49411EEE}" sibTransId="{E9D6D50A-CE8D-4D3C-B01D-7485DF20692C}"/>
    <dgm:cxn modelId="{8092FF3F-821E-4924-9881-F3A17FFC1D2C}" type="presOf" srcId="{1D270E16-9160-45FE-9E91-FB792087B4D9}" destId="{DCD64C2B-D2C6-4056-87BE-C01907BB8F6B}" srcOrd="0" destOrd="0" presId="urn:microsoft.com/office/officeart/2005/8/layout/default"/>
    <dgm:cxn modelId="{E0F36447-5840-4533-9AE4-5A75130B3522}" type="presOf" srcId="{2FEF95A3-EA78-44FB-8D86-638A0F5E3883}" destId="{1744EE14-6958-4977-BBE6-689D48057629}" srcOrd="0" destOrd="0" presId="urn:microsoft.com/office/officeart/2005/8/layout/default"/>
    <dgm:cxn modelId="{C6CE404F-0AF3-414F-B0F9-26A7869E0258}" srcId="{7AC1A172-D81A-466C-8A71-9A151B8D0B4F}" destId="{F575D8EE-43F2-4A4B-98C0-F163DF54DABA}" srcOrd="3" destOrd="0" parTransId="{7E7C0A8F-11A9-4072-970A-BF4FFC5BD036}" sibTransId="{193A5274-E5CE-4210-982A-99B1744FEB05}"/>
    <dgm:cxn modelId="{49694BAC-059E-4F7B-8B31-B409A101AD16}" srcId="{7AC1A172-D81A-466C-8A71-9A151B8D0B4F}" destId="{F62ED4E9-6AB6-4799-9B79-2F0D4F3971F8}" srcOrd="5" destOrd="0" parTransId="{DF946680-AE04-4724-855E-B361F9C57B87}" sibTransId="{DE82CCBF-065C-44D6-B108-935B9E76ECEA}"/>
    <dgm:cxn modelId="{2C1F99B5-AD03-4B8B-B07D-6B078935BCFA}" type="presOf" srcId="{7AC1A172-D81A-466C-8A71-9A151B8D0B4F}" destId="{B80E6B5C-E9FD-4FC7-9750-AD29C8FA1717}" srcOrd="0" destOrd="0" presId="urn:microsoft.com/office/officeart/2005/8/layout/default"/>
    <dgm:cxn modelId="{BA7A85B7-B22A-4635-836B-D5176B3F6973}" type="presOf" srcId="{F575D8EE-43F2-4A4B-98C0-F163DF54DABA}" destId="{DF61C311-3B11-4F00-9A6F-ED462CBA3152}" srcOrd="0" destOrd="0" presId="urn:microsoft.com/office/officeart/2005/8/layout/default"/>
    <dgm:cxn modelId="{B7CBB5BA-B296-44AD-8E40-B90C1837A0B8}" srcId="{7AC1A172-D81A-466C-8A71-9A151B8D0B4F}" destId="{FC49F1B1-F30B-4D5C-AD64-5FB074AA3C87}" srcOrd="7" destOrd="0" parTransId="{59AFB823-6C60-4FAC-8CA9-656B56D3D6CE}" sibTransId="{B4B7CA34-CEC6-4E88-AF48-38B90398DFF7}"/>
    <dgm:cxn modelId="{8D4A5EC4-D871-43A3-9BF5-12C9288119BE}" type="presOf" srcId="{A5460CBE-46BD-4ADA-8BA7-235F3C43A1AC}" destId="{3A49BF2A-AE07-4835-8FB6-0BC92500A837}" srcOrd="0" destOrd="0" presId="urn:microsoft.com/office/officeart/2005/8/layout/default"/>
    <dgm:cxn modelId="{D567B8CC-1A63-4D3B-9746-B3D3395A87C4}" type="presOf" srcId="{66623352-C3AF-45E6-906B-4501857CA40D}" destId="{ECD3B3E4-FA66-4D39-AD5F-21EC3E2AFF40}" srcOrd="0" destOrd="0" presId="urn:microsoft.com/office/officeart/2005/8/layout/default"/>
    <dgm:cxn modelId="{0A3DF6CD-CD5F-4374-A8F6-B67D6DC257B0}" srcId="{7AC1A172-D81A-466C-8A71-9A151B8D0B4F}" destId="{2FEF95A3-EA78-44FB-8D86-638A0F5E3883}" srcOrd="6" destOrd="0" parTransId="{5824EE45-A4DB-470D-B036-2A2F53D88996}" sibTransId="{4DDDFA5E-1091-4F96-9A95-DD4A637F92E5}"/>
    <dgm:cxn modelId="{AF1519D1-E028-450F-968D-63E15071006C}" srcId="{7AC1A172-D81A-466C-8A71-9A151B8D0B4F}" destId="{0CBB3101-220A-4D51-9BA0-8D70FDFD3442}" srcOrd="4" destOrd="0" parTransId="{0E5879C2-2289-49E8-AEC9-34D71A6B8824}" sibTransId="{025CF4ED-B878-4E9D-9619-5FED710BC02B}"/>
    <dgm:cxn modelId="{BAC81ED2-A0C7-43A0-A712-D98F306ADBF4}" srcId="{7AC1A172-D81A-466C-8A71-9A151B8D0B4F}" destId="{A5460CBE-46BD-4ADA-8BA7-235F3C43A1AC}" srcOrd="1" destOrd="0" parTransId="{2ACEBA12-52D8-47B8-933A-473910691661}" sibTransId="{6382CE74-AECD-4263-87DB-C6A9F6AB5B76}"/>
    <dgm:cxn modelId="{71E550E4-6A6A-4B22-A3B7-762CE4A8B286}" srcId="{7AC1A172-D81A-466C-8A71-9A151B8D0B4F}" destId="{66623352-C3AF-45E6-906B-4501857CA40D}" srcOrd="0" destOrd="0" parTransId="{5A9A46AF-349A-4B3E-A91D-760A4766DA43}" sibTransId="{4305F07E-9A6F-4327-9B38-73F3921E08D6}"/>
    <dgm:cxn modelId="{BEB7EAEA-383A-4E7D-BCED-AD826B472D8A}" srcId="{7AC1A172-D81A-466C-8A71-9A151B8D0B4F}" destId="{B5871BC9-A1A2-4FA6-B6FD-3446CD8EFF36}" srcOrd="2" destOrd="0" parTransId="{4857C946-A450-467F-BF6D-6346E9E2D9B8}" sibTransId="{66BC8D69-7E64-4A76-8DE9-BA577C428ED3}"/>
    <dgm:cxn modelId="{56611A14-FD62-40BF-B83F-05C71C5413C8}" type="presParOf" srcId="{B80E6B5C-E9FD-4FC7-9750-AD29C8FA1717}" destId="{ECD3B3E4-FA66-4D39-AD5F-21EC3E2AFF40}" srcOrd="0" destOrd="0" presId="urn:microsoft.com/office/officeart/2005/8/layout/default"/>
    <dgm:cxn modelId="{A8DFC3BE-1A93-4DA7-90CA-076D5CC0E020}" type="presParOf" srcId="{B80E6B5C-E9FD-4FC7-9750-AD29C8FA1717}" destId="{E6CC0F38-272F-46B8-A273-85E97125328A}" srcOrd="1" destOrd="0" presId="urn:microsoft.com/office/officeart/2005/8/layout/default"/>
    <dgm:cxn modelId="{C870C69C-1884-47B3-B77E-08962651B79D}" type="presParOf" srcId="{B80E6B5C-E9FD-4FC7-9750-AD29C8FA1717}" destId="{3A49BF2A-AE07-4835-8FB6-0BC92500A837}" srcOrd="2" destOrd="0" presId="urn:microsoft.com/office/officeart/2005/8/layout/default"/>
    <dgm:cxn modelId="{1EA765A5-5E40-446C-BFB0-EA77DC2BEDDC}" type="presParOf" srcId="{B80E6B5C-E9FD-4FC7-9750-AD29C8FA1717}" destId="{226E9DA3-553A-47AE-B9D9-014465DD67DB}" srcOrd="3" destOrd="0" presId="urn:microsoft.com/office/officeart/2005/8/layout/default"/>
    <dgm:cxn modelId="{5E223DA0-09EC-4649-A3AF-BC2253AE6305}" type="presParOf" srcId="{B80E6B5C-E9FD-4FC7-9750-AD29C8FA1717}" destId="{54D257F7-97E7-4531-AF8C-EC8954AF793A}" srcOrd="4" destOrd="0" presId="urn:microsoft.com/office/officeart/2005/8/layout/default"/>
    <dgm:cxn modelId="{7EF0F327-17A9-4969-B0C9-41BC86FEB70B}" type="presParOf" srcId="{B80E6B5C-E9FD-4FC7-9750-AD29C8FA1717}" destId="{44CAD6CC-2AE6-4BAD-B813-CA5A88BA1577}" srcOrd="5" destOrd="0" presId="urn:microsoft.com/office/officeart/2005/8/layout/default"/>
    <dgm:cxn modelId="{4213D0B0-F1E2-417F-9CE6-C1D5ADEC1092}" type="presParOf" srcId="{B80E6B5C-E9FD-4FC7-9750-AD29C8FA1717}" destId="{DF61C311-3B11-4F00-9A6F-ED462CBA3152}" srcOrd="6" destOrd="0" presId="urn:microsoft.com/office/officeart/2005/8/layout/default"/>
    <dgm:cxn modelId="{480838B7-2CA7-4269-A297-DEDE7EB1E9F1}" type="presParOf" srcId="{B80E6B5C-E9FD-4FC7-9750-AD29C8FA1717}" destId="{B5EC7F19-2F41-407D-98E7-6E9925D77BA1}" srcOrd="7" destOrd="0" presId="urn:microsoft.com/office/officeart/2005/8/layout/default"/>
    <dgm:cxn modelId="{C865E89D-AB87-455D-BD88-71D0697F03F6}" type="presParOf" srcId="{B80E6B5C-E9FD-4FC7-9750-AD29C8FA1717}" destId="{8F24ED49-AF16-4F35-9B6F-F9D68886B3E1}" srcOrd="8" destOrd="0" presId="urn:microsoft.com/office/officeart/2005/8/layout/default"/>
    <dgm:cxn modelId="{6207E898-E9EE-4C5F-BF7B-A3B0FA492019}" type="presParOf" srcId="{B80E6B5C-E9FD-4FC7-9750-AD29C8FA1717}" destId="{6FB3FD5F-FB9E-4DE5-B198-7CBF93C5537E}" srcOrd="9" destOrd="0" presId="urn:microsoft.com/office/officeart/2005/8/layout/default"/>
    <dgm:cxn modelId="{8253FD2E-74A4-4854-A11C-035BD22094E8}" type="presParOf" srcId="{B80E6B5C-E9FD-4FC7-9750-AD29C8FA1717}" destId="{CC4199BE-6889-4144-A4BC-4BEA2F4CC200}" srcOrd="10" destOrd="0" presId="urn:microsoft.com/office/officeart/2005/8/layout/default"/>
    <dgm:cxn modelId="{30155EBC-5F9B-44B2-B208-068DB034D5DA}" type="presParOf" srcId="{B80E6B5C-E9FD-4FC7-9750-AD29C8FA1717}" destId="{D299A0E4-399E-432E-841A-9596C96DEBC8}" srcOrd="11" destOrd="0" presId="urn:microsoft.com/office/officeart/2005/8/layout/default"/>
    <dgm:cxn modelId="{189F1CF9-97D8-45C2-9F6D-A762583626F8}" type="presParOf" srcId="{B80E6B5C-E9FD-4FC7-9750-AD29C8FA1717}" destId="{1744EE14-6958-4977-BBE6-689D48057629}" srcOrd="12" destOrd="0" presId="urn:microsoft.com/office/officeart/2005/8/layout/default"/>
    <dgm:cxn modelId="{B551031D-A898-4475-A2BB-DC6C05079C77}" type="presParOf" srcId="{B80E6B5C-E9FD-4FC7-9750-AD29C8FA1717}" destId="{5C9D5D22-4644-44F4-9AD6-5459544AC427}" srcOrd="13" destOrd="0" presId="urn:microsoft.com/office/officeart/2005/8/layout/default"/>
    <dgm:cxn modelId="{60945AB1-88B5-43DD-B977-65320A20AFB9}" type="presParOf" srcId="{B80E6B5C-E9FD-4FC7-9750-AD29C8FA1717}" destId="{4579DB58-B677-40E3-99BB-88B183F7B0A2}" srcOrd="14" destOrd="0" presId="urn:microsoft.com/office/officeart/2005/8/layout/default"/>
    <dgm:cxn modelId="{F5804CFC-C9B8-4062-82B6-8C3BF48CF14C}" type="presParOf" srcId="{B80E6B5C-E9FD-4FC7-9750-AD29C8FA1717}" destId="{D54EDD2C-ACF9-496E-894B-E8D6307348DF}" srcOrd="15" destOrd="0" presId="urn:microsoft.com/office/officeart/2005/8/layout/default"/>
    <dgm:cxn modelId="{88AFCB4B-4428-44D7-A6F8-14E6F6B2F55F}" type="presParOf" srcId="{B80E6B5C-E9FD-4FC7-9750-AD29C8FA1717}" destId="{DCD64C2B-D2C6-4056-87BE-C01907BB8F6B}"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CCCD62B-9036-4C71-9755-3106E7DE1BB2}" type="doc">
      <dgm:prSet loTypeId="urn:microsoft.com/office/officeart/2005/8/layout/lProcess2" loCatId="list" qsTypeId="urn:microsoft.com/office/officeart/2005/8/quickstyle/simple1" qsCatId="simple" csTypeId="urn:microsoft.com/office/officeart/2005/8/colors/accent1_1" csCatId="accent1" phldr="1"/>
      <dgm:spPr/>
      <dgm:t>
        <a:bodyPr/>
        <a:lstStyle/>
        <a:p>
          <a:endParaRPr lang="es-ES"/>
        </a:p>
      </dgm:t>
    </dgm:pt>
    <dgm:pt modelId="{837ED74C-0B12-4406-92AA-CE02F30129F7}">
      <dgm:prSet phldrT="[Texto]"/>
      <dgm:spPr/>
      <dgm:t>
        <a:bodyPr/>
        <a:lstStyle/>
        <a:p>
          <a:r>
            <a:rPr lang="es-ES" dirty="0"/>
            <a:t>Data Warehouse</a:t>
          </a:r>
        </a:p>
      </dgm:t>
    </dgm:pt>
    <dgm:pt modelId="{DAAEBF89-DCE3-45F9-A240-987C63B88A42}" type="parTrans" cxnId="{69AC4174-C0CC-4C75-A86F-1B8B0F3D30AC}">
      <dgm:prSet/>
      <dgm:spPr/>
      <dgm:t>
        <a:bodyPr/>
        <a:lstStyle/>
        <a:p>
          <a:endParaRPr lang="es-ES"/>
        </a:p>
      </dgm:t>
    </dgm:pt>
    <dgm:pt modelId="{ED1E3130-CB7E-4A25-8393-DA5C24050D9C}" type="sibTrans" cxnId="{69AC4174-C0CC-4C75-A86F-1B8B0F3D30AC}">
      <dgm:prSet/>
      <dgm:spPr/>
      <dgm:t>
        <a:bodyPr/>
        <a:lstStyle/>
        <a:p>
          <a:endParaRPr lang="es-ES"/>
        </a:p>
      </dgm:t>
    </dgm:pt>
    <dgm:pt modelId="{643BA553-B279-4DB3-BC24-DD4EFC9C980F}">
      <dgm:prSet/>
      <dgm:spPr/>
      <dgm:t>
        <a:bodyPr/>
        <a:lstStyle/>
        <a:p>
          <a:r>
            <a:rPr lang="es-ES" dirty="0"/>
            <a:t>Estructuras bien definidas y organizadas en tablas relacionales con esquemas fijos (estrella, copo de nieve)</a:t>
          </a:r>
        </a:p>
      </dgm:t>
    </dgm:pt>
    <dgm:pt modelId="{2EEBBE7C-0478-4472-A4D4-9B04718BA0FD}" type="parTrans" cxnId="{6E56BCDA-8E51-4455-96D3-6ABC98FDE186}">
      <dgm:prSet/>
      <dgm:spPr/>
      <dgm:t>
        <a:bodyPr/>
        <a:lstStyle/>
        <a:p>
          <a:endParaRPr lang="es-ES"/>
        </a:p>
      </dgm:t>
    </dgm:pt>
    <dgm:pt modelId="{DA6F8914-2527-46CC-B4CC-F7BDF3E231DF}" type="sibTrans" cxnId="{6E56BCDA-8E51-4455-96D3-6ABC98FDE186}">
      <dgm:prSet/>
      <dgm:spPr/>
      <dgm:t>
        <a:bodyPr/>
        <a:lstStyle/>
        <a:p>
          <a:endParaRPr lang="es-ES"/>
        </a:p>
      </dgm:t>
    </dgm:pt>
    <dgm:pt modelId="{FE93DDBF-4CEB-47C9-85CF-D347EF0FAEC8}">
      <dgm:prSet/>
      <dgm:spPr/>
      <dgm:t>
        <a:bodyPr/>
        <a:lstStyle/>
        <a:p>
          <a:r>
            <a:rPr lang="es-ES" dirty="0"/>
            <a:t>Optimizadas para análisis y consultas rápidas.</a:t>
          </a:r>
        </a:p>
      </dgm:t>
    </dgm:pt>
    <dgm:pt modelId="{213A6115-DFFB-4789-A207-2B54685421EC}" type="parTrans" cxnId="{55C556AE-9B7B-4A57-AE5C-B7337B56328E}">
      <dgm:prSet/>
      <dgm:spPr/>
      <dgm:t>
        <a:bodyPr/>
        <a:lstStyle/>
        <a:p>
          <a:endParaRPr lang="es-ES"/>
        </a:p>
      </dgm:t>
    </dgm:pt>
    <dgm:pt modelId="{B1662883-43A1-486D-83A4-CFC915E8B12E}" type="sibTrans" cxnId="{55C556AE-9B7B-4A57-AE5C-B7337B56328E}">
      <dgm:prSet/>
      <dgm:spPr/>
      <dgm:t>
        <a:bodyPr/>
        <a:lstStyle/>
        <a:p>
          <a:endParaRPr lang="es-ES"/>
        </a:p>
      </dgm:t>
    </dgm:pt>
    <dgm:pt modelId="{F73158AB-F660-4B67-96DB-E7759849BA64}">
      <dgm:prSet/>
      <dgm:spPr/>
      <dgm:t>
        <a:bodyPr/>
        <a:lstStyle/>
        <a:p>
          <a:r>
            <a:rPr lang="es-ES" dirty="0"/>
            <a:t>Data Lake</a:t>
          </a:r>
        </a:p>
      </dgm:t>
    </dgm:pt>
    <dgm:pt modelId="{8AD3D9DB-537A-4011-AFF4-CA4DAFCB7960}" type="parTrans" cxnId="{328C649D-E346-4114-B1C7-90AA9EC11D85}">
      <dgm:prSet/>
      <dgm:spPr/>
      <dgm:t>
        <a:bodyPr/>
        <a:lstStyle/>
        <a:p>
          <a:endParaRPr lang="es-ES"/>
        </a:p>
      </dgm:t>
    </dgm:pt>
    <dgm:pt modelId="{8A21C8F1-39B7-4FF7-80FD-D9C7F07D042D}" type="sibTrans" cxnId="{328C649D-E346-4114-B1C7-90AA9EC11D85}">
      <dgm:prSet/>
      <dgm:spPr/>
      <dgm:t>
        <a:bodyPr/>
        <a:lstStyle/>
        <a:p>
          <a:endParaRPr lang="es-ES"/>
        </a:p>
      </dgm:t>
    </dgm:pt>
    <dgm:pt modelId="{A5E59CCA-9087-4B3D-AED5-E59629B6D30A}">
      <dgm:prSet/>
      <dgm:spPr/>
      <dgm:t>
        <a:bodyPr/>
        <a:lstStyle/>
        <a:p>
          <a:r>
            <a:rPr lang="es-ES" dirty="0"/>
            <a:t>Almacenamiento flexible y escalable de datos en su forma original, organizados en un sistema de archivos distribuido, sin necesidad de esquemas predefinidos</a:t>
          </a:r>
        </a:p>
      </dgm:t>
    </dgm:pt>
    <dgm:pt modelId="{812E7EFF-F53E-4DB1-86EF-C694469AE140}" type="parTrans" cxnId="{FCF4914F-77B5-495B-8FA0-5B1CAC6FAF1E}">
      <dgm:prSet/>
      <dgm:spPr/>
      <dgm:t>
        <a:bodyPr/>
        <a:lstStyle/>
        <a:p>
          <a:endParaRPr lang="es-ES"/>
        </a:p>
      </dgm:t>
    </dgm:pt>
    <dgm:pt modelId="{E64470F6-B46C-4ADD-BA20-158728589E7B}" type="sibTrans" cxnId="{FCF4914F-77B5-495B-8FA0-5B1CAC6FAF1E}">
      <dgm:prSet/>
      <dgm:spPr/>
      <dgm:t>
        <a:bodyPr/>
        <a:lstStyle/>
        <a:p>
          <a:endParaRPr lang="es-ES"/>
        </a:p>
      </dgm:t>
    </dgm:pt>
    <dgm:pt modelId="{5825934F-BC9A-480E-8D60-706ED9D5108B}">
      <dgm:prSet/>
      <dgm:spPr/>
      <dgm:t>
        <a:bodyPr/>
        <a:lstStyle/>
        <a:p>
          <a:r>
            <a:rPr lang="es-ES" dirty="0"/>
            <a:t>Adecuados para Big Data y análisis de datos no estructurados.</a:t>
          </a:r>
        </a:p>
      </dgm:t>
    </dgm:pt>
    <dgm:pt modelId="{E65B7334-A4E4-48FF-B75C-B875B72C9042}" type="parTrans" cxnId="{15C0F6D0-3FE6-4DFA-B2CC-3F54F5CF35AF}">
      <dgm:prSet/>
      <dgm:spPr/>
      <dgm:t>
        <a:bodyPr/>
        <a:lstStyle/>
        <a:p>
          <a:endParaRPr lang="es-ES"/>
        </a:p>
      </dgm:t>
    </dgm:pt>
    <dgm:pt modelId="{7CAE3D5E-2FA0-4A44-9B06-C7974BDE79B6}" type="sibTrans" cxnId="{15C0F6D0-3FE6-4DFA-B2CC-3F54F5CF35AF}">
      <dgm:prSet/>
      <dgm:spPr/>
      <dgm:t>
        <a:bodyPr/>
        <a:lstStyle/>
        <a:p>
          <a:endParaRPr lang="es-ES"/>
        </a:p>
      </dgm:t>
    </dgm:pt>
    <dgm:pt modelId="{A36D1D78-C9D6-4616-83F3-C5D5E98C8DC2}">
      <dgm:prSet/>
      <dgm:spPr/>
      <dgm:t>
        <a:bodyPr/>
        <a:lstStyle/>
        <a:p>
          <a:r>
            <a:rPr lang="es-ES" dirty="0"/>
            <a:t>Business intelligence</a:t>
          </a:r>
        </a:p>
      </dgm:t>
    </dgm:pt>
    <dgm:pt modelId="{50BFB804-402F-4517-A3DD-CA234CBF75EF}" type="parTrans" cxnId="{D3DA4FD1-6203-470D-B221-91CA7020C7F7}">
      <dgm:prSet/>
      <dgm:spPr/>
      <dgm:t>
        <a:bodyPr/>
        <a:lstStyle/>
        <a:p>
          <a:endParaRPr lang="es-ES"/>
        </a:p>
      </dgm:t>
    </dgm:pt>
    <dgm:pt modelId="{388FB3C7-D759-4395-BD8A-69B7E3485BA5}" type="sibTrans" cxnId="{D3DA4FD1-6203-470D-B221-91CA7020C7F7}">
      <dgm:prSet/>
      <dgm:spPr/>
      <dgm:t>
        <a:bodyPr/>
        <a:lstStyle/>
        <a:p>
          <a:endParaRPr lang="es-ES"/>
        </a:p>
      </dgm:t>
    </dgm:pt>
    <dgm:pt modelId="{E2983867-56F9-4E76-8AA8-E18EFAF03743}" type="pres">
      <dgm:prSet presAssocID="{CCCCD62B-9036-4C71-9755-3106E7DE1BB2}" presName="theList" presStyleCnt="0">
        <dgm:presLayoutVars>
          <dgm:dir/>
          <dgm:animLvl val="lvl"/>
          <dgm:resizeHandles val="exact"/>
        </dgm:presLayoutVars>
      </dgm:prSet>
      <dgm:spPr/>
    </dgm:pt>
    <dgm:pt modelId="{C4FAA056-4B3E-466A-A51E-9E04764194B7}" type="pres">
      <dgm:prSet presAssocID="{837ED74C-0B12-4406-92AA-CE02F30129F7}" presName="compNode" presStyleCnt="0"/>
      <dgm:spPr/>
    </dgm:pt>
    <dgm:pt modelId="{4369890C-2708-4C01-954B-7EEEC3AB78F9}" type="pres">
      <dgm:prSet presAssocID="{837ED74C-0B12-4406-92AA-CE02F30129F7}" presName="aNode" presStyleLbl="bgShp" presStyleIdx="0" presStyleCnt="2"/>
      <dgm:spPr/>
    </dgm:pt>
    <dgm:pt modelId="{D8E72563-90B9-4F9A-8E8F-BA0D316D514C}" type="pres">
      <dgm:prSet presAssocID="{837ED74C-0B12-4406-92AA-CE02F30129F7}" presName="textNode" presStyleLbl="bgShp" presStyleIdx="0" presStyleCnt="2"/>
      <dgm:spPr/>
    </dgm:pt>
    <dgm:pt modelId="{C432F5DA-C81E-4E6F-8CCA-64ABEA3D834A}" type="pres">
      <dgm:prSet presAssocID="{837ED74C-0B12-4406-92AA-CE02F30129F7}" presName="compChildNode" presStyleCnt="0"/>
      <dgm:spPr/>
    </dgm:pt>
    <dgm:pt modelId="{468F581C-2013-4357-BAE7-7DA7F23847CD}" type="pres">
      <dgm:prSet presAssocID="{837ED74C-0B12-4406-92AA-CE02F30129F7}" presName="theInnerList" presStyleCnt="0"/>
      <dgm:spPr/>
    </dgm:pt>
    <dgm:pt modelId="{E44854D0-B47C-4585-9919-BEB0B4181ADF}" type="pres">
      <dgm:prSet presAssocID="{643BA553-B279-4DB3-BC24-DD4EFC9C980F}" presName="childNode" presStyleLbl="node1" presStyleIdx="0" presStyleCnt="5">
        <dgm:presLayoutVars>
          <dgm:bulletEnabled val="1"/>
        </dgm:presLayoutVars>
      </dgm:prSet>
      <dgm:spPr/>
    </dgm:pt>
    <dgm:pt modelId="{3A13B6B0-2DCB-4EEF-A608-598FD4FD6924}" type="pres">
      <dgm:prSet presAssocID="{643BA553-B279-4DB3-BC24-DD4EFC9C980F}" presName="aSpace2" presStyleCnt="0"/>
      <dgm:spPr/>
    </dgm:pt>
    <dgm:pt modelId="{928EB016-DE30-4986-8F69-531EA44C8DCA}" type="pres">
      <dgm:prSet presAssocID="{FE93DDBF-4CEB-47C9-85CF-D347EF0FAEC8}" presName="childNode" presStyleLbl="node1" presStyleIdx="1" presStyleCnt="5">
        <dgm:presLayoutVars>
          <dgm:bulletEnabled val="1"/>
        </dgm:presLayoutVars>
      </dgm:prSet>
      <dgm:spPr/>
    </dgm:pt>
    <dgm:pt modelId="{7CEC4473-575D-411E-997B-374CA4108DCA}" type="pres">
      <dgm:prSet presAssocID="{FE93DDBF-4CEB-47C9-85CF-D347EF0FAEC8}" presName="aSpace2" presStyleCnt="0"/>
      <dgm:spPr/>
    </dgm:pt>
    <dgm:pt modelId="{97D547C3-3005-4B09-80FD-C73FC42A908E}" type="pres">
      <dgm:prSet presAssocID="{A36D1D78-C9D6-4616-83F3-C5D5E98C8DC2}" presName="childNode" presStyleLbl="node1" presStyleIdx="2" presStyleCnt="5">
        <dgm:presLayoutVars>
          <dgm:bulletEnabled val="1"/>
        </dgm:presLayoutVars>
      </dgm:prSet>
      <dgm:spPr/>
    </dgm:pt>
    <dgm:pt modelId="{229454B0-FEEA-4C05-877F-17F834346D86}" type="pres">
      <dgm:prSet presAssocID="{837ED74C-0B12-4406-92AA-CE02F30129F7}" presName="aSpace" presStyleCnt="0"/>
      <dgm:spPr/>
    </dgm:pt>
    <dgm:pt modelId="{6320361E-2502-49BC-8B9F-D9585364308D}" type="pres">
      <dgm:prSet presAssocID="{F73158AB-F660-4B67-96DB-E7759849BA64}" presName="compNode" presStyleCnt="0"/>
      <dgm:spPr/>
    </dgm:pt>
    <dgm:pt modelId="{89657D1E-D5D3-4CC5-8279-67BF7581C320}" type="pres">
      <dgm:prSet presAssocID="{F73158AB-F660-4B67-96DB-E7759849BA64}" presName="aNode" presStyleLbl="bgShp" presStyleIdx="1" presStyleCnt="2"/>
      <dgm:spPr/>
    </dgm:pt>
    <dgm:pt modelId="{F5A6FC0B-41D9-44D9-9B2A-F557B1F426D7}" type="pres">
      <dgm:prSet presAssocID="{F73158AB-F660-4B67-96DB-E7759849BA64}" presName="textNode" presStyleLbl="bgShp" presStyleIdx="1" presStyleCnt="2"/>
      <dgm:spPr/>
    </dgm:pt>
    <dgm:pt modelId="{6E5C7D82-D80D-487D-8D35-2FEF0C70DD91}" type="pres">
      <dgm:prSet presAssocID="{F73158AB-F660-4B67-96DB-E7759849BA64}" presName="compChildNode" presStyleCnt="0"/>
      <dgm:spPr/>
    </dgm:pt>
    <dgm:pt modelId="{34C13C04-33D1-4E47-982A-FA90E76B1C00}" type="pres">
      <dgm:prSet presAssocID="{F73158AB-F660-4B67-96DB-E7759849BA64}" presName="theInnerList" presStyleCnt="0"/>
      <dgm:spPr/>
    </dgm:pt>
    <dgm:pt modelId="{D921EB5E-584E-4898-A979-FE697E1E81C7}" type="pres">
      <dgm:prSet presAssocID="{A5E59CCA-9087-4B3D-AED5-E59629B6D30A}" presName="childNode" presStyleLbl="node1" presStyleIdx="3" presStyleCnt="5">
        <dgm:presLayoutVars>
          <dgm:bulletEnabled val="1"/>
        </dgm:presLayoutVars>
      </dgm:prSet>
      <dgm:spPr/>
    </dgm:pt>
    <dgm:pt modelId="{09019E2E-7B6F-4089-A893-F34853C79B62}" type="pres">
      <dgm:prSet presAssocID="{A5E59CCA-9087-4B3D-AED5-E59629B6D30A}" presName="aSpace2" presStyleCnt="0"/>
      <dgm:spPr/>
    </dgm:pt>
    <dgm:pt modelId="{FB0C55E0-F313-4162-9836-1B6B5F782DB8}" type="pres">
      <dgm:prSet presAssocID="{5825934F-BC9A-480E-8D60-706ED9D5108B}" presName="childNode" presStyleLbl="node1" presStyleIdx="4" presStyleCnt="5">
        <dgm:presLayoutVars>
          <dgm:bulletEnabled val="1"/>
        </dgm:presLayoutVars>
      </dgm:prSet>
      <dgm:spPr/>
    </dgm:pt>
  </dgm:ptLst>
  <dgm:cxnLst>
    <dgm:cxn modelId="{15646F0C-74E8-451F-8503-4B02DEE34D29}" type="presOf" srcId="{A5E59CCA-9087-4B3D-AED5-E59629B6D30A}" destId="{D921EB5E-584E-4898-A979-FE697E1E81C7}" srcOrd="0" destOrd="0" presId="urn:microsoft.com/office/officeart/2005/8/layout/lProcess2"/>
    <dgm:cxn modelId="{FBC60A0D-37E8-4CC8-BC11-8C55F57C005E}" type="presOf" srcId="{837ED74C-0B12-4406-92AA-CE02F30129F7}" destId="{4369890C-2708-4C01-954B-7EEEC3AB78F9}" srcOrd="0" destOrd="0" presId="urn:microsoft.com/office/officeart/2005/8/layout/lProcess2"/>
    <dgm:cxn modelId="{F268D530-E45E-4893-BA2E-C8C429431E7C}" type="presOf" srcId="{A36D1D78-C9D6-4616-83F3-C5D5E98C8DC2}" destId="{97D547C3-3005-4B09-80FD-C73FC42A908E}" srcOrd="0" destOrd="0" presId="urn:microsoft.com/office/officeart/2005/8/layout/lProcess2"/>
    <dgm:cxn modelId="{88916732-B976-429F-B949-FCFAABE1E78C}" type="presOf" srcId="{F73158AB-F660-4B67-96DB-E7759849BA64}" destId="{89657D1E-D5D3-4CC5-8279-67BF7581C320}" srcOrd="0" destOrd="0" presId="urn:microsoft.com/office/officeart/2005/8/layout/lProcess2"/>
    <dgm:cxn modelId="{6FD1EF38-FC85-4C55-A7DE-38E29F8C4ADF}" type="presOf" srcId="{5825934F-BC9A-480E-8D60-706ED9D5108B}" destId="{FB0C55E0-F313-4162-9836-1B6B5F782DB8}" srcOrd="0" destOrd="0" presId="urn:microsoft.com/office/officeart/2005/8/layout/lProcess2"/>
    <dgm:cxn modelId="{FE3DF240-9DC2-43B4-98F7-C6A23ACED6CF}" type="presOf" srcId="{643BA553-B279-4DB3-BC24-DD4EFC9C980F}" destId="{E44854D0-B47C-4585-9919-BEB0B4181ADF}" srcOrd="0" destOrd="0" presId="urn:microsoft.com/office/officeart/2005/8/layout/lProcess2"/>
    <dgm:cxn modelId="{86A7AE60-C834-421B-892D-42DF01175200}" type="presOf" srcId="{F73158AB-F660-4B67-96DB-E7759849BA64}" destId="{F5A6FC0B-41D9-44D9-9B2A-F557B1F426D7}" srcOrd="1" destOrd="0" presId="urn:microsoft.com/office/officeart/2005/8/layout/lProcess2"/>
    <dgm:cxn modelId="{A89F0443-23D3-4FEC-A8D5-802C5CA278CF}" type="presOf" srcId="{CCCCD62B-9036-4C71-9755-3106E7DE1BB2}" destId="{E2983867-56F9-4E76-8AA8-E18EFAF03743}" srcOrd="0" destOrd="0" presId="urn:microsoft.com/office/officeart/2005/8/layout/lProcess2"/>
    <dgm:cxn modelId="{FCF4914F-77B5-495B-8FA0-5B1CAC6FAF1E}" srcId="{F73158AB-F660-4B67-96DB-E7759849BA64}" destId="{A5E59CCA-9087-4B3D-AED5-E59629B6D30A}" srcOrd="0" destOrd="0" parTransId="{812E7EFF-F53E-4DB1-86EF-C694469AE140}" sibTransId="{E64470F6-B46C-4ADD-BA20-158728589E7B}"/>
    <dgm:cxn modelId="{69AC4174-C0CC-4C75-A86F-1B8B0F3D30AC}" srcId="{CCCCD62B-9036-4C71-9755-3106E7DE1BB2}" destId="{837ED74C-0B12-4406-92AA-CE02F30129F7}" srcOrd="0" destOrd="0" parTransId="{DAAEBF89-DCE3-45F9-A240-987C63B88A42}" sibTransId="{ED1E3130-CB7E-4A25-8393-DA5C24050D9C}"/>
    <dgm:cxn modelId="{A7718754-7290-4F7A-9E0E-3FDADE3BCB6F}" type="presOf" srcId="{FE93DDBF-4CEB-47C9-85CF-D347EF0FAEC8}" destId="{928EB016-DE30-4986-8F69-531EA44C8DCA}" srcOrd="0" destOrd="0" presId="urn:microsoft.com/office/officeart/2005/8/layout/lProcess2"/>
    <dgm:cxn modelId="{328C649D-E346-4114-B1C7-90AA9EC11D85}" srcId="{CCCCD62B-9036-4C71-9755-3106E7DE1BB2}" destId="{F73158AB-F660-4B67-96DB-E7759849BA64}" srcOrd="1" destOrd="0" parTransId="{8AD3D9DB-537A-4011-AFF4-CA4DAFCB7960}" sibTransId="{8A21C8F1-39B7-4FF7-80FD-D9C7F07D042D}"/>
    <dgm:cxn modelId="{55C556AE-9B7B-4A57-AE5C-B7337B56328E}" srcId="{837ED74C-0B12-4406-92AA-CE02F30129F7}" destId="{FE93DDBF-4CEB-47C9-85CF-D347EF0FAEC8}" srcOrd="1" destOrd="0" parTransId="{213A6115-DFFB-4789-A207-2B54685421EC}" sibTransId="{B1662883-43A1-486D-83A4-CFC915E8B12E}"/>
    <dgm:cxn modelId="{15C0F6D0-3FE6-4DFA-B2CC-3F54F5CF35AF}" srcId="{F73158AB-F660-4B67-96DB-E7759849BA64}" destId="{5825934F-BC9A-480E-8D60-706ED9D5108B}" srcOrd="1" destOrd="0" parTransId="{E65B7334-A4E4-48FF-B75C-B875B72C9042}" sibTransId="{7CAE3D5E-2FA0-4A44-9B06-C7974BDE79B6}"/>
    <dgm:cxn modelId="{D3DA4FD1-6203-470D-B221-91CA7020C7F7}" srcId="{837ED74C-0B12-4406-92AA-CE02F30129F7}" destId="{A36D1D78-C9D6-4616-83F3-C5D5E98C8DC2}" srcOrd="2" destOrd="0" parTransId="{50BFB804-402F-4517-A3DD-CA234CBF75EF}" sibTransId="{388FB3C7-D759-4395-BD8A-69B7E3485BA5}"/>
    <dgm:cxn modelId="{6E56BCDA-8E51-4455-96D3-6ABC98FDE186}" srcId="{837ED74C-0B12-4406-92AA-CE02F30129F7}" destId="{643BA553-B279-4DB3-BC24-DD4EFC9C980F}" srcOrd="0" destOrd="0" parTransId="{2EEBBE7C-0478-4472-A4D4-9B04718BA0FD}" sibTransId="{DA6F8914-2527-46CC-B4CC-F7BDF3E231DF}"/>
    <dgm:cxn modelId="{F0F5C4FC-17F4-429B-9C21-2823D7D7BE37}" type="presOf" srcId="{837ED74C-0B12-4406-92AA-CE02F30129F7}" destId="{D8E72563-90B9-4F9A-8E8F-BA0D316D514C}" srcOrd="1" destOrd="0" presId="urn:microsoft.com/office/officeart/2005/8/layout/lProcess2"/>
    <dgm:cxn modelId="{290D783F-B8A9-4754-8B11-23092E71D2DC}" type="presParOf" srcId="{E2983867-56F9-4E76-8AA8-E18EFAF03743}" destId="{C4FAA056-4B3E-466A-A51E-9E04764194B7}" srcOrd="0" destOrd="0" presId="urn:microsoft.com/office/officeart/2005/8/layout/lProcess2"/>
    <dgm:cxn modelId="{10F6886F-22EF-406D-97FF-1A5D9148E88C}" type="presParOf" srcId="{C4FAA056-4B3E-466A-A51E-9E04764194B7}" destId="{4369890C-2708-4C01-954B-7EEEC3AB78F9}" srcOrd="0" destOrd="0" presId="urn:microsoft.com/office/officeart/2005/8/layout/lProcess2"/>
    <dgm:cxn modelId="{0AC6B237-632E-46A1-9639-A8FBF7BFF35A}" type="presParOf" srcId="{C4FAA056-4B3E-466A-A51E-9E04764194B7}" destId="{D8E72563-90B9-4F9A-8E8F-BA0D316D514C}" srcOrd="1" destOrd="0" presId="urn:microsoft.com/office/officeart/2005/8/layout/lProcess2"/>
    <dgm:cxn modelId="{0CD67B29-58F1-4DC9-83BE-6F54451AC846}" type="presParOf" srcId="{C4FAA056-4B3E-466A-A51E-9E04764194B7}" destId="{C432F5DA-C81E-4E6F-8CCA-64ABEA3D834A}" srcOrd="2" destOrd="0" presId="urn:microsoft.com/office/officeart/2005/8/layout/lProcess2"/>
    <dgm:cxn modelId="{6E5E7C96-88DC-4954-9D8D-43B6463F073D}" type="presParOf" srcId="{C432F5DA-C81E-4E6F-8CCA-64ABEA3D834A}" destId="{468F581C-2013-4357-BAE7-7DA7F23847CD}" srcOrd="0" destOrd="0" presId="urn:microsoft.com/office/officeart/2005/8/layout/lProcess2"/>
    <dgm:cxn modelId="{1076BD6B-5262-47C4-BCED-C2EE6E294E93}" type="presParOf" srcId="{468F581C-2013-4357-BAE7-7DA7F23847CD}" destId="{E44854D0-B47C-4585-9919-BEB0B4181ADF}" srcOrd="0" destOrd="0" presId="urn:microsoft.com/office/officeart/2005/8/layout/lProcess2"/>
    <dgm:cxn modelId="{98960E50-3E01-426E-AD71-43F3AA14139F}" type="presParOf" srcId="{468F581C-2013-4357-BAE7-7DA7F23847CD}" destId="{3A13B6B0-2DCB-4EEF-A608-598FD4FD6924}" srcOrd="1" destOrd="0" presId="urn:microsoft.com/office/officeart/2005/8/layout/lProcess2"/>
    <dgm:cxn modelId="{F146FC82-0C4A-4715-976D-AC9F30F40910}" type="presParOf" srcId="{468F581C-2013-4357-BAE7-7DA7F23847CD}" destId="{928EB016-DE30-4986-8F69-531EA44C8DCA}" srcOrd="2" destOrd="0" presId="urn:microsoft.com/office/officeart/2005/8/layout/lProcess2"/>
    <dgm:cxn modelId="{88ACC4A5-600A-4EEF-9EB4-1F6444F66544}" type="presParOf" srcId="{468F581C-2013-4357-BAE7-7DA7F23847CD}" destId="{7CEC4473-575D-411E-997B-374CA4108DCA}" srcOrd="3" destOrd="0" presId="urn:microsoft.com/office/officeart/2005/8/layout/lProcess2"/>
    <dgm:cxn modelId="{E0430D0F-F4D0-491F-A338-A7316D0B2160}" type="presParOf" srcId="{468F581C-2013-4357-BAE7-7DA7F23847CD}" destId="{97D547C3-3005-4B09-80FD-C73FC42A908E}" srcOrd="4" destOrd="0" presId="urn:microsoft.com/office/officeart/2005/8/layout/lProcess2"/>
    <dgm:cxn modelId="{CE7DCDAD-CE95-4482-AA32-BB7016DCF1FC}" type="presParOf" srcId="{E2983867-56F9-4E76-8AA8-E18EFAF03743}" destId="{229454B0-FEEA-4C05-877F-17F834346D86}" srcOrd="1" destOrd="0" presId="urn:microsoft.com/office/officeart/2005/8/layout/lProcess2"/>
    <dgm:cxn modelId="{A94FE2C3-B88F-4590-BBD6-FE84A0264515}" type="presParOf" srcId="{E2983867-56F9-4E76-8AA8-E18EFAF03743}" destId="{6320361E-2502-49BC-8B9F-D9585364308D}" srcOrd="2" destOrd="0" presId="urn:microsoft.com/office/officeart/2005/8/layout/lProcess2"/>
    <dgm:cxn modelId="{451FE272-4BA5-4301-8880-7AAA74AA951F}" type="presParOf" srcId="{6320361E-2502-49BC-8B9F-D9585364308D}" destId="{89657D1E-D5D3-4CC5-8279-67BF7581C320}" srcOrd="0" destOrd="0" presId="urn:microsoft.com/office/officeart/2005/8/layout/lProcess2"/>
    <dgm:cxn modelId="{ABC1615C-2F8D-4E5C-9298-07B8C3981900}" type="presParOf" srcId="{6320361E-2502-49BC-8B9F-D9585364308D}" destId="{F5A6FC0B-41D9-44D9-9B2A-F557B1F426D7}" srcOrd="1" destOrd="0" presId="urn:microsoft.com/office/officeart/2005/8/layout/lProcess2"/>
    <dgm:cxn modelId="{B11B8FEE-E5EC-4432-9499-2FDEEE86CF50}" type="presParOf" srcId="{6320361E-2502-49BC-8B9F-D9585364308D}" destId="{6E5C7D82-D80D-487D-8D35-2FEF0C70DD91}" srcOrd="2" destOrd="0" presId="urn:microsoft.com/office/officeart/2005/8/layout/lProcess2"/>
    <dgm:cxn modelId="{641FD747-92A6-419C-A7EC-152F738323B8}" type="presParOf" srcId="{6E5C7D82-D80D-487D-8D35-2FEF0C70DD91}" destId="{34C13C04-33D1-4E47-982A-FA90E76B1C00}" srcOrd="0" destOrd="0" presId="urn:microsoft.com/office/officeart/2005/8/layout/lProcess2"/>
    <dgm:cxn modelId="{8E0EC132-3E02-41FF-BC7C-E9E888BF4851}" type="presParOf" srcId="{34C13C04-33D1-4E47-982A-FA90E76B1C00}" destId="{D921EB5E-584E-4898-A979-FE697E1E81C7}" srcOrd="0" destOrd="0" presId="urn:microsoft.com/office/officeart/2005/8/layout/lProcess2"/>
    <dgm:cxn modelId="{10D24122-C677-42B8-88DD-358018DCCE2C}" type="presParOf" srcId="{34C13C04-33D1-4E47-982A-FA90E76B1C00}" destId="{09019E2E-7B6F-4089-A893-F34853C79B62}" srcOrd="1" destOrd="0" presId="urn:microsoft.com/office/officeart/2005/8/layout/lProcess2"/>
    <dgm:cxn modelId="{CA5C922D-DA6C-4712-856A-132931B57433}" type="presParOf" srcId="{34C13C04-33D1-4E47-982A-FA90E76B1C00}" destId="{FB0C55E0-F313-4162-9836-1B6B5F782DB8}"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28A3EFA-242E-4ED5-9981-CBA96EBC3F26}"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s-ES"/>
        </a:p>
      </dgm:t>
    </dgm:pt>
    <dgm:pt modelId="{393A1B4D-115D-473D-BED2-056934A0A538}">
      <dgm:prSet phldrT="[Texto]"/>
      <dgm:spPr/>
      <dgm:t>
        <a:bodyPr/>
        <a:lstStyle/>
        <a:p>
          <a:r>
            <a:rPr lang="es-ES" dirty="0"/>
            <a:t>El almacenamiento físico de datos se implementa de diferentes formas:</a:t>
          </a:r>
        </a:p>
      </dgm:t>
    </dgm:pt>
    <dgm:pt modelId="{9EB293ED-DCC7-462F-989E-821EE4937709}" type="parTrans" cxnId="{62DA2923-D1FE-4D05-9DB7-0DF88743A441}">
      <dgm:prSet/>
      <dgm:spPr/>
      <dgm:t>
        <a:bodyPr/>
        <a:lstStyle/>
        <a:p>
          <a:endParaRPr lang="es-ES"/>
        </a:p>
      </dgm:t>
    </dgm:pt>
    <dgm:pt modelId="{813DEC34-93F6-4197-AFC5-FF67C86F733F}" type="sibTrans" cxnId="{62DA2923-D1FE-4D05-9DB7-0DF88743A441}">
      <dgm:prSet/>
      <dgm:spPr/>
      <dgm:t>
        <a:bodyPr/>
        <a:lstStyle/>
        <a:p>
          <a:endParaRPr lang="es-ES"/>
        </a:p>
      </dgm:t>
    </dgm:pt>
    <dgm:pt modelId="{FFB85D15-4193-479A-AFD6-A2C0B9A70BA7}">
      <dgm:prSet/>
      <dgm:spPr/>
      <dgm:t>
        <a:bodyPr/>
        <a:lstStyle/>
        <a:p>
          <a:r>
            <a:rPr lang="es-ES" dirty="0"/>
            <a:t>Las necesidades de la organización.</a:t>
          </a:r>
        </a:p>
      </dgm:t>
    </dgm:pt>
    <dgm:pt modelId="{B6EAE00A-F094-4DAD-8779-FB580B52372D}" type="parTrans" cxnId="{57BF220C-1787-45C0-B30B-68D7372FBB53}">
      <dgm:prSet/>
      <dgm:spPr/>
      <dgm:t>
        <a:bodyPr/>
        <a:lstStyle/>
        <a:p>
          <a:endParaRPr lang="es-ES"/>
        </a:p>
      </dgm:t>
    </dgm:pt>
    <dgm:pt modelId="{B412CE65-22C3-44F4-A201-7A284A1BEB80}" type="sibTrans" cxnId="{57BF220C-1787-45C0-B30B-68D7372FBB53}">
      <dgm:prSet/>
      <dgm:spPr/>
      <dgm:t>
        <a:bodyPr/>
        <a:lstStyle/>
        <a:p>
          <a:endParaRPr lang="es-ES"/>
        </a:p>
      </dgm:t>
    </dgm:pt>
    <dgm:pt modelId="{475C97D6-54F2-47ED-9DB0-8D405E54FAFD}">
      <dgm:prSet/>
      <dgm:spPr/>
      <dgm:t>
        <a:bodyPr/>
        <a:lstStyle/>
        <a:p>
          <a:r>
            <a:rPr lang="es-ES" dirty="0"/>
            <a:t>La infraestructura existente.</a:t>
          </a:r>
        </a:p>
      </dgm:t>
    </dgm:pt>
    <dgm:pt modelId="{83754E21-6A39-450F-B2C1-62EAB3F47B30}" type="parTrans" cxnId="{609BF43F-D0D9-4075-B2CB-6AAA82359E07}">
      <dgm:prSet/>
      <dgm:spPr/>
      <dgm:t>
        <a:bodyPr/>
        <a:lstStyle/>
        <a:p>
          <a:endParaRPr lang="es-ES"/>
        </a:p>
      </dgm:t>
    </dgm:pt>
    <dgm:pt modelId="{B41BAB28-96B1-4515-AAEB-33D81F7B20DC}" type="sibTrans" cxnId="{609BF43F-D0D9-4075-B2CB-6AAA82359E07}">
      <dgm:prSet/>
      <dgm:spPr/>
      <dgm:t>
        <a:bodyPr/>
        <a:lstStyle/>
        <a:p>
          <a:endParaRPr lang="es-ES"/>
        </a:p>
      </dgm:t>
    </dgm:pt>
    <dgm:pt modelId="{B9A36353-6664-449D-9BFA-C92DDF4A1180}">
      <dgm:prSet/>
      <dgm:spPr/>
      <dgm:t>
        <a:bodyPr/>
        <a:lstStyle/>
        <a:p>
          <a:r>
            <a:rPr lang="es-ES" dirty="0"/>
            <a:t>Sus requerimientos</a:t>
          </a:r>
        </a:p>
      </dgm:t>
    </dgm:pt>
    <dgm:pt modelId="{E9D9EB30-D289-4C20-9A30-4125585DE844}" type="parTrans" cxnId="{4B653768-12E8-4940-B403-B39610F07CDF}">
      <dgm:prSet/>
      <dgm:spPr/>
      <dgm:t>
        <a:bodyPr/>
        <a:lstStyle/>
        <a:p>
          <a:endParaRPr lang="es-ES"/>
        </a:p>
      </dgm:t>
    </dgm:pt>
    <dgm:pt modelId="{ABABB9E7-56F6-4F13-A0D4-D8F0B7AB85EF}" type="sibTrans" cxnId="{4B653768-12E8-4940-B403-B39610F07CDF}">
      <dgm:prSet/>
      <dgm:spPr/>
      <dgm:t>
        <a:bodyPr/>
        <a:lstStyle/>
        <a:p>
          <a:endParaRPr lang="es-ES"/>
        </a:p>
      </dgm:t>
    </dgm:pt>
    <dgm:pt modelId="{1F76AC94-A3C4-4247-9DB2-E0D3725017F0}">
      <dgm:prSet/>
      <dgm:spPr/>
      <dgm:t>
        <a:bodyPr/>
        <a:lstStyle/>
        <a:p>
          <a:r>
            <a:rPr lang="es-ES" dirty="0"/>
            <a:t>Sus preferencias.</a:t>
          </a:r>
        </a:p>
      </dgm:t>
    </dgm:pt>
    <dgm:pt modelId="{3818AEA4-DCB5-42AC-94AB-47AAA5167689}" type="parTrans" cxnId="{51B78CA7-E3F1-4AAD-8B01-90EE98DF15C2}">
      <dgm:prSet/>
      <dgm:spPr/>
      <dgm:t>
        <a:bodyPr/>
        <a:lstStyle/>
        <a:p>
          <a:endParaRPr lang="es-ES"/>
        </a:p>
      </dgm:t>
    </dgm:pt>
    <dgm:pt modelId="{A3A16A6B-30C8-4967-8F2C-40D9A6661A02}" type="sibTrans" cxnId="{51B78CA7-E3F1-4AAD-8B01-90EE98DF15C2}">
      <dgm:prSet/>
      <dgm:spPr/>
      <dgm:t>
        <a:bodyPr/>
        <a:lstStyle/>
        <a:p>
          <a:endParaRPr lang="es-ES"/>
        </a:p>
      </dgm:t>
    </dgm:pt>
    <dgm:pt modelId="{FC5B786E-5917-4CC4-8676-292ACA20BDF1}">
      <dgm:prSet/>
      <dgm:spPr/>
      <dgm:t>
        <a:bodyPr/>
        <a:lstStyle/>
        <a:p>
          <a:r>
            <a:rPr lang="es-ES" dirty="0"/>
            <a:t>Su presupuesto. </a:t>
          </a:r>
        </a:p>
      </dgm:t>
    </dgm:pt>
    <dgm:pt modelId="{D31D8BB6-AF61-42BD-93DF-8E6B14E8B857}" type="parTrans" cxnId="{7EEE6673-E0A7-4504-ACA3-652F4DA0790B}">
      <dgm:prSet/>
      <dgm:spPr/>
      <dgm:t>
        <a:bodyPr/>
        <a:lstStyle/>
        <a:p>
          <a:endParaRPr lang="es-ES"/>
        </a:p>
      </dgm:t>
    </dgm:pt>
    <dgm:pt modelId="{FD7BD85A-7D13-42B6-8A20-B768B8A084FB}" type="sibTrans" cxnId="{7EEE6673-E0A7-4504-ACA3-652F4DA0790B}">
      <dgm:prSet/>
      <dgm:spPr/>
      <dgm:t>
        <a:bodyPr/>
        <a:lstStyle/>
        <a:p>
          <a:endParaRPr lang="es-ES"/>
        </a:p>
      </dgm:t>
    </dgm:pt>
    <dgm:pt modelId="{B4BF846C-78FA-4C5F-9C86-686EC118BFC9}">
      <dgm:prSet/>
      <dgm:spPr/>
      <dgm:t>
        <a:bodyPr/>
        <a:lstStyle/>
        <a:p>
          <a:r>
            <a:rPr lang="es-ES" dirty="0"/>
            <a:t>On premise</a:t>
          </a:r>
        </a:p>
      </dgm:t>
    </dgm:pt>
    <dgm:pt modelId="{4959E158-F5C6-40EF-BB43-A81D61DD2267}" type="parTrans" cxnId="{B08D0B19-0A54-482C-9A61-56BB2F3D1BE8}">
      <dgm:prSet/>
      <dgm:spPr/>
      <dgm:t>
        <a:bodyPr/>
        <a:lstStyle/>
        <a:p>
          <a:endParaRPr lang="es-ES"/>
        </a:p>
      </dgm:t>
    </dgm:pt>
    <dgm:pt modelId="{85055001-9348-4C4B-88F3-B2BE5DF7547C}" type="sibTrans" cxnId="{B08D0B19-0A54-482C-9A61-56BB2F3D1BE8}">
      <dgm:prSet/>
      <dgm:spPr/>
      <dgm:t>
        <a:bodyPr/>
        <a:lstStyle/>
        <a:p>
          <a:endParaRPr lang="es-ES"/>
        </a:p>
      </dgm:t>
    </dgm:pt>
    <dgm:pt modelId="{935EE4A2-580E-4FC7-8DCE-BED9C29B9BB1}">
      <dgm:prSet/>
      <dgm:spPr/>
      <dgm:t>
        <a:bodyPr/>
        <a:lstStyle/>
        <a:p>
          <a:r>
            <a:rPr lang="es-ES" dirty="0"/>
            <a:t>Es la infraestructura de almacenamiento de datos que se instala y mantiene dentro de las propias instalaciones de una organización.</a:t>
          </a:r>
        </a:p>
      </dgm:t>
    </dgm:pt>
    <dgm:pt modelId="{18C20198-AF3F-4201-B774-92D6A423F603}" type="parTrans" cxnId="{D8D76606-9D9E-4B0A-B6C7-EEFCCF98758F}">
      <dgm:prSet/>
      <dgm:spPr/>
      <dgm:t>
        <a:bodyPr/>
        <a:lstStyle/>
        <a:p>
          <a:endParaRPr lang="es-ES"/>
        </a:p>
      </dgm:t>
    </dgm:pt>
    <dgm:pt modelId="{0FA84AD6-9E86-4821-891E-187B52D327A6}" type="sibTrans" cxnId="{D8D76606-9D9E-4B0A-B6C7-EEFCCF98758F}">
      <dgm:prSet/>
      <dgm:spPr/>
      <dgm:t>
        <a:bodyPr/>
        <a:lstStyle/>
        <a:p>
          <a:endParaRPr lang="es-ES"/>
        </a:p>
      </dgm:t>
    </dgm:pt>
    <dgm:pt modelId="{CA3565D2-C52E-436A-87D6-F2DEF54B2A43}">
      <dgm:prSet/>
      <dgm:spPr/>
      <dgm:t>
        <a:bodyPr/>
        <a:lstStyle/>
        <a:p>
          <a:r>
            <a:rPr lang="es-ES" dirty="0"/>
            <a:t>Nube</a:t>
          </a:r>
        </a:p>
      </dgm:t>
    </dgm:pt>
    <dgm:pt modelId="{8F44265D-8872-404C-8715-501FADD90EE7}" type="parTrans" cxnId="{F04D1A6B-3065-41F4-9BC4-716D05C71DF9}">
      <dgm:prSet/>
      <dgm:spPr/>
      <dgm:t>
        <a:bodyPr/>
        <a:lstStyle/>
        <a:p>
          <a:endParaRPr lang="es-ES"/>
        </a:p>
      </dgm:t>
    </dgm:pt>
    <dgm:pt modelId="{C6308044-22EC-4E4E-82C0-0A4A24BC40CC}" type="sibTrans" cxnId="{F04D1A6B-3065-41F4-9BC4-716D05C71DF9}">
      <dgm:prSet/>
      <dgm:spPr/>
      <dgm:t>
        <a:bodyPr/>
        <a:lstStyle/>
        <a:p>
          <a:endParaRPr lang="es-ES"/>
        </a:p>
      </dgm:t>
    </dgm:pt>
    <dgm:pt modelId="{7CEE4386-9092-4414-8374-F269EA5BDF7A}">
      <dgm:prSet/>
      <dgm:spPr/>
      <dgm:t>
        <a:bodyPr/>
        <a:lstStyle/>
        <a:p>
          <a:r>
            <a:rPr lang="es-ES" dirty="0"/>
            <a:t>Es el uso de servicios de almacenamiento proporcionados por proveedores externos que operan grandes centros de datos.</a:t>
          </a:r>
        </a:p>
      </dgm:t>
    </dgm:pt>
    <dgm:pt modelId="{1C95E8FC-50BA-4486-B53C-193E3D366C09}" type="parTrans" cxnId="{5D7F2C87-733B-4B75-99E3-BDFE66511AE0}">
      <dgm:prSet/>
      <dgm:spPr/>
      <dgm:t>
        <a:bodyPr/>
        <a:lstStyle/>
        <a:p>
          <a:endParaRPr lang="es-ES"/>
        </a:p>
      </dgm:t>
    </dgm:pt>
    <dgm:pt modelId="{041ECFF6-C1FF-459B-9446-2AFDBC81593E}" type="sibTrans" cxnId="{5D7F2C87-733B-4B75-99E3-BDFE66511AE0}">
      <dgm:prSet/>
      <dgm:spPr/>
      <dgm:t>
        <a:bodyPr/>
        <a:lstStyle/>
        <a:p>
          <a:endParaRPr lang="es-ES"/>
        </a:p>
      </dgm:t>
    </dgm:pt>
    <dgm:pt modelId="{66D6937F-9FD6-4666-B8AF-93E6903F2FE8}">
      <dgm:prSet/>
      <dgm:spPr/>
      <dgm:t>
        <a:bodyPr/>
        <a:lstStyle/>
        <a:p>
          <a:r>
            <a:rPr lang="es-ES" dirty="0"/>
            <a:t>Mixto</a:t>
          </a:r>
        </a:p>
      </dgm:t>
    </dgm:pt>
    <dgm:pt modelId="{73BFBFF0-6D2B-44C3-8CCD-8ED80DC7D657}" type="parTrans" cxnId="{4FEB51AD-2B50-4B47-9CCD-29CBC71CC8DA}">
      <dgm:prSet/>
      <dgm:spPr/>
      <dgm:t>
        <a:bodyPr/>
        <a:lstStyle/>
        <a:p>
          <a:endParaRPr lang="es-ES"/>
        </a:p>
      </dgm:t>
    </dgm:pt>
    <dgm:pt modelId="{7999D47D-7B1C-4720-8210-BFA2090A6A0A}" type="sibTrans" cxnId="{4FEB51AD-2B50-4B47-9CCD-29CBC71CC8DA}">
      <dgm:prSet/>
      <dgm:spPr/>
      <dgm:t>
        <a:bodyPr/>
        <a:lstStyle/>
        <a:p>
          <a:endParaRPr lang="es-ES"/>
        </a:p>
      </dgm:t>
    </dgm:pt>
    <dgm:pt modelId="{6EF5E5DD-0EAD-474D-AD68-3EAD96EA3B21}">
      <dgm:prSet/>
      <dgm:spPr/>
      <dgm:t>
        <a:bodyPr/>
        <a:lstStyle/>
        <a:p>
          <a:r>
            <a:rPr lang="es-ES" dirty="0"/>
            <a:t>El almacenamiento mixto (híbrido) combina infraestructura on-premise y servicios en la nube, permitiendo a las organizaciones beneficiarse de lo mejor de ambos mundos.</a:t>
          </a:r>
        </a:p>
      </dgm:t>
    </dgm:pt>
    <dgm:pt modelId="{DB666C8C-3C83-4C75-85A8-11845140B040}" type="parTrans" cxnId="{58EF1DB1-2126-4099-9485-4ECD70244D3A}">
      <dgm:prSet/>
      <dgm:spPr/>
      <dgm:t>
        <a:bodyPr/>
        <a:lstStyle/>
        <a:p>
          <a:endParaRPr lang="es-ES"/>
        </a:p>
      </dgm:t>
    </dgm:pt>
    <dgm:pt modelId="{D2AA8BC5-3A47-417C-8735-F82AAEB0F71B}" type="sibTrans" cxnId="{58EF1DB1-2126-4099-9485-4ECD70244D3A}">
      <dgm:prSet/>
      <dgm:spPr/>
      <dgm:t>
        <a:bodyPr/>
        <a:lstStyle/>
        <a:p>
          <a:endParaRPr lang="es-ES"/>
        </a:p>
      </dgm:t>
    </dgm:pt>
    <dgm:pt modelId="{6FE7F541-C5F6-4F4E-968E-0174449D49A1}" type="pres">
      <dgm:prSet presAssocID="{C28A3EFA-242E-4ED5-9981-CBA96EBC3F26}" presName="linear" presStyleCnt="0">
        <dgm:presLayoutVars>
          <dgm:animLvl val="lvl"/>
          <dgm:resizeHandles val="exact"/>
        </dgm:presLayoutVars>
      </dgm:prSet>
      <dgm:spPr/>
    </dgm:pt>
    <dgm:pt modelId="{52728CBE-03EB-407A-9A36-0D2B18CFA5DF}" type="pres">
      <dgm:prSet presAssocID="{393A1B4D-115D-473D-BED2-056934A0A538}" presName="parentText" presStyleLbl="node1" presStyleIdx="0" presStyleCnt="4">
        <dgm:presLayoutVars>
          <dgm:chMax val="0"/>
          <dgm:bulletEnabled val="1"/>
        </dgm:presLayoutVars>
      </dgm:prSet>
      <dgm:spPr/>
    </dgm:pt>
    <dgm:pt modelId="{509D9910-7810-4CB9-B870-FB30EE4CC143}" type="pres">
      <dgm:prSet presAssocID="{393A1B4D-115D-473D-BED2-056934A0A538}" presName="childText" presStyleLbl="revTx" presStyleIdx="0" presStyleCnt="4">
        <dgm:presLayoutVars>
          <dgm:bulletEnabled val="1"/>
        </dgm:presLayoutVars>
      </dgm:prSet>
      <dgm:spPr/>
    </dgm:pt>
    <dgm:pt modelId="{C416A670-E097-46BF-9662-4F1D5AABB0BF}" type="pres">
      <dgm:prSet presAssocID="{B4BF846C-78FA-4C5F-9C86-686EC118BFC9}" presName="parentText" presStyleLbl="node1" presStyleIdx="1" presStyleCnt="4">
        <dgm:presLayoutVars>
          <dgm:chMax val="0"/>
          <dgm:bulletEnabled val="1"/>
        </dgm:presLayoutVars>
      </dgm:prSet>
      <dgm:spPr/>
    </dgm:pt>
    <dgm:pt modelId="{57196A74-8FAB-4B08-B631-423E17F6BF3E}" type="pres">
      <dgm:prSet presAssocID="{B4BF846C-78FA-4C5F-9C86-686EC118BFC9}" presName="childText" presStyleLbl="revTx" presStyleIdx="1" presStyleCnt="4">
        <dgm:presLayoutVars>
          <dgm:bulletEnabled val="1"/>
        </dgm:presLayoutVars>
      </dgm:prSet>
      <dgm:spPr/>
    </dgm:pt>
    <dgm:pt modelId="{495B2AD3-44DF-4B4C-A4D8-5B3D5404FAC6}" type="pres">
      <dgm:prSet presAssocID="{CA3565D2-C52E-436A-87D6-F2DEF54B2A43}" presName="parentText" presStyleLbl="node1" presStyleIdx="2" presStyleCnt="4">
        <dgm:presLayoutVars>
          <dgm:chMax val="0"/>
          <dgm:bulletEnabled val="1"/>
        </dgm:presLayoutVars>
      </dgm:prSet>
      <dgm:spPr/>
    </dgm:pt>
    <dgm:pt modelId="{2E3E5A9F-197D-49FD-BF2B-9474B02CA2C7}" type="pres">
      <dgm:prSet presAssocID="{CA3565D2-C52E-436A-87D6-F2DEF54B2A43}" presName="childText" presStyleLbl="revTx" presStyleIdx="2" presStyleCnt="4">
        <dgm:presLayoutVars>
          <dgm:bulletEnabled val="1"/>
        </dgm:presLayoutVars>
      </dgm:prSet>
      <dgm:spPr/>
    </dgm:pt>
    <dgm:pt modelId="{C869CCC9-6415-4236-A8D6-397E152D3D1B}" type="pres">
      <dgm:prSet presAssocID="{66D6937F-9FD6-4666-B8AF-93E6903F2FE8}" presName="parentText" presStyleLbl="node1" presStyleIdx="3" presStyleCnt="4">
        <dgm:presLayoutVars>
          <dgm:chMax val="0"/>
          <dgm:bulletEnabled val="1"/>
        </dgm:presLayoutVars>
      </dgm:prSet>
      <dgm:spPr/>
    </dgm:pt>
    <dgm:pt modelId="{2FC8C5F8-B187-48E0-9FB4-AE3820E97B4A}" type="pres">
      <dgm:prSet presAssocID="{66D6937F-9FD6-4666-B8AF-93E6903F2FE8}" presName="childText" presStyleLbl="revTx" presStyleIdx="3" presStyleCnt="4">
        <dgm:presLayoutVars>
          <dgm:bulletEnabled val="1"/>
        </dgm:presLayoutVars>
      </dgm:prSet>
      <dgm:spPr/>
    </dgm:pt>
  </dgm:ptLst>
  <dgm:cxnLst>
    <dgm:cxn modelId="{D8D76606-9D9E-4B0A-B6C7-EEFCCF98758F}" srcId="{B4BF846C-78FA-4C5F-9C86-686EC118BFC9}" destId="{935EE4A2-580E-4FC7-8DCE-BED9C29B9BB1}" srcOrd="0" destOrd="0" parTransId="{18C20198-AF3F-4201-B774-92D6A423F603}" sibTransId="{0FA84AD6-9E86-4821-891E-187B52D327A6}"/>
    <dgm:cxn modelId="{57BF220C-1787-45C0-B30B-68D7372FBB53}" srcId="{393A1B4D-115D-473D-BED2-056934A0A538}" destId="{FFB85D15-4193-479A-AFD6-A2C0B9A70BA7}" srcOrd="0" destOrd="0" parTransId="{B6EAE00A-F094-4DAD-8779-FB580B52372D}" sibTransId="{B412CE65-22C3-44F4-A201-7A284A1BEB80}"/>
    <dgm:cxn modelId="{B08D0B19-0A54-482C-9A61-56BB2F3D1BE8}" srcId="{C28A3EFA-242E-4ED5-9981-CBA96EBC3F26}" destId="{B4BF846C-78FA-4C5F-9C86-686EC118BFC9}" srcOrd="1" destOrd="0" parTransId="{4959E158-F5C6-40EF-BB43-A81D61DD2267}" sibTransId="{85055001-9348-4C4B-88F3-B2BE5DF7547C}"/>
    <dgm:cxn modelId="{62DA2923-D1FE-4D05-9DB7-0DF88743A441}" srcId="{C28A3EFA-242E-4ED5-9981-CBA96EBC3F26}" destId="{393A1B4D-115D-473D-BED2-056934A0A538}" srcOrd="0" destOrd="0" parTransId="{9EB293ED-DCC7-462F-989E-821EE4937709}" sibTransId="{813DEC34-93F6-4197-AFC5-FF67C86F733F}"/>
    <dgm:cxn modelId="{49C4AD25-FE54-4EB7-A002-AAE9EE36D5FF}" type="presOf" srcId="{66D6937F-9FD6-4666-B8AF-93E6903F2FE8}" destId="{C869CCC9-6415-4236-A8D6-397E152D3D1B}" srcOrd="0" destOrd="0" presId="urn:microsoft.com/office/officeart/2005/8/layout/vList2"/>
    <dgm:cxn modelId="{0A23FB38-9C45-4E3B-868C-5812CB2C04D3}" type="presOf" srcId="{C28A3EFA-242E-4ED5-9981-CBA96EBC3F26}" destId="{6FE7F541-C5F6-4F4E-968E-0174449D49A1}" srcOrd="0" destOrd="0" presId="urn:microsoft.com/office/officeart/2005/8/layout/vList2"/>
    <dgm:cxn modelId="{2C64053A-63EB-413A-A889-D159B306BB87}" type="presOf" srcId="{CA3565D2-C52E-436A-87D6-F2DEF54B2A43}" destId="{495B2AD3-44DF-4B4C-A4D8-5B3D5404FAC6}" srcOrd="0" destOrd="0" presId="urn:microsoft.com/office/officeart/2005/8/layout/vList2"/>
    <dgm:cxn modelId="{609BF43F-D0D9-4075-B2CB-6AAA82359E07}" srcId="{393A1B4D-115D-473D-BED2-056934A0A538}" destId="{475C97D6-54F2-47ED-9DB0-8D405E54FAFD}" srcOrd="1" destOrd="0" parTransId="{83754E21-6A39-450F-B2C1-62EAB3F47B30}" sibTransId="{B41BAB28-96B1-4515-AAEB-33D81F7B20DC}"/>
    <dgm:cxn modelId="{2B4E545E-4565-4B19-8A94-3CB3CA1E5546}" type="presOf" srcId="{6EF5E5DD-0EAD-474D-AD68-3EAD96EA3B21}" destId="{2FC8C5F8-B187-48E0-9FB4-AE3820E97B4A}" srcOrd="0" destOrd="0" presId="urn:microsoft.com/office/officeart/2005/8/layout/vList2"/>
    <dgm:cxn modelId="{6D73AC44-200F-4821-9A79-2F304C0CED69}" type="presOf" srcId="{475C97D6-54F2-47ED-9DB0-8D405E54FAFD}" destId="{509D9910-7810-4CB9-B870-FB30EE4CC143}" srcOrd="0" destOrd="1" presId="urn:microsoft.com/office/officeart/2005/8/layout/vList2"/>
    <dgm:cxn modelId="{4B653768-12E8-4940-B403-B39610F07CDF}" srcId="{393A1B4D-115D-473D-BED2-056934A0A538}" destId="{B9A36353-6664-449D-9BFA-C92DDF4A1180}" srcOrd="2" destOrd="0" parTransId="{E9D9EB30-D289-4C20-9A30-4125585DE844}" sibTransId="{ABABB9E7-56F6-4F13-A0D4-D8F0B7AB85EF}"/>
    <dgm:cxn modelId="{F04D1A6B-3065-41F4-9BC4-716D05C71DF9}" srcId="{C28A3EFA-242E-4ED5-9981-CBA96EBC3F26}" destId="{CA3565D2-C52E-436A-87D6-F2DEF54B2A43}" srcOrd="2" destOrd="0" parTransId="{8F44265D-8872-404C-8715-501FADD90EE7}" sibTransId="{C6308044-22EC-4E4E-82C0-0A4A24BC40CC}"/>
    <dgm:cxn modelId="{7EEE6673-E0A7-4504-ACA3-652F4DA0790B}" srcId="{393A1B4D-115D-473D-BED2-056934A0A538}" destId="{FC5B786E-5917-4CC4-8676-292ACA20BDF1}" srcOrd="4" destOrd="0" parTransId="{D31D8BB6-AF61-42BD-93DF-8E6B14E8B857}" sibTransId="{FD7BD85A-7D13-42B6-8A20-B768B8A084FB}"/>
    <dgm:cxn modelId="{5D7F2C87-733B-4B75-99E3-BDFE66511AE0}" srcId="{CA3565D2-C52E-436A-87D6-F2DEF54B2A43}" destId="{7CEE4386-9092-4414-8374-F269EA5BDF7A}" srcOrd="0" destOrd="0" parTransId="{1C95E8FC-50BA-4486-B53C-193E3D366C09}" sibTransId="{041ECFF6-C1FF-459B-9446-2AFDBC81593E}"/>
    <dgm:cxn modelId="{274E4D87-002D-4B12-B218-E3B6CDA84348}" type="presOf" srcId="{393A1B4D-115D-473D-BED2-056934A0A538}" destId="{52728CBE-03EB-407A-9A36-0D2B18CFA5DF}" srcOrd="0" destOrd="0" presId="urn:microsoft.com/office/officeart/2005/8/layout/vList2"/>
    <dgm:cxn modelId="{94AA1592-F202-4D53-8343-7834F22D1AA9}" type="presOf" srcId="{B9A36353-6664-449D-9BFA-C92DDF4A1180}" destId="{509D9910-7810-4CB9-B870-FB30EE4CC143}" srcOrd="0" destOrd="2" presId="urn:microsoft.com/office/officeart/2005/8/layout/vList2"/>
    <dgm:cxn modelId="{658660A6-E016-4803-B95B-5800D7271ABF}" type="presOf" srcId="{FC5B786E-5917-4CC4-8676-292ACA20BDF1}" destId="{509D9910-7810-4CB9-B870-FB30EE4CC143}" srcOrd="0" destOrd="4" presId="urn:microsoft.com/office/officeart/2005/8/layout/vList2"/>
    <dgm:cxn modelId="{51B78CA7-E3F1-4AAD-8B01-90EE98DF15C2}" srcId="{393A1B4D-115D-473D-BED2-056934A0A538}" destId="{1F76AC94-A3C4-4247-9DB2-E0D3725017F0}" srcOrd="3" destOrd="0" parTransId="{3818AEA4-DCB5-42AC-94AB-47AAA5167689}" sibTransId="{A3A16A6B-30C8-4967-8F2C-40D9A6661A02}"/>
    <dgm:cxn modelId="{4FEB51AD-2B50-4B47-9CCD-29CBC71CC8DA}" srcId="{C28A3EFA-242E-4ED5-9981-CBA96EBC3F26}" destId="{66D6937F-9FD6-4666-B8AF-93E6903F2FE8}" srcOrd="3" destOrd="0" parTransId="{73BFBFF0-6D2B-44C3-8CCD-8ED80DC7D657}" sibTransId="{7999D47D-7B1C-4720-8210-BFA2090A6A0A}"/>
    <dgm:cxn modelId="{58EF1DB1-2126-4099-9485-4ECD70244D3A}" srcId="{66D6937F-9FD6-4666-B8AF-93E6903F2FE8}" destId="{6EF5E5DD-0EAD-474D-AD68-3EAD96EA3B21}" srcOrd="0" destOrd="0" parTransId="{DB666C8C-3C83-4C75-85A8-11845140B040}" sibTransId="{D2AA8BC5-3A47-417C-8735-F82AAEB0F71B}"/>
    <dgm:cxn modelId="{95A6B8B9-EDE1-47FA-9DDC-02CFDDED30F6}" type="presOf" srcId="{FFB85D15-4193-479A-AFD6-A2C0B9A70BA7}" destId="{509D9910-7810-4CB9-B870-FB30EE4CC143}" srcOrd="0" destOrd="0" presId="urn:microsoft.com/office/officeart/2005/8/layout/vList2"/>
    <dgm:cxn modelId="{F6BD0FC5-E529-4F77-BE7E-F733B7A6F0D8}" type="presOf" srcId="{7CEE4386-9092-4414-8374-F269EA5BDF7A}" destId="{2E3E5A9F-197D-49FD-BF2B-9474B02CA2C7}" srcOrd="0" destOrd="0" presId="urn:microsoft.com/office/officeart/2005/8/layout/vList2"/>
    <dgm:cxn modelId="{4969E9DF-10A3-4FA4-A77B-478DB66F5EAD}" type="presOf" srcId="{935EE4A2-580E-4FC7-8DCE-BED9C29B9BB1}" destId="{57196A74-8FAB-4B08-B631-423E17F6BF3E}" srcOrd="0" destOrd="0" presId="urn:microsoft.com/office/officeart/2005/8/layout/vList2"/>
    <dgm:cxn modelId="{535B4EEA-D209-4196-8C14-DDCFAC9B6F9B}" type="presOf" srcId="{1F76AC94-A3C4-4247-9DB2-E0D3725017F0}" destId="{509D9910-7810-4CB9-B870-FB30EE4CC143}" srcOrd="0" destOrd="3" presId="urn:microsoft.com/office/officeart/2005/8/layout/vList2"/>
    <dgm:cxn modelId="{DE7BCFFC-438D-4C00-A7DA-B4584AE5F6C9}" type="presOf" srcId="{B4BF846C-78FA-4C5F-9C86-686EC118BFC9}" destId="{C416A670-E097-46BF-9662-4F1D5AABB0BF}" srcOrd="0" destOrd="0" presId="urn:microsoft.com/office/officeart/2005/8/layout/vList2"/>
    <dgm:cxn modelId="{372C6842-9C56-4EC1-96CA-7D2AEF0FCED3}" type="presParOf" srcId="{6FE7F541-C5F6-4F4E-968E-0174449D49A1}" destId="{52728CBE-03EB-407A-9A36-0D2B18CFA5DF}" srcOrd="0" destOrd="0" presId="urn:microsoft.com/office/officeart/2005/8/layout/vList2"/>
    <dgm:cxn modelId="{66587B01-3AB1-4CA4-85FA-778C5AB0BBB3}" type="presParOf" srcId="{6FE7F541-C5F6-4F4E-968E-0174449D49A1}" destId="{509D9910-7810-4CB9-B870-FB30EE4CC143}" srcOrd="1" destOrd="0" presId="urn:microsoft.com/office/officeart/2005/8/layout/vList2"/>
    <dgm:cxn modelId="{6CF8B238-81B1-4AB3-BCB9-12ED59A6535A}" type="presParOf" srcId="{6FE7F541-C5F6-4F4E-968E-0174449D49A1}" destId="{C416A670-E097-46BF-9662-4F1D5AABB0BF}" srcOrd="2" destOrd="0" presId="urn:microsoft.com/office/officeart/2005/8/layout/vList2"/>
    <dgm:cxn modelId="{20A37302-C09D-4A17-BD4B-55DFE93414C9}" type="presParOf" srcId="{6FE7F541-C5F6-4F4E-968E-0174449D49A1}" destId="{57196A74-8FAB-4B08-B631-423E17F6BF3E}" srcOrd="3" destOrd="0" presId="urn:microsoft.com/office/officeart/2005/8/layout/vList2"/>
    <dgm:cxn modelId="{F68F6774-450B-4C1C-B29E-99A057D147EC}" type="presParOf" srcId="{6FE7F541-C5F6-4F4E-968E-0174449D49A1}" destId="{495B2AD3-44DF-4B4C-A4D8-5B3D5404FAC6}" srcOrd="4" destOrd="0" presId="urn:microsoft.com/office/officeart/2005/8/layout/vList2"/>
    <dgm:cxn modelId="{7FF7152D-90A3-4B9B-9F60-790D949922B5}" type="presParOf" srcId="{6FE7F541-C5F6-4F4E-968E-0174449D49A1}" destId="{2E3E5A9F-197D-49FD-BF2B-9474B02CA2C7}" srcOrd="5" destOrd="0" presId="urn:microsoft.com/office/officeart/2005/8/layout/vList2"/>
    <dgm:cxn modelId="{1C901C62-2C59-42C9-8C8D-F33DC93A4897}" type="presParOf" srcId="{6FE7F541-C5F6-4F4E-968E-0174449D49A1}" destId="{C869CCC9-6415-4236-A8D6-397E152D3D1B}" srcOrd="6" destOrd="0" presId="urn:microsoft.com/office/officeart/2005/8/layout/vList2"/>
    <dgm:cxn modelId="{E22CC22A-7CFE-43CD-8083-428AC9AD592C}" type="presParOf" srcId="{6FE7F541-C5F6-4F4E-968E-0174449D49A1}" destId="{2FC8C5F8-B187-48E0-9FB4-AE3820E97B4A}"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0174794-0643-413C-B83B-DFCA5C144DAC}"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s-ES"/>
        </a:p>
      </dgm:t>
    </dgm:pt>
    <dgm:pt modelId="{FEA595C5-AC05-47DE-ABDF-0752485C8733}">
      <dgm:prSet phldrT="[Texto]" custT="1"/>
      <dgm:spPr/>
      <dgm:t>
        <a:bodyPr/>
        <a:lstStyle/>
        <a:p>
          <a:r>
            <a:rPr lang="es-ES" sz="1100" dirty="0"/>
            <a:t>FUENTES   EXTERNAS</a:t>
          </a:r>
        </a:p>
      </dgm:t>
    </dgm:pt>
    <dgm:pt modelId="{0C025915-4B15-4EC9-8517-B51B1F21C0BA}" type="parTrans" cxnId="{D4968FA6-B05D-4F44-AA0D-E44D179E3A1D}">
      <dgm:prSet/>
      <dgm:spPr/>
      <dgm:t>
        <a:bodyPr/>
        <a:lstStyle/>
        <a:p>
          <a:endParaRPr lang="es-ES" sz="2800"/>
        </a:p>
      </dgm:t>
    </dgm:pt>
    <dgm:pt modelId="{4AA4D663-0A57-486B-A233-A1A5C35AB1DD}" type="sibTrans" cxnId="{D4968FA6-B05D-4F44-AA0D-E44D179E3A1D}">
      <dgm:prSet/>
      <dgm:spPr/>
      <dgm:t>
        <a:bodyPr/>
        <a:lstStyle/>
        <a:p>
          <a:endParaRPr lang="es-ES" sz="2800"/>
        </a:p>
      </dgm:t>
    </dgm:pt>
    <dgm:pt modelId="{F7D35643-4CEF-4817-983A-4CA007E8845A}">
      <dgm:prSet phldrT="[Texto]" custT="1"/>
      <dgm:spPr/>
      <dgm:t>
        <a:bodyPr/>
        <a:lstStyle/>
        <a:p>
          <a:r>
            <a:rPr lang="es-ES" sz="1100" dirty="0"/>
            <a:t>Social Media</a:t>
          </a:r>
        </a:p>
      </dgm:t>
    </dgm:pt>
    <dgm:pt modelId="{920BAD5F-9A7E-4906-97D3-1374672A47D2}" type="parTrans" cxnId="{FAFC8D8C-D5DE-4B24-BE9B-7A335061C93E}">
      <dgm:prSet/>
      <dgm:spPr/>
      <dgm:t>
        <a:bodyPr/>
        <a:lstStyle/>
        <a:p>
          <a:endParaRPr lang="es-ES" sz="2800"/>
        </a:p>
      </dgm:t>
    </dgm:pt>
    <dgm:pt modelId="{2A5F6162-9D73-4A7D-B001-438E0808E815}" type="sibTrans" cxnId="{FAFC8D8C-D5DE-4B24-BE9B-7A335061C93E}">
      <dgm:prSet/>
      <dgm:spPr/>
      <dgm:t>
        <a:bodyPr/>
        <a:lstStyle/>
        <a:p>
          <a:endParaRPr lang="es-ES" sz="2800"/>
        </a:p>
      </dgm:t>
    </dgm:pt>
    <dgm:pt modelId="{A0BDF39C-10FA-4581-8F40-DFBCADAA6DBF}">
      <dgm:prSet phldrT="[Texto]" custT="1"/>
      <dgm:spPr/>
      <dgm:t>
        <a:bodyPr/>
        <a:lstStyle/>
        <a:p>
          <a:r>
            <a:rPr lang="es-ES" sz="1100" dirty="0"/>
            <a:t>Actividad del ciudadano y de la empresa</a:t>
          </a:r>
        </a:p>
      </dgm:t>
    </dgm:pt>
    <dgm:pt modelId="{387394CC-6D98-4EA4-9152-2CFB63E832A6}" type="parTrans" cxnId="{3BAF5C11-D1A2-4CC4-9BC9-E09FC86DEE4E}">
      <dgm:prSet/>
      <dgm:spPr/>
      <dgm:t>
        <a:bodyPr/>
        <a:lstStyle/>
        <a:p>
          <a:endParaRPr lang="es-ES" sz="2800"/>
        </a:p>
      </dgm:t>
    </dgm:pt>
    <dgm:pt modelId="{FCC9A809-A778-4DBA-9F4F-8C38AB9AD2FC}" type="sibTrans" cxnId="{3BAF5C11-D1A2-4CC4-9BC9-E09FC86DEE4E}">
      <dgm:prSet/>
      <dgm:spPr/>
      <dgm:t>
        <a:bodyPr/>
        <a:lstStyle/>
        <a:p>
          <a:endParaRPr lang="es-ES" sz="2800"/>
        </a:p>
      </dgm:t>
    </dgm:pt>
    <dgm:pt modelId="{ED337447-D41D-4C80-8906-ACED5E1EFC17}">
      <dgm:prSet phldrT="[Texto]" custT="1"/>
      <dgm:spPr/>
      <dgm:t>
        <a:bodyPr/>
        <a:lstStyle/>
        <a:p>
          <a:r>
            <a:rPr lang="es-ES" sz="1100" dirty="0"/>
            <a:t>Datos Externos</a:t>
          </a:r>
        </a:p>
      </dgm:t>
    </dgm:pt>
    <dgm:pt modelId="{BB664BA2-4A2C-434F-A1E6-91F0DF56E66C}" type="parTrans" cxnId="{8911B283-1592-4D14-8480-EA3C63B21E01}">
      <dgm:prSet/>
      <dgm:spPr/>
      <dgm:t>
        <a:bodyPr/>
        <a:lstStyle/>
        <a:p>
          <a:endParaRPr lang="es-ES" sz="2800"/>
        </a:p>
      </dgm:t>
    </dgm:pt>
    <dgm:pt modelId="{438D6B5A-68C4-4143-9184-D0E10F75FA91}" type="sibTrans" cxnId="{8911B283-1592-4D14-8480-EA3C63B21E01}">
      <dgm:prSet/>
      <dgm:spPr/>
      <dgm:t>
        <a:bodyPr/>
        <a:lstStyle/>
        <a:p>
          <a:endParaRPr lang="es-ES" sz="2800"/>
        </a:p>
      </dgm:t>
    </dgm:pt>
    <dgm:pt modelId="{D4CA4650-B57D-4F12-BD4E-EF88A6B76AE8}">
      <dgm:prSet phldrT="[Texto]" custT="1"/>
      <dgm:spPr/>
      <dgm:t>
        <a:bodyPr/>
        <a:lstStyle/>
        <a:p>
          <a:r>
            <a:rPr lang="es-ES" sz="1100" dirty="0"/>
            <a:t>Proveedores especializados de datos inteligentes</a:t>
          </a:r>
        </a:p>
      </dgm:t>
    </dgm:pt>
    <dgm:pt modelId="{FB617DB5-01C2-4460-ADE6-307BD941B5B0}" type="parTrans" cxnId="{DF8BBABF-2A13-4A09-ABAA-7FAC184E3851}">
      <dgm:prSet/>
      <dgm:spPr/>
      <dgm:t>
        <a:bodyPr/>
        <a:lstStyle/>
        <a:p>
          <a:endParaRPr lang="es-ES" sz="2800"/>
        </a:p>
      </dgm:t>
    </dgm:pt>
    <dgm:pt modelId="{006DE46F-418D-448D-9968-CEFAE08095E2}" type="sibTrans" cxnId="{DF8BBABF-2A13-4A09-ABAA-7FAC184E3851}">
      <dgm:prSet/>
      <dgm:spPr/>
      <dgm:t>
        <a:bodyPr/>
        <a:lstStyle/>
        <a:p>
          <a:endParaRPr lang="es-ES" sz="2800"/>
        </a:p>
      </dgm:t>
    </dgm:pt>
    <dgm:pt modelId="{E784AE7A-F24E-4524-BBE6-B6927CC16B35}">
      <dgm:prSet phldrT="[Texto]" custT="1"/>
      <dgm:spPr/>
      <dgm:t>
        <a:bodyPr/>
        <a:lstStyle/>
        <a:p>
          <a:r>
            <a:rPr lang="es-ES" sz="1100" dirty="0"/>
            <a:t>GIS (ESRI CARTO)</a:t>
          </a:r>
        </a:p>
      </dgm:t>
    </dgm:pt>
    <dgm:pt modelId="{E65BB97A-0876-4841-ABA4-9A8B801F9D08}" type="parTrans" cxnId="{5F637A1A-AC69-4BF5-B297-6669A20A9342}">
      <dgm:prSet/>
      <dgm:spPr/>
      <dgm:t>
        <a:bodyPr/>
        <a:lstStyle/>
        <a:p>
          <a:endParaRPr lang="es-ES" sz="2800"/>
        </a:p>
      </dgm:t>
    </dgm:pt>
    <dgm:pt modelId="{8DA7469D-3108-44EC-8FDD-51DC05CD646C}" type="sibTrans" cxnId="{5F637A1A-AC69-4BF5-B297-6669A20A9342}">
      <dgm:prSet/>
      <dgm:spPr/>
      <dgm:t>
        <a:bodyPr/>
        <a:lstStyle/>
        <a:p>
          <a:endParaRPr lang="es-ES" sz="2800"/>
        </a:p>
      </dgm:t>
    </dgm:pt>
    <dgm:pt modelId="{979E592E-0CE3-4F6D-B4FE-FCFAE02E3B21}">
      <dgm:prSet phldrT="[Texto]" custT="1"/>
      <dgm:spPr/>
      <dgm:t>
        <a:bodyPr/>
        <a:lstStyle/>
        <a:p>
          <a:r>
            <a:rPr lang="es-ES" sz="1100" dirty="0"/>
            <a:t>DMP</a:t>
          </a:r>
        </a:p>
      </dgm:t>
    </dgm:pt>
    <dgm:pt modelId="{04281D3B-0BED-45E1-8423-5139AE68E596}" type="parTrans" cxnId="{5A917E34-32E3-43D9-B4A4-3ADEB7CEAB1E}">
      <dgm:prSet/>
      <dgm:spPr/>
      <dgm:t>
        <a:bodyPr/>
        <a:lstStyle/>
        <a:p>
          <a:endParaRPr lang="es-ES" sz="2800"/>
        </a:p>
      </dgm:t>
    </dgm:pt>
    <dgm:pt modelId="{D659C410-6A1F-4947-AFA0-CF5052DB622C}" type="sibTrans" cxnId="{5A917E34-32E3-43D9-B4A4-3ADEB7CEAB1E}">
      <dgm:prSet/>
      <dgm:spPr/>
      <dgm:t>
        <a:bodyPr/>
        <a:lstStyle/>
        <a:p>
          <a:endParaRPr lang="es-ES" sz="2800"/>
        </a:p>
      </dgm:t>
    </dgm:pt>
    <dgm:pt modelId="{8E58CC14-F9CE-4307-89A8-EC682B79CF16}">
      <dgm:prSet phldrT="[Texto]" custT="1"/>
      <dgm:spPr/>
      <dgm:t>
        <a:bodyPr/>
        <a:lstStyle/>
        <a:p>
          <a:r>
            <a:rPr lang="es-ES" sz="1100" dirty="0"/>
            <a:t>TELCOS</a:t>
          </a:r>
        </a:p>
      </dgm:t>
    </dgm:pt>
    <dgm:pt modelId="{6CE96837-DFF1-4AC1-84B0-10BF81D33167}" type="parTrans" cxnId="{F10598EB-43F9-4FBA-A187-9A2226013135}">
      <dgm:prSet/>
      <dgm:spPr/>
      <dgm:t>
        <a:bodyPr/>
        <a:lstStyle/>
        <a:p>
          <a:endParaRPr lang="es-ES" sz="2800"/>
        </a:p>
      </dgm:t>
    </dgm:pt>
    <dgm:pt modelId="{AFEB25E7-7E4F-4512-B3D2-8A54CA94F48C}" type="sibTrans" cxnId="{F10598EB-43F9-4FBA-A187-9A2226013135}">
      <dgm:prSet/>
      <dgm:spPr/>
      <dgm:t>
        <a:bodyPr/>
        <a:lstStyle/>
        <a:p>
          <a:endParaRPr lang="es-ES" sz="2800"/>
        </a:p>
      </dgm:t>
    </dgm:pt>
    <dgm:pt modelId="{7B79E58C-4787-4086-B2EA-D0CC44E27A84}">
      <dgm:prSet phldrT="[Texto]" custT="1"/>
      <dgm:spPr/>
      <dgm:t>
        <a:bodyPr/>
        <a:lstStyle/>
        <a:p>
          <a:r>
            <a:rPr lang="es-ES" sz="1100" dirty="0"/>
            <a:t>Sistemas Externos</a:t>
          </a:r>
        </a:p>
      </dgm:t>
    </dgm:pt>
    <dgm:pt modelId="{988F1887-7327-4313-BDFC-DBABF9656B60}" type="parTrans" cxnId="{2255E7D2-635D-41E5-A731-BBBEED62D548}">
      <dgm:prSet/>
      <dgm:spPr/>
      <dgm:t>
        <a:bodyPr/>
        <a:lstStyle/>
        <a:p>
          <a:endParaRPr lang="es-ES" sz="2800"/>
        </a:p>
      </dgm:t>
    </dgm:pt>
    <dgm:pt modelId="{D858B963-1391-4BEF-92F4-C837DF7862CF}" type="sibTrans" cxnId="{2255E7D2-635D-41E5-A731-BBBEED62D548}">
      <dgm:prSet/>
      <dgm:spPr/>
      <dgm:t>
        <a:bodyPr/>
        <a:lstStyle/>
        <a:p>
          <a:endParaRPr lang="es-ES" sz="2800"/>
        </a:p>
      </dgm:t>
    </dgm:pt>
    <dgm:pt modelId="{4A33308F-B9D5-46B1-B464-CE8722197489}">
      <dgm:prSet phldrT="[Texto]" custT="1"/>
      <dgm:spPr/>
      <dgm:t>
        <a:bodyPr/>
        <a:lstStyle/>
        <a:p>
          <a:r>
            <a:rPr lang="es-ES" sz="1100" dirty="0"/>
            <a:t>Información mercantil</a:t>
          </a:r>
        </a:p>
      </dgm:t>
    </dgm:pt>
    <dgm:pt modelId="{DD8722B1-34E5-4CA5-A910-FB20B27135D6}" type="parTrans" cxnId="{6BF6108E-DA6A-4B55-B268-5A65A1E48DAC}">
      <dgm:prSet/>
      <dgm:spPr/>
      <dgm:t>
        <a:bodyPr/>
        <a:lstStyle/>
        <a:p>
          <a:endParaRPr lang="es-ES" sz="2800"/>
        </a:p>
      </dgm:t>
    </dgm:pt>
    <dgm:pt modelId="{21F5BB1D-5CD9-46FF-B699-2984C82E07EF}" type="sibTrans" cxnId="{6BF6108E-DA6A-4B55-B268-5A65A1E48DAC}">
      <dgm:prSet/>
      <dgm:spPr/>
      <dgm:t>
        <a:bodyPr/>
        <a:lstStyle/>
        <a:p>
          <a:endParaRPr lang="es-ES" sz="2800"/>
        </a:p>
      </dgm:t>
    </dgm:pt>
    <dgm:pt modelId="{A899EB36-46B6-4510-9005-68718B1B45CE}">
      <dgm:prSet phldrT="[Texto]" custT="1"/>
      <dgm:spPr/>
      <dgm:t>
        <a:bodyPr/>
        <a:lstStyle/>
        <a:p>
          <a:r>
            <a:rPr lang="es-ES" sz="1100" dirty="0"/>
            <a:t>Asociaciones empresariales</a:t>
          </a:r>
        </a:p>
      </dgm:t>
    </dgm:pt>
    <dgm:pt modelId="{3A210FBF-C4A4-4297-8CE7-C8EA388CD166}" type="parTrans" cxnId="{A6A2EA2D-812E-4C25-9C99-4A72AB2F29E5}">
      <dgm:prSet/>
      <dgm:spPr/>
      <dgm:t>
        <a:bodyPr/>
        <a:lstStyle/>
        <a:p>
          <a:endParaRPr lang="es-ES" sz="2800"/>
        </a:p>
      </dgm:t>
    </dgm:pt>
    <dgm:pt modelId="{D0964689-DCFA-419F-983E-C33CBAC47684}" type="sibTrans" cxnId="{A6A2EA2D-812E-4C25-9C99-4A72AB2F29E5}">
      <dgm:prSet/>
      <dgm:spPr/>
      <dgm:t>
        <a:bodyPr/>
        <a:lstStyle/>
        <a:p>
          <a:endParaRPr lang="es-ES" sz="2800"/>
        </a:p>
      </dgm:t>
    </dgm:pt>
    <dgm:pt modelId="{111F0992-6680-4A9D-BD16-A114C530A646}">
      <dgm:prSet phldrT="[Texto]" custT="1"/>
      <dgm:spPr/>
      <dgm:t>
        <a:bodyPr/>
        <a:lstStyle/>
        <a:p>
          <a:r>
            <a:rPr lang="es-ES" sz="1100" dirty="0"/>
            <a:t>Organismos públicos</a:t>
          </a:r>
        </a:p>
      </dgm:t>
    </dgm:pt>
    <dgm:pt modelId="{71B4969D-8786-413A-87F8-9CEB14901E23}" type="parTrans" cxnId="{02014E80-4AD4-4188-9FF6-F6651B56134F}">
      <dgm:prSet/>
      <dgm:spPr/>
      <dgm:t>
        <a:bodyPr/>
        <a:lstStyle/>
        <a:p>
          <a:endParaRPr lang="es-ES" sz="2800"/>
        </a:p>
      </dgm:t>
    </dgm:pt>
    <dgm:pt modelId="{8E80E8B5-1EF6-4D30-AC3C-10224CE39E18}" type="sibTrans" cxnId="{02014E80-4AD4-4188-9FF6-F6651B56134F}">
      <dgm:prSet/>
      <dgm:spPr/>
      <dgm:t>
        <a:bodyPr/>
        <a:lstStyle/>
        <a:p>
          <a:endParaRPr lang="es-ES" sz="2800"/>
        </a:p>
      </dgm:t>
    </dgm:pt>
    <dgm:pt modelId="{6DE06DC6-5D2D-4A69-A3AB-9E34143DE349}">
      <dgm:prSet phldrT="[Texto]" custT="1"/>
      <dgm:spPr/>
      <dgm:t>
        <a:bodyPr/>
        <a:lstStyle/>
        <a:p>
          <a:r>
            <a:rPr lang="es-ES" sz="1100" dirty="0"/>
            <a:t>Entidades Financieras</a:t>
          </a:r>
        </a:p>
      </dgm:t>
    </dgm:pt>
    <dgm:pt modelId="{8DBE75AC-1121-4C8D-9828-A66FD9BCF9AC}" type="parTrans" cxnId="{707F5233-A030-4A9D-8A41-5490606E484E}">
      <dgm:prSet/>
      <dgm:spPr/>
      <dgm:t>
        <a:bodyPr/>
        <a:lstStyle/>
        <a:p>
          <a:endParaRPr lang="es-ES" sz="2800"/>
        </a:p>
      </dgm:t>
    </dgm:pt>
    <dgm:pt modelId="{0E58FD38-4187-4145-ACCC-3743003BAB92}" type="sibTrans" cxnId="{707F5233-A030-4A9D-8A41-5490606E484E}">
      <dgm:prSet/>
      <dgm:spPr/>
      <dgm:t>
        <a:bodyPr/>
        <a:lstStyle/>
        <a:p>
          <a:endParaRPr lang="es-ES" sz="2800"/>
        </a:p>
      </dgm:t>
    </dgm:pt>
    <dgm:pt modelId="{BD70CF27-9074-42DB-82B2-44E66C2F222E}">
      <dgm:prSet phldrT="[Texto]" custT="1"/>
      <dgm:spPr/>
      <dgm:t>
        <a:bodyPr/>
        <a:lstStyle/>
        <a:p>
          <a:r>
            <a:rPr lang="es-ES" sz="1100" dirty="0"/>
            <a:t>Fuentes automáticas</a:t>
          </a:r>
        </a:p>
      </dgm:t>
    </dgm:pt>
    <dgm:pt modelId="{C66CA0CE-CE60-455E-B072-8696B4ACFFDF}" type="parTrans" cxnId="{712E6670-DB22-4565-98D7-E9E65A289691}">
      <dgm:prSet/>
      <dgm:spPr/>
      <dgm:t>
        <a:bodyPr/>
        <a:lstStyle/>
        <a:p>
          <a:endParaRPr lang="es-ES" sz="2800"/>
        </a:p>
      </dgm:t>
    </dgm:pt>
    <dgm:pt modelId="{90B43213-F9E1-4150-8CC5-E42A8C9C1EC4}" type="sibTrans" cxnId="{712E6670-DB22-4565-98D7-E9E65A289691}">
      <dgm:prSet/>
      <dgm:spPr/>
      <dgm:t>
        <a:bodyPr/>
        <a:lstStyle/>
        <a:p>
          <a:endParaRPr lang="es-ES" sz="2800"/>
        </a:p>
      </dgm:t>
    </dgm:pt>
    <dgm:pt modelId="{8E91D753-B6D8-43FE-8144-5171A5CD331A}">
      <dgm:prSet phldrT="[Texto]" custT="1"/>
      <dgm:spPr/>
      <dgm:t>
        <a:bodyPr/>
        <a:lstStyle/>
        <a:p>
          <a:r>
            <a:rPr lang="es-ES" sz="1100" dirty="0"/>
            <a:t>Sensores</a:t>
          </a:r>
        </a:p>
      </dgm:t>
    </dgm:pt>
    <dgm:pt modelId="{B63317BF-668A-4FCF-B871-D3F27805B25B}" type="parTrans" cxnId="{ECDD858E-CCA1-40F4-96B8-C805F845D313}">
      <dgm:prSet/>
      <dgm:spPr/>
      <dgm:t>
        <a:bodyPr/>
        <a:lstStyle/>
        <a:p>
          <a:endParaRPr lang="es-ES" sz="2800"/>
        </a:p>
      </dgm:t>
    </dgm:pt>
    <dgm:pt modelId="{9BA59AC3-57F9-4D61-8CB0-E612C3A36325}" type="sibTrans" cxnId="{ECDD858E-CCA1-40F4-96B8-C805F845D313}">
      <dgm:prSet/>
      <dgm:spPr/>
      <dgm:t>
        <a:bodyPr/>
        <a:lstStyle/>
        <a:p>
          <a:endParaRPr lang="es-ES" sz="2800"/>
        </a:p>
      </dgm:t>
    </dgm:pt>
    <dgm:pt modelId="{EA33570A-0F9F-4F20-8839-EF1FD6A17412}">
      <dgm:prSet phldrT="[Texto]"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6985" tIns="6985" rIns="6985" bIns="6985" numCol="1" spcCol="1270" anchor="ctr" anchorCtr="0"/>
        <a:lstStyle/>
        <a:p>
          <a:pPr marL="0" lvl="0" indent="0" algn="ctr" defTabSz="488950">
            <a:lnSpc>
              <a:spcPct val="90000"/>
            </a:lnSpc>
            <a:spcBef>
              <a:spcPct val="0"/>
            </a:spcBef>
            <a:spcAft>
              <a:spcPct val="35000"/>
            </a:spcAft>
            <a:buNone/>
          </a:pPr>
          <a:r>
            <a:rPr lang="es-ES" sz="1100" kern="1200" dirty="0">
              <a:solidFill>
                <a:prstClr val="white"/>
              </a:solidFill>
              <a:latin typeface="Avenir LT Std 35 Light"/>
              <a:ea typeface="+mn-ea"/>
              <a:cs typeface="+mn-cs"/>
            </a:rPr>
            <a:t>IOT</a:t>
          </a:r>
        </a:p>
      </dgm:t>
    </dgm:pt>
    <dgm:pt modelId="{9B2FE47C-D5D1-4FD4-A3F1-2549F16E3792}" type="parTrans" cxnId="{DB6474E7-AE81-434E-A217-CB7DDA382718}">
      <dgm:prSet/>
      <dgm:spPr/>
      <dgm:t>
        <a:bodyPr/>
        <a:lstStyle/>
        <a:p>
          <a:endParaRPr lang="es-ES" sz="2800"/>
        </a:p>
      </dgm:t>
    </dgm:pt>
    <dgm:pt modelId="{1C3B3E07-CDE9-4E79-B6AF-39913ED15682}" type="sibTrans" cxnId="{DB6474E7-AE81-434E-A217-CB7DDA382718}">
      <dgm:prSet/>
      <dgm:spPr/>
      <dgm:t>
        <a:bodyPr/>
        <a:lstStyle/>
        <a:p>
          <a:endParaRPr lang="es-ES" sz="2800"/>
        </a:p>
      </dgm:t>
    </dgm:pt>
    <dgm:pt modelId="{F289F62F-7BEE-4D51-BCE2-F866DE40AF7F}">
      <dgm:prSet phldrT="[Texto]" custT="1"/>
      <dgm:spPr/>
      <dgm:t>
        <a:bodyPr/>
        <a:lstStyle/>
        <a:p>
          <a:r>
            <a:rPr lang="es-ES" sz="1100" dirty="0"/>
            <a:t>FUENTES INTERNAS</a:t>
          </a:r>
        </a:p>
      </dgm:t>
    </dgm:pt>
    <dgm:pt modelId="{6AF880D0-0CC6-450E-8232-AA9190EC6566}" type="parTrans" cxnId="{B0152A31-673A-4B00-BF10-409031755D8A}">
      <dgm:prSet/>
      <dgm:spPr/>
      <dgm:t>
        <a:bodyPr/>
        <a:lstStyle/>
        <a:p>
          <a:endParaRPr lang="es-ES" sz="2800"/>
        </a:p>
      </dgm:t>
    </dgm:pt>
    <dgm:pt modelId="{735541D3-4A56-4992-8ACA-599C419812EF}" type="sibTrans" cxnId="{B0152A31-673A-4B00-BF10-409031755D8A}">
      <dgm:prSet/>
      <dgm:spPr/>
      <dgm:t>
        <a:bodyPr/>
        <a:lstStyle/>
        <a:p>
          <a:endParaRPr lang="es-ES" sz="2800"/>
        </a:p>
      </dgm:t>
    </dgm:pt>
    <dgm:pt modelId="{BEA0846D-BF10-4F54-A8E2-6D930057229A}">
      <dgm:prSet phldrT="[Texto]" custT="1"/>
      <dgm:spPr/>
      <dgm:t>
        <a:bodyPr/>
        <a:lstStyle/>
        <a:p>
          <a:r>
            <a:rPr lang="es-ES" sz="1100" dirty="0"/>
            <a:t>Operaciones</a:t>
          </a:r>
        </a:p>
      </dgm:t>
    </dgm:pt>
    <dgm:pt modelId="{34A9B618-513F-4322-B332-94BF87BAE032}" type="parTrans" cxnId="{169B1EB5-80AF-4512-A1F9-2AEC180A5C6F}">
      <dgm:prSet/>
      <dgm:spPr/>
      <dgm:t>
        <a:bodyPr/>
        <a:lstStyle/>
        <a:p>
          <a:endParaRPr lang="es-ES" sz="2800"/>
        </a:p>
      </dgm:t>
    </dgm:pt>
    <dgm:pt modelId="{E0DB553C-852C-486B-818E-7883E1C0844A}" type="sibTrans" cxnId="{169B1EB5-80AF-4512-A1F9-2AEC180A5C6F}">
      <dgm:prSet/>
      <dgm:spPr/>
      <dgm:t>
        <a:bodyPr/>
        <a:lstStyle/>
        <a:p>
          <a:endParaRPr lang="es-ES" sz="2800"/>
        </a:p>
      </dgm:t>
    </dgm:pt>
    <dgm:pt modelId="{892CF2CA-28BC-4385-A7A1-CF62E0063E33}">
      <dgm:prSet phldrT="[Texto]" custT="1"/>
      <dgm:spPr/>
      <dgm:t>
        <a:bodyPr/>
        <a:lstStyle/>
        <a:p>
          <a:r>
            <a:rPr lang="es-ES" sz="1100" dirty="0"/>
            <a:t>ERP</a:t>
          </a:r>
        </a:p>
      </dgm:t>
    </dgm:pt>
    <dgm:pt modelId="{3E474FF8-5A5A-4C4C-8EA1-704C5C263704}" type="parTrans" cxnId="{9A0D726E-2D5B-4E34-85A4-E14C623E2B2A}">
      <dgm:prSet/>
      <dgm:spPr/>
      <dgm:t>
        <a:bodyPr/>
        <a:lstStyle/>
        <a:p>
          <a:endParaRPr lang="es-ES" sz="2800"/>
        </a:p>
      </dgm:t>
    </dgm:pt>
    <dgm:pt modelId="{80B5EC33-3D7E-4875-97AE-077E0040BCFA}" type="sibTrans" cxnId="{9A0D726E-2D5B-4E34-85A4-E14C623E2B2A}">
      <dgm:prSet/>
      <dgm:spPr/>
      <dgm:t>
        <a:bodyPr/>
        <a:lstStyle/>
        <a:p>
          <a:endParaRPr lang="es-ES" sz="2800"/>
        </a:p>
      </dgm:t>
    </dgm:pt>
    <dgm:pt modelId="{10578D54-8578-45AD-B9BA-E3431DAB7223}">
      <dgm:prSet phldrT="[Texto]" custT="1"/>
      <dgm:spPr/>
      <dgm:t>
        <a:bodyPr/>
        <a:lstStyle/>
        <a:p>
          <a:r>
            <a:rPr lang="es-ES" sz="1100" dirty="0"/>
            <a:t>Data Warehouse</a:t>
          </a:r>
        </a:p>
      </dgm:t>
    </dgm:pt>
    <dgm:pt modelId="{94F2883D-7591-4D2F-B9C1-9FAB4BFC81A6}" type="parTrans" cxnId="{3297B9A6-F79F-4CFD-B13C-E1BCDD66286B}">
      <dgm:prSet/>
      <dgm:spPr/>
      <dgm:t>
        <a:bodyPr/>
        <a:lstStyle/>
        <a:p>
          <a:endParaRPr lang="es-ES" sz="2800"/>
        </a:p>
      </dgm:t>
    </dgm:pt>
    <dgm:pt modelId="{91531A8E-2831-49E0-BF37-829C73E41BAC}" type="sibTrans" cxnId="{3297B9A6-F79F-4CFD-B13C-E1BCDD66286B}">
      <dgm:prSet/>
      <dgm:spPr/>
      <dgm:t>
        <a:bodyPr/>
        <a:lstStyle/>
        <a:p>
          <a:endParaRPr lang="es-ES" sz="2800"/>
        </a:p>
      </dgm:t>
    </dgm:pt>
    <dgm:pt modelId="{B45D9410-7EEF-480D-9219-F88CC1570772}">
      <dgm:prSet phldrT="[Texto]" custT="1"/>
      <dgm:spPr/>
      <dgm:t>
        <a:bodyPr/>
        <a:lstStyle/>
        <a:p>
          <a:r>
            <a:rPr lang="es-ES" sz="1100" dirty="0"/>
            <a:t>CRM Canales asistidos</a:t>
          </a:r>
        </a:p>
      </dgm:t>
    </dgm:pt>
    <dgm:pt modelId="{C2949E73-C5F0-4F68-92FF-EBA664BE1CAE}" type="parTrans" cxnId="{668D4413-B17C-430B-AD01-AD8F012E7534}">
      <dgm:prSet/>
      <dgm:spPr/>
      <dgm:t>
        <a:bodyPr/>
        <a:lstStyle/>
        <a:p>
          <a:endParaRPr lang="es-ES" sz="2800"/>
        </a:p>
      </dgm:t>
    </dgm:pt>
    <dgm:pt modelId="{9C2655A6-4307-4173-8C2F-4EEB43E54736}" type="sibTrans" cxnId="{668D4413-B17C-430B-AD01-AD8F012E7534}">
      <dgm:prSet/>
      <dgm:spPr/>
      <dgm:t>
        <a:bodyPr/>
        <a:lstStyle/>
        <a:p>
          <a:endParaRPr lang="es-ES" sz="2800"/>
        </a:p>
      </dgm:t>
    </dgm:pt>
    <dgm:pt modelId="{BF1A4191-5F14-4D48-B3C9-BA7BF3B86B2A}">
      <dgm:prSet phldrT="[Texto]" custT="1"/>
      <dgm:spPr/>
      <dgm:t>
        <a:bodyPr/>
        <a:lstStyle/>
        <a:p>
          <a:r>
            <a:rPr lang="es-ES" sz="1100" dirty="0"/>
            <a:t>Oficina y algoritmo</a:t>
          </a:r>
        </a:p>
      </dgm:t>
    </dgm:pt>
    <dgm:pt modelId="{8105C518-EDF2-4B63-AD97-96A63E73DB2B}" type="parTrans" cxnId="{1F088F7E-F978-4378-BF5C-94F02FC6E2A8}">
      <dgm:prSet/>
      <dgm:spPr/>
      <dgm:t>
        <a:bodyPr/>
        <a:lstStyle/>
        <a:p>
          <a:endParaRPr lang="es-ES" sz="2800"/>
        </a:p>
      </dgm:t>
    </dgm:pt>
    <dgm:pt modelId="{94BEE6D8-6F39-409F-B6F8-260DBAD38C28}" type="sibTrans" cxnId="{1F088F7E-F978-4378-BF5C-94F02FC6E2A8}">
      <dgm:prSet/>
      <dgm:spPr/>
      <dgm:t>
        <a:bodyPr/>
        <a:lstStyle/>
        <a:p>
          <a:endParaRPr lang="es-ES" sz="2800"/>
        </a:p>
      </dgm:t>
    </dgm:pt>
    <dgm:pt modelId="{2D838EB6-9CD7-45B6-9DBA-44FC0DC676F7}">
      <dgm:prSet phldrT="[Texto]" custT="1"/>
      <dgm:spPr/>
      <dgm:t>
        <a:bodyPr/>
        <a:lstStyle/>
        <a:p>
          <a:r>
            <a:rPr lang="es-ES" sz="1100" dirty="0"/>
            <a:t>Call Center</a:t>
          </a:r>
        </a:p>
      </dgm:t>
    </dgm:pt>
    <dgm:pt modelId="{4D4AA90A-AF2F-4A0A-9F80-E0E2B49E74AF}" type="parTrans" cxnId="{A5961A18-BF49-4A56-89E2-6152DC272D32}">
      <dgm:prSet/>
      <dgm:spPr/>
      <dgm:t>
        <a:bodyPr/>
        <a:lstStyle/>
        <a:p>
          <a:endParaRPr lang="es-ES" sz="2800"/>
        </a:p>
      </dgm:t>
    </dgm:pt>
    <dgm:pt modelId="{101340B3-3270-47AC-9093-08ED88554E21}" type="sibTrans" cxnId="{A5961A18-BF49-4A56-89E2-6152DC272D32}">
      <dgm:prSet/>
      <dgm:spPr/>
      <dgm:t>
        <a:bodyPr/>
        <a:lstStyle/>
        <a:p>
          <a:endParaRPr lang="es-ES" sz="2800"/>
        </a:p>
      </dgm:t>
    </dgm:pt>
    <dgm:pt modelId="{3D3B4CE5-7EF5-4381-BC4D-AB8C845936A1}">
      <dgm:prSet phldrT="[Texto]" custT="1"/>
      <dgm:spPr/>
      <dgm:t>
        <a:bodyPr/>
        <a:lstStyle/>
        <a:p>
          <a:r>
            <a:rPr lang="es-ES" sz="1100" dirty="0"/>
            <a:t>Help Desk</a:t>
          </a:r>
        </a:p>
      </dgm:t>
    </dgm:pt>
    <dgm:pt modelId="{5F82C9BE-EF9D-4C7F-AE9D-D4A7428A8EC2}" type="parTrans" cxnId="{8C7E6EB5-DDE3-4F9E-9EEC-056EB9102C00}">
      <dgm:prSet/>
      <dgm:spPr/>
      <dgm:t>
        <a:bodyPr/>
        <a:lstStyle/>
        <a:p>
          <a:endParaRPr lang="es-ES" sz="2800"/>
        </a:p>
      </dgm:t>
    </dgm:pt>
    <dgm:pt modelId="{CADF3EB9-2E32-4E3A-A631-58D9970E296A}" type="sibTrans" cxnId="{8C7E6EB5-DDE3-4F9E-9EEC-056EB9102C00}">
      <dgm:prSet/>
      <dgm:spPr/>
      <dgm:t>
        <a:bodyPr/>
        <a:lstStyle/>
        <a:p>
          <a:endParaRPr lang="es-ES" sz="2800"/>
        </a:p>
      </dgm:t>
    </dgm:pt>
    <dgm:pt modelId="{CB0F385F-633F-4659-B9B5-767F5CC178F8}">
      <dgm:prSet phldrT="[Texto]" custT="1"/>
      <dgm:spPr/>
      <dgm:t>
        <a:bodyPr/>
        <a:lstStyle/>
        <a:p>
          <a:r>
            <a:rPr lang="es-ES" sz="1100" dirty="0"/>
            <a:t>CRM Canal no asistido</a:t>
          </a:r>
        </a:p>
      </dgm:t>
    </dgm:pt>
    <dgm:pt modelId="{56044374-3E5A-424A-9A0E-8D09792FE9AC}" type="parTrans" cxnId="{9D5234B4-C02D-4220-B0D5-9DA8BCCABAD5}">
      <dgm:prSet/>
      <dgm:spPr/>
      <dgm:t>
        <a:bodyPr/>
        <a:lstStyle/>
        <a:p>
          <a:endParaRPr lang="es-ES" sz="2800"/>
        </a:p>
      </dgm:t>
    </dgm:pt>
    <dgm:pt modelId="{B23ED7F6-95DF-4350-86E3-1DCFEB6870EA}" type="sibTrans" cxnId="{9D5234B4-C02D-4220-B0D5-9DA8BCCABAD5}">
      <dgm:prSet/>
      <dgm:spPr/>
      <dgm:t>
        <a:bodyPr/>
        <a:lstStyle/>
        <a:p>
          <a:endParaRPr lang="es-ES" sz="2800"/>
        </a:p>
      </dgm:t>
    </dgm:pt>
    <dgm:pt modelId="{9DE47366-A61B-4E04-9F77-37290D6F724A}">
      <dgm:prSet phldrT="[Texto]" custT="1"/>
      <dgm:spPr/>
      <dgm:t>
        <a:bodyPr/>
        <a:lstStyle/>
        <a:p>
          <a:r>
            <a:rPr lang="es-ES" sz="1100" dirty="0"/>
            <a:t>Customer Website</a:t>
          </a:r>
        </a:p>
      </dgm:t>
    </dgm:pt>
    <dgm:pt modelId="{4D269058-505B-47B3-BF73-39F70B6C59E0}" type="parTrans" cxnId="{316012EB-FAB9-40E8-87B6-ABB568C8D320}">
      <dgm:prSet/>
      <dgm:spPr/>
      <dgm:t>
        <a:bodyPr/>
        <a:lstStyle/>
        <a:p>
          <a:endParaRPr lang="es-ES" sz="2800"/>
        </a:p>
      </dgm:t>
    </dgm:pt>
    <dgm:pt modelId="{1A577C91-22E3-4D00-BAAE-2406F76B9C97}" type="sibTrans" cxnId="{316012EB-FAB9-40E8-87B6-ABB568C8D320}">
      <dgm:prSet/>
      <dgm:spPr/>
      <dgm:t>
        <a:bodyPr/>
        <a:lstStyle/>
        <a:p>
          <a:endParaRPr lang="es-ES" sz="2800"/>
        </a:p>
      </dgm:t>
    </dgm:pt>
    <dgm:pt modelId="{4CE9CF90-22D9-482D-930A-6B3973F1E9FD}">
      <dgm:prSet phldrT="[Texto]" custT="1"/>
      <dgm:spPr/>
      <dgm:t>
        <a:bodyPr/>
        <a:lstStyle/>
        <a:p>
          <a:r>
            <a:rPr lang="es-ES" sz="1100" dirty="0"/>
            <a:t>Mobile Server / Online Apps</a:t>
          </a:r>
        </a:p>
      </dgm:t>
    </dgm:pt>
    <dgm:pt modelId="{5ACCDA14-BE16-4FF8-B1CB-9F82D1652615}" type="parTrans" cxnId="{0E846000-198F-416C-B085-2F5B1FE01675}">
      <dgm:prSet/>
      <dgm:spPr/>
      <dgm:t>
        <a:bodyPr/>
        <a:lstStyle/>
        <a:p>
          <a:endParaRPr lang="es-ES" sz="2800"/>
        </a:p>
      </dgm:t>
    </dgm:pt>
    <dgm:pt modelId="{A0133FEC-0D64-4F67-8ABF-BC63E613E974}" type="sibTrans" cxnId="{0E846000-198F-416C-B085-2F5B1FE01675}">
      <dgm:prSet/>
      <dgm:spPr/>
      <dgm:t>
        <a:bodyPr/>
        <a:lstStyle/>
        <a:p>
          <a:endParaRPr lang="es-ES" sz="2800"/>
        </a:p>
      </dgm:t>
    </dgm:pt>
    <dgm:pt modelId="{1C539B94-CE57-4AA8-B84C-F9F6A8BA368E}">
      <dgm:prSet phldrT="[Texto]" custT="1"/>
      <dgm:spPr/>
      <dgm:t>
        <a:bodyPr/>
        <a:lstStyle/>
        <a:p>
          <a:r>
            <a:rPr lang="es-ES" sz="1100" dirty="0"/>
            <a:t>CRM Campañas</a:t>
          </a:r>
        </a:p>
      </dgm:t>
    </dgm:pt>
    <dgm:pt modelId="{CECED5CE-07DF-43D1-97F9-CA8928E30398}" type="parTrans" cxnId="{B9598018-43CB-40F6-A999-1AB96E5E46F7}">
      <dgm:prSet/>
      <dgm:spPr/>
      <dgm:t>
        <a:bodyPr/>
        <a:lstStyle/>
        <a:p>
          <a:endParaRPr lang="es-ES" sz="2800"/>
        </a:p>
      </dgm:t>
    </dgm:pt>
    <dgm:pt modelId="{3BAAE62F-CD60-49B4-A1F5-C129BDE6195D}" type="sibTrans" cxnId="{B9598018-43CB-40F6-A999-1AB96E5E46F7}">
      <dgm:prSet/>
      <dgm:spPr/>
      <dgm:t>
        <a:bodyPr/>
        <a:lstStyle/>
        <a:p>
          <a:endParaRPr lang="es-ES" sz="2800"/>
        </a:p>
      </dgm:t>
    </dgm:pt>
    <dgm:pt modelId="{C9A303CB-2142-411C-A750-E63DAF800AE5}">
      <dgm:prSet phldrT="[Texto]" custT="1"/>
      <dgm:spPr/>
      <dgm:t>
        <a:bodyPr/>
        <a:lstStyle/>
        <a:p>
          <a:r>
            <a:rPr lang="es-ES" sz="1100" dirty="0"/>
            <a:t>Gestor de campañas</a:t>
          </a:r>
        </a:p>
      </dgm:t>
    </dgm:pt>
    <dgm:pt modelId="{5A7760C4-A7E0-4CA2-A497-14720100A7E4}" type="parTrans" cxnId="{395C5C2D-0A3E-4BA2-9500-68669F551A67}">
      <dgm:prSet/>
      <dgm:spPr/>
      <dgm:t>
        <a:bodyPr/>
        <a:lstStyle/>
        <a:p>
          <a:endParaRPr lang="es-ES" sz="2800"/>
        </a:p>
      </dgm:t>
    </dgm:pt>
    <dgm:pt modelId="{F0C29B60-17F9-4D8B-A724-EEF41BE35451}" type="sibTrans" cxnId="{395C5C2D-0A3E-4BA2-9500-68669F551A67}">
      <dgm:prSet/>
      <dgm:spPr/>
      <dgm:t>
        <a:bodyPr/>
        <a:lstStyle/>
        <a:p>
          <a:endParaRPr lang="es-ES" sz="2800"/>
        </a:p>
      </dgm:t>
    </dgm:pt>
    <dgm:pt modelId="{766E37B1-ABD8-42DA-9708-C166AB538BDA}">
      <dgm:prSet phldrT="[Texto]" custT="1"/>
      <dgm:spPr/>
      <dgm:t>
        <a:bodyPr/>
        <a:lstStyle/>
        <a:p>
          <a:r>
            <a:rPr lang="es-ES" sz="1100" dirty="0"/>
            <a:t>Mail, Web, Social media</a:t>
          </a:r>
        </a:p>
      </dgm:t>
    </dgm:pt>
    <dgm:pt modelId="{A7D9FB4B-8BE5-4653-845B-BC3135B66B47}" type="parTrans" cxnId="{30D84AE7-0A07-40CE-9AD4-05F9FFB7B795}">
      <dgm:prSet/>
      <dgm:spPr/>
      <dgm:t>
        <a:bodyPr/>
        <a:lstStyle/>
        <a:p>
          <a:endParaRPr lang="es-ES" sz="2800"/>
        </a:p>
      </dgm:t>
    </dgm:pt>
    <dgm:pt modelId="{CF01C123-DDE0-4E74-AE6F-BD652B07707E}" type="sibTrans" cxnId="{30D84AE7-0A07-40CE-9AD4-05F9FFB7B795}">
      <dgm:prSet/>
      <dgm:spPr/>
      <dgm:t>
        <a:bodyPr/>
        <a:lstStyle/>
        <a:p>
          <a:endParaRPr lang="es-ES" sz="2800"/>
        </a:p>
      </dgm:t>
    </dgm:pt>
    <dgm:pt modelId="{BBF9D8E9-DD2E-46BE-B49F-664913C83E49}">
      <dgm:prSet phldrT="[Texto]" custT="1"/>
      <dgm:spPr/>
      <dgm:t>
        <a:bodyPr/>
        <a:lstStyle/>
        <a:p>
          <a:r>
            <a:rPr lang="es-ES" sz="1100" dirty="0"/>
            <a:t>Back Office</a:t>
          </a:r>
        </a:p>
      </dgm:t>
    </dgm:pt>
    <dgm:pt modelId="{16FEE704-B28D-443E-B2E7-FE4C367302D0}" type="parTrans" cxnId="{B35C55D0-B777-4563-9029-8FBA810745A3}">
      <dgm:prSet/>
      <dgm:spPr/>
      <dgm:t>
        <a:bodyPr/>
        <a:lstStyle/>
        <a:p>
          <a:endParaRPr lang="es-ES" sz="2800"/>
        </a:p>
      </dgm:t>
    </dgm:pt>
    <dgm:pt modelId="{59BEF85B-26F4-456F-BD48-90DBAFAA999F}" type="sibTrans" cxnId="{B35C55D0-B777-4563-9029-8FBA810745A3}">
      <dgm:prSet/>
      <dgm:spPr/>
      <dgm:t>
        <a:bodyPr/>
        <a:lstStyle/>
        <a:p>
          <a:endParaRPr lang="es-ES" sz="2800"/>
        </a:p>
      </dgm:t>
    </dgm:pt>
    <dgm:pt modelId="{E8A7D0F7-887C-43F8-958A-EFA20BD304C0}" type="pres">
      <dgm:prSet presAssocID="{C0174794-0643-413C-B83B-DFCA5C144DAC}" presName="hierChild1" presStyleCnt="0">
        <dgm:presLayoutVars>
          <dgm:orgChart val="1"/>
          <dgm:chPref val="1"/>
          <dgm:dir/>
          <dgm:animOne val="branch"/>
          <dgm:animLvl val="lvl"/>
          <dgm:resizeHandles/>
        </dgm:presLayoutVars>
      </dgm:prSet>
      <dgm:spPr/>
    </dgm:pt>
    <dgm:pt modelId="{76608817-86C2-4153-BEED-567FA9D64E6D}" type="pres">
      <dgm:prSet presAssocID="{FEA595C5-AC05-47DE-ABDF-0752485C8733}" presName="hierRoot1" presStyleCnt="0">
        <dgm:presLayoutVars>
          <dgm:hierBranch val="init"/>
        </dgm:presLayoutVars>
      </dgm:prSet>
      <dgm:spPr/>
    </dgm:pt>
    <dgm:pt modelId="{ABA22B6C-3457-40F1-948E-901194B0A8D4}" type="pres">
      <dgm:prSet presAssocID="{FEA595C5-AC05-47DE-ABDF-0752485C8733}" presName="rootComposite1" presStyleCnt="0"/>
      <dgm:spPr/>
    </dgm:pt>
    <dgm:pt modelId="{2A8EC534-A95F-480D-BDF4-ECF7C232D421}" type="pres">
      <dgm:prSet presAssocID="{FEA595C5-AC05-47DE-ABDF-0752485C8733}" presName="rootText1" presStyleLbl="node0" presStyleIdx="0" presStyleCnt="2">
        <dgm:presLayoutVars>
          <dgm:chPref val="3"/>
        </dgm:presLayoutVars>
      </dgm:prSet>
      <dgm:spPr/>
    </dgm:pt>
    <dgm:pt modelId="{1632F86E-4B71-48EB-A290-CB87DFD51004}" type="pres">
      <dgm:prSet presAssocID="{FEA595C5-AC05-47DE-ABDF-0752485C8733}" presName="rootConnector1" presStyleLbl="node1" presStyleIdx="0" presStyleCnt="0"/>
      <dgm:spPr/>
    </dgm:pt>
    <dgm:pt modelId="{474F1821-7E24-432A-8852-92D6A19C0A55}" type="pres">
      <dgm:prSet presAssocID="{FEA595C5-AC05-47DE-ABDF-0752485C8733}" presName="hierChild2" presStyleCnt="0"/>
      <dgm:spPr/>
    </dgm:pt>
    <dgm:pt modelId="{4DBE90A9-6071-4A31-9DBF-A5F78CBEFB17}" type="pres">
      <dgm:prSet presAssocID="{920BAD5F-9A7E-4906-97D3-1374672A47D2}" presName="Name37" presStyleLbl="parChTrans1D2" presStyleIdx="0" presStyleCnt="8"/>
      <dgm:spPr/>
    </dgm:pt>
    <dgm:pt modelId="{B58DA997-08FD-4FF2-8D11-A47F582DA77F}" type="pres">
      <dgm:prSet presAssocID="{F7D35643-4CEF-4817-983A-4CA007E8845A}" presName="hierRoot2" presStyleCnt="0">
        <dgm:presLayoutVars>
          <dgm:hierBranch val="init"/>
        </dgm:presLayoutVars>
      </dgm:prSet>
      <dgm:spPr/>
    </dgm:pt>
    <dgm:pt modelId="{E8536019-1601-4C68-AE7A-FD618F113451}" type="pres">
      <dgm:prSet presAssocID="{F7D35643-4CEF-4817-983A-4CA007E8845A}" presName="rootComposite" presStyleCnt="0"/>
      <dgm:spPr/>
    </dgm:pt>
    <dgm:pt modelId="{AC50B931-40F9-42DB-8688-7D84B7050F70}" type="pres">
      <dgm:prSet presAssocID="{F7D35643-4CEF-4817-983A-4CA007E8845A}" presName="rootText" presStyleLbl="node2" presStyleIdx="0" presStyleCnt="8">
        <dgm:presLayoutVars>
          <dgm:chPref val="3"/>
        </dgm:presLayoutVars>
      </dgm:prSet>
      <dgm:spPr/>
    </dgm:pt>
    <dgm:pt modelId="{79B7DC51-BBEE-4585-9F8D-07B401125AE7}" type="pres">
      <dgm:prSet presAssocID="{F7D35643-4CEF-4817-983A-4CA007E8845A}" presName="rootConnector" presStyleLbl="node2" presStyleIdx="0" presStyleCnt="8"/>
      <dgm:spPr/>
    </dgm:pt>
    <dgm:pt modelId="{9A538540-16F8-4418-91BA-C74521B09FF7}" type="pres">
      <dgm:prSet presAssocID="{F7D35643-4CEF-4817-983A-4CA007E8845A}" presName="hierChild4" presStyleCnt="0"/>
      <dgm:spPr/>
    </dgm:pt>
    <dgm:pt modelId="{12DE8BCD-A3EF-4B8A-A349-3C10A43DC9D3}" type="pres">
      <dgm:prSet presAssocID="{387394CC-6D98-4EA4-9152-2CFB63E832A6}" presName="Name37" presStyleLbl="parChTrans1D3" presStyleIdx="0" presStyleCnt="21"/>
      <dgm:spPr/>
    </dgm:pt>
    <dgm:pt modelId="{3FEE1FE8-3382-4DE5-841D-3CEB4B5A9F4E}" type="pres">
      <dgm:prSet presAssocID="{A0BDF39C-10FA-4581-8F40-DFBCADAA6DBF}" presName="hierRoot2" presStyleCnt="0">
        <dgm:presLayoutVars>
          <dgm:hierBranch val="init"/>
        </dgm:presLayoutVars>
      </dgm:prSet>
      <dgm:spPr/>
    </dgm:pt>
    <dgm:pt modelId="{7EE122F2-DEAA-414D-80C2-96CE20C93DE9}" type="pres">
      <dgm:prSet presAssocID="{A0BDF39C-10FA-4581-8F40-DFBCADAA6DBF}" presName="rootComposite" presStyleCnt="0"/>
      <dgm:spPr/>
    </dgm:pt>
    <dgm:pt modelId="{6D8A65AB-323C-43D6-9035-F1121794CC99}" type="pres">
      <dgm:prSet presAssocID="{A0BDF39C-10FA-4581-8F40-DFBCADAA6DBF}" presName="rootText" presStyleLbl="node3" presStyleIdx="0" presStyleCnt="21">
        <dgm:presLayoutVars>
          <dgm:chPref val="3"/>
        </dgm:presLayoutVars>
      </dgm:prSet>
      <dgm:spPr/>
    </dgm:pt>
    <dgm:pt modelId="{9F0CABD7-F0F4-4F64-94C5-619358758A9C}" type="pres">
      <dgm:prSet presAssocID="{A0BDF39C-10FA-4581-8F40-DFBCADAA6DBF}" presName="rootConnector" presStyleLbl="node3" presStyleIdx="0" presStyleCnt="21"/>
      <dgm:spPr/>
    </dgm:pt>
    <dgm:pt modelId="{0AD147AF-8F3C-42F5-96E4-3DD84F6CFBC3}" type="pres">
      <dgm:prSet presAssocID="{A0BDF39C-10FA-4581-8F40-DFBCADAA6DBF}" presName="hierChild4" presStyleCnt="0"/>
      <dgm:spPr/>
    </dgm:pt>
    <dgm:pt modelId="{CBB895AD-EBCE-462C-A6A3-111840E49371}" type="pres">
      <dgm:prSet presAssocID="{A0BDF39C-10FA-4581-8F40-DFBCADAA6DBF}" presName="hierChild5" presStyleCnt="0"/>
      <dgm:spPr/>
    </dgm:pt>
    <dgm:pt modelId="{2AE8F605-1C7F-4872-89C3-94F3E4767D13}" type="pres">
      <dgm:prSet presAssocID="{F7D35643-4CEF-4817-983A-4CA007E8845A}" presName="hierChild5" presStyleCnt="0"/>
      <dgm:spPr/>
    </dgm:pt>
    <dgm:pt modelId="{4735783B-9D54-4BD8-A67E-C4EF9451595F}" type="pres">
      <dgm:prSet presAssocID="{BB664BA2-4A2C-434F-A1E6-91F0DF56E66C}" presName="Name37" presStyleLbl="parChTrans1D2" presStyleIdx="1" presStyleCnt="8"/>
      <dgm:spPr/>
    </dgm:pt>
    <dgm:pt modelId="{99293B5F-2FD1-4A82-93A0-B86C8040DFBA}" type="pres">
      <dgm:prSet presAssocID="{ED337447-D41D-4C80-8906-ACED5E1EFC17}" presName="hierRoot2" presStyleCnt="0">
        <dgm:presLayoutVars>
          <dgm:hierBranch val="init"/>
        </dgm:presLayoutVars>
      </dgm:prSet>
      <dgm:spPr/>
    </dgm:pt>
    <dgm:pt modelId="{3E801110-553C-4024-B42F-A56C0FB46AE0}" type="pres">
      <dgm:prSet presAssocID="{ED337447-D41D-4C80-8906-ACED5E1EFC17}" presName="rootComposite" presStyleCnt="0"/>
      <dgm:spPr/>
    </dgm:pt>
    <dgm:pt modelId="{218CB39E-9CAF-4137-A8C6-878194B563B1}" type="pres">
      <dgm:prSet presAssocID="{ED337447-D41D-4C80-8906-ACED5E1EFC17}" presName="rootText" presStyleLbl="node2" presStyleIdx="1" presStyleCnt="8">
        <dgm:presLayoutVars>
          <dgm:chPref val="3"/>
        </dgm:presLayoutVars>
      </dgm:prSet>
      <dgm:spPr/>
    </dgm:pt>
    <dgm:pt modelId="{4DB3A5AF-21ED-4E4C-ABF4-B0CB326E6FE5}" type="pres">
      <dgm:prSet presAssocID="{ED337447-D41D-4C80-8906-ACED5E1EFC17}" presName="rootConnector" presStyleLbl="node2" presStyleIdx="1" presStyleCnt="8"/>
      <dgm:spPr/>
    </dgm:pt>
    <dgm:pt modelId="{AD15F8D3-3B97-4842-94D2-8FD2F95B602C}" type="pres">
      <dgm:prSet presAssocID="{ED337447-D41D-4C80-8906-ACED5E1EFC17}" presName="hierChild4" presStyleCnt="0"/>
      <dgm:spPr/>
    </dgm:pt>
    <dgm:pt modelId="{B729C567-8E1E-40D1-8FC4-329FB023DBD3}" type="pres">
      <dgm:prSet presAssocID="{FB617DB5-01C2-4460-ADE6-307BD941B5B0}" presName="Name37" presStyleLbl="parChTrans1D3" presStyleIdx="1" presStyleCnt="21"/>
      <dgm:spPr/>
    </dgm:pt>
    <dgm:pt modelId="{39F65791-4C3A-44CB-AA46-FFCF6DFD6313}" type="pres">
      <dgm:prSet presAssocID="{D4CA4650-B57D-4F12-BD4E-EF88A6B76AE8}" presName="hierRoot2" presStyleCnt="0">
        <dgm:presLayoutVars>
          <dgm:hierBranch val="init"/>
        </dgm:presLayoutVars>
      </dgm:prSet>
      <dgm:spPr/>
    </dgm:pt>
    <dgm:pt modelId="{E865D9C7-DAA7-4EEE-B0E7-185ECB7D605A}" type="pres">
      <dgm:prSet presAssocID="{D4CA4650-B57D-4F12-BD4E-EF88A6B76AE8}" presName="rootComposite" presStyleCnt="0"/>
      <dgm:spPr/>
    </dgm:pt>
    <dgm:pt modelId="{41911C2B-48BF-4BBF-AA86-07DCCD991BC0}" type="pres">
      <dgm:prSet presAssocID="{D4CA4650-B57D-4F12-BD4E-EF88A6B76AE8}" presName="rootText" presStyleLbl="node3" presStyleIdx="1" presStyleCnt="21">
        <dgm:presLayoutVars>
          <dgm:chPref val="3"/>
        </dgm:presLayoutVars>
      </dgm:prSet>
      <dgm:spPr/>
    </dgm:pt>
    <dgm:pt modelId="{B9794909-D257-47FF-8CA6-47E0C990C631}" type="pres">
      <dgm:prSet presAssocID="{D4CA4650-B57D-4F12-BD4E-EF88A6B76AE8}" presName="rootConnector" presStyleLbl="node3" presStyleIdx="1" presStyleCnt="21"/>
      <dgm:spPr/>
    </dgm:pt>
    <dgm:pt modelId="{FB5C7A0F-412E-4882-BB22-D1801B37B253}" type="pres">
      <dgm:prSet presAssocID="{D4CA4650-B57D-4F12-BD4E-EF88A6B76AE8}" presName="hierChild4" presStyleCnt="0"/>
      <dgm:spPr/>
    </dgm:pt>
    <dgm:pt modelId="{87E11DA6-030C-468A-B212-59AE4A80DF4E}" type="pres">
      <dgm:prSet presAssocID="{D4CA4650-B57D-4F12-BD4E-EF88A6B76AE8}" presName="hierChild5" presStyleCnt="0"/>
      <dgm:spPr/>
    </dgm:pt>
    <dgm:pt modelId="{1ED022D9-4297-4286-876B-8169A686EE15}" type="pres">
      <dgm:prSet presAssocID="{E65BB97A-0876-4841-ABA4-9A8B801F9D08}" presName="Name37" presStyleLbl="parChTrans1D3" presStyleIdx="2" presStyleCnt="21"/>
      <dgm:spPr/>
    </dgm:pt>
    <dgm:pt modelId="{DD46F9C3-91D0-499F-80D3-1E92B8B5464F}" type="pres">
      <dgm:prSet presAssocID="{E784AE7A-F24E-4524-BBE6-B6927CC16B35}" presName="hierRoot2" presStyleCnt="0">
        <dgm:presLayoutVars>
          <dgm:hierBranch val="init"/>
        </dgm:presLayoutVars>
      </dgm:prSet>
      <dgm:spPr/>
    </dgm:pt>
    <dgm:pt modelId="{9D64F87F-DFED-4F7B-86B6-3C18E75296EF}" type="pres">
      <dgm:prSet presAssocID="{E784AE7A-F24E-4524-BBE6-B6927CC16B35}" presName="rootComposite" presStyleCnt="0"/>
      <dgm:spPr/>
    </dgm:pt>
    <dgm:pt modelId="{4AF31FCB-8BE6-464D-9381-40E1803EDA5D}" type="pres">
      <dgm:prSet presAssocID="{E784AE7A-F24E-4524-BBE6-B6927CC16B35}" presName="rootText" presStyleLbl="node3" presStyleIdx="2" presStyleCnt="21">
        <dgm:presLayoutVars>
          <dgm:chPref val="3"/>
        </dgm:presLayoutVars>
      </dgm:prSet>
      <dgm:spPr/>
    </dgm:pt>
    <dgm:pt modelId="{05329FEC-C058-4313-80A6-C66AE7CE1573}" type="pres">
      <dgm:prSet presAssocID="{E784AE7A-F24E-4524-BBE6-B6927CC16B35}" presName="rootConnector" presStyleLbl="node3" presStyleIdx="2" presStyleCnt="21"/>
      <dgm:spPr/>
    </dgm:pt>
    <dgm:pt modelId="{3E6E45CB-4E0E-4097-93AD-758A0E174AA7}" type="pres">
      <dgm:prSet presAssocID="{E784AE7A-F24E-4524-BBE6-B6927CC16B35}" presName="hierChild4" presStyleCnt="0"/>
      <dgm:spPr/>
    </dgm:pt>
    <dgm:pt modelId="{84FDB1B1-8196-42EC-91F8-07D3C9CDEE03}" type="pres">
      <dgm:prSet presAssocID="{E784AE7A-F24E-4524-BBE6-B6927CC16B35}" presName="hierChild5" presStyleCnt="0"/>
      <dgm:spPr/>
    </dgm:pt>
    <dgm:pt modelId="{1298BB2D-62FA-45FE-AF76-B9F99385C698}" type="pres">
      <dgm:prSet presAssocID="{04281D3B-0BED-45E1-8423-5139AE68E596}" presName="Name37" presStyleLbl="parChTrans1D3" presStyleIdx="3" presStyleCnt="21"/>
      <dgm:spPr/>
    </dgm:pt>
    <dgm:pt modelId="{DFE13E10-EE1E-4095-AD87-D69860735A0D}" type="pres">
      <dgm:prSet presAssocID="{979E592E-0CE3-4F6D-B4FE-FCFAE02E3B21}" presName="hierRoot2" presStyleCnt="0">
        <dgm:presLayoutVars>
          <dgm:hierBranch val="init"/>
        </dgm:presLayoutVars>
      </dgm:prSet>
      <dgm:spPr/>
    </dgm:pt>
    <dgm:pt modelId="{D5EABE52-819F-43F1-B2CC-F2A375906553}" type="pres">
      <dgm:prSet presAssocID="{979E592E-0CE3-4F6D-B4FE-FCFAE02E3B21}" presName="rootComposite" presStyleCnt="0"/>
      <dgm:spPr/>
    </dgm:pt>
    <dgm:pt modelId="{9BA61034-E3E0-4750-BA2B-C549E7799009}" type="pres">
      <dgm:prSet presAssocID="{979E592E-0CE3-4F6D-B4FE-FCFAE02E3B21}" presName="rootText" presStyleLbl="node3" presStyleIdx="3" presStyleCnt="21">
        <dgm:presLayoutVars>
          <dgm:chPref val="3"/>
        </dgm:presLayoutVars>
      </dgm:prSet>
      <dgm:spPr/>
    </dgm:pt>
    <dgm:pt modelId="{B072C9A2-FB57-4069-8936-5BC8ED77229A}" type="pres">
      <dgm:prSet presAssocID="{979E592E-0CE3-4F6D-B4FE-FCFAE02E3B21}" presName="rootConnector" presStyleLbl="node3" presStyleIdx="3" presStyleCnt="21"/>
      <dgm:spPr/>
    </dgm:pt>
    <dgm:pt modelId="{B5262D35-AF1C-496A-96A8-FDCB2D3F3FE2}" type="pres">
      <dgm:prSet presAssocID="{979E592E-0CE3-4F6D-B4FE-FCFAE02E3B21}" presName="hierChild4" presStyleCnt="0"/>
      <dgm:spPr/>
    </dgm:pt>
    <dgm:pt modelId="{C937784E-4E63-44F9-B844-9299512054ED}" type="pres">
      <dgm:prSet presAssocID="{979E592E-0CE3-4F6D-B4FE-FCFAE02E3B21}" presName="hierChild5" presStyleCnt="0"/>
      <dgm:spPr/>
    </dgm:pt>
    <dgm:pt modelId="{85F321A7-FD5A-4B8A-B810-4CBC417004EC}" type="pres">
      <dgm:prSet presAssocID="{6CE96837-DFF1-4AC1-84B0-10BF81D33167}" presName="Name37" presStyleLbl="parChTrans1D3" presStyleIdx="4" presStyleCnt="21"/>
      <dgm:spPr/>
    </dgm:pt>
    <dgm:pt modelId="{E370E558-03B3-459C-9F3B-8448DF247464}" type="pres">
      <dgm:prSet presAssocID="{8E58CC14-F9CE-4307-89A8-EC682B79CF16}" presName="hierRoot2" presStyleCnt="0">
        <dgm:presLayoutVars>
          <dgm:hierBranch val="init"/>
        </dgm:presLayoutVars>
      </dgm:prSet>
      <dgm:spPr/>
    </dgm:pt>
    <dgm:pt modelId="{88E14BA3-A9CE-4745-AD2D-C0E2E4A58331}" type="pres">
      <dgm:prSet presAssocID="{8E58CC14-F9CE-4307-89A8-EC682B79CF16}" presName="rootComposite" presStyleCnt="0"/>
      <dgm:spPr/>
    </dgm:pt>
    <dgm:pt modelId="{21721FEF-1FF5-4E1E-A828-64EE635E409B}" type="pres">
      <dgm:prSet presAssocID="{8E58CC14-F9CE-4307-89A8-EC682B79CF16}" presName="rootText" presStyleLbl="node3" presStyleIdx="4" presStyleCnt="21">
        <dgm:presLayoutVars>
          <dgm:chPref val="3"/>
        </dgm:presLayoutVars>
      </dgm:prSet>
      <dgm:spPr/>
    </dgm:pt>
    <dgm:pt modelId="{0890C180-45E2-4499-9E5D-133AB1FB4493}" type="pres">
      <dgm:prSet presAssocID="{8E58CC14-F9CE-4307-89A8-EC682B79CF16}" presName="rootConnector" presStyleLbl="node3" presStyleIdx="4" presStyleCnt="21"/>
      <dgm:spPr/>
    </dgm:pt>
    <dgm:pt modelId="{5FE972D3-B0F3-4698-BB46-3C3AF990D8C9}" type="pres">
      <dgm:prSet presAssocID="{8E58CC14-F9CE-4307-89A8-EC682B79CF16}" presName="hierChild4" presStyleCnt="0"/>
      <dgm:spPr/>
    </dgm:pt>
    <dgm:pt modelId="{8B04E877-9EC2-4305-AA9B-E5AB41C8E82F}" type="pres">
      <dgm:prSet presAssocID="{8E58CC14-F9CE-4307-89A8-EC682B79CF16}" presName="hierChild5" presStyleCnt="0"/>
      <dgm:spPr/>
    </dgm:pt>
    <dgm:pt modelId="{DFD4748A-543A-47AD-9A37-0213C5FEE8F9}" type="pres">
      <dgm:prSet presAssocID="{ED337447-D41D-4C80-8906-ACED5E1EFC17}" presName="hierChild5" presStyleCnt="0"/>
      <dgm:spPr/>
    </dgm:pt>
    <dgm:pt modelId="{411C9BB2-6822-44A9-98E8-704B1BC1832F}" type="pres">
      <dgm:prSet presAssocID="{988F1887-7327-4313-BDFC-DBABF9656B60}" presName="Name37" presStyleLbl="parChTrans1D2" presStyleIdx="2" presStyleCnt="8"/>
      <dgm:spPr/>
    </dgm:pt>
    <dgm:pt modelId="{B498852A-A444-4ECB-8E5F-9FC480E46E92}" type="pres">
      <dgm:prSet presAssocID="{7B79E58C-4787-4086-B2EA-D0CC44E27A84}" presName="hierRoot2" presStyleCnt="0">
        <dgm:presLayoutVars>
          <dgm:hierBranch val="init"/>
        </dgm:presLayoutVars>
      </dgm:prSet>
      <dgm:spPr/>
    </dgm:pt>
    <dgm:pt modelId="{CB1FFAB6-9DC6-46C0-A514-116E0014AFD0}" type="pres">
      <dgm:prSet presAssocID="{7B79E58C-4787-4086-B2EA-D0CC44E27A84}" presName="rootComposite" presStyleCnt="0"/>
      <dgm:spPr/>
    </dgm:pt>
    <dgm:pt modelId="{D291C402-D2CB-48BB-BB95-B72CAFC5D947}" type="pres">
      <dgm:prSet presAssocID="{7B79E58C-4787-4086-B2EA-D0CC44E27A84}" presName="rootText" presStyleLbl="node2" presStyleIdx="2" presStyleCnt="8">
        <dgm:presLayoutVars>
          <dgm:chPref val="3"/>
        </dgm:presLayoutVars>
      </dgm:prSet>
      <dgm:spPr/>
    </dgm:pt>
    <dgm:pt modelId="{85D09294-E36E-4696-81A9-46A93935DDCA}" type="pres">
      <dgm:prSet presAssocID="{7B79E58C-4787-4086-B2EA-D0CC44E27A84}" presName="rootConnector" presStyleLbl="node2" presStyleIdx="2" presStyleCnt="8"/>
      <dgm:spPr/>
    </dgm:pt>
    <dgm:pt modelId="{9627DD7A-40C9-4422-9B5E-0BC780E40212}" type="pres">
      <dgm:prSet presAssocID="{7B79E58C-4787-4086-B2EA-D0CC44E27A84}" presName="hierChild4" presStyleCnt="0"/>
      <dgm:spPr/>
    </dgm:pt>
    <dgm:pt modelId="{32CF9E53-A8EA-432A-93DC-8245EBCC63F0}" type="pres">
      <dgm:prSet presAssocID="{DD8722B1-34E5-4CA5-A910-FB20B27135D6}" presName="Name37" presStyleLbl="parChTrans1D3" presStyleIdx="5" presStyleCnt="21"/>
      <dgm:spPr/>
    </dgm:pt>
    <dgm:pt modelId="{18B7B508-B8AD-496B-BD47-EE26BB365519}" type="pres">
      <dgm:prSet presAssocID="{4A33308F-B9D5-46B1-B464-CE8722197489}" presName="hierRoot2" presStyleCnt="0">
        <dgm:presLayoutVars>
          <dgm:hierBranch val="init"/>
        </dgm:presLayoutVars>
      </dgm:prSet>
      <dgm:spPr/>
    </dgm:pt>
    <dgm:pt modelId="{11FE91DD-C654-46BE-8789-AA4E12F36FF3}" type="pres">
      <dgm:prSet presAssocID="{4A33308F-B9D5-46B1-B464-CE8722197489}" presName="rootComposite" presStyleCnt="0"/>
      <dgm:spPr/>
    </dgm:pt>
    <dgm:pt modelId="{4B540DE8-CE75-4B84-9D03-427D99E84967}" type="pres">
      <dgm:prSet presAssocID="{4A33308F-B9D5-46B1-B464-CE8722197489}" presName="rootText" presStyleLbl="node3" presStyleIdx="5" presStyleCnt="21">
        <dgm:presLayoutVars>
          <dgm:chPref val="3"/>
        </dgm:presLayoutVars>
      </dgm:prSet>
      <dgm:spPr/>
    </dgm:pt>
    <dgm:pt modelId="{A9287E37-FDFD-4FFE-B52E-CCACE86D4659}" type="pres">
      <dgm:prSet presAssocID="{4A33308F-B9D5-46B1-B464-CE8722197489}" presName="rootConnector" presStyleLbl="node3" presStyleIdx="5" presStyleCnt="21"/>
      <dgm:spPr/>
    </dgm:pt>
    <dgm:pt modelId="{69D539AB-86C2-47B6-873C-1BA681B9A832}" type="pres">
      <dgm:prSet presAssocID="{4A33308F-B9D5-46B1-B464-CE8722197489}" presName="hierChild4" presStyleCnt="0"/>
      <dgm:spPr/>
    </dgm:pt>
    <dgm:pt modelId="{014B838F-A087-4D78-A2C2-E11B52CA54B4}" type="pres">
      <dgm:prSet presAssocID="{4A33308F-B9D5-46B1-B464-CE8722197489}" presName="hierChild5" presStyleCnt="0"/>
      <dgm:spPr/>
    </dgm:pt>
    <dgm:pt modelId="{53748499-FC23-4B02-B59D-82673765CAC2}" type="pres">
      <dgm:prSet presAssocID="{3A210FBF-C4A4-4297-8CE7-C8EA388CD166}" presName="Name37" presStyleLbl="parChTrans1D3" presStyleIdx="6" presStyleCnt="21"/>
      <dgm:spPr/>
    </dgm:pt>
    <dgm:pt modelId="{44878215-274B-4743-8288-85515DCEFBD8}" type="pres">
      <dgm:prSet presAssocID="{A899EB36-46B6-4510-9005-68718B1B45CE}" presName="hierRoot2" presStyleCnt="0">
        <dgm:presLayoutVars>
          <dgm:hierBranch val="init"/>
        </dgm:presLayoutVars>
      </dgm:prSet>
      <dgm:spPr/>
    </dgm:pt>
    <dgm:pt modelId="{D412B4CD-794F-4A0E-A1EE-D64E0D0D947A}" type="pres">
      <dgm:prSet presAssocID="{A899EB36-46B6-4510-9005-68718B1B45CE}" presName="rootComposite" presStyleCnt="0"/>
      <dgm:spPr/>
    </dgm:pt>
    <dgm:pt modelId="{C954BA63-1252-4689-9FD7-CBD7DA11E8F1}" type="pres">
      <dgm:prSet presAssocID="{A899EB36-46B6-4510-9005-68718B1B45CE}" presName="rootText" presStyleLbl="node3" presStyleIdx="6" presStyleCnt="21">
        <dgm:presLayoutVars>
          <dgm:chPref val="3"/>
        </dgm:presLayoutVars>
      </dgm:prSet>
      <dgm:spPr/>
    </dgm:pt>
    <dgm:pt modelId="{C53A6397-DFE0-4533-B4EB-C64320854D8D}" type="pres">
      <dgm:prSet presAssocID="{A899EB36-46B6-4510-9005-68718B1B45CE}" presName="rootConnector" presStyleLbl="node3" presStyleIdx="6" presStyleCnt="21"/>
      <dgm:spPr/>
    </dgm:pt>
    <dgm:pt modelId="{B93E3D8D-B75B-4B94-B23F-78A5B1EBDFA3}" type="pres">
      <dgm:prSet presAssocID="{A899EB36-46B6-4510-9005-68718B1B45CE}" presName="hierChild4" presStyleCnt="0"/>
      <dgm:spPr/>
    </dgm:pt>
    <dgm:pt modelId="{143BDA14-57F3-4E85-B5DA-60677F293E1D}" type="pres">
      <dgm:prSet presAssocID="{A899EB36-46B6-4510-9005-68718B1B45CE}" presName="hierChild5" presStyleCnt="0"/>
      <dgm:spPr/>
    </dgm:pt>
    <dgm:pt modelId="{7A6160BE-74C8-4DF6-85A5-439B7CCB71D2}" type="pres">
      <dgm:prSet presAssocID="{71B4969D-8786-413A-87F8-9CEB14901E23}" presName="Name37" presStyleLbl="parChTrans1D3" presStyleIdx="7" presStyleCnt="21"/>
      <dgm:spPr/>
    </dgm:pt>
    <dgm:pt modelId="{53E1B66A-1456-44E0-BD62-366CC248755F}" type="pres">
      <dgm:prSet presAssocID="{111F0992-6680-4A9D-BD16-A114C530A646}" presName="hierRoot2" presStyleCnt="0">
        <dgm:presLayoutVars>
          <dgm:hierBranch val="init"/>
        </dgm:presLayoutVars>
      </dgm:prSet>
      <dgm:spPr/>
    </dgm:pt>
    <dgm:pt modelId="{1607AB8F-726B-4D08-81AE-3CBA49D0628B}" type="pres">
      <dgm:prSet presAssocID="{111F0992-6680-4A9D-BD16-A114C530A646}" presName="rootComposite" presStyleCnt="0"/>
      <dgm:spPr/>
    </dgm:pt>
    <dgm:pt modelId="{854E3429-CD5F-4965-A56E-155A50DC2FBB}" type="pres">
      <dgm:prSet presAssocID="{111F0992-6680-4A9D-BD16-A114C530A646}" presName="rootText" presStyleLbl="node3" presStyleIdx="7" presStyleCnt="21">
        <dgm:presLayoutVars>
          <dgm:chPref val="3"/>
        </dgm:presLayoutVars>
      </dgm:prSet>
      <dgm:spPr/>
    </dgm:pt>
    <dgm:pt modelId="{63781A13-2CA7-40AB-87DD-51F4A69394EA}" type="pres">
      <dgm:prSet presAssocID="{111F0992-6680-4A9D-BD16-A114C530A646}" presName="rootConnector" presStyleLbl="node3" presStyleIdx="7" presStyleCnt="21"/>
      <dgm:spPr/>
    </dgm:pt>
    <dgm:pt modelId="{1BAAA043-D854-442E-A721-E7E58A4D3BA3}" type="pres">
      <dgm:prSet presAssocID="{111F0992-6680-4A9D-BD16-A114C530A646}" presName="hierChild4" presStyleCnt="0"/>
      <dgm:spPr/>
    </dgm:pt>
    <dgm:pt modelId="{0BCD9094-7BC1-49AD-8D16-E1EFCC45398A}" type="pres">
      <dgm:prSet presAssocID="{111F0992-6680-4A9D-BD16-A114C530A646}" presName="hierChild5" presStyleCnt="0"/>
      <dgm:spPr/>
    </dgm:pt>
    <dgm:pt modelId="{B8C5AF76-7429-4605-8AFA-B6184486BF5D}" type="pres">
      <dgm:prSet presAssocID="{8DBE75AC-1121-4C8D-9828-A66FD9BCF9AC}" presName="Name37" presStyleLbl="parChTrans1D3" presStyleIdx="8" presStyleCnt="21"/>
      <dgm:spPr/>
    </dgm:pt>
    <dgm:pt modelId="{25EC4553-816F-45C9-BED7-F01DB74A3494}" type="pres">
      <dgm:prSet presAssocID="{6DE06DC6-5D2D-4A69-A3AB-9E34143DE349}" presName="hierRoot2" presStyleCnt="0">
        <dgm:presLayoutVars>
          <dgm:hierBranch val="init"/>
        </dgm:presLayoutVars>
      </dgm:prSet>
      <dgm:spPr/>
    </dgm:pt>
    <dgm:pt modelId="{1CCB26F2-1756-4A56-AEBE-135BA0F98CFC}" type="pres">
      <dgm:prSet presAssocID="{6DE06DC6-5D2D-4A69-A3AB-9E34143DE349}" presName="rootComposite" presStyleCnt="0"/>
      <dgm:spPr/>
    </dgm:pt>
    <dgm:pt modelId="{5D1E5804-52D9-47B5-B037-B8167C5EC818}" type="pres">
      <dgm:prSet presAssocID="{6DE06DC6-5D2D-4A69-A3AB-9E34143DE349}" presName="rootText" presStyleLbl="node3" presStyleIdx="8" presStyleCnt="21">
        <dgm:presLayoutVars>
          <dgm:chPref val="3"/>
        </dgm:presLayoutVars>
      </dgm:prSet>
      <dgm:spPr/>
    </dgm:pt>
    <dgm:pt modelId="{FB3F1EB2-DC9B-4D6C-8B56-71C8FE8BB622}" type="pres">
      <dgm:prSet presAssocID="{6DE06DC6-5D2D-4A69-A3AB-9E34143DE349}" presName="rootConnector" presStyleLbl="node3" presStyleIdx="8" presStyleCnt="21"/>
      <dgm:spPr/>
    </dgm:pt>
    <dgm:pt modelId="{70FC751F-935C-4590-B8AE-F860DD63E33B}" type="pres">
      <dgm:prSet presAssocID="{6DE06DC6-5D2D-4A69-A3AB-9E34143DE349}" presName="hierChild4" presStyleCnt="0"/>
      <dgm:spPr/>
    </dgm:pt>
    <dgm:pt modelId="{02D4F31A-4F65-44EC-92FF-0AA706DC20DA}" type="pres">
      <dgm:prSet presAssocID="{6DE06DC6-5D2D-4A69-A3AB-9E34143DE349}" presName="hierChild5" presStyleCnt="0"/>
      <dgm:spPr/>
    </dgm:pt>
    <dgm:pt modelId="{FB85DE53-76AC-4901-B8E2-7AE789D26C9A}" type="pres">
      <dgm:prSet presAssocID="{7B79E58C-4787-4086-B2EA-D0CC44E27A84}" presName="hierChild5" presStyleCnt="0"/>
      <dgm:spPr/>
    </dgm:pt>
    <dgm:pt modelId="{56B71D1F-86DF-45CE-937C-6BE1007419F9}" type="pres">
      <dgm:prSet presAssocID="{C66CA0CE-CE60-455E-B072-8696B4ACFFDF}" presName="Name37" presStyleLbl="parChTrans1D2" presStyleIdx="3" presStyleCnt="8"/>
      <dgm:spPr/>
    </dgm:pt>
    <dgm:pt modelId="{E46FE9D1-7BED-4B1A-B4B5-6F85452F3FEA}" type="pres">
      <dgm:prSet presAssocID="{BD70CF27-9074-42DB-82B2-44E66C2F222E}" presName="hierRoot2" presStyleCnt="0">
        <dgm:presLayoutVars>
          <dgm:hierBranch val="init"/>
        </dgm:presLayoutVars>
      </dgm:prSet>
      <dgm:spPr/>
    </dgm:pt>
    <dgm:pt modelId="{1A49CB85-BA3C-461A-B47E-78DB074ABC14}" type="pres">
      <dgm:prSet presAssocID="{BD70CF27-9074-42DB-82B2-44E66C2F222E}" presName="rootComposite" presStyleCnt="0"/>
      <dgm:spPr/>
    </dgm:pt>
    <dgm:pt modelId="{091974EB-C494-407F-A24C-7B655C366CED}" type="pres">
      <dgm:prSet presAssocID="{BD70CF27-9074-42DB-82B2-44E66C2F222E}" presName="rootText" presStyleLbl="node2" presStyleIdx="3" presStyleCnt="8">
        <dgm:presLayoutVars>
          <dgm:chPref val="3"/>
        </dgm:presLayoutVars>
      </dgm:prSet>
      <dgm:spPr/>
    </dgm:pt>
    <dgm:pt modelId="{D098F851-F91D-47FB-9C42-8DEB6653ADFB}" type="pres">
      <dgm:prSet presAssocID="{BD70CF27-9074-42DB-82B2-44E66C2F222E}" presName="rootConnector" presStyleLbl="node2" presStyleIdx="3" presStyleCnt="8"/>
      <dgm:spPr/>
    </dgm:pt>
    <dgm:pt modelId="{C7E9C86B-9C3F-467D-A79D-C01E3F43AD81}" type="pres">
      <dgm:prSet presAssocID="{BD70CF27-9074-42DB-82B2-44E66C2F222E}" presName="hierChild4" presStyleCnt="0"/>
      <dgm:spPr/>
    </dgm:pt>
    <dgm:pt modelId="{670307B7-E800-4318-96E1-45713A4E2ADF}" type="pres">
      <dgm:prSet presAssocID="{B63317BF-668A-4FCF-B871-D3F27805B25B}" presName="Name37" presStyleLbl="parChTrans1D3" presStyleIdx="9" presStyleCnt="21"/>
      <dgm:spPr/>
    </dgm:pt>
    <dgm:pt modelId="{FAC2E818-455A-4085-AFB9-1AB6359EFF09}" type="pres">
      <dgm:prSet presAssocID="{8E91D753-B6D8-43FE-8144-5171A5CD331A}" presName="hierRoot2" presStyleCnt="0">
        <dgm:presLayoutVars>
          <dgm:hierBranch val="init"/>
        </dgm:presLayoutVars>
      </dgm:prSet>
      <dgm:spPr/>
    </dgm:pt>
    <dgm:pt modelId="{531319F7-8944-462E-B802-57016252F838}" type="pres">
      <dgm:prSet presAssocID="{8E91D753-B6D8-43FE-8144-5171A5CD331A}" presName="rootComposite" presStyleCnt="0"/>
      <dgm:spPr/>
    </dgm:pt>
    <dgm:pt modelId="{173D0537-F4F0-4D89-A40C-B866D62C01B5}" type="pres">
      <dgm:prSet presAssocID="{8E91D753-B6D8-43FE-8144-5171A5CD331A}" presName="rootText" presStyleLbl="node3" presStyleIdx="9" presStyleCnt="21">
        <dgm:presLayoutVars>
          <dgm:chPref val="3"/>
        </dgm:presLayoutVars>
      </dgm:prSet>
      <dgm:spPr/>
    </dgm:pt>
    <dgm:pt modelId="{66B55972-06DB-4C74-A888-DF7DBDE94160}" type="pres">
      <dgm:prSet presAssocID="{8E91D753-B6D8-43FE-8144-5171A5CD331A}" presName="rootConnector" presStyleLbl="node3" presStyleIdx="9" presStyleCnt="21"/>
      <dgm:spPr/>
    </dgm:pt>
    <dgm:pt modelId="{1777F8BA-ABFE-4E28-A13C-950037B371F3}" type="pres">
      <dgm:prSet presAssocID="{8E91D753-B6D8-43FE-8144-5171A5CD331A}" presName="hierChild4" presStyleCnt="0"/>
      <dgm:spPr/>
    </dgm:pt>
    <dgm:pt modelId="{39C4D5BC-BE84-43DD-B6C8-2D5DC2634693}" type="pres">
      <dgm:prSet presAssocID="{8E91D753-B6D8-43FE-8144-5171A5CD331A}" presName="hierChild5" presStyleCnt="0"/>
      <dgm:spPr/>
    </dgm:pt>
    <dgm:pt modelId="{8A8389F6-63DF-4B1F-B09C-D2BE47B21E45}" type="pres">
      <dgm:prSet presAssocID="{9B2FE47C-D5D1-4FD4-A3F1-2549F16E3792}" presName="Name37" presStyleLbl="parChTrans1D3" presStyleIdx="10" presStyleCnt="21"/>
      <dgm:spPr/>
    </dgm:pt>
    <dgm:pt modelId="{3CA1DDAE-0BCC-4F2D-A737-FA141A73006D}" type="pres">
      <dgm:prSet presAssocID="{EA33570A-0F9F-4F20-8839-EF1FD6A17412}" presName="hierRoot2" presStyleCnt="0">
        <dgm:presLayoutVars>
          <dgm:hierBranch val="init"/>
        </dgm:presLayoutVars>
      </dgm:prSet>
      <dgm:spPr/>
    </dgm:pt>
    <dgm:pt modelId="{05B7230A-CF10-40C7-AD5A-7B4A6D794BD3}" type="pres">
      <dgm:prSet presAssocID="{EA33570A-0F9F-4F20-8839-EF1FD6A17412}" presName="rootComposite" presStyleCnt="0"/>
      <dgm:spPr/>
    </dgm:pt>
    <dgm:pt modelId="{B806E04C-0088-482E-9FF6-5535FFBBF18B}" type="pres">
      <dgm:prSet presAssocID="{EA33570A-0F9F-4F20-8839-EF1FD6A17412}" presName="rootText" presStyleLbl="node3" presStyleIdx="10" presStyleCnt="21">
        <dgm:presLayoutVars>
          <dgm:chPref val="3"/>
        </dgm:presLayoutVars>
      </dgm:prSet>
      <dgm:spPr>
        <a:xfrm>
          <a:off x="5049261" y="2328721"/>
          <a:ext cx="1092590" cy="546295"/>
        </a:xfrm>
        <a:prstGeom prst="rect">
          <a:avLst/>
        </a:prstGeom>
      </dgm:spPr>
    </dgm:pt>
    <dgm:pt modelId="{6BD35364-3C87-43B6-A283-BDCBE2D3F809}" type="pres">
      <dgm:prSet presAssocID="{EA33570A-0F9F-4F20-8839-EF1FD6A17412}" presName="rootConnector" presStyleLbl="node3" presStyleIdx="10" presStyleCnt="21"/>
      <dgm:spPr/>
    </dgm:pt>
    <dgm:pt modelId="{469F5BA2-2203-4532-B54B-B5525F41C6AB}" type="pres">
      <dgm:prSet presAssocID="{EA33570A-0F9F-4F20-8839-EF1FD6A17412}" presName="hierChild4" presStyleCnt="0"/>
      <dgm:spPr/>
    </dgm:pt>
    <dgm:pt modelId="{68C14FDD-9580-433F-9C71-81690B301301}" type="pres">
      <dgm:prSet presAssocID="{EA33570A-0F9F-4F20-8839-EF1FD6A17412}" presName="hierChild5" presStyleCnt="0"/>
      <dgm:spPr/>
    </dgm:pt>
    <dgm:pt modelId="{2AE8FA8A-7D44-4A19-91D3-D27A593B8A80}" type="pres">
      <dgm:prSet presAssocID="{BD70CF27-9074-42DB-82B2-44E66C2F222E}" presName="hierChild5" presStyleCnt="0"/>
      <dgm:spPr/>
    </dgm:pt>
    <dgm:pt modelId="{9642E688-2679-4B16-95C0-8C6CF9EDBA78}" type="pres">
      <dgm:prSet presAssocID="{FEA595C5-AC05-47DE-ABDF-0752485C8733}" presName="hierChild3" presStyleCnt="0"/>
      <dgm:spPr/>
    </dgm:pt>
    <dgm:pt modelId="{2EA568E9-A52B-427A-A481-F80035804314}" type="pres">
      <dgm:prSet presAssocID="{F289F62F-7BEE-4D51-BCE2-F866DE40AF7F}" presName="hierRoot1" presStyleCnt="0">
        <dgm:presLayoutVars>
          <dgm:hierBranch val="init"/>
        </dgm:presLayoutVars>
      </dgm:prSet>
      <dgm:spPr/>
    </dgm:pt>
    <dgm:pt modelId="{63E41BD2-4C3C-4B8E-A2DB-E37FC023B70E}" type="pres">
      <dgm:prSet presAssocID="{F289F62F-7BEE-4D51-BCE2-F866DE40AF7F}" presName="rootComposite1" presStyleCnt="0"/>
      <dgm:spPr/>
    </dgm:pt>
    <dgm:pt modelId="{B09E4E6A-F9A3-4DEB-BB67-02A01FDE8808}" type="pres">
      <dgm:prSet presAssocID="{F289F62F-7BEE-4D51-BCE2-F866DE40AF7F}" presName="rootText1" presStyleLbl="node0" presStyleIdx="1" presStyleCnt="2">
        <dgm:presLayoutVars>
          <dgm:chPref val="3"/>
        </dgm:presLayoutVars>
      </dgm:prSet>
      <dgm:spPr/>
    </dgm:pt>
    <dgm:pt modelId="{175F67D2-1D59-4571-B3ED-DC9A8F35ABC6}" type="pres">
      <dgm:prSet presAssocID="{F289F62F-7BEE-4D51-BCE2-F866DE40AF7F}" presName="rootConnector1" presStyleLbl="node1" presStyleIdx="0" presStyleCnt="0"/>
      <dgm:spPr/>
    </dgm:pt>
    <dgm:pt modelId="{789DEAA2-8D1E-429D-9566-F10B72C2B700}" type="pres">
      <dgm:prSet presAssocID="{F289F62F-7BEE-4D51-BCE2-F866DE40AF7F}" presName="hierChild2" presStyleCnt="0"/>
      <dgm:spPr/>
    </dgm:pt>
    <dgm:pt modelId="{0CE13B58-B690-41FA-8B50-ABF8AF488D63}" type="pres">
      <dgm:prSet presAssocID="{16FEE704-B28D-443E-B2E7-FE4C367302D0}" presName="Name37" presStyleLbl="parChTrans1D2" presStyleIdx="4" presStyleCnt="8"/>
      <dgm:spPr/>
    </dgm:pt>
    <dgm:pt modelId="{5EBFCF1B-9F48-4A41-B6E4-A77E1B3370F0}" type="pres">
      <dgm:prSet presAssocID="{BBF9D8E9-DD2E-46BE-B49F-664913C83E49}" presName="hierRoot2" presStyleCnt="0">
        <dgm:presLayoutVars>
          <dgm:hierBranch val="init"/>
        </dgm:presLayoutVars>
      </dgm:prSet>
      <dgm:spPr/>
    </dgm:pt>
    <dgm:pt modelId="{EA41664E-F224-4D33-A697-D8AD25931EAF}" type="pres">
      <dgm:prSet presAssocID="{BBF9D8E9-DD2E-46BE-B49F-664913C83E49}" presName="rootComposite" presStyleCnt="0"/>
      <dgm:spPr/>
    </dgm:pt>
    <dgm:pt modelId="{5FDEA159-5341-4669-9223-2298C88C9E73}" type="pres">
      <dgm:prSet presAssocID="{BBF9D8E9-DD2E-46BE-B49F-664913C83E49}" presName="rootText" presStyleLbl="node2" presStyleIdx="4" presStyleCnt="8">
        <dgm:presLayoutVars>
          <dgm:chPref val="3"/>
        </dgm:presLayoutVars>
      </dgm:prSet>
      <dgm:spPr/>
    </dgm:pt>
    <dgm:pt modelId="{D8329AFD-F691-4167-8CE5-2E4A16F66FDD}" type="pres">
      <dgm:prSet presAssocID="{BBF9D8E9-DD2E-46BE-B49F-664913C83E49}" presName="rootConnector" presStyleLbl="node2" presStyleIdx="4" presStyleCnt="8"/>
      <dgm:spPr/>
    </dgm:pt>
    <dgm:pt modelId="{74C6F0C6-9313-4CFA-8A18-3309E29A96D9}" type="pres">
      <dgm:prSet presAssocID="{BBF9D8E9-DD2E-46BE-B49F-664913C83E49}" presName="hierChild4" presStyleCnt="0"/>
      <dgm:spPr/>
    </dgm:pt>
    <dgm:pt modelId="{F955BF2C-84E2-4FA5-AEC0-1FE1BDE8CEB9}" type="pres">
      <dgm:prSet presAssocID="{34A9B618-513F-4322-B332-94BF87BAE032}" presName="Name37" presStyleLbl="parChTrans1D3" presStyleIdx="11" presStyleCnt="21"/>
      <dgm:spPr/>
    </dgm:pt>
    <dgm:pt modelId="{40B8FC64-B861-4975-A564-1E18937D5FF7}" type="pres">
      <dgm:prSet presAssocID="{BEA0846D-BF10-4F54-A8E2-6D930057229A}" presName="hierRoot2" presStyleCnt="0">
        <dgm:presLayoutVars>
          <dgm:hierBranch val="init"/>
        </dgm:presLayoutVars>
      </dgm:prSet>
      <dgm:spPr/>
    </dgm:pt>
    <dgm:pt modelId="{280C7CC1-1C99-4E8C-A81A-59426FD94CF5}" type="pres">
      <dgm:prSet presAssocID="{BEA0846D-BF10-4F54-A8E2-6D930057229A}" presName="rootComposite" presStyleCnt="0"/>
      <dgm:spPr/>
    </dgm:pt>
    <dgm:pt modelId="{2AC194A2-56A9-41EF-B097-1F4DDF6EB615}" type="pres">
      <dgm:prSet presAssocID="{BEA0846D-BF10-4F54-A8E2-6D930057229A}" presName="rootText" presStyleLbl="node3" presStyleIdx="11" presStyleCnt="21">
        <dgm:presLayoutVars>
          <dgm:chPref val="3"/>
        </dgm:presLayoutVars>
      </dgm:prSet>
      <dgm:spPr/>
    </dgm:pt>
    <dgm:pt modelId="{EF1DDD1B-2414-400A-A641-050596013D60}" type="pres">
      <dgm:prSet presAssocID="{BEA0846D-BF10-4F54-A8E2-6D930057229A}" presName="rootConnector" presStyleLbl="node3" presStyleIdx="11" presStyleCnt="21"/>
      <dgm:spPr/>
    </dgm:pt>
    <dgm:pt modelId="{ED6AB62C-736A-4114-9D8F-34A11E12FC68}" type="pres">
      <dgm:prSet presAssocID="{BEA0846D-BF10-4F54-A8E2-6D930057229A}" presName="hierChild4" presStyleCnt="0"/>
      <dgm:spPr/>
    </dgm:pt>
    <dgm:pt modelId="{ED106D69-C915-465F-BD37-065B8D0F8BCF}" type="pres">
      <dgm:prSet presAssocID="{BEA0846D-BF10-4F54-A8E2-6D930057229A}" presName="hierChild5" presStyleCnt="0"/>
      <dgm:spPr/>
    </dgm:pt>
    <dgm:pt modelId="{070966F0-B954-461A-A8C3-AF471FD339DB}" type="pres">
      <dgm:prSet presAssocID="{3E474FF8-5A5A-4C4C-8EA1-704C5C263704}" presName="Name37" presStyleLbl="parChTrans1D3" presStyleIdx="12" presStyleCnt="21"/>
      <dgm:spPr/>
    </dgm:pt>
    <dgm:pt modelId="{E2F4E902-7DE7-4AF2-8182-859A56F5115E}" type="pres">
      <dgm:prSet presAssocID="{892CF2CA-28BC-4385-A7A1-CF62E0063E33}" presName="hierRoot2" presStyleCnt="0">
        <dgm:presLayoutVars>
          <dgm:hierBranch val="init"/>
        </dgm:presLayoutVars>
      </dgm:prSet>
      <dgm:spPr/>
    </dgm:pt>
    <dgm:pt modelId="{9CFD6D78-5EBD-44B8-A31B-4ED6CCABAE84}" type="pres">
      <dgm:prSet presAssocID="{892CF2CA-28BC-4385-A7A1-CF62E0063E33}" presName="rootComposite" presStyleCnt="0"/>
      <dgm:spPr/>
    </dgm:pt>
    <dgm:pt modelId="{7335FA4A-BB1D-4350-A188-F41AE7C58FA2}" type="pres">
      <dgm:prSet presAssocID="{892CF2CA-28BC-4385-A7A1-CF62E0063E33}" presName="rootText" presStyleLbl="node3" presStyleIdx="12" presStyleCnt="21">
        <dgm:presLayoutVars>
          <dgm:chPref val="3"/>
        </dgm:presLayoutVars>
      </dgm:prSet>
      <dgm:spPr/>
    </dgm:pt>
    <dgm:pt modelId="{FE11E0F9-3BB5-43F4-92B1-B9F2B1F4F016}" type="pres">
      <dgm:prSet presAssocID="{892CF2CA-28BC-4385-A7A1-CF62E0063E33}" presName="rootConnector" presStyleLbl="node3" presStyleIdx="12" presStyleCnt="21"/>
      <dgm:spPr/>
    </dgm:pt>
    <dgm:pt modelId="{77538DA1-F62A-4938-843F-498BD3208CD3}" type="pres">
      <dgm:prSet presAssocID="{892CF2CA-28BC-4385-A7A1-CF62E0063E33}" presName="hierChild4" presStyleCnt="0"/>
      <dgm:spPr/>
    </dgm:pt>
    <dgm:pt modelId="{4BF2BD66-B3DE-409B-B2D2-534470D8EDB9}" type="pres">
      <dgm:prSet presAssocID="{892CF2CA-28BC-4385-A7A1-CF62E0063E33}" presName="hierChild5" presStyleCnt="0"/>
      <dgm:spPr/>
    </dgm:pt>
    <dgm:pt modelId="{E69082D1-50A0-4875-8666-5BBAF2DF118C}" type="pres">
      <dgm:prSet presAssocID="{94F2883D-7591-4D2F-B9C1-9FAB4BFC81A6}" presName="Name37" presStyleLbl="parChTrans1D3" presStyleIdx="13" presStyleCnt="21"/>
      <dgm:spPr/>
    </dgm:pt>
    <dgm:pt modelId="{A870FE4D-2AF1-4717-80DA-4EF9E361C620}" type="pres">
      <dgm:prSet presAssocID="{10578D54-8578-45AD-B9BA-E3431DAB7223}" presName="hierRoot2" presStyleCnt="0">
        <dgm:presLayoutVars>
          <dgm:hierBranch val="init"/>
        </dgm:presLayoutVars>
      </dgm:prSet>
      <dgm:spPr/>
    </dgm:pt>
    <dgm:pt modelId="{9E5F2891-1C0F-4667-B9D4-537DC59A70F5}" type="pres">
      <dgm:prSet presAssocID="{10578D54-8578-45AD-B9BA-E3431DAB7223}" presName="rootComposite" presStyleCnt="0"/>
      <dgm:spPr/>
    </dgm:pt>
    <dgm:pt modelId="{71293E39-5B76-4B58-A527-4F7218508E3F}" type="pres">
      <dgm:prSet presAssocID="{10578D54-8578-45AD-B9BA-E3431DAB7223}" presName="rootText" presStyleLbl="node3" presStyleIdx="13" presStyleCnt="21">
        <dgm:presLayoutVars>
          <dgm:chPref val="3"/>
        </dgm:presLayoutVars>
      </dgm:prSet>
      <dgm:spPr/>
    </dgm:pt>
    <dgm:pt modelId="{09E32015-4C73-4794-9319-57A1EDD6E409}" type="pres">
      <dgm:prSet presAssocID="{10578D54-8578-45AD-B9BA-E3431DAB7223}" presName="rootConnector" presStyleLbl="node3" presStyleIdx="13" presStyleCnt="21"/>
      <dgm:spPr/>
    </dgm:pt>
    <dgm:pt modelId="{EA4BDF38-5645-4BA1-AD0F-D929D50423B7}" type="pres">
      <dgm:prSet presAssocID="{10578D54-8578-45AD-B9BA-E3431DAB7223}" presName="hierChild4" presStyleCnt="0"/>
      <dgm:spPr/>
    </dgm:pt>
    <dgm:pt modelId="{87C36FF1-CFF4-44C8-822F-8188659FFE99}" type="pres">
      <dgm:prSet presAssocID="{10578D54-8578-45AD-B9BA-E3431DAB7223}" presName="hierChild5" presStyleCnt="0"/>
      <dgm:spPr/>
    </dgm:pt>
    <dgm:pt modelId="{5A2E6900-CF72-45AA-85C9-D5B8A4E04294}" type="pres">
      <dgm:prSet presAssocID="{BBF9D8E9-DD2E-46BE-B49F-664913C83E49}" presName="hierChild5" presStyleCnt="0"/>
      <dgm:spPr/>
    </dgm:pt>
    <dgm:pt modelId="{36A6F615-40ED-4119-80CE-6C55C56BFCF7}" type="pres">
      <dgm:prSet presAssocID="{C2949E73-C5F0-4F68-92FF-EBA664BE1CAE}" presName="Name37" presStyleLbl="parChTrans1D2" presStyleIdx="5" presStyleCnt="8"/>
      <dgm:spPr/>
    </dgm:pt>
    <dgm:pt modelId="{4FB03E5E-6C7F-480B-A314-8797E1E2D7E4}" type="pres">
      <dgm:prSet presAssocID="{B45D9410-7EEF-480D-9219-F88CC1570772}" presName="hierRoot2" presStyleCnt="0">
        <dgm:presLayoutVars>
          <dgm:hierBranch val="init"/>
        </dgm:presLayoutVars>
      </dgm:prSet>
      <dgm:spPr/>
    </dgm:pt>
    <dgm:pt modelId="{19C4E28A-046A-490D-9F5F-BC0B60B898AD}" type="pres">
      <dgm:prSet presAssocID="{B45D9410-7EEF-480D-9219-F88CC1570772}" presName="rootComposite" presStyleCnt="0"/>
      <dgm:spPr/>
    </dgm:pt>
    <dgm:pt modelId="{7B3A53FC-80CE-494C-BC2F-EDBF5E3D6DD9}" type="pres">
      <dgm:prSet presAssocID="{B45D9410-7EEF-480D-9219-F88CC1570772}" presName="rootText" presStyleLbl="node2" presStyleIdx="5" presStyleCnt="8">
        <dgm:presLayoutVars>
          <dgm:chPref val="3"/>
        </dgm:presLayoutVars>
      </dgm:prSet>
      <dgm:spPr/>
    </dgm:pt>
    <dgm:pt modelId="{A49E0626-0E30-449B-93BE-641807773F80}" type="pres">
      <dgm:prSet presAssocID="{B45D9410-7EEF-480D-9219-F88CC1570772}" presName="rootConnector" presStyleLbl="node2" presStyleIdx="5" presStyleCnt="8"/>
      <dgm:spPr/>
    </dgm:pt>
    <dgm:pt modelId="{E5D38120-EAE2-46E4-9981-8D1DDF5BEC18}" type="pres">
      <dgm:prSet presAssocID="{B45D9410-7EEF-480D-9219-F88CC1570772}" presName="hierChild4" presStyleCnt="0"/>
      <dgm:spPr/>
    </dgm:pt>
    <dgm:pt modelId="{FE414C43-A323-404A-8B20-73C1B9394D8D}" type="pres">
      <dgm:prSet presAssocID="{8105C518-EDF2-4B63-AD97-96A63E73DB2B}" presName="Name37" presStyleLbl="parChTrans1D3" presStyleIdx="14" presStyleCnt="21"/>
      <dgm:spPr/>
    </dgm:pt>
    <dgm:pt modelId="{D7A12955-A804-4012-863B-5051B99BED6E}" type="pres">
      <dgm:prSet presAssocID="{BF1A4191-5F14-4D48-B3C9-BA7BF3B86B2A}" presName="hierRoot2" presStyleCnt="0">
        <dgm:presLayoutVars>
          <dgm:hierBranch val="init"/>
        </dgm:presLayoutVars>
      </dgm:prSet>
      <dgm:spPr/>
    </dgm:pt>
    <dgm:pt modelId="{45E568D7-EC24-45B6-A149-3DF2548502D9}" type="pres">
      <dgm:prSet presAssocID="{BF1A4191-5F14-4D48-B3C9-BA7BF3B86B2A}" presName="rootComposite" presStyleCnt="0"/>
      <dgm:spPr/>
    </dgm:pt>
    <dgm:pt modelId="{1445CFE0-EACF-4513-8261-B3694B654673}" type="pres">
      <dgm:prSet presAssocID="{BF1A4191-5F14-4D48-B3C9-BA7BF3B86B2A}" presName="rootText" presStyleLbl="node3" presStyleIdx="14" presStyleCnt="21">
        <dgm:presLayoutVars>
          <dgm:chPref val="3"/>
        </dgm:presLayoutVars>
      </dgm:prSet>
      <dgm:spPr/>
    </dgm:pt>
    <dgm:pt modelId="{E96914E2-6009-4B5B-9CF2-F9D4BB9AF1E8}" type="pres">
      <dgm:prSet presAssocID="{BF1A4191-5F14-4D48-B3C9-BA7BF3B86B2A}" presName="rootConnector" presStyleLbl="node3" presStyleIdx="14" presStyleCnt="21"/>
      <dgm:spPr/>
    </dgm:pt>
    <dgm:pt modelId="{178281E9-7119-4C6F-8B3E-BC7DFE37C085}" type="pres">
      <dgm:prSet presAssocID="{BF1A4191-5F14-4D48-B3C9-BA7BF3B86B2A}" presName="hierChild4" presStyleCnt="0"/>
      <dgm:spPr/>
    </dgm:pt>
    <dgm:pt modelId="{CC457D29-574F-4B13-B469-05CEE5005B08}" type="pres">
      <dgm:prSet presAssocID="{BF1A4191-5F14-4D48-B3C9-BA7BF3B86B2A}" presName="hierChild5" presStyleCnt="0"/>
      <dgm:spPr/>
    </dgm:pt>
    <dgm:pt modelId="{914AFF32-58E1-4E6E-8DD9-F22701ABB021}" type="pres">
      <dgm:prSet presAssocID="{4D4AA90A-AF2F-4A0A-9F80-E0E2B49E74AF}" presName="Name37" presStyleLbl="parChTrans1D3" presStyleIdx="15" presStyleCnt="21"/>
      <dgm:spPr/>
    </dgm:pt>
    <dgm:pt modelId="{4215B491-4764-4745-9CC3-B95AE7655D66}" type="pres">
      <dgm:prSet presAssocID="{2D838EB6-9CD7-45B6-9DBA-44FC0DC676F7}" presName="hierRoot2" presStyleCnt="0">
        <dgm:presLayoutVars>
          <dgm:hierBranch val="init"/>
        </dgm:presLayoutVars>
      </dgm:prSet>
      <dgm:spPr/>
    </dgm:pt>
    <dgm:pt modelId="{5FD1EB36-18B9-4F43-BEF5-B51FCBF94339}" type="pres">
      <dgm:prSet presAssocID="{2D838EB6-9CD7-45B6-9DBA-44FC0DC676F7}" presName="rootComposite" presStyleCnt="0"/>
      <dgm:spPr/>
    </dgm:pt>
    <dgm:pt modelId="{FF354DD2-655E-40A6-A78B-EC60119CB3CA}" type="pres">
      <dgm:prSet presAssocID="{2D838EB6-9CD7-45B6-9DBA-44FC0DC676F7}" presName="rootText" presStyleLbl="node3" presStyleIdx="15" presStyleCnt="21">
        <dgm:presLayoutVars>
          <dgm:chPref val="3"/>
        </dgm:presLayoutVars>
      </dgm:prSet>
      <dgm:spPr/>
    </dgm:pt>
    <dgm:pt modelId="{AFC1FEAA-EC95-4F38-88E0-ABB79070AA51}" type="pres">
      <dgm:prSet presAssocID="{2D838EB6-9CD7-45B6-9DBA-44FC0DC676F7}" presName="rootConnector" presStyleLbl="node3" presStyleIdx="15" presStyleCnt="21"/>
      <dgm:spPr/>
    </dgm:pt>
    <dgm:pt modelId="{70ACCCBD-11F8-44C3-BD1D-0D225398A5E8}" type="pres">
      <dgm:prSet presAssocID="{2D838EB6-9CD7-45B6-9DBA-44FC0DC676F7}" presName="hierChild4" presStyleCnt="0"/>
      <dgm:spPr/>
    </dgm:pt>
    <dgm:pt modelId="{CDA15233-5E1F-4FB6-B5D5-F6349F55F365}" type="pres">
      <dgm:prSet presAssocID="{2D838EB6-9CD7-45B6-9DBA-44FC0DC676F7}" presName="hierChild5" presStyleCnt="0"/>
      <dgm:spPr/>
    </dgm:pt>
    <dgm:pt modelId="{5BCBFD42-0EBF-4426-9C3B-0DAE9E12A03C}" type="pres">
      <dgm:prSet presAssocID="{5F82C9BE-EF9D-4C7F-AE9D-D4A7428A8EC2}" presName="Name37" presStyleLbl="parChTrans1D3" presStyleIdx="16" presStyleCnt="21"/>
      <dgm:spPr/>
    </dgm:pt>
    <dgm:pt modelId="{57565077-0806-4A3A-A947-092317C653CB}" type="pres">
      <dgm:prSet presAssocID="{3D3B4CE5-7EF5-4381-BC4D-AB8C845936A1}" presName="hierRoot2" presStyleCnt="0">
        <dgm:presLayoutVars>
          <dgm:hierBranch val="init"/>
        </dgm:presLayoutVars>
      </dgm:prSet>
      <dgm:spPr/>
    </dgm:pt>
    <dgm:pt modelId="{A2E46B65-DE3D-4750-868F-65ACD9D2D7E4}" type="pres">
      <dgm:prSet presAssocID="{3D3B4CE5-7EF5-4381-BC4D-AB8C845936A1}" presName="rootComposite" presStyleCnt="0"/>
      <dgm:spPr/>
    </dgm:pt>
    <dgm:pt modelId="{169F6393-393E-4239-9BE7-60D3D07E3683}" type="pres">
      <dgm:prSet presAssocID="{3D3B4CE5-7EF5-4381-BC4D-AB8C845936A1}" presName="rootText" presStyleLbl="node3" presStyleIdx="16" presStyleCnt="21">
        <dgm:presLayoutVars>
          <dgm:chPref val="3"/>
        </dgm:presLayoutVars>
      </dgm:prSet>
      <dgm:spPr/>
    </dgm:pt>
    <dgm:pt modelId="{1ADB0B2D-D9C8-4B89-A47C-3ABCDBE47ABA}" type="pres">
      <dgm:prSet presAssocID="{3D3B4CE5-7EF5-4381-BC4D-AB8C845936A1}" presName="rootConnector" presStyleLbl="node3" presStyleIdx="16" presStyleCnt="21"/>
      <dgm:spPr/>
    </dgm:pt>
    <dgm:pt modelId="{533090AD-B932-40C1-BF35-68198F0B23F2}" type="pres">
      <dgm:prSet presAssocID="{3D3B4CE5-7EF5-4381-BC4D-AB8C845936A1}" presName="hierChild4" presStyleCnt="0"/>
      <dgm:spPr/>
    </dgm:pt>
    <dgm:pt modelId="{37BDA22B-73DA-46EE-9D2F-E10D6420ACFA}" type="pres">
      <dgm:prSet presAssocID="{3D3B4CE5-7EF5-4381-BC4D-AB8C845936A1}" presName="hierChild5" presStyleCnt="0"/>
      <dgm:spPr/>
    </dgm:pt>
    <dgm:pt modelId="{6D8C87D8-A0C6-4735-AAA7-D62417F31888}" type="pres">
      <dgm:prSet presAssocID="{B45D9410-7EEF-480D-9219-F88CC1570772}" presName="hierChild5" presStyleCnt="0"/>
      <dgm:spPr/>
    </dgm:pt>
    <dgm:pt modelId="{A775213A-C5B8-4372-B728-A3B8A85B0D01}" type="pres">
      <dgm:prSet presAssocID="{56044374-3E5A-424A-9A0E-8D09792FE9AC}" presName="Name37" presStyleLbl="parChTrans1D2" presStyleIdx="6" presStyleCnt="8"/>
      <dgm:spPr/>
    </dgm:pt>
    <dgm:pt modelId="{B069D77D-BC19-4C83-A2E1-E23A4A2687D0}" type="pres">
      <dgm:prSet presAssocID="{CB0F385F-633F-4659-B9B5-767F5CC178F8}" presName="hierRoot2" presStyleCnt="0">
        <dgm:presLayoutVars>
          <dgm:hierBranch val="init"/>
        </dgm:presLayoutVars>
      </dgm:prSet>
      <dgm:spPr/>
    </dgm:pt>
    <dgm:pt modelId="{A464231E-B4CF-4A31-9E63-576E527AA865}" type="pres">
      <dgm:prSet presAssocID="{CB0F385F-633F-4659-B9B5-767F5CC178F8}" presName="rootComposite" presStyleCnt="0"/>
      <dgm:spPr/>
    </dgm:pt>
    <dgm:pt modelId="{A8B7A2C2-6A3C-471B-9D8E-617B121C07C7}" type="pres">
      <dgm:prSet presAssocID="{CB0F385F-633F-4659-B9B5-767F5CC178F8}" presName="rootText" presStyleLbl="node2" presStyleIdx="6" presStyleCnt="8">
        <dgm:presLayoutVars>
          <dgm:chPref val="3"/>
        </dgm:presLayoutVars>
      </dgm:prSet>
      <dgm:spPr/>
    </dgm:pt>
    <dgm:pt modelId="{70A40090-1F3B-4ED6-8D76-F417CFCF78F1}" type="pres">
      <dgm:prSet presAssocID="{CB0F385F-633F-4659-B9B5-767F5CC178F8}" presName="rootConnector" presStyleLbl="node2" presStyleIdx="6" presStyleCnt="8"/>
      <dgm:spPr/>
    </dgm:pt>
    <dgm:pt modelId="{44A049B6-7D3B-4B20-9B94-8AF93BA7D186}" type="pres">
      <dgm:prSet presAssocID="{CB0F385F-633F-4659-B9B5-767F5CC178F8}" presName="hierChild4" presStyleCnt="0"/>
      <dgm:spPr/>
    </dgm:pt>
    <dgm:pt modelId="{E04CD957-1287-429E-B241-40616870A669}" type="pres">
      <dgm:prSet presAssocID="{4D269058-505B-47B3-BF73-39F70B6C59E0}" presName="Name37" presStyleLbl="parChTrans1D3" presStyleIdx="17" presStyleCnt="21"/>
      <dgm:spPr/>
    </dgm:pt>
    <dgm:pt modelId="{99C8546B-9316-4BBC-A67C-BFFB977C2DF8}" type="pres">
      <dgm:prSet presAssocID="{9DE47366-A61B-4E04-9F77-37290D6F724A}" presName="hierRoot2" presStyleCnt="0">
        <dgm:presLayoutVars>
          <dgm:hierBranch val="init"/>
        </dgm:presLayoutVars>
      </dgm:prSet>
      <dgm:spPr/>
    </dgm:pt>
    <dgm:pt modelId="{FE3C93F7-0F91-445E-AA34-9B993DEE4E8C}" type="pres">
      <dgm:prSet presAssocID="{9DE47366-A61B-4E04-9F77-37290D6F724A}" presName="rootComposite" presStyleCnt="0"/>
      <dgm:spPr/>
    </dgm:pt>
    <dgm:pt modelId="{FED850AE-143D-4799-8D01-5390379CD125}" type="pres">
      <dgm:prSet presAssocID="{9DE47366-A61B-4E04-9F77-37290D6F724A}" presName="rootText" presStyleLbl="node3" presStyleIdx="17" presStyleCnt="21">
        <dgm:presLayoutVars>
          <dgm:chPref val="3"/>
        </dgm:presLayoutVars>
      </dgm:prSet>
      <dgm:spPr/>
    </dgm:pt>
    <dgm:pt modelId="{3D5411C8-70AA-4C79-A2CF-4E0E3362071E}" type="pres">
      <dgm:prSet presAssocID="{9DE47366-A61B-4E04-9F77-37290D6F724A}" presName="rootConnector" presStyleLbl="node3" presStyleIdx="17" presStyleCnt="21"/>
      <dgm:spPr/>
    </dgm:pt>
    <dgm:pt modelId="{B5CF6DE2-EF4F-4FC3-9187-94678AD258AE}" type="pres">
      <dgm:prSet presAssocID="{9DE47366-A61B-4E04-9F77-37290D6F724A}" presName="hierChild4" presStyleCnt="0"/>
      <dgm:spPr/>
    </dgm:pt>
    <dgm:pt modelId="{DC73E43A-849F-4F63-A64D-1E14BAEC2F26}" type="pres">
      <dgm:prSet presAssocID="{9DE47366-A61B-4E04-9F77-37290D6F724A}" presName="hierChild5" presStyleCnt="0"/>
      <dgm:spPr/>
    </dgm:pt>
    <dgm:pt modelId="{9F98CCE8-1CAE-4AC2-80B5-79B651549BE2}" type="pres">
      <dgm:prSet presAssocID="{5ACCDA14-BE16-4FF8-B1CB-9F82D1652615}" presName="Name37" presStyleLbl="parChTrans1D3" presStyleIdx="18" presStyleCnt="21"/>
      <dgm:spPr/>
    </dgm:pt>
    <dgm:pt modelId="{C9A7D03F-5806-4EBB-9EDC-3B11C29CBCB5}" type="pres">
      <dgm:prSet presAssocID="{4CE9CF90-22D9-482D-930A-6B3973F1E9FD}" presName="hierRoot2" presStyleCnt="0">
        <dgm:presLayoutVars>
          <dgm:hierBranch val="init"/>
        </dgm:presLayoutVars>
      </dgm:prSet>
      <dgm:spPr/>
    </dgm:pt>
    <dgm:pt modelId="{B2517721-0AAF-4B8B-AA7E-E06E5CA2511F}" type="pres">
      <dgm:prSet presAssocID="{4CE9CF90-22D9-482D-930A-6B3973F1E9FD}" presName="rootComposite" presStyleCnt="0"/>
      <dgm:spPr/>
    </dgm:pt>
    <dgm:pt modelId="{00FFB463-8A13-4CCE-B4D2-5667B0A697B1}" type="pres">
      <dgm:prSet presAssocID="{4CE9CF90-22D9-482D-930A-6B3973F1E9FD}" presName="rootText" presStyleLbl="node3" presStyleIdx="18" presStyleCnt="21">
        <dgm:presLayoutVars>
          <dgm:chPref val="3"/>
        </dgm:presLayoutVars>
      </dgm:prSet>
      <dgm:spPr/>
    </dgm:pt>
    <dgm:pt modelId="{7EECAF56-A71D-45AF-9A43-B346C2469334}" type="pres">
      <dgm:prSet presAssocID="{4CE9CF90-22D9-482D-930A-6B3973F1E9FD}" presName="rootConnector" presStyleLbl="node3" presStyleIdx="18" presStyleCnt="21"/>
      <dgm:spPr/>
    </dgm:pt>
    <dgm:pt modelId="{02A2D863-0D1B-4294-B57E-8CB1BADF257B}" type="pres">
      <dgm:prSet presAssocID="{4CE9CF90-22D9-482D-930A-6B3973F1E9FD}" presName="hierChild4" presStyleCnt="0"/>
      <dgm:spPr/>
    </dgm:pt>
    <dgm:pt modelId="{79607355-68C8-4F75-926F-061720D935C9}" type="pres">
      <dgm:prSet presAssocID="{4CE9CF90-22D9-482D-930A-6B3973F1E9FD}" presName="hierChild5" presStyleCnt="0"/>
      <dgm:spPr/>
    </dgm:pt>
    <dgm:pt modelId="{85567584-D3BF-411C-8ED6-49E707C6CF9E}" type="pres">
      <dgm:prSet presAssocID="{CB0F385F-633F-4659-B9B5-767F5CC178F8}" presName="hierChild5" presStyleCnt="0"/>
      <dgm:spPr/>
    </dgm:pt>
    <dgm:pt modelId="{4E717C48-D538-4200-BCC8-4F1F6AC0CB24}" type="pres">
      <dgm:prSet presAssocID="{CECED5CE-07DF-43D1-97F9-CA8928E30398}" presName="Name37" presStyleLbl="parChTrans1D2" presStyleIdx="7" presStyleCnt="8"/>
      <dgm:spPr/>
    </dgm:pt>
    <dgm:pt modelId="{F1689E8F-7167-48EA-BB84-B935933BFA22}" type="pres">
      <dgm:prSet presAssocID="{1C539B94-CE57-4AA8-B84C-F9F6A8BA368E}" presName="hierRoot2" presStyleCnt="0">
        <dgm:presLayoutVars>
          <dgm:hierBranch val="init"/>
        </dgm:presLayoutVars>
      </dgm:prSet>
      <dgm:spPr/>
    </dgm:pt>
    <dgm:pt modelId="{021CEDDC-8451-4DBA-81C7-E489D2FDDDE5}" type="pres">
      <dgm:prSet presAssocID="{1C539B94-CE57-4AA8-B84C-F9F6A8BA368E}" presName="rootComposite" presStyleCnt="0"/>
      <dgm:spPr/>
    </dgm:pt>
    <dgm:pt modelId="{CE00E8FB-76FC-47F4-8FA1-0A118CDED2B2}" type="pres">
      <dgm:prSet presAssocID="{1C539B94-CE57-4AA8-B84C-F9F6A8BA368E}" presName="rootText" presStyleLbl="node2" presStyleIdx="7" presStyleCnt="8">
        <dgm:presLayoutVars>
          <dgm:chPref val="3"/>
        </dgm:presLayoutVars>
      </dgm:prSet>
      <dgm:spPr/>
    </dgm:pt>
    <dgm:pt modelId="{1232AD33-7B1A-417E-AD56-24D2F0EA614E}" type="pres">
      <dgm:prSet presAssocID="{1C539B94-CE57-4AA8-B84C-F9F6A8BA368E}" presName="rootConnector" presStyleLbl="node2" presStyleIdx="7" presStyleCnt="8"/>
      <dgm:spPr/>
    </dgm:pt>
    <dgm:pt modelId="{97A00FA1-6CF5-4EA2-8E06-2FF468E80999}" type="pres">
      <dgm:prSet presAssocID="{1C539B94-CE57-4AA8-B84C-F9F6A8BA368E}" presName="hierChild4" presStyleCnt="0"/>
      <dgm:spPr/>
    </dgm:pt>
    <dgm:pt modelId="{4BFA9BF2-19C8-43E2-BE66-6AB23948C213}" type="pres">
      <dgm:prSet presAssocID="{5A7760C4-A7E0-4CA2-A497-14720100A7E4}" presName="Name37" presStyleLbl="parChTrans1D3" presStyleIdx="19" presStyleCnt="21"/>
      <dgm:spPr/>
    </dgm:pt>
    <dgm:pt modelId="{50C22A0A-844D-47FD-B717-7BCEC262E62E}" type="pres">
      <dgm:prSet presAssocID="{C9A303CB-2142-411C-A750-E63DAF800AE5}" presName="hierRoot2" presStyleCnt="0">
        <dgm:presLayoutVars>
          <dgm:hierBranch val="init"/>
        </dgm:presLayoutVars>
      </dgm:prSet>
      <dgm:spPr/>
    </dgm:pt>
    <dgm:pt modelId="{B2785A6C-4C93-439C-8E52-C0A9AA355DA2}" type="pres">
      <dgm:prSet presAssocID="{C9A303CB-2142-411C-A750-E63DAF800AE5}" presName="rootComposite" presStyleCnt="0"/>
      <dgm:spPr/>
    </dgm:pt>
    <dgm:pt modelId="{073DF7B7-8AED-40F0-A0D9-47129D71BE8E}" type="pres">
      <dgm:prSet presAssocID="{C9A303CB-2142-411C-A750-E63DAF800AE5}" presName="rootText" presStyleLbl="node3" presStyleIdx="19" presStyleCnt="21">
        <dgm:presLayoutVars>
          <dgm:chPref val="3"/>
        </dgm:presLayoutVars>
      </dgm:prSet>
      <dgm:spPr/>
    </dgm:pt>
    <dgm:pt modelId="{2D0C124F-793C-42EA-A123-C27383030492}" type="pres">
      <dgm:prSet presAssocID="{C9A303CB-2142-411C-A750-E63DAF800AE5}" presName="rootConnector" presStyleLbl="node3" presStyleIdx="19" presStyleCnt="21"/>
      <dgm:spPr/>
    </dgm:pt>
    <dgm:pt modelId="{DC1772E5-72FE-4690-88D9-3626DE779F56}" type="pres">
      <dgm:prSet presAssocID="{C9A303CB-2142-411C-A750-E63DAF800AE5}" presName="hierChild4" presStyleCnt="0"/>
      <dgm:spPr/>
    </dgm:pt>
    <dgm:pt modelId="{95B6CEB8-8BE2-4AE9-A1E7-2B10838857CC}" type="pres">
      <dgm:prSet presAssocID="{C9A303CB-2142-411C-A750-E63DAF800AE5}" presName="hierChild5" presStyleCnt="0"/>
      <dgm:spPr/>
    </dgm:pt>
    <dgm:pt modelId="{E08E6FE1-2F56-4B21-A8C6-470E555D4466}" type="pres">
      <dgm:prSet presAssocID="{A7D9FB4B-8BE5-4653-845B-BC3135B66B47}" presName="Name37" presStyleLbl="parChTrans1D3" presStyleIdx="20" presStyleCnt="21"/>
      <dgm:spPr/>
    </dgm:pt>
    <dgm:pt modelId="{360D2ECC-97C8-44D0-BA4A-6468C880D507}" type="pres">
      <dgm:prSet presAssocID="{766E37B1-ABD8-42DA-9708-C166AB538BDA}" presName="hierRoot2" presStyleCnt="0">
        <dgm:presLayoutVars>
          <dgm:hierBranch val="init"/>
        </dgm:presLayoutVars>
      </dgm:prSet>
      <dgm:spPr/>
    </dgm:pt>
    <dgm:pt modelId="{D6184E90-F90A-4812-84C5-DEE5A11DBCD2}" type="pres">
      <dgm:prSet presAssocID="{766E37B1-ABD8-42DA-9708-C166AB538BDA}" presName="rootComposite" presStyleCnt="0"/>
      <dgm:spPr/>
    </dgm:pt>
    <dgm:pt modelId="{74DB11F3-E3B3-49C3-B9B0-B05AC3712BA2}" type="pres">
      <dgm:prSet presAssocID="{766E37B1-ABD8-42DA-9708-C166AB538BDA}" presName="rootText" presStyleLbl="node3" presStyleIdx="20" presStyleCnt="21">
        <dgm:presLayoutVars>
          <dgm:chPref val="3"/>
        </dgm:presLayoutVars>
      </dgm:prSet>
      <dgm:spPr/>
    </dgm:pt>
    <dgm:pt modelId="{54B982C4-0F44-4D34-9D27-D6449E9F5790}" type="pres">
      <dgm:prSet presAssocID="{766E37B1-ABD8-42DA-9708-C166AB538BDA}" presName="rootConnector" presStyleLbl="node3" presStyleIdx="20" presStyleCnt="21"/>
      <dgm:spPr/>
    </dgm:pt>
    <dgm:pt modelId="{7104D638-F959-44FA-8F25-57955A35C0BB}" type="pres">
      <dgm:prSet presAssocID="{766E37B1-ABD8-42DA-9708-C166AB538BDA}" presName="hierChild4" presStyleCnt="0"/>
      <dgm:spPr/>
    </dgm:pt>
    <dgm:pt modelId="{3F52B2E7-9222-4AC4-ACF9-E5C687E99CBF}" type="pres">
      <dgm:prSet presAssocID="{766E37B1-ABD8-42DA-9708-C166AB538BDA}" presName="hierChild5" presStyleCnt="0"/>
      <dgm:spPr/>
    </dgm:pt>
    <dgm:pt modelId="{C448D0B0-FB5F-4F59-A1A8-FC24C7F21DAD}" type="pres">
      <dgm:prSet presAssocID="{1C539B94-CE57-4AA8-B84C-F9F6A8BA368E}" presName="hierChild5" presStyleCnt="0"/>
      <dgm:spPr/>
    </dgm:pt>
    <dgm:pt modelId="{B1CF73D5-433C-4A06-B5C1-CA4BF212CDA0}" type="pres">
      <dgm:prSet presAssocID="{F289F62F-7BEE-4D51-BCE2-F866DE40AF7F}" presName="hierChild3" presStyleCnt="0"/>
      <dgm:spPr/>
    </dgm:pt>
  </dgm:ptLst>
  <dgm:cxnLst>
    <dgm:cxn modelId="{0E846000-198F-416C-B085-2F5B1FE01675}" srcId="{CB0F385F-633F-4659-B9B5-767F5CC178F8}" destId="{4CE9CF90-22D9-482D-930A-6B3973F1E9FD}" srcOrd="1" destOrd="0" parTransId="{5ACCDA14-BE16-4FF8-B1CB-9F82D1652615}" sibTransId="{A0133FEC-0D64-4F67-8ABF-BC63E613E974}"/>
    <dgm:cxn modelId="{F230FF01-3CDC-4584-90F0-D8E9DC123DD7}" type="presOf" srcId="{BD70CF27-9074-42DB-82B2-44E66C2F222E}" destId="{D098F851-F91D-47FB-9C42-8DEB6653ADFB}" srcOrd="1" destOrd="0" presId="urn:microsoft.com/office/officeart/2005/8/layout/orgChart1"/>
    <dgm:cxn modelId="{6AC91E03-4BA6-475D-9AF4-1BFCA81416F9}" type="presOf" srcId="{892CF2CA-28BC-4385-A7A1-CF62E0063E33}" destId="{FE11E0F9-3BB5-43F4-92B1-B9F2B1F4F016}" srcOrd="1" destOrd="0" presId="urn:microsoft.com/office/officeart/2005/8/layout/orgChart1"/>
    <dgm:cxn modelId="{67B1400C-A950-4153-864D-388E708E7A75}" type="presOf" srcId="{C9A303CB-2142-411C-A750-E63DAF800AE5}" destId="{2D0C124F-793C-42EA-A123-C27383030492}" srcOrd="1" destOrd="0" presId="urn:microsoft.com/office/officeart/2005/8/layout/orgChart1"/>
    <dgm:cxn modelId="{545FC40D-134F-4391-B058-89AC6B734D0A}" type="presOf" srcId="{CECED5CE-07DF-43D1-97F9-CA8928E30398}" destId="{4E717C48-D538-4200-BCC8-4F1F6AC0CB24}" srcOrd="0" destOrd="0" presId="urn:microsoft.com/office/officeart/2005/8/layout/orgChart1"/>
    <dgm:cxn modelId="{D257900E-FC96-4365-8D09-246CD8668484}" type="presOf" srcId="{B45D9410-7EEF-480D-9219-F88CC1570772}" destId="{A49E0626-0E30-449B-93BE-641807773F80}" srcOrd="1" destOrd="0" presId="urn:microsoft.com/office/officeart/2005/8/layout/orgChart1"/>
    <dgm:cxn modelId="{3BAF5C11-D1A2-4CC4-9BC9-E09FC86DEE4E}" srcId="{F7D35643-4CEF-4817-983A-4CA007E8845A}" destId="{A0BDF39C-10FA-4581-8F40-DFBCADAA6DBF}" srcOrd="0" destOrd="0" parTransId="{387394CC-6D98-4EA4-9152-2CFB63E832A6}" sibTransId="{FCC9A809-A778-4DBA-9F4F-8C38AB9AD2FC}"/>
    <dgm:cxn modelId="{24923B12-E7BF-48CF-9174-B994A1B84203}" type="presOf" srcId="{BEA0846D-BF10-4F54-A8E2-6D930057229A}" destId="{EF1DDD1B-2414-400A-A641-050596013D60}" srcOrd="1" destOrd="0" presId="urn:microsoft.com/office/officeart/2005/8/layout/orgChart1"/>
    <dgm:cxn modelId="{654FB612-D3E0-487C-8B33-95819D9D3CBC}" type="presOf" srcId="{F7D35643-4CEF-4817-983A-4CA007E8845A}" destId="{79B7DC51-BBEE-4585-9F8D-07B401125AE7}" srcOrd="1" destOrd="0" presId="urn:microsoft.com/office/officeart/2005/8/layout/orgChart1"/>
    <dgm:cxn modelId="{CBF6FB12-C3E5-4BE9-A04C-4A1932BFB10F}" type="presOf" srcId="{16FEE704-B28D-443E-B2E7-FE4C367302D0}" destId="{0CE13B58-B690-41FA-8B50-ABF8AF488D63}" srcOrd="0" destOrd="0" presId="urn:microsoft.com/office/officeart/2005/8/layout/orgChart1"/>
    <dgm:cxn modelId="{7BD10313-9958-4C13-9D11-3A56A5987FA0}" type="presOf" srcId="{56044374-3E5A-424A-9A0E-8D09792FE9AC}" destId="{A775213A-C5B8-4372-B728-A3B8A85B0D01}" srcOrd="0" destOrd="0" presId="urn:microsoft.com/office/officeart/2005/8/layout/orgChart1"/>
    <dgm:cxn modelId="{668D4413-B17C-430B-AD01-AD8F012E7534}" srcId="{F289F62F-7BEE-4D51-BCE2-F866DE40AF7F}" destId="{B45D9410-7EEF-480D-9219-F88CC1570772}" srcOrd="1" destOrd="0" parTransId="{C2949E73-C5F0-4F68-92FF-EBA664BE1CAE}" sibTransId="{9C2655A6-4307-4173-8C2F-4EEB43E54736}"/>
    <dgm:cxn modelId="{D71D2314-D04B-4F38-B597-A84BD718C0CB}" type="presOf" srcId="{B45D9410-7EEF-480D-9219-F88CC1570772}" destId="{7B3A53FC-80CE-494C-BC2F-EDBF5E3D6DD9}" srcOrd="0" destOrd="0" presId="urn:microsoft.com/office/officeart/2005/8/layout/orgChart1"/>
    <dgm:cxn modelId="{70AEAB14-8631-4E59-A831-FF04A1594AD3}" type="presOf" srcId="{3A210FBF-C4A4-4297-8CE7-C8EA388CD166}" destId="{53748499-FC23-4B02-B59D-82673765CAC2}" srcOrd="0" destOrd="0" presId="urn:microsoft.com/office/officeart/2005/8/layout/orgChart1"/>
    <dgm:cxn modelId="{A5961A18-BF49-4A56-89E2-6152DC272D32}" srcId="{B45D9410-7EEF-480D-9219-F88CC1570772}" destId="{2D838EB6-9CD7-45B6-9DBA-44FC0DC676F7}" srcOrd="1" destOrd="0" parTransId="{4D4AA90A-AF2F-4A0A-9F80-E0E2B49E74AF}" sibTransId="{101340B3-3270-47AC-9093-08ED88554E21}"/>
    <dgm:cxn modelId="{B9598018-43CB-40F6-A999-1AB96E5E46F7}" srcId="{F289F62F-7BEE-4D51-BCE2-F866DE40AF7F}" destId="{1C539B94-CE57-4AA8-B84C-F9F6A8BA368E}" srcOrd="3" destOrd="0" parTransId="{CECED5CE-07DF-43D1-97F9-CA8928E30398}" sibTransId="{3BAAE62F-CD60-49B4-A1F5-C129BDE6195D}"/>
    <dgm:cxn modelId="{F7985D1A-2DD8-4914-BA69-6276868DEF76}" type="presOf" srcId="{BF1A4191-5F14-4D48-B3C9-BA7BF3B86B2A}" destId="{E96914E2-6009-4B5B-9CF2-F9D4BB9AF1E8}" srcOrd="1" destOrd="0" presId="urn:microsoft.com/office/officeart/2005/8/layout/orgChart1"/>
    <dgm:cxn modelId="{5F637A1A-AC69-4BF5-B297-6669A20A9342}" srcId="{ED337447-D41D-4C80-8906-ACED5E1EFC17}" destId="{E784AE7A-F24E-4524-BBE6-B6927CC16B35}" srcOrd="1" destOrd="0" parTransId="{E65BB97A-0876-4841-ABA4-9A8B801F9D08}" sibTransId="{8DA7469D-3108-44EC-8FDD-51DC05CD646C}"/>
    <dgm:cxn modelId="{9A228A1B-D443-4F55-8D1F-6679E1082D17}" type="presOf" srcId="{8DBE75AC-1121-4C8D-9828-A66FD9BCF9AC}" destId="{B8C5AF76-7429-4605-8AFA-B6184486BF5D}" srcOrd="0" destOrd="0" presId="urn:microsoft.com/office/officeart/2005/8/layout/orgChart1"/>
    <dgm:cxn modelId="{F1180425-1A31-4DE2-BB2C-AC54BD48BE58}" type="presOf" srcId="{3D3B4CE5-7EF5-4381-BC4D-AB8C845936A1}" destId="{169F6393-393E-4239-9BE7-60D3D07E3683}" srcOrd="0" destOrd="0" presId="urn:microsoft.com/office/officeart/2005/8/layout/orgChart1"/>
    <dgm:cxn modelId="{D5765125-AF9F-4715-AECD-7B113DD2D745}" type="presOf" srcId="{892CF2CA-28BC-4385-A7A1-CF62E0063E33}" destId="{7335FA4A-BB1D-4350-A188-F41AE7C58FA2}" srcOrd="0" destOrd="0" presId="urn:microsoft.com/office/officeart/2005/8/layout/orgChart1"/>
    <dgm:cxn modelId="{395C5C2D-0A3E-4BA2-9500-68669F551A67}" srcId="{1C539B94-CE57-4AA8-B84C-F9F6A8BA368E}" destId="{C9A303CB-2142-411C-A750-E63DAF800AE5}" srcOrd="0" destOrd="0" parTransId="{5A7760C4-A7E0-4CA2-A497-14720100A7E4}" sibTransId="{F0C29B60-17F9-4D8B-A724-EEF41BE35451}"/>
    <dgm:cxn modelId="{C1E5DF2D-E3A3-4267-93E6-18E778D0DFE5}" type="presOf" srcId="{BF1A4191-5F14-4D48-B3C9-BA7BF3B86B2A}" destId="{1445CFE0-EACF-4513-8261-B3694B654673}" srcOrd="0" destOrd="0" presId="urn:microsoft.com/office/officeart/2005/8/layout/orgChart1"/>
    <dgm:cxn modelId="{A6A2EA2D-812E-4C25-9C99-4A72AB2F29E5}" srcId="{7B79E58C-4787-4086-B2EA-D0CC44E27A84}" destId="{A899EB36-46B6-4510-9005-68718B1B45CE}" srcOrd="1" destOrd="0" parTransId="{3A210FBF-C4A4-4297-8CE7-C8EA388CD166}" sibTransId="{D0964689-DCFA-419F-983E-C33CBAC47684}"/>
    <dgm:cxn modelId="{B0152A31-673A-4B00-BF10-409031755D8A}" srcId="{C0174794-0643-413C-B83B-DFCA5C144DAC}" destId="{F289F62F-7BEE-4D51-BCE2-F866DE40AF7F}" srcOrd="1" destOrd="0" parTransId="{6AF880D0-0CC6-450E-8232-AA9190EC6566}" sibTransId="{735541D3-4A56-4992-8ACA-599C419812EF}"/>
    <dgm:cxn modelId="{707F5233-A030-4A9D-8A41-5490606E484E}" srcId="{7B79E58C-4787-4086-B2EA-D0CC44E27A84}" destId="{6DE06DC6-5D2D-4A69-A3AB-9E34143DE349}" srcOrd="3" destOrd="0" parTransId="{8DBE75AC-1121-4C8D-9828-A66FD9BCF9AC}" sibTransId="{0E58FD38-4187-4145-ACCC-3743003BAB92}"/>
    <dgm:cxn modelId="{5A917E34-32E3-43D9-B4A4-3ADEB7CEAB1E}" srcId="{ED337447-D41D-4C80-8906-ACED5E1EFC17}" destId="{979E592E-0CE3-4F6D-B4FE-FCFAE02E3B21}" srcOrd="2" destOrd="0" parTransId="{04281D3B-0BED-45E1-8423-5139AE68E596}" sibTransId="{D659C410-6A1F-4947-AFA0-CF5052DB622C}"/>
    <dgm:cxn modelId="{107A2C36-29E5-45D1-A8EC-7A3306827731}" type="presOf" srcId="{9DE47366-A61B-4E04-9F77-37290D6F724A}" destId="{FED850AE-143D-4799-8D01-5390379CD125}" srcOrd="0" destOrd="0" presId="urn:microsoft.com/office/officeart/2005/8/layout/orgChart1"/>
    <dgm:cxn modelId="{AF666339-B86A-429C-89BC-83C7CA801857}" type="presOf" srcId="{A7D9FB4B-8BE5-4653-845B-BC3135B66B47}" destId="{E08E6FE1-2F56-4B21-A8C6-470E555D4466}" srcOrd="0" destOrd="0" presId="urn:microsoft.com/office/officeart/2005/8/layout/orgChart1"/>
    <dgm:cxn modelId="{DB0AE73F-EBD3-4820-B94E-1CF5B400774F}" type="presOf" srcId="{387394CC-6D98-4EA4-9152-2CFB63E832A6}" destId="{12DE8BCD-A3EF-4B8A-A349-3C10A43DC9D3}" srcOrd="0" destOrd="0" presId="urn:microsoft.com/office/officeart/2005/8/layout/orgChart1"/>
    <dgm:cxn modelId="{F73F3440-377E-44E5-A875-839CE29EBDD9}" type="presOf" srcId="{4CE9CF90-22D9-482D-930A-6B3973F1E9FD}" destId="{7EECAF56-A71D-45AF-9A43-B346C2469334}" srcOrd="1" destOrd="0" presId="urn:microsoft.com/office/officeart/2005/8/layout/orgChart1"/>
    <dgm:cxn modelId="{01ED5D40-A45B-4D78-9D62-5BF727C088D5}" type="presOf" srcId="{10578D54-8578-45AD-B9BA-E3431DAB7223}" destId="{09E32015-4C73-4794-9319-57A1EDD6E409}" srcOrd="1" destOrd="0" presId="urn:microsoft.com/office/officeart/2005/8/layout/orgChart1"/>
    <dgm:cxn modelId="{7CCF475D-3554-4B57-AA75-6F7E7171152C}" type="presOf" srcId="{EA33570A-0F9F-4F20-8839-EF1FD6A17412}" destId="{6BD35364-3C87-43B6-A283-BDCBE2D3F809}" srcOrd="1" destOrd="0" presId="urn:microsoft.com/office/officeart/2005/8/layout/orgChart1"/>
    <dgm:cxn modelId="{20B6995E-CA06-4D59-A036-0F14E6A17AB9}" type="presOf" srcId="{ED337447-D41D-4C80-8906-ACED5E1EFC17}" destId="{4DB3A5AF-21ED-4E4C-ABF4-B0CB326E6FE5}" srcOrd="1" destOrd="0" presId="urn:microsoft.com/office/officeart/2005/8/layout/orgChart1"/>
    <dgm:cxn modelId="{98DDAB5E-0F2F-4BCF-B6A2-C427A4152049}" type="presOf" srcId="{F289F62F-7BEE-4D51-BCE2-F866DE40AF7F}" destId="{B09E4E6A-F9A3-4DEB-BB67-02A01FDE8808}" srcOrd="0" destOrd="0" presId="urn:microsoft.com/office/officeart/2005/8/layout/orgChart1"/>
    <dgm:cxn modelId="{96D36C5F-8D56-43B3-974A-A88141E660B1}" type="presOf" srcId="{F7D35643-4CEF-4817-983A-4CA007E8845A}" destId="{AC50B931-40F9-42DB-8688-7D84B7050F70}" srcOrd="0" destOrd="0" presId="urn:microsoft.com/office/officeart/2005/8/layout/orgChart1"/>
    <dgm:cxn modelId="{37F7E560-B2BB-4330-B181-A1E9CD027836}" type="presOf" srcId="{920BAD5F-9A7E-4906-97D3-1374672A47D2}" destId="{4DBE90A9-6071-4A31-9DBF-A5F78CBEFB17}" srcOrd="0" destOrd="0" presId="urn:microsoft.com/office/officeart/2005/8/layout/orgChart1"/>
    <dgm:cxn modelId="{D6ACA762-B546-42E5-A0CD-0F3DDCD05E0C}" type="presOf" srcId="{A899EB36-46B6-4510-9005-68718B1B45CE}" destId="{C53A6397-DFE0-4533-B4EB-C64320854D8D}" srcOrd="1" destOrd="0" presId="urn:microsoft.com/office/officeart/2005/8/layout/orgChart1"/>
    <dgm:cxn modelId="{4051E262-9719-447D-84EF-5600C9A36A33}" type="presOf" srcId="{BBF9D8E9-DD2E-46BE-B49F-664913C83E49}" destId="{5FDEA159-5341-4669-9223-2298C88C9E73}" srcOrd="0" destOrd="0" presId="urn:microsoft.com/office/officeart/2005/8/layout/orgChart1"/>
    <dgm:cxn modelId="{1E380644-00E0-4CF2-88A6-C34F4784CF2E}" type="presOf" srcId="{111F0992-6680-4A9D-BD16-A114C530A646}" destId="{63781A13-2CA7-40AB-87DD-51F4A69394EA}" srcOrd="1" destOrd="0" presId="urn:microsoft.com/office/officeart/2005/8/layout/orgChart1"/>
    <dgm:cxn modelId="{A40B1D66-671E-495D-9714-331D2EF02DAB}" type="presOf" srcId="{C9A303CB-2142-411C-A750-E63DAF800AE5}" destId="{073DF7B7-8AED-40F0-A0D9-47129D71BE8E}" srcOrd="0" destOrd="0" presId="urn:microsoft.com/office/officeart/2005/8/layout/orgChart1"/>
    <dgm:cxn modelId="{F0AF4C67-7353-40F6-9B12-AECD9EEEC4BD}" type="presOf" srcId="{B63317BF-668A-4FCF-B871-D3F27805B25B}" destId="{670307B7-E800-4318-96E1-45713A4E2ADF}" srcOrd="0" destOrd="0" presId="urn:microsoft.com/office/officeart/2005/8/layout/orgChart1"/>
    <dgm:cxn modelId="{7C245247-8D89-4F42-A6B5-8BAB9471ECCA}" type="presOf" srcId="{A0BDF39C-10FA-4581-8F40-DFBCADAA6DBF}" destId="{6D8A65AB-323C-43D6-9035-F1121794CC99}" srcOrd="0" destOrd="0" presId="urn:microsoft.com/office/officeart/2005/8/layout/orgChart1"/>
    <dgm:cxn modelId="{26623248-A270-4AFE-A7A5-E5218C7620A7}" type="presOf" srcId="{CB0F385F-633F-4659-B9B5-767F5CC178F8}" destId="{70A40090-1F3B-4ED6-8D76-F417CFCF78F1}" srcOrd="1" destOrd="0" presId="urn:microsoft.com/office/officeart/2005/8/layout/orgChart1"/>
    <dgm:cxn modelId="{87542249-E037-4C97-B11D-639B3580DD30}" type="presOf" srcId="{4D269058-505B-47B3-BF73-39F70B6C59E0}" destId="{E04CD957-1287-429E-B241-40616870A669}" srcOrd="0" destOrd="0" presId="urn:microsoft.com/office/officeart/2005/8/layout/orgChart1"/>
    <dgm:cxn modelId="{732B944A-594B-4728-A3B4-D5D8B4581151}" type="presOf" srcId="{D4CA4650-B57D-4F12-BD4E-EF88A6B76AE8}" destId="{B9794909-D257-47FF-8CA6-47E0C990C631}" srcOrd="1" destOrd="0" presId="urn:microsoft.com/office/officeart/2005/8/layout/orgChart1"/>
    <dgm:cxn modelId="{864E346C-707A-497A-B475-DABBB304ED9C}" type="presOf" srcId="{979E592E-0CE3-4F6D-B4FE-FCFAE02E3B21}" destId="{9BA61034-E3E0-4750-BA2B-C549E7799009}" srcOrd="0" destOrd="0" presId="urn:microsoft.com/office/officeart/2005/8/layout/orgChart1"/>
    <dgm:cxn modelId="{E676D84C-7EF4-4C4D-91A8-C02B25C2FE56}" type="presOf" srcId="{3E474FF8-5A5A-4C4C-8EA1-704C5C263704}" destId="{070966F0-B954-461A-A8C3-AF471FD339DB}" srcOrd="0" destOrd="0" presId="urn:microsoft.com/office/officeart/2005/8/layout/orgChart1"/>
    <dgm:cxn modelId="{9A0D726E-2D5B-4E34-85A4-E14C623E2B2A}" srcId="{BBF9D8E9-DD2E-46BE-B49F-664913C83E49}" destId="{892CF2CA-28BC-4385-A7A1-CF62E0063E33}" srcOrd="1" destOrd="0" parTransId="{3E474FF8-5A5A-4C4C-8EA1-704C5C263704}" sibTransId="{80B5EC33-3D7E-4875-97AE-077E0040BCFA}"/>
    <dgm:cxn modelId="{A3CD2F50-2EB2-425E-A129-A33495C190FA}" type="presOf" srcId="{34A9B618-513F-4322-B332-94BF87BAE032}" destId="{F955BF2C-84E2-4FA5-AEC0-1FE1BDE8CEB9}" srcOrd="0" destOrd="0" presId="urn:microsoft.com/office/officeart/2005/8/layout/orgChart1"/>
    <dgm:cxn modelId="{712E6670-DB22-4565-98D7-E9E65A289691}" srcId="{FEA595C5-AC05-47DE-ABDF-0752485C8733}" destId="{BD70CF27-9074-42DB-82B2-44E66C2F222E}" srcOrd="3" destOrd="0" parTransId="{C66CA0CE-CE60-455E-B072-8696B4ACFFDF}" sibTransId="{90B43213-F9E1-4150-8CC5-E42A8C9C1EC4}"/>
    <dgm:cxn modelId="{DB799F50-6676-48BC-97D1-0608CEDE77DA}" type="presOf" srcId="{E784AE7A-F24E-4524-BBE6-B6927CC16B35}" destId="{05329FEC-C058-4313-80A6-C66AE7CE1573}" srcOrd="1" destOrd="0" presId="urn:microsoft.com/office/officeart/2005/8/layout/orgChart1"/>
    <dgm:cxn modelId="{82D9FC50-60D1-456C-8495-7406623DA98D}" type="presOf" srcId="{10578D54-8578-45AD-B9BA-E3431DAB7223}" destId="{71293E39-5B76-4B58-A527-4F7218508E3F}" srcOrd="0" destOrd="0" presId="urn:microsoft.com/office/officeart/2005/8/layout/orgChart1"/>
    <dgm:cxn modelId="{D8372572-18DC-452E-B744-184DD4F4F37D}" type="presOf" srcId="{8E91D753-B6D8-43FE-8144-5171A5CD331A}" destId="{173D0537-F4F0-4D89-A40C-B866D62C01B5}" srcOrd="0" destOrd="0" presId="urn:microsoft.com/office/officeart/2005/8/layout/orgChart1"/>
    <dgm:cxn modelId="{C248BF73-663E-4704-AF94-78A7D7CF2D29}" type="presOf" srcId="{ED337447-D41D-4C80-8906-ACED5E1EFC17}" destId="{218CB39E-9CAF-4137-A8C6-878194B563B1}" srcOrd="0" destOrd="0" presId="urn:microsoft.com/office/officeart/2005/8/layout/orgChart1"/>
    <dgm:cxn modelId="{7AB61857-7556-4BD0-BB39-E92E38627925}" type="presOf" srcId="{8E58CC14-F9CE-4307-89A8-EC682B79CF16}" destId="{21721FEF-1FF5-4E1E-A828-64EE635E409B}" srcOrd="0" destOrd="0" presId="urn:microsoft.com/office/officeart/2005/8/layout/orgChart1"/>
    <dgm:cxn modelId="{7B8B3E57-8DF9-4ED6-894C-AAA0DA79DE00}" type="presOf" srcId="{CB0F385F-633F-4659-B9B5-767F5CC178F8}" destId="{A8B7A2C2-6A3C-471B-9D8E-617B121C07C7}" srcOrd="0" destOrd="0" presId="urn:microsoft.com/office/officeart/2005/8/layout/orgChart1"/>
    <dgm:cxn modelId="{AFE7CD78-7138-4BA7-ACB4-13A0971B3234}" type="presOf" srcId="{71B4969D-8786-413A-87F8-9CEB14901E23}" destId="{7A6160BE-74C8-4DF6-85A5-439B7CCB71D2}" srcOrd="0" destOrd="0" presId="urn:microsoft.com/office/officeart/2005/8/layout/orgChart1"/>
    <dgm:cxn modelId="{7E1EA859-32CD-41AC-AFDB-D9703E18D192}" type="presOf" srcId="{04281D3B-0BED-45E1-8423-5139AE68E596}" destId="{1298BB2D-62FA-45FE-AF76-B9F99385C698}" srcOrd="0" destOrd="0" presId="urn:microsoft.com/office/officeart/2005/8/layout/orgChart1"/>
    <dgm:cxn modelId="{804DF25A-203A-4E1D-89D7-C22F3AEA1163}" type="presOf" srcId="{3D3B4CE5-7EF5-4381-BC4D-AB8C845936A1}" destId="{1ADB0B2D-D9C8-4B89-A47C-3ABCDBE47ABA}" srcOrd="1" destOrd="0" presId="urn:microsoft.com/office/officeart/2005/8/layout/orgChart1"/>
    <dgm:cxn modelId="{1F088F7E-F978-4378-BF5C-94F02FC6E2A8}" srcId="{B45D9410-7EEF-480D-9219-F88CC1570772}" destId="{BF1A4191-5F14-4D48-B3C9-BA7BF3B86B2A}" srcOrd="0" destOrd="0" parTransId="{8105C518-EDF2-4B63-AD97-96A63E73DB2B}" sibTransId="{94BEE6D8-6F39-409F-B6F8-260DBAD38C28}"/>
    <dgm:cxn modelId="{02014E80-4AD4-4188-9FF6-F6651B56134F}" srcId="{7B79E58C-4787-4086-B2EA-D0CC44E27A84}" destId="{111F0992-6680-4A9D-BD16-A114C530A646}" srcOrd="2" destOrd="0" parTransId="{71B4969D-8786-413A-87F8-9CEB14901E23}" sibTransId="{8E80E8B5-1EF6-4D30-AC3C-10224CE39E18}"/>
    <dgm:cxn modelId="{8911B283-1592-4D14-8480-EA3C63B21E01}" srcId="{FEA595C5-AC05-47DE-ABDF-0752485C8733}" destId="{ED337447-D41D-4C80-8906-ACED5E1EFC17}" srcOrd="1" destOrd="0" parTransId="{BB664BA2-4A2C-434F-A1E6-91F0DF56E66C}" sibTransId="{438D6B5A-68C4-4143-9184-D0E10F75FA91}"/>
    <dgm:cxn modelId="{73268488-E4FC-491A-BB0E-9DD0E8CAF296}" type="presOf" srcId="{DD8722B1-34E5-4CA5-A910-FB20B27135D6}" destId="{32CF9E53-A8EA-432A-93DC-8245EBCC63F0}" srcOrd="0" destOrd="0" presId="urn:microsoft.com/office/officeart/2005/8/layout/orgChart1"/>
    <dgm:cxn modelId="{FAFC8D8C-D5DE-4B24-BE9B-7A335061C93E}" srcId="{FEA595C5-AC05-47DE-ABDF-0752485C8733}" destId="{F7D35643-4CEF-4817-983A-4CA007E8845A}" srcOrd="0" destOrd="0" parTransId="{920BAD5F-9A7E-4906-97D3-1374672A47D2}" sibTransId="{2A5F6162-9D73-4A7D-B001-438E0808E815}"/>
    <dgm:cxn modelId="{C4C7068D-9F69-4AC7-B877-78A5CE25817B}" type="presOf" srcId="{5F82C9BE-EF9D-4C7F-AE9D-D4A7428A8EC2}" destId="{5BCBFD42-0EBF-4426-9C3B-0DAE9E12A03C}" srcOrd="0" destOrd="0" presId="urn:microsoft.com/office/officeart/2005/8/layout/orgChart1"/>
    <dgm:cxn modelId="{6BF6108E-DA6A-4B55-B268-5A65A1E48DAC}" srcId="{7B79E58C-4787-4086-B2EA-D0CC44E27A84}" destId="{4A33308F-B9D5-46B1-B464-CE8722197489}" srcOrd="0" destOrd="0" parTransId="{DD8722B1-34E5-4CA5-A910-FB20B27135D6}" sibTransId="{21F5BB1D-5CD9-46FF-B699-2984C82E07EF}"/>
    <dgm:cxn modelId="{ECDD858E-CCA1-40F4-96B8-C805F845D313}" srcId="{BD70CF27-9074-42DB-82B2-44E66C2F222E}" destId="{8E91D753-B6D8-43FE-8144-5171A5CD331A}" srcOrd="0" destOrd="0" parTransId="{B63317BF-668A-4FCF-B871-D3F27805B25B}" sibTransId="{9BA59AC3-57F9-4D61-8CB0-E612C3A36325}"/>
    <dgm:cxn modelId="{61859592-EEDB-46D1-9243-506291706DAB}" type="presOf" srcId="{2D838EB6-9CD7-45B6-9DBA-44FC0DC676F7}" destId="{AFC1FEAA-EC95-4F38-88E0-ABB79070AA51}" srcOrd="1" destOrd="0" presId="urn:microsoft.com/office/officeart/2005/8/layout/orgChart1"/>
    <dgm:cxn modelId="{7F591A96-AD6B-4BD1-96EA-9B028472266C}" type="presOf" srcId="{5A7760C4-A7E0-4CA2-A497-14720100A7E4}" destId="{4BFA9BF2-19C8-43E2-BE66-6AB23948C213}" srcOrd="0" destOrd="0" presId="urn:microsoft.com/office/officeart/2005/8/layout/orgChart1"/>
    <dgm:cxn modelId="{3F3B7399-BD9C-494D-8C7A-5CF40E3C7C8F}" type="presOf" srcId="{6DE06DC6-5D2D-4A69-A3AB-9E34143DE349}" destId="{5D1E5804-52D9-47B5-B037-B8167C5EC818}" srcOrd="0" destOrd="0" presId="urn:microsoft.com/office/officeart/2005/8/layout/orgChart1"/>
    <dgm:cxn modelId="{9F0BE29B-E97A-443C-AAB5-DC4E390E4E1D}" type="presOf" srcId="{1C539B94-CE57-4AA8-B84C-F9F6A8BA368E}" destId="{1232AD33-7B1A-417E-AD56-24D2F0EA614E}" srcOrd="1" destOrd="0" presId="urn:microsoft.com/office/officeart/2005/8/layout/orgChart1"/>
    <dgm:cxn modelId="{0785879C-E817-4244-9B7B-BAD4AE2F1DDC}" type="presOf" srcId="{E65BB97A-0876-4841-ABA4-9A8B801F9D08}" destId="{1ED022D9-4297-4286-876B-8169A686EE15}" srcOrd="0" destOrd="0" presId="urn:microsoft.com/office/officeart/2005/8/layout/orgChart1"/>
    <dgm:cxn modelId="{A66A32A1-3439-40A0-90A8-F510FA1EE0C4}" type="presOf" srcId="{4A33308F-B9D5-46B1-B464-CE8722197489}" destId="{4B540DE8-CE75-4B84-9D03-427D99E84967}" srcOrd="0" destOrd="0" presId="urn:microsoft.com/office/officeart/2005/8/layout/orgChart1"/>
    <dgm:cxn modelId="{59953BA1-60DC-43EA-8748-823685CA42D3}" type="presOf" srcId="{C2949E73-C5F0-4F68-92FF-EBA664BE1CAE}" destId="{36A6F615-40ED-4119-80CE-6C55C56BFCF7}" srcOrd="0" destOrd="0" presId="urn:microsoft.com/office/officeart/2005/8/layout/orgChart1"/>
    <dgm:cxn modelId="{0090C4A1-A8B5-4825-B82B-11903968770F}" type="presOf" srcId="{988F1887-7327-4313-BDFC-DBABF9656B60}" destId="{411C9BB2-6822-44A9-98E8-704B1BC1832F}" srcOrd="0" destOrd="0" presId="urn:microsoft.com/office/officeart/2005/8/layout/orgChart1"/>
    <dgm:cxn modelId="{41B38DA2-63AF-4A99-8B3F-E93A6C17AC58}" type="presOf" srcId="{FB617DB5-01C2-4460-ADE6-307BD941B5B0}" destId="{B729C567-8E1E-40D1-8FC4-329FB023DBD3}" srcOrd="0" destOrd="0" presId="urn:microsoft.com/office/officeart/2005/8/layout/orgChart1"/>
    <dgm:cxn modelId="{16F845A5-7628-4118-B8D6-AC3DE64689B6}" type="presOf" srcId="{7B79E58C-4787-4086-B2EA-D0CC44E27A84}" destId="{85D09294-E36E-4696-81A9-46A93935DDCA}" srcOrd="1" destOrd="0" presId="urn:microsoft.com/office/officeart/2005/8/layout/orgChart1"/>
    <dgm:cxn modelId="{061EEAA5-6BE8-4795-A204-B7E31FAB55D9}" type="presOf" srcId="{1C539B94-CE57-4AA8-B84C-F9F6A8BA368E}" destId="{CE00E8FB-76FC-47F4-8FA1-0A118CDED2B2}" srcOrd="0" destOrd="0" presId="urn:microsoft.com/office/officeart/2005/8/layout/orgChart1"/>
    <dgm:cxn modelId="{D4968FA6-B05D-4F44-AA0D-E44D179E3A1D}" srcId="{C0174794-0643-413C-B83B-DFCA5C144DAC}" destId="{FEA595C5-AC05-47DE-ABDF-0752485C8733}" srcOrd="0" destOrd="0" parTransId="{0C025915-4B15-4EC9-8517-B51B1F21C0BA}" sibTransId="{4AA4D663-0A57-486B-A233-A1A5C35AB1DD}"/>
    <dgm:cxn modelId="{3297B9A6-F79F-4CFD-B13C-E1BCDD66286B}" srcId="{BBF9D8E9-DD2E-46BE-B49F-664913C83E49}" destId="{10578D54-8578-45AD-B9BA-E3431DAB7223}" srcOrd="2" destOrd="0" parTransId="{94F2883D-7591-4D2F-B9C1-9FAB4BFC81A6}" sibTransId="{91531A8E-2831-49E0-BF37-829C73E41BAC}"/>
    <dgm:cxn modelId="{42EF12A8-28E6-494F-A3CF-C5507E8CF276}" type="presOf" srcId="{EA33570A-0F9F-4F20-8839-EF1FD6A17412}" destId="{B806E04C-0088-482E-9FF6-5535FFBBF18B}" srcOrd="0" destOrd="0" presId="urn:microsoft.com/office/officeart/2005/8/layout/orgChart1"/>
    <dgm:cxn modelId="{931C60AE-2C16-4A20-A859-91D30ECC8377}" type="presOf" srcId="{2D838EB6-9CD7-45B6-9DBA-44FC0DC676F7}" destId="{FF354DD2-655E-40A6-A78B-EC60119CB3CA}" srcOrd="0" destOrd="0" presId="urn:microsoft.com/office/officeart/2005/8/layout/orgChart1"/>
    <dgm:cxn modelId="{327FD2AF-6DB5-4CFE-9D5F-BEB868C8DA7D}" type="presOf" srcId="{C0174794-0643-413C-B83B-DFCA5C144DAC}" destId="{E8A7D0F7-887C-43F8-958A-EFA20BD304C0}" srcOrd="0" destOrd="0" presId="urn:microsoft.com/office/officeart/2005/8/layout/orgChart1"/>
    <dgm:cxn modelId="{9D5234B4-C02D-4220-B0D5-9DA8BCCABAD5}" srcId="{F289F62F-7BEE-4D51-BCE2-F866DE40AF7F}" destId="{CB0F385F-633F-4659-B9B5-767F5CC178F8}" srcOrd="2" destOrd="0" parTransId="{56044374-3E5A-424A-9A0E-8D09792FE9AC}" sibTransId="{B23ED7F6-95DF-4350-86E3-1DCFEB6870EA}"/>
    <dgm:cxn modelId="{169B1EB5-80AF-4512-A1F9-2AEC180A5C6F}" srcId="{BBF9D8E9-DD2E-46BE-B49F-664913C83E49}" destId="{BEA0846D-BF10-4F54-A8E2-6D930057229A}" srcOrd="0" destOrd="0" parTransId="{34A9B618-513F-4322-B332-94BF87BAE032}" sibTransId="{E0DB553C-852C-486B-818E-7883E1C0844A}"/>
    <dgm:cxn modelId="{771E3FB5-7947-414B-8A6D-03EB2FD5F164}" type="presOf" srcId="{8E91D753-B6D8-43FE-8144-5171A5CD331A}" destId="{66B55972-06DB-4C74-A888-DF7DBDE94160}" srcOrd="1" destOrd="0" presId="urn:microsoft.com/office/officeart/2005/8/layout/orgChart1"/>
    <dgm:cxn modelId="{8C7E6EB5-DDE3-4F9E-9EEC-056EB9102C00}" srcId="{B45D9410-7EEF-480D-9219-F88CC1570772}" destId="{3D3B4CE5-7EF5-4381-BC4D-AB8C845936A1}" srcOrd="2" destOrd="0" parTransId="{5F82C9BE-EF9D-4C7F-AE9D-D4A7428A8EC2}" sibTransId="{CADF3EB9-2E32-4E3A-A631-58D9970E296A}"/>
    <dgm:cxn modelId="{CA5633BA-EA29-44EA-9F37-03CE6C999BBA}" type="presOf" srcId="{979E592E-0CE3-4F6D-B4FE-FCFAE02E3B21}" destId="{B072C9A2-FB57-4069-8936-5BC8ED77229A}" srcOrd="1" destOrd="0" presId="urn:microsoft.com/office/officeart/2005/8/layout/orgChart1"/>
    <dgm:cxn modelId="{07859CBA-E3FB-431B-80CC-138E65D25BF9}" type="presOf" srcId="{4CE9CF90-22D9-482D-930A-6B3973F1E9FD}" destId="{00FFB463-8A13-4CCE-B4D2-5667B0A697B1}" srcOrd="0" destOrd="0" presId="urn:microsoft.com/office/officeart/2005/8/layout/orgChart1"/>
    <dgm:cxn modelId="{E164A4BB-E6A5-484F-B155-96923CFE2209}" type="presOf" srcId="{6DE06DC6-5D2D-4A69-A3AB-9E34143DE349}" destId="{FB3F1EB2-DC9B-4D6C-8B56-71C8FE8BB622}" srcOrd="1" destOrd="0" presId="urn:microsoft.com/office/officeart/2005/8/layout/orgChart1"/>
    <dgm:cxn modelId="{771C92BC-5210-41B4-9663-2A410C9AD08A}" type="presOf" srcId="{7B79E58C-4787-4086-B2EA-D0CC44E27A84}" destId="{D291C402-D2CB-48BB-BB95-B72CAFC5D947}" srcOrd="0" destOrd="0" presId="urn:microsoft.com/office/officeart/2005/8/layout/orgChart1"/>
    <dgm:cxn modelId="{E468B2BE-6EEE-4D68-A208-0893695B23A1}" type="presOf" srcId="{A0BDF39C-10FA-4581-8F40-DFBCADAA6DBF}" destId="{9F0CABD7-F0F4-4F64-94C5-619358758A9C}" srcOrd="1" destOrd="0" presId="urn:microsoft.com/office/officeart/2005/8/layout/orgChart1"/>
    <dgm:cxn modelId="{DF8BBABF-2A13-4A09-ABAA-7FAC184E3851}" srcId="{ED337447-D41D-4C80-8906-ACED5E1EFC17}" destId="{D4CA4650-B57D-4F12-BD4E-EF88A6B76AE8}" srcOrd="0" destOrd="0" parTransId="{FB617DB5-01C2-4460-ADE6-307BD941B5B0}" sibTransId="{006DE46F-418D-448D-9968-CEFAE08095E2}"/>
    <dgm:cxn modelId="{1A5A57C1-E64E-4B72-A473-68E9D6C449B6}" type="presOf" srcId="{94F2883D-7591-4D2F-B9C1-9FAB4BFC81A6}" destId="{E69082D1-50A0-4875-8666-5BBAF2DF118C}" srcOrd="0" destOrd="0" presId="urn:microsoft.com/office/officeart/2005/8/layout/orgChart1"/>
    <dgm:cxn modelId="{ECAD94C9-8219-4B6C-B82A-2FFD54DAA00E}" type="presOf" srcId="{766E37B1-ABD8-42DA-9708-C166AB538BDA}" destId="{74DB11F3-E3B3-49C3-B9B0-B05AC3712BA2}" srcOrd="0" destOrd="0" presId="urn:microsoft.com/office/officeart/2005/8/layout/orgChart1"/>
    <dgm:cxn modelId="{19975ACA-650C-4B2A-A77F-B6FE90274E8D}" type="presOf" srcId="{6CE96837-DFF1-4AC1-84B0-10BF81D33167}" destId="{85F321A7-FD5A-4B8A-B810-4CBC417004EC}" srcOrd="0" destOrd="0" presId="urn:microsoft.com/office/officeart/2005/8/layout/orgChart1"/>
    <dgm:cxn modelId="{45E360CC-5325-4AA7-89A9-2613CE5A9858}" type="presOf" srcId="{BD70CF27-9074-42DB-82B2-44E66C2F222E}" destId="{091974EB-C494-407F-A24C-7B655C366CED}" srcOrd="0" destOrd="0" presId="urn:microsoft.com/office/officeart/2005/8/layout/orgChart1"/>
    <dgm:cxn modelId="{12F859CE-7AC5-4DEB-BE27-01F5CDC2E581}" type="presOf" srcId="{5ACCDA14-BE16-4FF8-B1CB-9F82D1652615}" destId="{9F98CCE8-1CAE-4AC2-80B5-79B651549BE2}" srcOrd="0" destOrd="0" presId="urn:microsoft.com/office/officeart/2005/8/layout/orgChart1"/>
    <dgm:cxn modelId="{B35C55D0-B777-4563-9029-8FBA810745A3}" srcId="{F289F62F-7BEE-4D51-BCE2-F866DE40AF7F}" destId="{BBF9D8E9-DD2E-46BE-B49F-664913C83E49}" srcOrd="0" destOrd="0" parTransId="{16FEE704-B28D-443E-B2E7-FE4C367302D0}" sibTransId="{59BEF85B-26F4-456F-BD48-90DBAFAA999F}"/>
    <dgm:cxn modelId="{2255E7D2-635D-41E5-A731-BBBEED62D548}" srcId="{FEA595C5-AC05-47DE-ABDF-0752485C8733}" destId="{7B79E58C-4787-4086-B2EA-D0CC44E27A84}" srcOrd="2" destOrd="0" parTransId="{988F1887-7327-4313-BDFC-DBABF9656B60}" sibTransId="{D858B963-1391-4BEF-92F4-C837DF7862CF}"/>
    <dgm:cxn modelId="{4133C2D3-B3D3-4CAE-BB7F-A3524D239245}" type="presOf" srcId="{FEA595C5-AC05-47DE-ABDF-0752485C8733}" destId="{2A8EC534-A95F-480D-BDF4-ECF7C232D421}" srcOrd="0" destOrd="0" presId="urn:microsoft.com/office/officeart/2005/8/layout/orgChart1"/>
    <dgm:cxn modelId="{229FC3D3-2812-4CC0-BA9C-A8CC95985DBE}" type="presOf" srcId="{766E37B1-ABD8-42DA-9708-C166AB538BDA}" destId="{54B982C4-0F44-4D34-9D27-D6449E9F5790}" srcOrd="1" destOrd="0" presId="urn:microsoft.com/office/officeart/2005/8/layout/orgChart1"/>
    <dgm:cxn modelId="{30F94DD4-0727-41AD-AEC6-638831834EDD}" type="presOf" srcId="{F289F62F-7BEE-4D51-BCE2-F866DE40AF7F}" destId="{175F67D2-1D59-4571-B3ED-DC9A8F35ABC6}" srcOrd="1" destOrd="0" presId="urn:microsoft.com/office/officeart/2005/8/layout/orgChart1"/>
    <dgm:cxn modelId="{F3F20DD5-97D8-446B-A8C4-C26B2E178B5C}" type="presOf" srcId="{4D4AA90A-AF2F-4A0A-9F80-E0E2B49E74AF}" destId="{914AFF32-58E1-4E6E-8DD9-F22701ABB021}" srcOrd="0" destOrd="0" presId="urn:microsoft.com/office/officeart/2005/8/layout/orgChart1"/>
    <dgm:cxn modelId="{19E570D7-EA33-4185-B0F7-8AC88500CE1D}" type="presOf" srcId="{E784AE7A-F24E-4524-BBE6-B6927CC16B35}" destId="{4AF31FCB-8BE6-464D-9381-40E1803EDA5D}" srcOrd="0" destOrd="0" presId="urn:microsoft.com/office/officeart/2005/8/layout/orgChart1"/>
    <dgm:cxn modelId="{EE3BE3E4-CAFF-49DC-BC72-FF2460480304}" type="presOf" srcId="{C66CA0CE-CE60-455E-B072-8696B4ACFFDF}" destId="{56B71D1F-86DF-45CE-937C-6BE1007419F9}" srcOrd="0" destOrd="0" presId="urn:microsoft.com/office/officeart/2005/8/layout/orgChart1"/>
    <dgm:cxn modelId="{30D84AE7-0A07-40CE-9AD4-05F9FFB7B795}" srcId="{1C539B94-CE57-4AA8-B84C-F9F6A8BA368E}" destId="{766E37B1-ABD8-42DA-9708-C166AB538BDA}" srcOrd="1" destOrd="0" parTransId="{A7D9FB4B-8BE5-4653-845B-BC3135B66B47}" sibTransId="{CF01C123-DDE0-4E74-AE6F-BD652B07707E}"/>
    <dgm:cxn modelId="{DB6474E7-AE81-434E-A217-CB7DDA382718}" srcId="{BD70CF27-9074-42DB-82B2-44E66C2F222E}" destId="{EA33570A-0F9F-4F20-8839-EF1FD6A17412}" srcOrd="1" destOrd="0" parTransId="{9B2FE47C-D5D1-4FD4-A3F1-2549F16E3792}" sibTransId="{1C3B3E07-CDE9-4E79-B6AF-39913ED15682}"/>
    <dgm:cxn modelId="{CE063EE8-E579-4305-A53B-E507541D62F9}" type="presOf" srcId="{FEA595C5-AC05-47DE-ABDF-0752485C8733}" destId="{1632F86E-4B71-48EB-A290-CB87DFD51004}" srcOrd="1" destOrd="0" presId="urn:microsoft.com/office/officeart/2005/8/layout/orgChart1"/>
    <dgm:cxn modelId="{1BE217EA-F65F-477D-9A33-F52EEDAF43A0}" type="presOf" srcId="{4A33308F-B9D5-46B1-B464-CE8722197489}" destId="{A9287E37-FDFD-4FFE-B52E-CCACE86D4659}" srcOrd="1" destOrd="0" presId="urn:microsoft.com/office/officeart/2005/8/layout/orgChart1"/>
    <dgm:cxn modelId="{381576EA-35B8-433F-9C4D-4D19C6631A5C}" type="presOf" srcId="{9DE47366-A61B-4E04-9F77-37290D6F724A}" destId="{3D5411C8-70AA-4C79-A2CF-4E0E3362071E}" srcOrd="1" destOrd="0" presId="urn:microsoft.com/office/officeart/2005/8/layout/orgChart1"/>
    <dgm:cxn modelId="{C03799EA-5C53-453B-B670-01134F9D082F}" type="presOf" srcId="{9B2FE47C-D5D1-4FD4-A3F1-2549F16E3792}" destId="{8A8389F6-63DF-4B1F-B09C-D2BE47B21E45}" srcOrd="0" destOrd="0" presId="urn:microsoft.com/office/officeart/2005/8/layout/orgChart1"/>
    <dgm:cxn modelId="{8DF0F9EA-276A-4F92-B0F5-0CE33D8C9BBD}" type="presOf" srcId="{BB664BA2-4A2C-434F-A1E6-91F0DF56E66C}" destId="{4735783B-9D54-4BD8-A67E-C4EF9451595F}" srcOrd="0" destOrd="0" presId="urn:microsoft.com/office/officeart/2005/8/layout/orgChart1"/>
    <dgm:cxn modelId="{316012EB-FAB9-40E8-87B6-ABB568C8D320}" srcId="{CB0F385F-633F-4659-B9B5-767F5CC178F8}" destId="{9DE47366-A61B-4E04-9F77-37290D6F724A}" srcOrd="0" destOrd="0" parTransId="{4D269058-505B-47B3-BF73-39F70B6C59E0}" sibTransId="{1A577C91-22E3-4D00-BAAE-2406F76B9C97}"/>
    <dgm:cxn modelId="{F10598EB-43F9-4FBA-A187-9A2226013135}" srcId="{ED337447-D41D-4C80-8906-ACED5E1EFC17}" destId="{8E58CC14-F9CE-4307-89A8-EC682B79CF16}" srcOrd="3" destOrd="0" parTransId="{6CE96837-DFF1-4AC1-84B0-10BF81D33167}" sibTransId="{AFEB25E7-7E4F-4512-B3D2-8A54CA94F48C}"/>
    <dgm:cxn modelId="{4514E4EB-7B48-46A8-B8A4-6B4C623B7435}" type="presOf" srcId="{8E58CC14-F9CE-4307-89A8-EC682B79CF16}" destId="{0890C180-45E2-4499-9E5D-133AB1FB4493}" srcOrd="1" destOrd="0" presId="urn:microsoft.com/office/officeart/2005/8/layout/orgChart1"/>
    <dgm:cxn modelId="{EFF62FEE-FC7A-45CF-8104-9847C9965FFE}" type="presOf" srcId="{A899EB36-46B6-4510-9005-68718B1B45CE}" destId="{C954BA63-1252-4689-9FD7-CBD7DA11E8F1}" srcOrd="0" destOrd="0" presId="urn:microsoft.com/office/officeart/2005/8/layout/orgChart1"/>
    <dgm:cxn modelId="{A16B5DF3-49F1-4CAA-B7C9-8E6C79927B7F}" type="presOf" srcId="{111F0992-6680-4A9D-BD16-A114C530A646}" destId="{854E3429-CD5F-4965-A56E-155A50DC2FBB}" srcOrd="0" destOrd="0" presId="urn:microsoft.com/office/officeart/2005/8/layout/orgChart1"/>
    <dgm:cxn modelId="{D38B17FB-045D-4071-B0CD-CCB5625F91D8}" type="presOf" srcId="{D4CA4650-B57D-4F12-BD4E-EF88A6B76AE8}" destId="{41911C2B-48BF-4BBF-AA86-07DCCD991BC0}" srcOrd="0" destOrd="0" presId="urn:microsoft.com/office/officeart/2005/8/layout/orgChart1"/>
    <dgm:cxn modelId="{2A2F4EFB-1C27-4C1B-8468-42DBD6DE189F}" type="presOf" srcId="{8105C518-EDF2-4B63-AD97-96A63E73DB2B}" destId="{FE414C43-A323-404A-8B20-73C1B9394D8D}" srcOrd="0" destOrd="0" presId="urn:microsoft.com/office/officeart/2005/8/layout/orgChart1"/>
    <dgm:cxn modelId="{D35B25FD-4242-4133-9DE5-62B17940CE41}" type="presOf" srcId="{BEA0846D-BF10-4F54-A8E2-6D930057229A}" destId="{2AC194A2-56A9-41EF-B097-1F4DDF6EB615}" srcOrd="0" destOrd="0" presId="urn:microsoft.com/office/officeart/2005/8/layout/orgChart1"/>
    <dgm:cxn modelId="{29D526FD-7806-47FB-989B-ABA54650C5EB}" type="presOf" srcId="{BBF9D8E9-DD2E-46BE-B49F-664913C83E49}" destId="{D8329AFD-F691-4167-8CE5-2E4A16F66FDD}" srcOrd="1" destOrd="0" presId="urn:microsoft.com/office/officeart/2005/8/layout/orgChart1"/>
    <dgm:cxn modelId="{777D37CC-2EEB-4576-9FAF-6E6DE4822A45}" type="presParOf" srcId="{E8A7D0F7-887C-43F8-958A-EFA20BD304C0}" destId="{76608817-86C2-4153-BEED-567FA9D64E6D}" srcOrd="0" destOrd="0" presId="urn:microsoft.com/office/officeart/2005/8/layout/orgChart1"/>
    <dgm:cxn modelId="{A95B9D79-99B8-4A5E-9C54-6BC9D75C0B34}" type="presParOf" srcId="{76608817-86C2-4153-BEED-567FA9D64E6D}" destId="{ABA22B6C-3457-40F1-948E-901194B0A8D4}" srcOrd="0" destOrd="0" presId="urn:microsoft.com/office/officeart/2005/8/layout/orgChart1"/>
    <dgm:cxn modelId="{C723811E-5317-4496-9932-E9E98261640F}" type="presParOf" srcId="{ABA22B6C-3457-40F1-948E-901194B0A8D4}" destId="{2A8EC534-A95F-480D-BDF4-ECF7C232D421}" srcOrd="0" destOrd="0" presId="urn:microsoft.com/office/officeart/2005/8/layout/orgChart1"/>
    <dgm:cxn modelId="{05A0FE9B-1664-46A8-A6A9-43E320AAD07A}" type="presParOf" srcId="{ABA22B6C-3457-40F1-948E-901194B0A8D4}" destId="{1632F86E-4B71-48EB-A290-CB87DFD51004}" srcOrd="1" destOrd="0" presId="urn:microsoft.com/office/officeart/2005/8/layout/orgChart1"/>
    <dgm:cxn modelId="{9F218FEF-FEA2-418A-A247-6DC239A51744}" type="presParOf" srcId="{76608817-86C2-4153-BEED-567FA9D64E6D}" destId="{474F1821-7E24-432A-8852-92D6A19C0A55}" srcOrd="1" destOrd="0" presId="urn:microsoft.com/office/officeart/2005/8/layout/orgChart1"/>
    <dgm:cxn modelId="{EF72D473-8FAC-4D08-AD2D-2A63B22C4BA7}" type="presParOf" srcId="{474F1821-7E24-432A-8852-92D6A19C0A55}" destId="{4DBE90A9-6071-4A31-9DBF-A5F78CBEFB17}" srcOrd="0" destOrd="0" presId="urn:microsoft.com/office/officeart/2005/8/layout/orgChart1"/>
    <dgm:cxn modelId="{CC9D3D20-AED0-4FFF-BA4C-88372AD7A993}" type="presParOf" srcId="{474F1821-7E24-432A-8852-92D6A19C0A55}" destId="{B58DA997-08FD-4FF2-8D11-A47F582DA77F}" srcOrd="1" destOrd="0" presId="urn:microsoft.com/office/officeart/2005/8/layout/orgChart1"/>
    <dgm:cxn modelId="{E54F5517-03BE-427A-A3FA-65CF111C516B}" type="presParOf" srcId="{B58DA997-08FD-4FF2-8D11-A47F582DA77F}" destId="{E8536019-1601-4C68-AE7A-FD618F113451}" srcOrd="0" destOrd="0" presId="urn:microsoft.com/office/officeart/2005/8/layout/orgChart1"/>
    <dgm:cxn modelId="{6A9E1080-21D9-4138-956F-70652F2AA972}" type="presParOf" srcId="{E8536019-1601-4C68-AE7A-FD618F113451}" destId="{AC50B931-40F9-42DB-8688-7D84B7050F70}" srcOrd="0" destOrd="0" presId="urn:microsoft.com/office/officeart/2005/8/layout/orgChart1"/>
    <dgm:cxn modelId="{1FF6C742-D5BA-42FE-80E0-F2E46B1837B2}" type="presParOf" srcId="{E8536019-1601-4C68-AE7A-FD618F113451}" destId="{79B7DC51-BBEE-4585-9F8D-07B401125AE7}" srcOrd="1" destOrd="0" presId="urn:microsoft.com/office/officeart/2005/8/layout/orgChart1"/>
    <dgm:cxn modelId="{AB6BB29C-22E0-4220-B614-1946510B6BD1}" type="presParOf" srcId="{B58DA997-08FD-4FF2-8D11-A47F582DA77F}" destId="{9A538540-16F8-4418-91BA-C74521B09FF7}" srcOrd="1" destOrd="0" presId="urn:microsoft.com/office/officeart/2005/8/layout/orgChart1"/>
    <dgm:cxn modelId="{D15AAD6A-0E4F-448C-9A75-8838A89AA784}" type="presParOf" srcId="{9A538540-16F8-4418-91BA-C74521B09FF7}" destId="{12DE8BCD-A3EF-4B8A-A349-3C10A43DC9D3}" srcOrd="0" destOrd="0" presId="urn:microsoft.com/office/officeart/2005/8/layout/orgChart1"/>
    <dgm:cxn modelId="{30026D61-3757-407E-8773-9424FC939081}" type="presParOf" srcId="{9A538540-16F8-4418-91BA-C74521B09FF7}" destId="{3FEE1FE8-3382-4DE5-841D-3CEB4B5A9F4E}" srcOrd="1" destOrd="0" presId="urn:microsoft.com/office/officeart/2005/8/layout/orgChart1"/>
    <dgm:cxn modelId="{A4727539-D675-43BF-A38A-56F9F8EA109D}" type="presParOf" srcId="{3FEE1FE8-3382-4DE5-841D-3CEB4B5A9F4E}" destId="{7EE122F2-DEAA-414D-80C2-96CE20C93DE9}" srcOrd="0" destOrd="0" presId="urn:microsoft.com/office/officeart/2005/8/layout/orgChart1"/>
    <dgm:cxn modelId="{5B2E7F87-9456-4335-BE42-E2CFB6AADC94}" type="presParOf" srcId="{7EE122F2-DEAA-414D-80C2-96CE20C93DE9}" destId="{6D8A65AB-323C-43D6-9035-F1121794CC99}" srcOrd="0" destOrd="0" presId="urn:microsoft.com/office/officeart/2005/8/layout/orgChart1"/>
    <dgm:cxn modelId="{B4751104-19D4-42D0-B398-C98CAA2C71CD}" type="presParOf" srcId="{7EE122F2-DEAA-414D-80C2-96CE20C93DE9}" destId="{9F0CABD7-F0F4-4F64-94C5-619358758A9C}" srcOrd="1" destOrd="0" presId="urn:microsoft.com/office/officeart/2005/8/layout/orgChart1"/>
    <dgm:cxn modelId="{FAF37C50-F649-4138-9795-AF088B4A277B}" type="presParOf" srcId="{3FEE1FE8-3382-4DE5-841D-3CEB4B5A9F4E}" destId="{0AD147AF-8F3C-42F5-96E4-3DD84F6CFBC3}" srcOrd="1" destOrd="0" presId="urn:microsoft.com/office/officeart/2005/8/layout/orgChart1"/>
    <dgm:cxn modelId="{6213F35F-1B1D-49DA-9D11-E6D11C55EB9D}" type="presParOf" srcId="{3FEE1FE8-3382-4DE5-841D-3CEB4B5A9F4E}" destId="{CBB895AD-EBCE-462C-A6A3-111840E49371}" srcOrd="2" destOrd="0" presId="urn:microsoft.com/office/officeart/2005/8/layout/orgChart1"/>
    <dgm:cxn modelId="{E4A2F0E7-5361-410C-9BBA-E16CE3932E1C}" type="presParOf" srcId="{B58DA997-08FD-4FF2-8D11-A47F582DA77F}" destId="{2AE8F605-1C7F-4872-89C3-94F3E4767D13}" srcOrd="2" destOrd="0" presId="urn:microsoft.com/office/officeart/2005/8/layout/orgChart1"/>
    <dgm:cxn modelId="{13CAD3B1-D7F9-4C2D-A7C5-F70306E937A9}" type="presParOf" srcId="{474F1821-7E24-432A-8852-92D6A19C0A55}" destId="{4735783B-9D54-4BD8-A67E-C4EF9451595F}" srcOrd="2" destOrd="0" presId="urn:microsoft.com/office/officeart/2005/8/layout/orgChart1"/>
    <dgm:cxn modelId="{F9DE6863-3179-4F45-9DA9-39446C18CBED}" type="presParOf" srcId="{474F1821-7E24-432A-8852-92D6A19C0A55}" destId="{99293B5F-2FD1-4A82-93A0-B86C8040DFBA}" srcOrd="3" destOrd="0" presId="urn:microsoft.com/office/officeart/2005/8/layout/orgChart1"/>
    <dgm:cxn modelId="{E7AC58A7-26E4-498D-93ED-DC9AC595308C}" type="presParOf" srcId="{99293B5F-2FD1-4A82-93A0-B86C8040DFBA}" destId="{3E801110-553C-4024-B42F-A56C0FB46AE0}" srcOrd="0" destOrd="0" presId="urn:microsoft.com/office/officeart/2005/8/layout/orgChart1"/>
    <dgm:cxn modelId="{5B43BC07-37DA-4F40-A08F-E20201C7CC5B}" type="presParOf" srcId="{3E801110-553C-4024-B42F-A56C0FB46AE0}" destId="{218CB39E-9CAF-4137-A8C6-878194B563B1}" srcOrd="0" destOrd="0" presId="urn:microsoft.com/office/officeart/2005/8/layout/orgChart1"/>
    <dgm:cxn modelId="{40D24439-12DC-45DB-9C2C-D9C0199BFC97}" type="presParOf" srcId="{3E801110-553C-4024-B42F-A56C0FB46AE0}" destId="{4DB3A5AF-21ED-4E4C-ABF4-B0CB326E6FE5}" srcOrd="1" destOrd="0" presId="urn:microsoft.com/office/officeart/2005/8/layout/orgChart1"/>
    <dgm:cxn modelId="{B83A3D80-6A7B-4C72-9B3D-C6A40F329FC5}" type="presParOf" srcId="{99293B5F-2FD1-4A82-93A0-B86C8040DFBA}" destId="{AD15F8D3-3B97-4842-94D2-8FD2F95B602C}" srcOrd="1" destOrd="0" presId="urn:microsoft.com/office/officeart/2005/8/layout/orgChart1"/>
    <dgm:cxn modelId="{9CF20D09-ABA2-4467-8249-1D2C55B28B48}" type="presParOf" srcId="{AD15F8D3-3B97-4842-94D2-8FD2F95B602C}" destId="{B729C567-8E1E-40D1-8FC4-329FB023DBD3}" srcOrd="0" destOrd="0" presId="urn:microsoft.com/office/officeart/2005/8/layout/orgChart1"/>
    <dgm:cxn modelId="{5504E330-DF19-4620-81F1-DF9781646065}" type="presParOf" srcId="{AD15F8D3-3B97-4842-94D2-8FD2F95B602C}" destId="{39F65791-4C3A-44CB-AA46-FFCF6DFD6313}" srcOrd="1" destOrd="0" presId="urn:microsoft.com/office/officeart/2005/8/layout/orgChart1"/>
    <dgm:cxn modelId="{31204CAD-F6B3-4B6A-8E3E-19743BF808C5}" type="presParOf" srcId="{39F65791-4C3A-44CB-AA46-FFCF6DFD6313}" destId="{E865D9C7-DAA7-4EEE-B0E7-185ECB7D605A}" srcOrd="0" destOrd="0" presId="urn:microsoft.com/office/officeart/2005/8/layout/orgChart1"/>
    <dgm:cxn modelId="{C44B1B5F-87A0-42C2-8CEE-BBC7583F8369}" type="presParOf" srcId="{E865D9C7-DAA7-4EEE-B0E7-185ECB7D605A}" destId="{41911C2B-48BF-4BBF-AA86-07DCCD991BC0}" srcOrd="0" destOrd="0" presId="urn:microsoft.com/office/officeart/2005/8/layout/orgChart1"/>
    <dgm:cxn modelId="{EEE9F2DD-FF75-4174-A87B-04CBDF616A6D}" type="presParOf" srcId="{E865D9C7-DAA7-4EEE-B0E7-185ECB7D605A}" destId="{B9794909-D257-47FF-8CA6-47E0C990C631}" srcOrd="1" destOrd="0" presId="urn:microsoft.com/office/officeart/2005/8/layout/orgChart1"/>
    <dgm:cxn modelId="{6872D054-BCE3-4966-9ED8-F8F61BBEEC66}" type="presParOf" srcId="{39F65791-4C3A-44CB-AA46-FFCF6DFD6313}" destId="{FB5C7A0F-412E-4882-BB22-D1801B37B253}" srcOrd="1" destOrd="0" presId="urn:microsoft.com/office/officeart/2005/8/layout/orgChart1"/>
    <dgm:cxn modelId="{AF65EA51-F0EC-4928-B40C-D49C6C3671A5}" type="presParOf" srcId="{39F65791-4C3A-44CB-AA46-FFCF6DFD6313}" destId="{87E11DA6-030C-468A-B212-59AE4A80DF4E}" srcOrd="2" destOrd="0" presId="urn:microsoft.com/office/officeart/2005/8/layout/orgChart1"/>
    <dgm:cxn modelId="{7883DA8A-4A08-4B49-9A04-3776FE0B3CA8}" type="presParOf" srcId="{AD15F8D3-3B97-4842-94D2-8FD2F95B602C}" destId="{1ED022D9-4297-4286-876B-8169A686EE15}" srcOrd="2" destOrd="0" presId="urn:microsoft.com/office/officeart/2005/8/layout/orgChart1"/>
    <dgm:cxn modelId="{1040025D-95F1-4B02-8771-F0FBAA02626E}" type="presParOf" srcId="{AD15F8D3-3B97-4842-94D2-8FD2F95B602C}" destId="{DD46F9C3-91D0-499F-80D3-1E92B8B5464F}" srcOrd="3" destOrd="0" presId="urn:microsoft.com/office/officeart/2005/8/layout/orgChart1"/>
    <dgm:cxn modelId="{0703F17A-AE00-4A3F-B099-81F7DD4E7A3F}" type="presParOf" srcId="{DD46F9C3-91D0-499F-80D3-1E92B8B5464F}" destId="{9D64F87F-DFED-4F7B-86B6-3C18E75296EF}" srcOrd="0" destOrd="0" presId="urn:microsoft.com/office/officeart/2005/8/layout/orgChart1"/>
    <dgm:cxn modelId="{9A0A82B1-84BC-4CE0-88C6-8EF4917FF322}" type="presParOf" srcId="{9D64F87F-DFED-4F7B-86B6-3C18E75296EF}" destId="{4AF31FCB-8BE6-464D-9381-40E1803EDA5D}" srcOrd="0" destOrd="0" presId="urn:microsoft.com/office/officeart/2005/8/layout/orgChart1"/>
    <dgm:cxn modelId="{331D107A-91A8-4F9D-88E4-22C7AC4FEA69}" type="presParOf" srcId="{9D64F87F-DFED-4F7B-86B6-3C18E75296EF}" destId="{05329FEC-C058-4313-80A6-C66AE7CE1573}" srcOrd="1" destOrd="0" presId="urn:microsoft.com/office/officeart/2005/8/layout/orgChart1"/>
    <dgm:cxn modelId="{35629B3A-390C-4B63-86E9-61BDCACD0547}" type="presParOf" srcId="{DD46F9C3-91D0-499F-80D3-1E92B8B5464F}" destId="{3E6E45CB-4E0E-4097-93AD-758A0E174AA7}" srcOrd="1" destOrd="0" presId="urn:microsoft.com/office/officeart/2005/8/layout/orgChart1"/>
    <dgm:cxn modelId="{C35F2297-07AB-4264-90D6-1AF8CCD85602}" type="presParOf" srcId="{DD46F9C3-91D0-499F-80D3-1E92B8B5464F}" destId="{84FDB1B1-8196-42EC-91F8-07D3C9CDEE03}" srcOrd="2" destOrd="0" presId="urn:microsoft.com/office/officeart/2005/8/layout/orgChart1"/>
    <dgm:cxn modelId="{F0C5F9D6-F26C-4B40-8A03-C6493CBA0B6D}" type="presParOf" srcId="{AD15F8D3-3B97-4842-94D2-8FD2F95B602C}" destId="{1298BB2D-62FA-45FE-AF76-B9F99385C698}" srcOrd="4" destOrd="0" presId="urn:microsoft.com/office/officeart/2005/8/layout/orgChart1"/>
    <dgm:cxn modelId="{E0C4C967-BA3C-4B37-A682-4D6FE1B0F541}" type="presParOf" srcId="{AD15F8D3-3B97-4842-94D2-8FD2F95B602C}" destId="{DFE13E10-EE1E-4095-AD87-D69860735A0D}" srcOrd="5" destOrd="0" presId="urn:microsoft.com/office/officeart/2005/8/layout/orgChart1"/>
    <dgm:cxn modelId="{1FF7AE8D-F7AE-4EC0-9640-74637619E02C}" type="presParOf" srcId="{DFE13E10-EE1E-4095-AD87-D69860735A0D}" destId="{D5EABE52-819F-43F1-B2CC-F2A375906553}" srcOrd="0" destOrd="0" presId="urn:microsoft.com/office/officeart/2005/8/layout/orgChart1"/>
    <dgm:cxn modelId="{339F9F41-CAA9-40B6-A7DD-F8006E610F1B}" type="presParOf" srcId="{D5EABE52-819F-43F1-B2CC-F2A375906553}" destId="{9BA61034-E3E0-4750-BA2B-C549E7799009}" srcOrd="0" destOrd="0" presId="urn:microsoft.com/office/officeart/2005/8/layout/orgChart1"/>
    <dgm:cxn modelId="{CAF352A7-03BE-4233-BBF8-24DE47635FE1}" type="presParOf" srcId="{D5EABE52-819F-43F1-B2CC-F2A375906553}" destId="{B072C9A2-FB57-4069-8936-5BC8ED77229A}" srcOrd="1" destOrd="0" presId="urn:microsoft.com/office/officeart/2005/8/layout/orgChart1"/>
    <dgm:cxn modelId="{DAF44CFB-9376-43F8-A2F4-22EEC1505921}" type="presParOf" srcId="{DFE13E10-EE1E-4095-AD87-D69860735A0D}" destId="{B5262D35-AF1C-496A-96A8-FDCB2D3F3FE2}" srcOrd="1" destOrd="0" presId="urn:microsoft.com/office/officeart/2005/8/layout/orgChart1"/>
    <dgm:cxn modelId="{250F905E-6277-4BC5-90A6-C554BFC8AFFF}" type="presParOf" srcId="{DFE13E10-EE1E-4095-AD87-D69860735A0D}" destId="{C937784E-4E63-44F9-B844-9299512054ED}" srcOrd="2" destOrd="0" presId="urn:microsoft.com/office/officeart/2005/8/layout/orgChart1"/>
    <dgm:cxn modelId="{1A2C4B43-6C18-4CA6-9F54-4520B7038E83}" type="presParOf" srcId="{AD15F8D3-3B97-4842-94D2-8FD2F95B602C}" destId="{85F321A7-FD5A-4B8A-B810-4CBC417004EC}" srcOrd="6" destOrd="0" presId="urn:microsoft.com/office/officeart/2005/8/layout/orgChart1"/>
    <dgm:cxn modelId="{06D03849-67D7-4151-8AFC-827E40E636FE}" type="presParOf" srcId="{AD15F8D3-3B97-4842-94D2-8FD2F95B602C}" destId="{E370E558-03B3-459C-9F3B-8448DF247464}" srcOrd="7" destOrd="0" presId="urn:microsoft.com/office/officeart/2005/8/layout/orgChart1"/>
    <dgm:cxn modelId="{A5B34020-0186-425C-818E-F4610AC9D13F}" type="presParOf" srcId="{E370E558-03B3-459C-9F3B-8448DF247464}" destId="{88E14BA3-A9CE-4745-AD2D-C0E2E4A58331}" srcOrd="0" destOrd="0" presId="urn:microsoft.com/office/officeart/2005/8/layout/orgChart1"/>
    <dgm:cxn modelId="{68BA42AD-37CB-4F81-8D01-DA1350527F52}" type="presParOf" srcId="{88E14BA3-A9CE-4745-AD2D-C0E2E4A58331}" destId="{21721FEF-1FF5-4E1E-A828-64EE635E409B}" srcOrd="0" destOrd="0" presId="urn:microsoft.com/office/officeart/2005/8/layout/orgChart1"/>
    <dgm:cxn modelId="{3857E64A-E23E-4180-8B36-3505DC1E4565}" type="presParOf" srcId="{88E14BA3-A9CE-4745-AD2D-C0E2E4A58331}" destId="{0890C180-45E2-4499-9E5D-133AB1FB4493}" srcOrd="1" destOrd="0" presId="urn:microsoft.com/office/officeart/2005/8/layout/orgChart1"/>
    <dgm:cxn modelId="{1FF84DC7-5321-4C83-B36F-BAC4B7B41C71}" type="presParOf" srcId="{E370E558-03B3-459C-9F3B-8448DF247464}" destId="{5FE972D3-B0F3-4698-BB46-3C3AF990D8C9}" srcOrd="1" destOrd="0" presId="urn:microsoft.com/office/officeart/2005/8/layout/orgChart1"/>
    <dgm:cxn modelId="{D6416623-E0E0-47BA-BE72-703292EB47AA}" type="presParOf" srcId="{E370E558-03B3-459C-9F3B-8448DF247464}" destId="{8B04E877-9EC2-4305-AA9B-E5AB41C8E82F}" srcOrd="2" destOrd="0" presId="urn:microsoft.com/office/officeart/2005/8/layout/orgChart1"/>
    <dgm:cxn modelId="{73E67FE5-8EDA-461C-AC8E-1FF40A1247DC}" type="presParOf" srcId="{99293B5F-2FD1-4A82-93A0-B86C8040DFBA}" destId="{DFD4748A-543A-47AD-9A37-0213C5FEE8F9}" srcOrd="2" destOrd="0" presId="urn:microsoft.com/office/officeart/2005/8/layout/orgChart1"/>
    <dgm:cxn modelId="{EC0C70CF-FF34-4C08-84CB-EADC91D1306F}" type="presParOf" srcId="{474F1821-7E24-432A-8852-92D6A19C0A55}" destId="{411C9BB2-6822-44A9-98E8-704B1BC1832F}" srcOrd="4" destOrd="0" presId="urn:microsoft.com/office/officeart/2005/8/layout/orgChart1"/>
    <dgm:cxn modelId="{36CE1B6B-AC89-4AB3-89DF-52DF24E1E9B3}" type="presParOf" srcId="{474F1821-7E24-432A-8852-92D6A19C0A55}" destId="{B498852A-A444-4ECB-8E5F-9FC480E46E92}" srcOrd="5" destOrd="0" presId="urn:microsoft.com/office/officeart/2005/8/layout/orgChart1"/>
    <dgm:cxn modelId="{152F867D-06ED-4BBF-A677-785B98FE8208}" type="presParOf" srcId="{B498852A-A444-4ECB-8E5F-9FC480E46E92}" destId="{CB1FFAB6-9DC6-46C0-A514-116E0014AFD0}" srcOrd="0" destOrd="0" presId="urn:microsoft.com/office/officeart/2005/8/layout/orgChart1"/>
    <dgm:cxn modelId="{1DEF54D2-D650-45E6-93D2-F13344854C2D}" type="presParOf" srcId="{CB1FFAB6-9DC6-46C0-A514-116E0014AFD0}" destId="{D291C402-D2CB-48BB-BB95-B72CAFC5D947}" srcOrd="0" destOrd="0" presId="urn:microsoft.com/office/officeart/2005/8/layout/orgChart1"/>
    <dgm:cxn modelId="{3D3211B4-8BC4-4A5E-BFDE-6341CC8527A6}" type="presParOf" srcId="{CB1FFAB6-9DC6-46C0-A514-116E0014AFD0}" destId="{85D09294-E36E-4696-81A9-46A93935DDCA}" srcOrd="1" destOrd="0" presId="urn:microsoft.com/office/officeart/2005/8/layout/orgChart1"/>
    <dgm:cxn modelId="{69CFAAA2-B297-4E20-A48F-7FAACA2FBA78}" type="presParOf" srcId="{B498852A-A444-4ECB-8E5F-9FC480E46E92}" destId="{9627DD7A-40C9-4422-9B5E-0BC780E40212}" srcOrd="1" destOrd="0" presId="urn:microsoft.com/office/officeart/2005/8/layout/orgChart1"/>
    <dgm:cxn modelId="{BEDAF80B-D4A2-4DE7-9F20-ACE5F5236C5D}" type="presParOf" srcId="{9627DD7A-40C9-4422-9B5E-0BC780E40212}" destId="{32CF9E53-A8EA-432A-93DC-8245EBCC63F0}" srcOrd="0" destOrd="0" presId="urn:microsoft.com/office/officeart/2005/8/layout/orgChart1"/>
    <dgm:cxn modelId="{0043AED4-7C39-4A6C-9339-240676E2095A}" type="presParOf" srcId="{9627DD7A-40C9-4422-9B5E-0BC780E40212}" destId="{18B7B508-B8AD-496B-BD47-EE26BB365519}" srcOrd="1" destOrd="0" presId="urn:microsoft.com/office/officeart/2005/8/layout/orgChart1"/>
    <dgm:cxn modelId="{7F965900-BBE9-4942-AF52-44B8E41BC664}" type="presParOf" srcId="{18B7B508-B8AD-496B-BD47-EE26BB365519}" destId="{11FE91DD-C654-46BE-8789-AA4E12F36FF3}" srcOrd="0" destOrd="0" presId="urn:microsoft.com/office/officeart/2005/8/layout/orgChart1"/>
    <dgm:cxn modelId="{49FE838F-9F92-46DA-A1F3-969373319425}" type="presParOf" srcId="{11FE91DD-C654-46BE-8789-AA4E12F36FF3}" destId="{4B540DE8-CE75-4B84-9D03-427D99E84967}" srcOrd="0" destOrd="0" presId="urn:microsoft.com/office/officeart/2005/8/layout/orgChart1"/>
    <dgm:cxn modelId="{FB265CAA-9C08-4B29-AED8-E62C3CD6AA44}" type="presParOf" srcId="{11FE91DD-C654-46BE-8789-AA4E12F36FF3}" destId="{A9287E37-FDFD-4FFE-B52E-CCACE86D4659}" srcOrd="1" destOrd="0" presId="urn:microsoft.com/office/officeart/2005/8/layout/orgChart1"/>
    <dgm:cxn modelId="{B103D2A5-0AA8-493A-86A7-E0A6A56BCCB7}" type="presParOf" srcId="{18B7B508-B8AD-496B-BD47-EE26BB365519}" destId="{69D539AB-86C2-47B6-873C-1BA681B9A832}" srcOrd="1" destOrd="0" presId="urn:microsoft.com/office/officeart/2005/8/layout/orgChart1"/>
    <dgm:cxn modelId="{4AC8506E-2876-439B-82D3-D479A1E3456D}" type="presParOf" srcId="{18B7B508-B8AD-496B-BD47-EE26BB365519}" destId="{014B838F-A087-4D78-A2C2-E11B52CA54B4}" srcOrd="2" destOrd="0" presId="urn:microsoft.com/office/officeart/2005/8/layout/orgChart1"/>
    <dgm:cxn modelId="{2E3D7B05-9CC5-4504-AF90-C2CB68CE14C5}" type="presParOf" srcId="{9627DD7A-40C9-4422-9B5E-0BC780E40212}" destId="{53748499-FC23-4B02-B59D-82673765CAC2}" srcOrd="2" destOrd="0" presId="urn:microsoft.com/office/officeart/2005/8/layout/orgChart1"/>
    <dgm:cxn modelId="{49DE65C5-FF49-42FB-9A60-4150D9ED38E9}" type="presParOf" srcId="{9627DD7A-40C9-4422-9B5E-0BC780E40212}" destId="{44878215-274B-4743-8288-85515DCEFBD8}" srcOrd="3" destOrd="0" presId="urn:microsoft.com/office/officeart/2005/8/layout/orgChart1"/>
    <dgm:cxn modelId="{E1723A3B-1C18-4C93-8825-076D40EFCF34}" type="presParOf" srcId="{44878215-274B-4743-8288-85515DCEFBD8}" destId="{D412B4CD-794F-4A0E-A1EE-D64E0D0D947A}" srcOrd="0" destOrd="0" presId="urn:microsoft.com/office/officeart/2005/8/layout/orgChart1"/>
    <dgm:cxn modelId="{E68403DF-6011-4EB0-B725-BD4376E3E8AE}" type="presParOf" srcId="{D412B4CD-794F-4A0E-A1EE-D64E0D0D947A}" destId="{C954BA63-1252-4689-9FD7-CBD7DA11E8F1}" srcOrd="0" destOrd="0" presId="urn:microsoft.com/office/officeart/2005/8/layout/orgChart1"/>
    <dgm:cxn modelId="{E4778ECE-32BE-476C-A668-1DA0E0F88E0E}" type="presParOf" srcId="{D412B4CD-794F-4A0E-A1EE-D64E0D0D947A}" destId="{C53A6397-DFE0-4533-B4EB-C64320854D8D}" srcOrd="1" destOrd="0" presId="urn:microsoft.com/office/officeart/2005/8/layout/orgChart1"/>
    <dgm:cxn modelId="{117A8139-8240-4C06-90E2-D05EB35CFDAF}" type="presParOf" srcId="{44878215-274B-4743-8288-85515DCEFBD8}" destId="{B93E3D8D-B75B-4B94-B23F-78A5B1EBDFA3}" srcOrd="1" destOrd="0" presId="urn:microsoft.com/office/officeart/2005/8/layout/orgChart1"/>
    <dgm:cxn modelId="{C611DA2F-477D-43B0-9169-5274D73831BA}" type="presParOf" srcId="{44878215-274B-4743-8288-85515DCEFBD8}" destId="{143BDA14-57F3-4E85-B5DA-60677F293E1D}" srcOrd="2" destOrd="0" presId="urn:microsoft.com/office/officeart/2005/8/layout/orgChart1"/>
    <dgm:cxn modelId="{8C199EEF-CEAA-44A8-A697-7453E4B7F0AA}" type="presParOf" srcId="{9627DD7A-40C9-4422-9B5E-0BC780E40212}" destId="{7A6160BE-74C8-4DF6-85A5-439B7CCB71D2}" srcOrd="4" destOrd="0" presId="urn:microsoft.com/office/officeart/2005/8/layout/orgChart1"/>
    <dgm:cxn modelId="{48B69174-95EA-47C2-97DB-1BB2981F3D70}" type="presParOf" srcId="{9627DD7A-40C9-4422-9B5E-0BC780E40212}" destId="{53E1B66A-1456-44E0-BD62-366CC248755F}" srcOrd="5" destOrd="0" presId="urn:microsoft.com/office/officeart/2005/8/layout/orgChart1"/>
    <dgm:cxn modelId="{8ADE135B-50AD-4CF4-9CEB-80D830438F01}" type="presParOf" srcId="{53E1B66A-1456-44E0-BD62-366CC248755F}" destId="{1607AB8F-726B-4D08-81AE-3CBA49D0628B}" srcOrd="0" destOrd="0" presId="urn:microsoft.com/office/officeart/2005/8/layout/orgChart1"/>
    <dgm:cxn modelId="{187ACEB2-92E6-49F1-8AB1-74508721B8C5}" type="presParOf" srcId="{1607AB8F-726B-4D08-81AE-3CBA49D0628B}" destId="{854E3429-CD5F-4965-A56E-155A50DC2FBB}" srcOrd="0" destOrd="0" presId="urn:microsoft.com/office/officeart/2005/8/layout/orgChart1"/>
    <dgm:cxn modelId="{114F3212-252F-47AB-AEB4-70DD119DCA22}" type="presParOf" srcId="{1607AB8F-726B-4D08-81AE-3CBA49D0628B}" destId="{63781A13-2CA7-40AB-87DD-51F4A69394EA}" srcOrd="1" destOrd="0" presId="urn:microsoft.com/office/officeart/2005/8/layout/orgChart1"/>
    <dgm:cxn modelId="{AE7A6F36-7727-46AA-A953-F557E01CAB38}" type="presParOf" srcId="{53E1B66A-1456-44E0-BD62-366CC248755F}" destId="{1BAAA043-D854-442E-A721-E7E58A4D3BA3}" srcOrd="1" destOrd="0" presId="urn:microsoft.com/office/officeart/2005/8/layout/orgChart1"/>
    <dgm:cxn modelId="{655080A0-C46B-4005-A5F3-0C59B6C8DE0F}" type="presParOf" srcId="{53E1B66A-1456-44E0-BD62-366CC248755F}" destId="{0BCD9094-7BC1-49AD-8D16-E1EFCC45398A}" srcOrd="2" destOrd="0" presId="urn:microsoft.com/office/officeart/2005/8/layout/orgChart1"/>
    <dgm:cxn modelId="{280D50E7-7293-420F-A7BB-34961633F946}" type="presParOf" srcId="{9627DD7A-40C9-4422-9B5E-0BC780E40212}" destId="{B8C5AF76-7429-4605-8AFA-B6184486BF5D}" srcOrd="6" destOrd="0" presId="urn:microsoft.com/office/officeart/2005/8/layout/orgChart1"/>
    <dgm:cxn modelId="{666D8951-0427-46B7-B97D-0BBCB671BC84}" type="presParOf" srcId="{9627DD7A-40C9-4422-9B5E-0BC780E40212}" destId="{25EC4553-816F-45C9-BED7-F01DB74A3494}" srcOrd="7" destOrd="0" presId="urn:microsoft.com/office/officeart/2005/8/layout/orgChart1"/>
    <dgm:cxn modelId="{9D0BBB8D-1714-43D0-8C9F-B13B90A7DE85}" type="presParOf" srcId="{25EC4553-816F-45C9-BED7-F01DB74A3494}" destId="{1CCB26F2-1756-4A56-AEBE-135BA0F98CFC}" srcOrd="0" destOrd="0" presId="urn:microsoft.com/office/officeart/2005/8/layout/orgChart1"/>
    <dgm:cxn modelId="{20286E1F-66C3-4289-8145-F4D87323EE33}" type="presParOf" srcId="{1CCB26F2-1756-4A56-AEBE-135BA0F98CFC}" destId="{5D1E5804-52D9-47B5-B037-B8167C5EC818}" srcOrd="0" destOrd="0" presId="urn:microsoft.com/office/officeart/2005/8/layout/orgChart1"/>
    <dgm:cxn modelId="{F36A42FF-2981-491B-9910-44D67BB509AA}" type="presParOf" srcId="{1CCB26F2-1756-4A56-AEBE-135BA0F98CFC}" destId="{FB3F1EB2-DC9B-4D6C-8B56-71C8FE8BB622}" srcOrd="1" destOrd="0" presId="urn:microsoft.com/office/officeart/2005/8/layout/orgChart1"/>
    <dgm:cxn modelId="{44FF4C64-58DA-4E0F-A66A-EEF783428C46}" type="presParOf" srcId="{25EC4553-816F-45C9-BED7-F01DB74A3494}" destId="{70FC751F-935C-4590-B8AE-F860DD63E33B}" srcOrd="1" destOrd="0" presId="urn:microsoft.com/office/officeart/2005/8/layout/orgChart1"/>
    <dgm:cxn modelId="{0CF6214F-AF2A-42EE-9F07-480C28F2C70E}" type="presParOf" srcId="{25EC4553-816F-45C9-BED7-F01DB74A3494}" destId="{02D4F31A-4F65-44EC-92FF-0AA706DC20DA}" srcOrd="2" destOrd="0" presId="urn:microsoft.com/office/officeart/2005/8/layout/orgChart1"/>
    <dgm:cxn modelId="{B1EB697E-3148-46FA-AAA1-7B68B6CDB759}" type="presParOf" srcId="{B498852A-A444-4ECB-8E5F-9FC480E46E92}" destId="{FB85DE53-76AC-4901-B8E2-7AE789D26C9A}" srcOrd="2" destOrd="0" presId="urn:microsoft.com/office/officeart/2005/8/layout/orgChart1"/>
    <dgm:cxn modelId="{BDB31C85-32B7-4DB7-8383-C0F492586802}" type="presParOf" srcId="{474F1821-7E24-432A-8852-92D6A19C0A55}" destId="{56B71D1F-86DF-45CE-937C-6BE1007419F9}" srcOrd="6" destOrd="0" presId="urn:microsoft.com/office/officeart/2005/8/layout/orgChart1"/>
    <dgm:cxn modelId="{2A0B1CDB-B680-4AE6-A98A-71495B5C6051}" type="presParOf" srcId="{474F1821-7E24-432A-8852-92D6A19C0A55}" destId="{E46FE9D1-7BED-4B1A-B4B5-6F85452F3FEA}" srcOrd="7" destOrd="0" presId="urn:microsoft.com/office/officeart/2005/8/layout/orgChart1"/>
    <dgm:cxn modelId="{64DD616C-167A-4A38-84EF-F50B2FAFB096}" type="presParOf" srcId="{E46FE9D1-7BED-4B1A-B4B5-6F85452F3FEA}" destId="{1A49CB85-BA3C-461A-B47E-78DB074ABC14}" srcOrd="0" destOrd="0" presId="urn:microsoft.com/office/officeart/2005/8/layout/orgChart1"/>
    <dgm:cxn modelId="{B93E8C63-A335-4594-97B6-646FED1EB374}" type="presParOf" srcId="{1A49CB85-BA3C-461A-B47E-78DB074ABC14}" destId="{091974EB-C494-407F-A24C-7B655C366CED}" srcOrd="0" destOrd="0" presId="urn:microsoft.com/office/officeart/2005/8/layout/orgChart1"/>
    <dgm:cxn modelId="{913C4188-A709-4B37-9CD7-5CD8734812C1}" type="presParOf" srcId="{1A49CB85-BA3C-461A-B47E-78DB074ABC14}" destId="{D098F851-F91D-47FB-9C42-8DEB6653ADFB}" srcOrd="1" destOrd="0" presId="urn:microsoft.com/office/officeart/2005/8/layout/orgChart1"/>
    <dgm:cxn modelId="{EAD7159F-868E-4B97-B1BE-AD96178F2DDD}" type="presParOf" srcId="{E46FE9D1-7BED-4B1A-B4B5-6F85452F3FEA}" destId="{C7E9C86B-9C3F-467D-A79D-C01E3F43AD81}" srcOrd="1" destOrd="0" presId="urn:microsoft.com/office/officeart/2005/8/layout/orgChart1"/>
    <dgm:cxn modelId="{998107DA-2725-41C6-8C71-12D0C966A350}" type="presParOf" srcId="{C7E9C86B-9C3F-467D-A79D-C01E3F43AD81}" destId="{670307B7-E800-4318-96E1-45713A4E2ADF}" srcOrd="0" destOrd="0" presId="urn:microsoft.com/office/officeart/2005/8/layout/orgChart1"/>
    <dgm:cxn modelId="{8CDDA515-2BCF-4250-AA82-379D195B26EA}" type="presParOf" srcId="{C7E9C86B-9C3F-467D-A79D-C01E3F43AD81}" destId="{FAC2E818-455A-4085-AFB9-1AB6359EFF09}" srcOrd="1" destOrd="0" presId="urn:microsoft.com/office/officeart/2005/8/layout/orgChart1"/>
    <dgm:cxn modelId="{EBE034B7-EFDC-4A2F-B2FC-B0DF4997E8CD}" type="presParOf" srcId="{FAC2E818-455A-4085-AFB9-1AB6359EFF09}" destId="{531319F7-8944-462E-B802-57016252F838}" srcOrd="0" destOrd="0" presId="urn:microsoft.com/office/officeart/2005/8/layout/orgChart1"/>
    <dgm:cxn modelId="{F48E7AA2-AEE8-4020-8874-A227FC4F68A5}" type="presParOf" srcId="{531319F7-8944-462E-B802-57016252F838}" destId="{173D0537-F4F0-4D89-A40C-B866D62C01B5}" srcOrd="0" destOrd="0" presId="urn:microsoft.com/office/officeart/2005/8/layout/orgChart1"/>
    <dgm:cxn modelId="{5E0AF3B6-7DF1-4665-BC41-A8A6CEA9966A}" type="presParOf" srcId="{531319F7-8944-462E-B802-57016252F838}" destId="{66B55972-06DB-4C74-A888-DF7DBDE94160}" srcOrd="1" destOrd="0" presId="urn:microsoft.com/office/officeart/2005/8/layout/orgChart1"/>
    <dgm:cxn modelId="{33799C8E-2655-474B-B879-0045F2AC0E53}" type="presParOf" srcId="{FAC2E818-455A-4085-AFB9-1AB6359EFF09}" destId="{1777F8BA-ABFE-4E28-A13C-950037B371F3}" srcOrd="1" destOrd="0" presId="urn:microsoft.com/office/officeart/2005/8/layout/orgChart1"/>
    <dgm:cxn modelId="{2F66C29E-23B4-4E7B-851F-04573CF01944}" type="presParOf" srcId="{FAC2E818-455A-4085-AFB9-1AB6359EFF09}" destId="{39C4D5BC-BE84-43DD-B6C8-2D5DC2634693}" srcOrd="2" destOrd="0" presId="urn:microsoft.com/office/officeart/2005/8/layout/orgChart1"/>
    <dgm:cxn modelId="{A2C555ED-6D01-4046-BEAB-EF9878674003}" type="presParOf" srcId="{C7E9C86B-9C3F-467D-A79D-C01E3F43AD81}" destId="{8A8389F6-63DF-4B1F-B09C-D2BE47B21E45}" srcOrd="2" destOrd="0" presId="urn:microsoft.com/office/officeart/2005/8/layout/orgChart1"/>
    <dgm:cxn modelId="{BC1CE617-A34F-4C3B-A153-80E88D3ADC77}" type="presParOf" srcId="{C7E9C86B-9C3F-467D-A79D-C01E3F43AD81}" destId="{3CA1DDAE-0BCC-4F2D-A737-FA141A73006D}" srcOrd="3" destOrd="0" presId="urn:microsoft.com/office/officeart/2005/8/layout/orgChart1"/>
    <dgm:cxn modelId="{E96CCB3E-76ED-4B59-855E-328CAD53BD5C}" type="presParOf" srcId="{3CA1DDAE-0BCC-4F2D-A737-FA141A73006D}" destId="{05B7230A-CF10-40C7-AD5A-7B4A6D794BD3}" srcOrd="0" destOrd="0" presId="urn:microsoft.com/office/officeart/2005/8/layout/orgChart1"/>
    <dgm:cxn modelId="{6978D739-FFDF-4806-947B-7F6CB68FADE5}" type="presParOf" srcId="{05B7230A-CF10-40C7-AD5A-7B4A6D794BD3}" destId="{B806E04C-0088-482E-9FF6-5535FFBBF18B}" srcOrd="0" destOrd="0" presId="urn:microsoft.com/office/officeart/2005/8/layout/orgChart1"/>
    <dgm:cxn modelId="{F7C9A92F-834E-42E7-9B44-ECB215D3CF69}" type="presParOf" srcId="{05B7230A-CF10-40C7-AD5A-7B4A6D794BD3}" destId="{6BD35364-3C87-43B6-A283-BDCBE2D3F809}" srcOrd="1" destOrd="0" presId="urn:microsoft.com/office/officeart/2005/8/layout/orgChart1"/>
    <dgm:cxn modelId="{42E74D53-6104-4868-A879-E2AE6B5B237C}" type="presParOf" srcId="{3CA1DDAE-0BCC-4F2D-A737-FA141A73006D}" destId="{469F5BA2-2203-4532-B54B-B5525F41C6AB}" srcOrd="1" destOrd="0" presId="urn:microsoft.com/office/officeart/2005/8/layout/orgChart1"/>
    <dgm:cxn modelId="{6A982DA8-6412-40D3-BB8B-1A7B3250F9A0}" type="presParOf" srcId="{3CA1DDAE-0BCC-4F2D-A737-FA141A73006D}" destId="{68C14FDD-9580-433F-9C71-81690B301301}" srcOrd="2" destOrd="0" presId="urn:microsoft.com/office/officeart/2005/8/layout/orgChart1"/>
    <dgm:cxn modelId="{FC2F7FCD-C1B7-4A99-AD1D-8A7ED6DCFD75}" type="presParOf" srcId="{E46FE9D1-7BED-4B1A-B4B5-6F85452F3FEA}" destId="{2AE8FA8A-7D44-4A19-91D3-D27A593B8A80}" srcOrd="2" destOrd="0" presId="urn:microsoft.com/office/officeart/2005/8/layout/orgChart1"/>
    <dgm:cxn modelId="{6B75471F-ABFB-449D-AD46-1007AB10BBF0}" type="presParOf" srcId="{76608817-86C2-4153-BEED-567FA9D64E6D}" destId="{9642E688-2679-4B16-95C0-8C6CF9EDBA78}" srcOrd="2" destOrd="0" presId="urn:microsoft.com/office/officeart/2005/8/layout/orgChart1"/>
    <dgm:cxn modelId="{546D132E-40CC-4D32-A5FD-B8255BF21472}" type="presParOf" srcId="{E8A7D0F7-887C-43F8-958A-EFA20BD304C0}" destId="{2EA568E9-A52B-427A-A481-F80035804314}" srcOrd="1" destOrd="0" presId="urn:microsoft.com/office/officeart/2005/8/layout/orgChart1"/>
    <dgm:cxn modelId="{DC2A3714-F7A7-4A9F-A190-F99B1DA7DC79}" type="presParOf" srcId="{2EA568E9-A52B-427A-A481-F80035804314}" destId="{63E41BD2-4C3C-4B8E-A2DB-E37FC023B70E}" srcOrd="0" destOrd="0" presId="urn:microsoft.com/office/officeart/2005/8/layout/orgChart1"/>
    <dgm:cxn modelId="{2238F589-EEA9-4FF0-87AF-80E92AFC8051}" type="presParOf" srcId="{63E41BD2-4C3C-4B8E-A2DB-E37FC023B70E}" destId="{B09E4E6A-F9A3-4DEB-BB67-02A01FDE8808}" srcOrd="0" destOrd="0" presId="urn:microsoft.com/office/officeart/2005/8/layout/orgChart1"/>
    <dgm:cxn modelId="{F122CC81-5FB1-4A0F-BFD7-138E10620842}" type="presParOf" srcId="{63E41BD2-4C3C-4B8E-A2DB-E37FC023B70E}" destId="{175F67D2-1D59-4571-B3ED-DC9A8F35ABC6}" srcOrd="1" destOrd="0" presId="urn:microsoft.com/office/officeart/2005/8/layout/orgChart1"/>
    <dgm:cxn modelId="{439E5F6A-19E4-4DD6-B518-44F9B353A4E3}" type="presParOf" srcId="{2EA568E9-A52B-427A-A481-F80035804314}" destId="{789DEAA2-8D1E-429D-9566-F10B72C2B700}" srcOrd="1" destOrd="0" presId="urn:microsoft.com/office/officeart/2005/8/layout/orgChart1"/>
    <dgm:cxn modelId="{09AC50B7-CC12-41CB-9148-40EC17AC33A2}" type="presParOf" srcId="{789DEAA2-8D1E-429D-9566-F10B72C2B700}" destId="{0CE13B58-B690-41FA-8B50-ABF8AF488D63}" srcOrd="0" destOrd="0" presId="urn:microsoft.com/office/officeart/2005/8/layout/orgChart1"/>
    <dgm:cxn modelId="{D698D9EE-6730-48EE-ABD5-DDF81E6CEF84}" type="presParOf" srcId="{789DEAA2-8D1E-429D-9566-F10B72C2B700}" destId="{5EBFCF1B-9F48-4A41-B6E4-A77E1B3370F0}" srcOrd="1" destOrd="0" presId="urn:microsoft.com/office/officeart/2005/8/layout/orgChart1"/>
    <dgm:cxn modelId="{17911616-A76B-40BE-990C-BBFB8D737658}" type="presParOf" srcId="{5EBFCF1B-9F48-4A41-B6E4-A77E1B3370F0}" destId="{EA41664E-F224-4D33-A697-D8AD25931EAF}" srcOrd="0" destOrd="0" presId="urn:microsoft.com/office/officeart/2005/8/layout/orgChart1"/>
    <dgm:cxn modelId="{D0F4D428-1D34-4EAA-9E84-0396DF97A72A}" type="presParOf" srcId="{EA41664E-F224-4D33-A697-D8AD25931EAF}" destId="{5FDEA159-5341-4669-9223-2298C88C9E73}" srcOrd="0" destOrd="0" presId="urn:microsoft.com/office/officeart/2005/8/layout/orgChart1"/>
    <dgm:cxn modelId="{68214E85-599E-45A6-B9AB-E63A537B86F2}" type="presParOf" srcId="{EA41664E-F224-4D33-A697-D8AD25931EAF}" destId="{D8329AFD-F691-4167-8CE5-2E4A16F66FDD}" srcOrd="1" destOrd="0" presId="urn:microsoft.com/office/officeart/2005/8/layout/orgChart1"/>
    <dgm:cxn modelId="{8B261AEB-D406-429C-AC62-47079F7B9728}" type="presParOf" srcId="{5EBFCF1B-9F48-4A41-B6E4-A77E1B3370F0}" destId="{74C6F0C6-9313-4CFA-8A18-3309E29A96D9}" srcOrd="1" destOrd="0" presId="urn:microsoft.com/office/officeart/2005/8/layout/orgChart1"/>
    <dgm:cxn modelId="{24A7B80B-7C69-4B8D-821A-9DE42AF6C8C6}" type="presParOf" srcId="{74C6F0C6-9313-4CFA-8A18-3309E29A96D9}" destId="{F955BF2C-84E2-4FA5-AEC0-1FE1BDE8CEB9}" srcOrd="0" destOrd="0" presId="urn:microsoft.com/office/officeart/2005/8/layout/orgChart1"/>
    <dgm:cxn modelId="{6492D12C-DF3E-402A-AF4B-CAAC38F7A3CC}" type="presParOf" srcId="{74C6F0C6-9313-4CFA-8A18-3309E29A96D9}" destId="{40B8FC64-B861-4975-A564-1E18937D5FF7}" srcOrd="1" destOrd="0" presId="urn:microsoft.com/office/officeart/2005/8/layout/orgChart1"/>
    <dgm:cxn modelId="{DAE42A89-14C9-4A31-BE4C-8F46184AED74}" type="presParOf" srcId="{40B8FC64-B861-4975-A564-1E18937D5FF7}" destId="{280C7CC1-1C99-4E8C-A81A-59426FD94CF5}" srcOrd="0" destOrd="0" presId="urn:microsoft.com/office/officeart/2005/8/layout/orgChart1"/>
    <dgm:cxn modelId="{4A2FBC63-F8C5-4B90-AA71-12B6B57F1B1E}" type="presParOf" srcId="{280C7CC1-1C99-4E8C-A81A-59426FD94CF5}" destId="{2AC194A2-56A9-41EF-B097-1F4DDF6EB615}" srcOrd="0" destOrd="0" presId="urn:microsoft.com/office/officeart/2005/8/layout/orgChart1"/>
    <dgm:cxn modelId="{A12EB633-C789-4AAD-8CCA-FC49E4EB2ABE}" type="presParOf" srcId="{280C7CC1-1C99-4E8C-A81A-59426FD94CF5}" destId="{EF1DDD1B-2414-400A-A641-050596013D60}" srcOrd="1" destOrd="0" presId="urn:microsoft.com/office/officeart/2005/8/layout/orgChart1"/>
    <dgm:cxn modelId="{80C6995E-AC79-426C-98A2-D43FA1F632EE}" type="presParOf" srcId="{40B8FC64-B861-4975-A564-1E18937D5FF7}" destId="{ED6AB62C-736A-4114-9D8F-34A11E12FC68}" srcOrd="1" destOrd="0" presId="urn:microsoft.com/office/officeart/2005/8/layout/orgChart1"/>
    <dgm:cxn modelId="{99972820-8311-4D74-B6A1-6EC39D3D6475}" type="presParOf" srcId="{40B8FC64-B861-4975-A564-1E18937D5FF7}" destId="{ED106D69-C915-465F-BD37-065B8D0F8BCF}" srcOrd="2" destOrd="0" presId="urn:microsoft.com/office/officeart/2005/8/layout/orgChart1"/>
    <dgm:cxn modelId="{9B95D6B7-A1E7-49A5-9D4F-0839AAD284C4}" type="presParOf" srcId="{74C6F0C6-9313-4CFA-8A18-3309E29A96D9}" destId="{070966F0-B954-461A-A8C3-AF471FD339DB}" srcOrd="2" destOrd="0" presId="urn:microsoft.com/office/officeart/2005/8/layout/orgChart1"/>
    <dgm:cxn modelId="{85E66F23-4D5E-4924-AFC7-710F91FA7A41}" type="presParOf" srcId="{74C6F0C6-9313-4CFA-8A18-3309E29A96D9}" destId="{E2F4E902-7DE7-4AF2-8182-859A56F5115E}" srcOrd="3" destOrd="0" presId="urn:microsoft.com/office/officeart/2005/8/layout/orgChart1"/>
    <dgm:cxn modelId="{64712222-F546-4315-8C49-A195FEA80903}" type="presParOf" srcId="{E2F4E902-7DE7-4AF2-8182-859A56F5115E}" destId="{9CFD6D78-5EBD-44B8-A31B-4ED6CCABAE84}" srcOrd="0" destOrd="0" presId="urn:microsoft.com/office/officeart/2005/8/layout/orgChart1"/>
    <dgm:cxn modelId="{784F8A3E-3EFF-4113-83C5-64053722362F}" type="presParOf" srcId="{9CFD6D78-5EBD-44B8-A31B-4ED6CCABAE84}" destId="{7335FA4A-BB1D-4350-A188-F41AE7C58FA2}" srcOrd="0" destOrd="0" presId="urn:microsoft.com/office/officeart/2005/8/layout/orgChart1"/>
    <dgm:cxn modelId="{CBA17959-AE07-4166-819B-125B78268AC9}" type="presParOf" srcId="{9CFD6D78-5EBD-44B8-A31B-4ED6CCABAE84}" destId="{FE11E0F9-3BB5-43F4-92B1-B9F2B1F4F016}" srcOrd="1" destOrd="0" presId="urn:microsoft.com/office/officeart/2005/8/layout/orgChart1"/>
    <dgm:cxn modelId="{C1ADEF42-FC6A-4FFC-AF51-4729E23D8A9D}" type="presParOf" srcId="{E2F4E902-7DE7-4AF2-8182-859A56F5115E}" destId="{77538DA1-F62A-4938-843F-498BD3208CD3}" srcOrd="1" destOrd="0" presId="urn:microsoft.com/office/officeart/2005/8/layout/orgChart1"/>
    <dgm:cxn modelId="{12D78260-ABDF-4C20-B66C-A4DEA134C0A4}" type="presParOf" srcId="{E2F4E902-7DE7-4AF2-8182-859A56F5115E}" destId="{4BF2BD66-B3DE-409B-B2D2-534470D8EDB9}" srcOrd="2" destOrd="0" presId="urn:microsoft.com/office/officeart/2005/8/layout/orgChart1"/>
    <dgm:cxn modelId="{E7FB1FE0-E7F3-479E-AA0E-A1A0A9771B59}" type="presParOf" srcId="{74C6F0C6-9313-4CFA-8A18-3309E29A96D9}" destId="{E69082D1-50A0-4875-8666-5BBAF2DF118C}" srcOrd="4" destOrd="0" presId="urn:microsoft.com/office/officeart/2005/8/layout/orgChart1"/>
    <dgm:cxn modelId="{8FA91FA5-6C56-4CC5-8209-DEE63466B973}" type="presParOf" srcId="{74C6F0C6-9313-4CFA-8A18-3309E29A96D9}" destId="{A870FE4D-2AF1-4717-80DA-4EF9E361C620}" srcOrd="5" destOrd="0" presId="urn:microsoft.com/office/officeart/2005/8/layout/orgChart1"/>
    <dgm:cxn modelId="{22346AA0-C338-47CF-BEE5-7137EE622F73}" type="presParOf" srcId="{A870FE4D-2AF1-4717-80DA-4EF9E361C620}" destId="{9E5F2891-1C0F-4667-B9D4-537DC59A70F5}" srcOrd="0" destOrd="0" presId="urn:microsoft.com/office/officeart/2005/8/layout/orgChart1"/>
    <dgm:cxn modelId="{1512AD7B-5862-46EB-B3F7-4F894D94A124}" type="presParOf" srcId="{9E5F2891-1C0F-4667-B9D4-537DC59A70F5}" destId="{71293E39-5B76-4B58-A527-4F7218508E3F}" srcOrd="0" destOrd="0" presId="urn:microsoft.com/office/officeart/2005/8/layout/orgChart1"/>
    <dgm:cxn modelId="{05C64205-C93E-48C0-AE53-CC5ABDBAEFFD}" type="presParOf" srcId="{9E5F2891-1C0F-4667-B9D4-537DC59A70F5}" destId="{09E32015-4C73-4794-9319-57A1EDD6E409}" srcOrd="1" destOrd="0" presId="urn:microsoft.com/office/officeart/2005/8/layout/orgChart1"/>
    <dgm:cxn modelId="{8FDD841B-8CE3-4DC0-9D2D-265A09558A11}" type="presParOf" srcId="{A870FE4D-2AF1-4717-80DA-4EF9E361C620}" destId="{EA4BDF38-5645-4BA1-AD0F-D929D50423B7}" srcOrd="1" destOrd="0" presId="urn:microsoft.com/office/officeart/2005/8/layout/orgChart1"/>
    <dgm:cxn modelId="{0069072F-1A9C-4882-87A1-FEF12C2C366E}" type="presParOf" srcId="{A870FE4D-2AF1-4717-80DA-4EF9E361C620}" destId="{87C36FF1-CFF4-44C8-822F-8188659FFE99}" srcOrd="2" destOrd="0" presId="urn:microsoft.com/office/officeart/2005/8/layout/orgChart1"/>
    <dgm:cxn modelId="{A603EB74-B437-4B55-A366-889FA4361E79}" type="presParOf" srcId="{5EBFCF1B-9F48-4A41-B6E4-A77E1B3370F0}" destId="{5A2E6900-CF72-45AA-85C9-D5B8A4E04294}" srcOrd="2" destOrd="0" presId="urn:microsoft.com/office/officeart/2005/8/layout/orgChart1"/>
    <dgm:cxn modelId="{EDAAA99B-EECF-4F54-8B63-6C7EAE11F21C}" type="presParOf" srcId="{789DEAA2-8D1E-429D-9566-F10B72C2B700}" destId="{36A6F615-40ED-4119-80CE-6C55C56BFCF7}" srcOrd="2" destOrd="0" presId="urn:microsoft.com/office/officeart/2005/8/layout/orgChart1"/>
    <dgm:cxn modelId="{B0F8A468-3E16-4D8D-B00A-5656B45FBC3A}" type="presParOf" srcId="{789DEAA2-8D1E-429D-9566-F10B72C2B700}" destId="{4FB03E5E-6C7F-480B-A314-8797E1E2D7E4}" srcOrd="3" destOrd="0" presId="urn:microsoft.com/office/officeart/2005/8/layout/orgChart1"/>
    <dgm:cxn modelId="{17B02B5E-BF93-458E-80C9-91C0262C5F16}" type="presParOf" srcId="{4FB03E5E-6C7F-480B-A314-8797E1E2D7E4}" destId="{19C4E28A-046A-490D-9F5F-BC0B60B898AD}" srcOrd="0" destOrd="0" presId="urn:microsoft.com/office/officeart/2005/8/layout/orgChart1"/>
    <dgm:cxn modelId="{A556A897-7F14-4A2F-B24A-5C7277BE5D2E}" type="presParOf" srcId="{19C4E28A-046A-490D-9F5F-BC0B60B898AD}" destId="{7B3A53FC-80CE-494C-BC2F-EDBF5E3D6DD9}" srcOrd="0" destOrd="0" presId="urn:microsoft.com/office/officeart/2005/8/layout/orgChart1"/>
    <dgm:cxn modelId="{27C380A2-4AE5-474A-8AFD-B99A0CD65306}" type="presParOf" srcId="{19C4E28A-046A-490D-9F5F-BC0B60B898AD}" destId="{A49E0626-0E30-449B-93BE-641807773F80}" srcOrd="1" destOrd="0" presId="urn:microsoft.com/office/officeart/2005/8/layout/orgChart1"/>
    <dgm:cxn modelId="{333C1F17-97E8-471B-8AAC-6627ED4C3C1E}" type="presParOf" srcId="{4FB03E5E-6C7F-480B-A314-8797E1E2D7E4}" destId="{E5D38120-EAE2-46E4-9981-8D1DDF5BEC18}" srcOrd="1" destOrd="0" presId="urn:microsoft.com/office/officeart/2005/8/layout/orgChart1"/>
    <dgm:cxn modelId="{C778E7EF-CC20-4E24-8809-BE8EBA6F8C49}" type="presParOf" srcId="{E5D38120-EAE2-46E4-9981-8D1DDF5BEC18}" destId="{FE414C43-A323-404A-8B20-73C1B9394D8D}" srcOrd="0" destOrd="0" presId="urn:microsoft.com/office/officeart/2005/8/layout/orgChart1"/>
    <dgm:cxn modelId="{69FA48B5-47D9-4FC6-93CB-6BD149AA217F}" type="presParOf" srcId="{E5D38120-EAE2-46E4-9981-8D1DDF5BEC18}" destId="{D7A12955-A804-4012-863B-5051B99BED6E}" srcOrd="1" destOrd="0" presId="urn:microsoft.com/office/officeart/2005/8/layout/orgChart1"/>
    <dgm:cxn modelId="{66F015F9-904C-4C0D-B9C8-15D5E05D6F8A}" type="presParOf" srcId="{D7A12955-A804-4012-863B-5051B99BED6E}" destId="{45E568D7-EC24-45B6-A149-3DF2548502D9}" srcOrd="0" destOrd="0" presId="urn:microsoft.com/office/officeart/2005/8/layout/orgChart1"/>
    <dgm:cxn modelId="{D597954C-F7A9-48A9-9662-57EF42007CBD}" type="presParOf" srcId="{45E568D7-EC24-45B6-A149-3DF2548502D9}" destId="{1445CFE0-EACF-4513-8261-B3694B654673}" srcOrd="0" destOrd="0" presId="urn:microsoft.com/office/officeart/2005/8/layout/orgChart1"/>
    <dgm:cxn modelId="{C8E61C6F-2749-4DE2-996E-9D76A4357B76}" type="presParOf" srcId="{45E568D7-EC24-45B6-A149-3DF2548502D9}" destId="{E96914E2-6009-4B5B-9CF2-F9D4BB9AF1E8}" srcOrd="1" destOrd="0" presId="urn:microsoft.com/office/officeart/2005/8/layout/orgChart1"/>
    <dgm:cxn modelId="{F681E4FD-9AA8-4C7F-9D9D-27EE16CE9F9A}" type="presParOf" srcId="{D7A12955-A804-4012-863B-5051B99BED6E}" destId="{178281E9-7119-4C6F-8B3E-BC7DFE37C085}" srcOrd="1" destOrd="0" presId="urn:microsoft.com/office/officeart/2005/8/layout/orgChart1"/>
    <dgm:cxn modelId="{851240A6-2A65-474D-B775-45BFEF9250ED}" type="presParOf" srcId="{D7A12955-A804-4012-863B-5051B99BED6E}" destId="{CC457D29-574F-4B13-B469-05CEE5005B08}" srcOrd="2" destOrd="0" presId="urn:microsoft.com/office/officeart/2005/8/layout/orgChart1"/>
    <dgm:cxn modelId="{290C7146-D29F-4C45-BF1A-0DD5F132F94D}" type="presParOf" srcId="{E5D38120-EAE2-46E4-9981-8D1DDF5BEC18}" destId="{914AFF32-58E1-4E6E-8DD9-F22701ABB021}" srcOrd="2" destOrd="0" presId="urn:microsoft.com/office/officeart/2005/8/layout/orgChart1"/>
    <dgm:cxn modelId="{818508F1-0268-459A-8D99-A207B5F56E9A}" type="presParOf" srcId="{E5D38120-EAE2-46E4-9981-8D1DDF5BEC18}" destId="{4215B491-4764-4745-9CC3-B95AE7655D66}" srcOrd="3" destOrd="0" presId="urn:microsoft.com/office/officeart/2005/8/layout/orgChart1"/>
    <dgm:cxn modelId="{EAFD09B6-D69E-4653-B8FA-76B06901CE86}" type="presParOf" srcId="{4215B491-4764-4745-9CC3-B95AE7655D66}" destId="{5FD1EB36-18B9-4F43-BEF5-B51FCBF94339}" srcOrd="0" destOrd="0" presId="urn:microsoft.com/office/officeart/2005/8/layout/orgChart1"/>
    <dgm:cxn modelId="{DB1ECAD2-091D-4E11-9059-7FE16C936DEC}" type="presParOf" srcId="{5FD1EB36-18B9-4F43-BEF5-B51FCBF94339}" destId="{FF354DD2-655E-40A6-A78B-EC60119CB3CA}" srcOrd="0" destOrd="0" presId="urn:microsoft.com/office/officeart/2005/8/layout/orgChart1"/>
    <dgm:cxn modelId="{C0A2DB4E-BD11-48AC-A4AD-D9C7A06DA864}" type="presParOf" srcId="{5FD1EB36-18B9-4F43-BEF5-B51FCBF94339}" destId="{AFC1FEAA-EC95-4F38-88E0-ABB79070AA51}" srcOrd="1" destOrd="0" presId="urn:microsoft.com/office/officeart/2005/8/layout/orgChart1"/>
    <dgm:cxn modelId="{7A839EFD-9CF6-4DCC-B518-F811723634DD}" type="presParOf" srcId="{4215B491-4764-4745-9CC3-B95AE7655D66}" destId="{70ACCCBD-11F8-44C3-BD1D-0D225398A5E8}" srcOrd="1" destOrd="0" presId="urn:microsoft.com/office/officeart/2005/8/layout/orgChart1"/>
    <dgm:cxn modelId="{1A4136B6-C02C-4AAA-A7F8-6A4C6FB69167}" type="presParOf" srcId="{4215B491-4764-4745-9CC3-B95AE7655D66}" destId="{CDA15233-5E1F-4FB6-B5D5-F6349F55F365}" srcOrd="2" destOrd="0" presId="urn:microsoft.com/office/officeart/2005/8/layout/orgChart1"/>
    <dgm:cxn modelId="{A1F4D503-CE63-45F3-B8FD-00C532A89E37}" type="presParOf" srcId="{E5D38120-EAE2-46E4-9981-8D1DDF5BEC18}" destId="{5BCBFD42-0EBF-4426-9C3B-0DAE9E12A03C}" srcOrd="4" destOrd="0" presId="urn:microsoft.com/office/officeart/2005/8/layout/orgChart1"/>
    <dgm:cxn modelId="{2370C867-9DA1-47DC-817F-D4D18588F692}" type="presParOf" srcId="{E5D38120-EAE2-46E4-9981-8D1DDF5BEC18}" destId="{57565077-0806-4A3A-A947-092317C653CB}" srcOrd="5" destOrd="0" presId="urn:microsoft.com/office/officeart/2005/8/layout/orgChart1"/>
    <dgm:cxn modelId="{5317B8A8-1BAF-460D-B8BC-D8F458AFAD0C}" type="presParOf" srcId="{57565077-0806-4A3A-A947-092317C653CB}" destId="{A2E46B65-DE3D-4750-868F-65ACD9D2D7E4}" srcOrd="0" destOrd="0" presId="urn:microsoft.com/office/officeart/2005/8/layout/orgChart1"/>
    <dgm:cxn modelId="{17E62B09-C810-44B8-8D66-5E1B212EA927}" type="presParOf" srcId="{A2E46B65-DE3D-4750-868F-65ACD9D2D7E4}" destId="{169F6393-393E-4239-9BE7-60D3D07E3683}" srcOrd="0" destOrd="0" presId="urn:microsoft.com/office/officeart/2005/8/layout/orgChart1"/>
    <dgm:cxn modelId="{6237252E-C32B-48C6-8BA6-63E7AD424C76}" type="presParOf" srcId="{A2E46B65-DE3D-4750-868F-65ACD9D2D7E4}" destId="{1ADB0B2D-D9C8-4B89-A47C-3ABCDBE47ABA}" srcOrd="1" destOrd="0" presId="urn:microsoft.com/office/officeart/2005/8/layout/orgChart1"/>
    <dgm:cxn modelId="{B7E91611-D8A4-45C4-AB6C-90763DA44493}" type="presParOf" srcId="{57565077-0806-4A3A-A947-092317C653CB}" destId="{533090AD-B932-40C1-BF35-68198F0B23F2}" srcOrd="1" destOrd="0" presId="urn:microsoft.com/office/officeart/2005/8/layout/orgChart1"/>
    <dgm:cxn modelId="{2FD97184-E28D-45D4-9520-B363747BFC08}" type="presParOf" srcId="{57565077-0806-4A3A-A947-092317C653CB}" destId="{37BDA22B-73DA-46EE-9D2F-E10D6420ACFA}" srcOrd="2" destOrd="0" presId="urn:microsoft.com/office/officeart/2005/8/layout/orgChart1"/>
    <dgm:cxn modelId="{3E0C46A4-4191-4816-B954-4C36FCEB4710}" type="presParOf" srcId="{4FB03E5E-6C7F-480B-A314-8797E1E2D7E4}" destId="{6D8C87D8-A0C6-4735-AAA7-D62417F31888}" srcOrd="2" destOrd="0" presId="urn:microsoft.com/office/officeart/2005/8/layout/orgChart1"/>
    <dgm:cxn modelId="{4A8E30BF-258B-42D2-A3CD-0EED35B529FE}" type="presParOf" srcId="{789DEAA2-8D1E-429D-9566-F10B72C2B700}" destId="{A775213A-C5B8-4372-B728-A3B8A85B0D01}" srcOrd="4" destOrd="0" presId="urn:microsoft.com/office/officeart/2005/8/layout/orgChart1"/>
    <dgm:cxn modelId="{B8FA5BF0-2AD8-42D1-931D-8D2C73C21D85}" type="presParOf" srcId="{789DEAA2-8D1E-429D-9566-F10B72C2B700}" destId="{B069D77D-BC19-4C83-A2E1-E23A4A2687D0}" srcOrd="5" destOrd="0" presId="urn:microsoft.com/office/officeart/2005/8/layout/orgChart1"/>
    <dgm:cxn modelId="{402F0AB3-D6E8-4DB8-9FFB-5720CC5D9FB9}" type="presParOf" srcId="{B069D77D-BC19-4C83-A2E1-E23A4A2687D0}" destId="{A464231E-B4CF-4A31-9E63-576E527AA865}" srcOrd="0" destOrd="0" presId="urn:microsoft.com/office/officeart/2005/8/layout/orgChart1"/>
    <dgm:cxn modelId="{BB3AEF05-CF10-4A59-847F-2A3CBC5D5535}" type="presParOf" srcId="{A464231E-B4CF-4A31-9E63-576E527AA865}" destId="{A8B7A2C2-6A3C-471B-9D8E-617B121C07C7}" srcOrd="0" destOrd="0" presId="urn:microsoft.com/office/officeart/2005/8/layout/orgChart1"/>
    <dgm:cxn modelId="{7CF8D21B-E4E6-4B9A-9B62-325F74B44DAD}" type="presParOf" srcId="{A464231E-B4CF-4A31-9E63-576E527AA865}" destId="{70A40090-1F3B-4ED6-8D76-F417CFCF78F1}" srcOrd="1" destOrd="0" presId="urn:microsoft.com/office/officeart/2005/8/layout/orgChart1"/>
    <dgm:cxn modelId="{DAB108D0-3593-45F1-8BB9-2D84B71D1F29}" type="presParOf" srcId="{B069D77D-BC19-4C83-A2E1-E23A4A2687D0}" destId="{44A049B6-7D3B-4B20-9B94-8AF93BA7D186}" srcOrd="1" destOrd="0" presId="urn:microsoft.com/office/officeart/2005/8/layout/orgChart1"/>
    <dgm:cxn modelId="{0F191A29-BDB9-44C2-B5D5-09D8E5A1E53B}" type="presParOf" srcId="{44A049B6-7D3B-4B20-9B94-8AF93BA7D186}" destId="{E04CD957-1287-429E-B241-40616870A669}" srcOrd="0" destOrd="0" presId="urn:microsoft.com/office/officeart/2005/8/layout/orgChart1"/>
    <dgm:cxn modelId="{C98FFBF9-5670-4785-9DDA-4CF35D28AA4C}" type="presParOf" srcId="{44A049B6-7D3B-4B20-9B94-8AF93BA7D186}" destId="{99C8546B-9316-4BBC-A67C-BFFB977C2DF8}" srcOrd="1" destOrd="0" presId="urn:microsoft.com/office/officeart/2005/8/layout/orgChart1"/>
    <dgm:cxn modelId="{69C63C2D-AC33-45F4-9016-B6B81B3BC85B}" type="presParOf" srcId="{99C8546B-9316-4BBC-A67C-BFFB977C2DF8}" destId="{FE3C93F7-0F91-445E-AA34-9B993DEE4E8C}" srcOrd="0" destOrd="0" presId="urn:microsoft.com/office/officeart/2005/8/layout/orgChart1"/>
    <dgm:cxn modelId="{9F940FA3-8BF5-498C-815C-6EC31D885705}" type="presParOf" srcId="{FE3C93F7-0F91-445E-AA34-9B993DEE4E8C}" destId="{FED850AE-143D-4799-8D01-5390379CD125}" srcOrd="0" destOrd="0" presId="urn:microsoft.com/office/officeart/2005/8/layout/orgChart1"/>
    <dgm:cxn modelId="{E3A56D53-5185-47A7-AA19-92A143DD9B29}" type="presParOf" srcId="{FE3C93F7-0F91-445E-AA34-9B993DEE4E8C}" destId="{3D5411C8-70AA-4C79-A2CF-4E0E3362071E}" srcOrd="1" destOrd="0" presId="urn:microsoft.com/office/officeart/2005/8/layout/orgChart1"/>
    <dgm:cxn modelId="{9DE27575-F5AD-4C2B-8B75-62FB8C9AF2C5}" type="presParOf" srcId="{99C8546B-9316-4BBC-A67C-BFFB977C2DF8}" destId="{B5CF6DE2-EF4F-4FC3-9187-94678AD258AE}" srcOrd="1" destOrd="0" presId="urn:microsoft.com/office/officeart/2005/8/layout/orgChart1"/>
    <dgm:cxn modelId="{3BA314DF-7EE2-4390-A68E-9290E3B04F99}" type="presParOf" srcId="{99C8546B-9316-4BBC-A67C-BFFB977C2DF8}" destId="{DC73E43A-849F-4F63-A64D-1E14BAEC2F26}" srcOrd="2" destOrd="0" presId="urn:microsoft.com/office/officeart/2005/8/layout/orgChart1"/>
    <dgm:cxn modelId="{1C5067E4-DC48-47B4-B7DE-85761FD6E913}" type="presParOf" srcId="{44A049B6-7D3B-4B20-9B94-8AF93BA7D186}" destId="{9F98CCE8-1CAE-4AC2-80B5-79B651549BE2}" srcOrd="2" destOrd="0" presId="urn:microsoft.com/office/officeart/2005/8/layout/orgChart1"/>
    <dgm:cxn modelId="{96D111CE-B473-42C2-920A-C89E3166D67A}" type="presParOf" srcId="{44A049B6-7D3B-4B20-9B94-8AF93BA7D186}" destId="{C9A7D03F-5806-4EBB-9EDC-3B11C29CBCB5}" srcOrd="3" destOrd="0" presId="urn:microsoft.com/office/officeart/2005/8/layout/orgChart1"/>
    <dgm:cxn modelId="{A86AFA96-AE4B-4374-953F-E460E2B39BEE}" type="presParOf" srcId="{C9A7D03F-5806-4EBB-9EDC-3B11C29CBCB5}" destId="{B2517721-0AAF-4B8B-AA7E-E06E5CA2511F}" srcOrd="0" destOrd="0" presId="urn:microsoft.com/office/officeart/2005/8/layout/orgChart1"/>
    <dgm:cxn modelId="{81A670F8-E5CC-43F8-9115-D61401EB0E9C}" type="presParOf" srcId="{B2517721-0AAF-4B8B-AA7E-E06E5CA2511F}" destId="{00FFB463-8A13-4CCE-B4D2-5667B0A697B1}" srcOrd="0" destOrd="0" presId="urn:microsoft.com/office/officeart/2005/8/layout/orgChart1"/>
    <dgm:cxn modelId="{600EC660-14C4-4774-8395-782FC35D70BA}" type="presParOf" srcId="{B2517721-0AAF-4B8B-AA7E-E06E5CA2511F}" destId="{7EECAF56-A71D-45AF-9A43-B346C2469334}" srcOrd="1" destOrd="0" presId="urn:microsoft.com/office/officeart/2005/8/layout/orgChart1"/>
    <dgm:cxn modelId="{4DE8C196-0375-49F5-92FA-1AB8055A02EA}" type="presParOf" srcId="{C9A7D03F-5806-4EBB-9EDC-3B11C29CBCB5}" destId="{02A2D863-0D1B-4294-B57E-8CB1BADF257B}" srcOrd="1" destOrd="0" presId="urn:microsoft.com/office/officeart/2005/8/layout/orgChart1"/>
    <dgm:cxn modelId="{A98A3E93-B08D-4379-B5CA-DD80C99865AB}" type="presParOf" srcId="{C9A7D03F-5806-4EBB-9EDC-3B11C29CBCB5}" destId="{79607355-68C8-4F75-926F-061720D935C9}" srcOrd="2" destOrd="0" presId="urn:microsoft.com/office/officeart/2005/8/layout/orgChart1"/>
    <dgm:cxn modelId="{B664FAE2-6909-4084-8F0D-158110348B0C}" type="presParOf" srcId="{B069D77D-BC19-4C83-A2E1-E23A4A2687D0}" destId="{85567584-D3BF-411C-8ED6-49E707C6CF9E}" srcOrd="2" destOrd="0" presId="urn:microsoft.com/office/officeart/2005/8/layout/orgChart1"/>
    <dgm:cxn modelId="{E98229C6-4EC6-472C-B457-2DED12D11280}" type="presParOf" srcId="{789DEAA2-8D1E-429D-9566-F10B72C2B700}" destId="{4E717C48-D538-4200-BCC8-4F1F6AC0CB24}" srcOrd="6" destOrd="0" presId="urn:microsoft.com/office/officeart/2005/8/layout/orgChart1"/>
    <dgm:cxn modelId="{DE5EC200-927D-4A4F-8372-058B254761EA}" type="presParOf" srcId="{789DEAA2-8D1E-429D-9566-F10B72C2B700}" destId="{F1689E8F-7167-48EA-BB84-B935933BFA22}" srcOrd="7" destOrd="0" presId="urn:microsoft.com/office/officeart/2005/8/layout/orgChart1"/>
    <dgm:cxn modelId="{476F727F-C55C-424B-86A5-B199DE9F4973}" type="presParOf" srcId="{F1689E8F-7167-48EA-BB84-B935933BFA22}" destId="{021CEDDC-8451-4DBA-81C7-E489D2FDDDE5}" srcOrd="0" destOrd="0" presId="urn:microsoft.com/office/officeart/2005/8/layout/orgChart1"/>
    <dgm:cxn modelId="{18D96B11-B3B1-46EA-A161-DF45CF00C55A}" type="presParOf" srcId="{021CEDDC-8451-4DBA-81C7-E489D2FDDDE5}" destId="{CE00E8FB-76FC-47F4-8FA1-0A118CDED2B2}" srcOrd="0" destOrd="0" presId="urn:microsoft.com/office/officeart/2005/8/layout/orgChart1"/>
    <dgm:cxn modelId="{98CB5A25-7DBE-48A0-A7BA-EBAB2D21F136}" type="presParOf" srcId="{021CEDDC-8451-4DBA-81C7-E489D2FDDDE5}" destId="{1232AD33-7B1A-417E-AD56-24D2F0EA614E}" srcOrd="1" destOrd="0" presId="urn:microsoft.com/office/officeart/2005/8/layout/orgChart1"/>
    <dgm:cxn modelId="{7EA4C29B-58E5-4145-850C-FC688B624766}" type="presParOf" srcId="{F1689E8F-7167-48EA-BB84-B935933BFA22}" destId="{97A00FA1-6CF5-4EA2-8E06-2FF468E80999}" srcOrd="1" destOrd="0" presId="urn:microsoft.com/office/officeart/2005/8/layout/orgChart1"/>
    <dgm:cxn modelId="{49C0E17E-A25D-43BF-843A-453049EBC4D8}" type="presParOf" srcId="{97A00FA1-6CF5-4EA2-8E06-2FF468E80999}" destId="{4BFA9BF2-19C8-43E2-BE66-6AB23948C213}" srcOrd="0" destOrd="0" presId="urn:microsoft.com/office/officeart/2005/8/layout/orgChart1"/>
    <dgm:cxn modelId="{055A3836-9378-4EB9-8E6B-49F9097C61EA}" type="presParOf" srcId="{97A00FA1-6CF5-4EA2-8E06-2FF468E80999}" destId="{50C22A0A-844D-47FD-B717-7BCEC262E62E}" srcOrd="1" destOrd="0" presId="urn:microsoft.com/office/officeart/2005/8/layout/orgChart1"/>
    <dgm:cxn modelId="{0C5811A5-2816-4DE2-A5FA-8CE5B1EF2C6D}" type="presParOf" srcId="{50C22A0A-844D-47FD-B717-7BCEC262E62E}" destId="{B2785A6C-4C93-439C-8E52-C0A9AA355DA2}" srcOrd="0" destOrd="0" presId="urn:microsoft.com/office/officeart/2005/8/layout/orgChart1"/>
    <dgm:cxn modelId="{8A72290A-2875-4E70-ADB1-1AB37AEBE11A}" type="presParOf" srcId="{B2785A6C-4C93-439C-8E52-C0A9AA355DA2}" destId="{073DF7B7-8AED-40F0-A0D9-47129D71BE8E}" srcOrd="0" destOrd="0" presId="urn:microsoft.com/office/officeart/2005/8/layout/orgChart1"/>
    <dgm:cxn modelId="{56F1CDB3-79A9-47FA-BF9D-9BD4A8DC555A}" type="presParOf" srcId="{B2785A6C-4C93-439C-8E52-C0A9AA355DA2}" destId="{2D0C124F-793C-42EA-A123-C27383030492}" srcOrd="1" destOrd="0" presId="urn:microsoft.com/office/officeart/2005/8/layout/orgChart1"/>
    <dgm:cxn modelId="{103C4093-065A-49F6-A3E2-8DB9C911C4F3}" type="presParOf" srcId="{50C22A0A-844D-47FD-B717-7BCEC262E62E}" destId="{DC1772E5-72FE-4690-88D9-3626DE779F56}" srcOrd="1" destOrd="0" presId="urn:microsoft.com/office/officeart/2005/8/layout/orgChart1"/>
    <dgm:cxn modelId="{F9FD52E6-567E-4DAB-90D6-431C70F20203}" type="presParOf" srcId="{50C22A0A-844D-47FD-B717-7BCEC262E62E}" destId="{95B6CEB8-8BE2-4AE9-A1E7-2B10838857CC}" srcOrd="2" destOrd="0" presId="urn:microsoft.com/office/officeart/2005/8/layout/orgChart1"/>
    <dgm:cxn modelId="{EC082B1D-E8EA-4B9E-BD2F-63E1D47F63BF}" type="presParOf" srcId="{97A00FA1-6CF5-4EA2-8E06-2FF468E80999}" destId="{E08E6FE1-2F56-4B21-A8C6-470E555D4466}" srcOrd="2" destOrd="0" presId="urn:microsoft.com/office/officeart/2005/8/layout/orgChart1"/>
    <dgm:cxn modelId="{AB7161B1-3620-45C1-9BA7-527D6F43D593}" type="presParOf" srcId="{97A00FA1-6CF5-4EA2-8E06-2FF468E80999}" destId="{360D2ECC-97C8-44D0-BA4A-6468C880D507}" srcOrd="3" destOrd="0" presId="urn:microsoft.com/office/officeart/2005/8/layout/orgChart1"/>
    <dgm:cxn modelId="{E9C8C9C1-288E-4BE7-A01C-94D33A860F53}" type="presParOf" srcId="{360D2ECC-97C8-44D0-BA4A-6468C880D507}" destId="{D6184E90-F90A-4812-84C5-DEE5A11DBCD2}" srcOrd="0" destOrd="0" presId="urn:microsoft.com/office/officeart/2005/8/layout/orgChart1"/>
    <dgm:cxn modelId="{DAC41E37-5280-4F76-809C-C4145EB07CCC}" type="presParOf" srcId="{D6184E90-F90A-4812-84C5-DEE5A11DBCD2}" destId="{74DB11F3-E3B3-49C3-B9B0-B05AC3712BA2}" srcOrd="0" destOrd="0" presId="urn:microsoft.com/office/officeart/2005/8/layout/orgChart1"/>
    <dgm:cxn modelId="{5BF1507A-4F95-487B-8555-E6A401C42493}" type="presParOf" srcId="{D6184E90-F90A-4812-84C5-DEE5A11DBCD2}" destId="{54B982C4-0F44-4D34-9D27-D6449E9F5790}" srcOrd="1" destOrd="0" presId="urn:microsoft.com/office/officeart/2005/8/layout/orgChart1"/>
    <dgm:cxn modelId="{A374F720-0940-47A1-A653-FFC1395294D1}" type="presParOf" srcId="{360D2ECC-97C8-44D0-BA4A-6468C880D507}" destId="{7104D638-F959-44FA-8F25-57955A35C0BB}" srcOrd="1" destOrd="0" presId="urn:microsoft.com/office/officeart/2005/8/layout/orgChart1"/>
    <dgm:cxn modelId="{392ACD15-6008-493A-8F83-6B615C2BFF4C}" type="presParOf" srcId="{360D2ECC-97C8-44D0-BA4A-6468C880D507}" destId="{3F52B2E7-9222-4AC4-ACF9-E5C687E99CBF}" srcOrd="2" destOrd="0" presId="urn:microsoft.com/office/officeart/2005/8/layout/orgChart1"/>
    <dgm:cxn modelId="{342B8A81-8FDA-49EF-8A1F-AE6142D12587}" type="presParOf" srcId="{F1689E8F-7167-48EA-BB84-B935933BFA22}" destId="{C448D0B0-FB5F-4F59-A1A8-FC24C7F21DAD}" srcOrd="2" destOrd="0" presId="urn:microsoft.com/office/officeart/2005/8/layout/orgChart1"/>
    <dgm:cxn modelId="{1548F111-FA83-4D67-8F12-880105C681A3}" type="presParOf" srcId="{2EA568E9-A52B-427A-A481-F80035804314}" destId="{B1CF73D5-433C-4A06-B5C1-CA4BF212CDA0}"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34470F8-23BB-4151-A487-0A349549427A}" type="doc">
      <dgm:prSet loTypeId="urn:microsoft.com/office/officeart/2005/8/layout/vList4" loCatId="list" qsTypeId="urn:microsoft.com/office/officeart/2005/8/quickstyle/simple3" qsCatId="simple" csTypeId="urn:microsoft.com/office/officeart/2005/8/colors/accent1_3" csCatId="accent1" phldr="1"/>
      <dgm:spPr/>
      <dgm:t>
        <a:bodyPr/>
        <a:lstStyle/>
        <a:p>
          <a:endParaRPr lang="es-ES"/>
        </a:p>
      </dgm:t>
    </dgm:pt>
    <dgm:pt modelId="{5C19B947-B6CD-4A3F-8FAF-B7039DED90D7}">
      <dgm:prSet phldrT="[Texto]" custT="1"/>
      <dgm:spPr/>
      <dgm:t>
        <a:bodyPr/>
        <a:lstStyle/>
        <a:p>
          <a:r>
            <a:rPr lang="es-ES" sz="1800" dirty="0"/>
            <a:t>1 - </a:t>
          </a:r>
          <a:r>
            <a:rPr lang="es-ES" sz="1800" dirty="0">
              <a:highlight>
                <a:srgbClr val="FFFFFF"/>
              </a:highlight>
            </a:rPr>
            <a:t>Integrar las fuentes detectadas de datos automáticamente </a:t>
          </a:r>
          <a:r>
            <a:rPr lang="es-ES" sz="1800" dirty="0"/>
            <a:t>vía: API, WebScraping legal, RPA y otros.</a:t>
          </a:r>
        </a:p>
      </dgm:t>
    </dgm:pt>
    <dgm:pt modelId="{2D82F3F7-57E9-4CDB-B0B2-9CC272DF1EA7}" type="parTrans" cxnId="{4396B1F3-8630-46EF-8E63-1D16576280F9}">
      <dgm:prSet/>
      <dgm:spPr/>
      <dgm:t>
        <a:bodyPr/>
        <a:lstStyle/>
        <a:p>
          <a:endParaRPr lang="es-ES" sz="1800"/>
        </a:p>
      </dgm:t>
    </dgm:pt>
    <dgm:pt modelId="{6DA25FF4-EA49-48A3-9A1B-CEA7B8C5D649}" type="sibTrans" cxnId="{4396B1F3-8630-46EF-8E63-1D16576280F9}">
      <dgm:prSet/>
      <dgm:spPr/>
      <dgm:t>
        <a:bodyPr/>
        <a:lstStyle/>
        <a:p>
          <a:endParaRPr lang="es-ES" sz="1800"/>
        </a:p>
      </dgm:t>
    </dgm:pt>
    <dgm:pt modelId="{75423B60-8A17-4E1F-B631-BD409AE3EF44}">
      <dgm:prSet custT="1"/>
      <dgm:spPr/>
      <dgm:t>
        <a:bodyPr/>
        <a:lstStyle/>
        <a:p>
          <a:r>
            <a:rPr lang="es-ES" sz="1800" dirty="0"/>
            <a:t>2 - Hacer </a:t>
          </a:r>
          <a:r>
            <a:rPr lang="es-ES" sz="1800" dirty="0">
              <a:highlight>
                <a:srgbClr val="FFFFFF"/>
              </a:highlight>
            </a:rPr>
            <a:t>los informes vivos</a:t>
          </a:r>
          <a:r>
            <a:rPr lang="es-ES" sz="1800" dirty="0"/>
            <a:t>, es decir actualizados en Near Real Time mediante el uso de las técnicas anteriormente descritas. </a:t>
          </a:r>
        </a:p>
      </dgm:t>
    </dgm:pt>
    <dgm:pt modelId="{49F2BC04-BB57-40B3-82EC-CAF8387A88AE}" type="parTrans" cxnId="{8E66DFFA-8CC4-4791-8296-93CA3BD4E9F6}">
      <dgm:prSet/>
      <dgm:spPr/>
      <dgm:t>
        <a:bodyPr/>
        <a:lstStyle/>
        <a:p>
          <a:endParaRPr lang="es-ES" sz="1800"/>
        </a:p>
      </dgm:t>
    </dgm:pt>
    <dgm:pt modelId="{D0F7CC98-58DC-4465-ACD7-2203D4796853}" type="sibTrans" cxnId="{8E66DFFA-8CC4-4791-8296-93CA3BD4E9F6}">
      <dgm:prSet/>
      <dgm:spPr/>
      <dgm:t>
        <a:bodyPr/>
        <a:lstStyle/>
        <a:p>
          <a:endParaRPr lang="es-ES" sz="1800"/>
        </a:p>
      </dgm:t>
    </dgm:pt>
    <dgm:pt modelId="{A2449489-2734-4642-ADCD-A032BB4FC10B}">
      <dgm:prSet custT="1"/>
      <dgm:spPr/>
      <dgm:t>
        <a:bodyPr/>
        <a:lstStyle/>
        <a:p>
          <a:r>
            <a:rPr lang="es-ES" sz="1800" dirty="0"/>
            <a:t>3 - Acceso, consulta y descubrimiento de la información por </a:t>
          </a:r>
          <a:r>
            <a:rPr lang="es-ES" sz="1800" dirty="0">
              <a:highlight>
                <a:srgbClr val="FFFFFF"/>
              </a:highlight>
            </a:rPr>
            <a:t>los usuarios finales </a:t>
          </a:r>
          <a:r>
            <a:rPr lang="es-ES" sz="1800" dirty="0"/>
            <a:t>que deban conocer la situación REAL y al momento,</a:t>
          </a:r>
        </a:p>
      </dgm:t>
    </dgm:pt>
    <dgm:pt modelId="{795C7D81-CEEE-4245-92B4-F24AEB9EA0CD}" type="parTrans" cxnId="{E4DC283E-9C05-4CE8-8605-C96C13106809}">
      <dgm:prSet/>
      <dgm:spPr/>
      <dgm:t>
        <a:bodyPr/>
        <a:lstStyle/>
        <a:p>
          <a:endParaRPr lang="es-ES" sz="1800"/>
        </a:p>
      </dgm:t>
    </dgm:pt>
    <dgm:pt modelId="{E4656452-848B-4534-B821-F2E0362028B4}" type="sibTrans" cxnId="{E4DC283E-9C05-4CE8-8605-C96C13106809}">
      <dgm:prSet/>
      <dgm:spPr/>
      <dgm:t>
        <a:bodyPr/>
        <a:lstStyle/>
        <a:p>
          <a:endParaRPr lang="es-ES" sz="1800"/>
        </a:p>
      </dgm:t>
    </dgm:pt>
    <dgm:pt modelId="{9047EF72-9361-4A4D-9AD2-59094BE971B5}" type="pres">
      <dgm:prSet presAssocID="{B34470F8-23BB-4151-A487-0A349549427A}" presName="linear" presStyleCnt="0">
        <dgm:presLayoutVars>
          <dgm:dir/>
          <dgm:resizeHandles val="exact"/>
        </dgm:presLayoutVars>
      </dgm:prSet>
      <dgm:spPr/>
    </dgm:pt>
    <dgm:pt modelId="{EFB195FC-F407-4575-84DC-1041B169FC82}" type="pres">
      <dgm:prSet presAssocID="{5C19B947-B6CD-4A3F-8FAF-B7039DED90D7}" presName="comp" presStyleCnt="0"/>
      <dgm:spPr/>
    </dgm:pt>
    <dgm:pt modelId="{18DE8E46-2CF7-4CA1-8F20-DDBB24A7259F}" type="pres">
      <dgm:prSet presAssocID="{5C19B947-B6CD-4A3F-8FAF-B7039DED90D7}" presName="box" presStyleLbl="node1" presStyleIdx="0" presStyleCnt="3"/>
      <dgm:spPr/>
    </dgm:pt>
    <dgm:pt modelId="{7A1F86D7-0E07-4FAD-854C-5389F22CF467}" type="pres">
      <dgm:prSet presAssocID="{5C19B947-B6CD-4A3F-8FAF-B7039DED90D7}" presName="img" presStyleLbl="fgImgPlace1" presStyleIdx="0" presStyleCnt="3" custScaleX="64364"/>
      <dgm:spPr>
        <a:blipFill rotWithShape="1">
          <a:blip xmlns:r="http://schemas.openxmlformats.org/officeDocument/2006/relationships" r:embed="rId1">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dgm:spPr>
    </dgm:pt>
    <dgm:pt modelId="{5203560E-09F4-4238-9440-68A3CDD26F8F}" type="pres">
      <dgm:prSet presAssocID="{5C19B947-B6CD-4A3F-8FAF-B7039DED90D7}" presName="text" presStyleLbl="node1" presStyleIdx="0" presStyleCnt="3">
        <dgm:presLayoutVars>
          <dgm:bulletEnabled val="1"/>
        </dgm:presLayoutVars>
      </dgm:prSet>
      <dgm:spPr/>
    </dgm:pt>
    <dgm:pt modelId="{8C836C87-4AFC-4DB6-99E1-6EF1369F1A6E}" type="pres">
      <dgm:prSet presAssocID="{6DA25FF4-EA49-48A3-9A1B-CEA7B8C5D649}" presName="spacer" presStyleCnt="0"/>
      <dgm:spPr/>
    </dgm:pt>
    <dgm:pt modelId="{E0DE90E6-9A45-4EA1-868C-9987E69DAD11}" type="pres">
      <dgm:prSet presAssocID="{75423B60-8A17-4E1F-B631-BD409AE3EF44}" presName="comp" presStyleCnt="0"/>
      <dgm:spPr/>
    </dgm:pt>
    <dgm:pt modelId="{D3E2E144-2D1C-410C-A659-6464BC94DA2A}" type="pres">
      <dgm:prSet presAssocID="{75423B60-8A17-4E1F-B631-BD409AE3EF44}" presName="box" presStyleLbl="node1" presStyleIdx="1" presStyleCnt="3"/>
      <dgm:spPr/>
    </dgm:pt>
    <dgm:pt modelId="{786F2C4E-2D8C-40D8-8F58-29317CCD14D1}" type="pres">
      <dgm:prSet presAssocID="{75423B60-8A17-4E1F-B631-BD409AE3EF44}" presName="img" presStyleLbl="fgImgPlace1" presStyleIdx="1" presStyleCnt="3" custScaleX="64364"/>
      <dgm:spPr>
        <a:blipFill rotWithShape="1">
          <a:blip xmlns:r="http://schemas.openxmlformats.org/officeDocument/2006/relationships" r:embed="rId2">
            <a:duotone>
              <a:prstClr val="black"/>
              <a:schemeClr val="accent4">
                <a:tint val="45000"/>
                <a:satMod val="400000"/>
              </a:schemeClr>
            </a:duotone>
          </a:blip>
          <a:srcRect/>
          <a:stretch>
            <a:fillRect t="-6000" b="-6000"/>
          </a:stretch>
        </a:blipFill>
      </dgm:spPr>
    </dgm:pt>
    <dgm:pt modelId="{AAFE2014-58B8-4DA7-9553-FE6F9EEF94FE}" type="pres">
      <dgm:prSet presAssocID="{75423B60-8A17-4E1F-B631-BD409AE3EF44}" presName="text" presStyleLbl="node1" presStyleIdx="1" presStyleCnt="3">
        <dgm:presLayoutVars>
          <dgm:bulletEnabled val="1"/>
        </dgm:presLayoutVars>
      </dgm:prSet>
      <dgm:spPr/>
    </dgm:pt>
    <dgm:pt modelId="{90F9F3E9-D2E0-455E-94F9-0E376A81DA01}" type="pres">
      <dgm:prSet presAssocID="{D0F7CC98-58DC-4465-ACD7-2203D4796853}" presName="spacer" presStyleCnt="0"/>
      <dgm:spPr/>
    </dgm:pt>
    <dgm:pt modelId="{20092C0C-E527-4786-8073-789981CF87D5}" type="pres">
      <dgm:prSet presAssocID="{A2449489-2734-4642-ADCD-A032BB4FC10B}" presName="comp" presStyleCnt="0"/>
      <dgm:spPr/>
    </dgm:pt>
    <dgm:pt modelId="{1F2FBC8D-A121-40D7-ACC4-52E2DB3DB982}" type="pres">
      <dgm:prSet presAssocID="{A2449489-2734-4642-ADCD-A032BB4FC10B}" presName="box" presStyleLbl="node1" presStyleIdx="2" presStyleCnt="3"/>
      <dgm:spPr/>
    </dgm:pt>
    <dgm:pt modelId="{57D8A456-4E69-46E9-ACCE-A67DB65B0FE0}" type="pres">
      <dgm:prSet presAssocID="{A2449489-2734-4642-ADCD-A032BB4FC10B}" presName="img" presStyleLbl="fgImgPlace1" presStyleIdx="2" presStyleCnt="3" custScaleX="64364"/>
      <dgm:spPr>
        <a:blipFill rotWithShape="1">
          <a:blip xmlns:r="http://schemas.openxmlformats.org/officeDocument/2006/relationships" r:embed="rId3">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dgm:spPr>
    </dgm:pt>
    <dgm:pt modelId="{B9497E12-91F1-43C5-A2EA-F42AE98DC141}" type="pres">
      <dgm:prSet presAssocID="{A2449489-2734-4642-ADCD-A032BB4FC10B}" presName="text" presStyleLbl="node1" presStyleIdx="2" presStyleCnt="3">
        <dgm:presLayoutVars>
          <dgm:bulletEnabled val="1"/>
        </dgm:presLayoutVars>
      </dgm:prSet>
      <dgm:spPr/>
    </dgm:pt>
  </dgm:ptLst>
  <dgm:cxnLst>
    <dgm:cxn modelId="{BFF1250D-2D4F-447F-84C8-1404E7899223}" type="presOf" srcId="{B34470F8-23BB-4151-A487-0A349549427A}" destId="{9047EF72-9361-4A4D-9AD2-59094BE971B5}" srcOrd="0" destOrd="0" presId="urn:microsoft.com/office/officeart/2005/8/layout/vList4"/>
    <dgm:cxn modelId="{E4DC283E-9C05-4CE8-8605-C96C13106809}" srcId="{B34470F8-23BB-4151-A487-0A349549427A}" destId="{A2449489-2734-4642-ADCD-A032BB4FC10B}" srcOrd="2" destOrd="0" parTransId="{795C7D81-CEEE-4245-92B4-F24AEB9EA0CD}" sibTransId="{E4656452-848B-4534-B821-F2E0362028B4}"/>
    <dgm:cxn modelId="{67C82F3E-9CF0-4BE2-8BC3-05CBF83B5753}" type="presOf" srcId="{5C19B947-B6CD-4A3F-8FAF-B7039DED90D7}" destId="{5203560E-09F4-4238-9440-68A3CDD26F8F}" srcOrd="1" destOrd="0" presId="urn:microsoft.com/office/officeart/2005/8/layout/vList4"/>
    <dgm:cxn modelId="{07CC2158-97B4-40C9-BFF9-6D1535BB0993}" type="presOf" srcId="{5C19B947-B6CD-4A3F-8FAF-B7039DED90D7}" destId="{18DE8E46-2CF7-4CA1-8F20-DDBB24A7259F}" srcOrd="0" destOrd="0" presId="urn:microsoft.com/office/officeart/2005/8/layout/vList4"/>
    <dgm:cxn modelId="{37E90B7B-FA5C-4BB1-A90E-3217064CA32B}" type="presOf" srcId="{75423B60-8A17-4E1F-B631-BD409AE3EF44}" destId="{AAFE2014-58B8-4DA7-9553-FE6F9EEF94FE}" srcOrd="1" destOrd="0" presId="urn:microsoft.com/office/officeart/2005/8/layout/vList4"/>
    <dgm:cxn modelId="{B14CBD93-1695-4007-95B3-0496A0776ABE}" type="presOf" srcId="{75423B60-8A17-4E1F-B631-BD409AE3EF44}" destId="{D3E2E144-2D1C-410C-A659-6464BC94DA2A}" srcOrd="0" destOrd="0" presId="urn:microsoft.com/office/officeart/2005/8/layout/vList4"/>
    <dgm:cxn modelId="{CCA4549A-2F67-4CC7-BD1E-3E8672C4FC62}" type="presOf" srcId="{A2449489-2734-4642-ADCD-A032BB4FC10B}" destId="{1F2FBC8D-A121-40D7-ACC4-52E2DB3DB982}" srcOrd="0" destOrd="0" presId="urn:microsoft.com/office/officeart/2005/8/layout/vList4"/>
    <dgm:cxn modelId="{741AAEF2-A39B-4302-B0CE-D12B83536CA1}" type="presOf" srcId="{A2449489-2734-4642-ADCD-A032BB4FC10B}" destId="{B9497E12-91F1-43C5-A2EA-F42AE98DC141}" srcOrd="1" destOrd="0" presId="urn:microsoft.com/office/officeart/2005/8/layout/vList4"/>
    <dgm:cxn modelId="{4396B1F3-8630-46EF-8E63-1D16576280F9}" srcId="{B34470F8-23BB-4151-A487-0A349549427A}" destId="{5C19B947-B6CD-4A3F-8FAF-B7039DED90D7}" srcOrd="0" destOrd="0" parTransId="{2D82F3F7-57E9-4CDB-B0B2-9CC272DF1EA7}" sibTransId="{6DA25FF4-EA49-48A3-9A1B-CEA7B8C5D649}"/>
    <dgm:cxn modelId="{8E66DFFA-8CC4-4791-8296-93CA3BD4E9F6}" srcId="{B34470F8-23BB-4151-A487-0A349549427A}" destId="{75423B60-8A17-4E1F-B631-BD409AE3EF44}" srcOrd="1" destOrd="0" parTransId="{49F2BC04-BB57-40B3-82EC-CAF8387A88AE}" sibTransId="{D0F7CC98-58DC-4465-ACD7-2203D4796853}"/>
    <dgm:cxn modelId="{31F961F3-9330-462B-87B9-113CA70CCD16}" type="presParOf" srcId="{9047EF72-9361-4A4D-9AD2-59094BE971B5}" destId="{EFB195FC-F407-4575-84DC-1041B169FC82}" srcOrd="0" destOrd="0" presId="urn:microsoft.com/office/officeart/2005/8/layout/vList4"/>
    <dgm:cxn modelId="{4F337B15-A3D5-41AE-AF25-EDD1FCEDDBA3}" type="presParOf" srcId="{EFB195FC-F407-4575-84DC-1041B169FC82}" destId="{18DE8E46-2CF7-4CA1-8F20-DDBB24A7259F}" srcOrd="0" destOrd="0" presId="urn:microsoft.com/office/officeart/2005/8/layout/vList4"/>
    <dgm:cxn modelId="{0022CA70-111F-417A-9489-DA7215C7BBBA}" type="presParOf" srcId="{EFB195FC-F407-4575-84DC-1041B169FC82}" destId="{7A1F86D7-0E07-4FAD-854C-5389F22CF467}" srcOrd="1" destOrd="0" presId="urn:microsoft.com/office/officeart/2005/8/layout/vList4"/>
    <dgm:cxn modelId="{10C8D140-7E7E-4456-8DE4-BF6EC779702E}" type="presParOf" srcId="{EFB195FC-F407-4575-84DC-1041B169FC82}" destId="{5203560E-09F4-4238-9440-68A3CDD26F8F}" srcOrd="2" destOrd="0" presId="urn:microsoft.com/office/officeart/2005/8/layout/vList4"/>
    <dgm:cxn modelId="{BDCEDAF6-706E-463F-B151-3E3168EC4675}" type="presParOf" srcId="{9047EF72-9361-4A4D-9AD2-59094BE971B5}" destId="{8C836C87-4AFC-4DB6-99E1-6EF1369F1A6E}" srcOrd="1" destOrd="0" presId="urn:microsoft.com/office/officeart/2005/8/layout/vList4"/>
    <dgm:cxn modelId="{BC1474F0-065E-453C-A08C-C5942DCAF3A6}" type="presParOf" srcId="{9047EF72-9361-4A4D-9AD2-59094BE971B5}" destId="{E0DE90E6-9A45-4EA1-868C-9987E69DAD11}" srcOrd="2" destOrd="0" presId="urn:microsoft.com/office/officeart/2005/8/layout/vList4"/>
    <dgm:cxn modelId="{51C08D91-1B04-4E1C-AC23-10A02383057C}" type="presParOf" srcId="{E0DE90E6-9A45-4EA1-868C-9987E69DAD11}" destId="{D3E2E144-2D1C-410C-A659-6464BC94DA2A}" srcOrd="0" destOrd="0" presId="urn:microsoft.com/office/officeart/2005/8/layout/vList4"/>
    <dgm:cxn modelId="{CB8C77B8-C019-4D48-B6EC-481451286AFB}" type="presParOf" srcId="{E0DE90E6-9A45-4EA1-868C-9987E69DAD11}" destId="{786F2C4E-2D8C-40D8-8F58-29317CCD14D1}" srcOrd="1" destOrd="0" presId="urn:microsoft.com/office/officeart/2005/8/layout/vList4"/>
    <dgm:cxn modelId="{DB191C29-8407-4C10-81A4-643CF954B414}" type="presParOf" srcId="{E0DE90E6-9A45-4EA1-868C-9987E69DAD11}" destId="{AAFE2014-58B8-4DA7-9553-FE6F9EEF94FE}" srcOrd="2" destOrd="0" presId="urn:microsoft.com/office/officeart/2005/8/layout/vList4"/>
    <dgm:cxn modelId="{6750F92E-EE61-4642-A3CE-67B4A2669AB2}" type="presParOf" srcId="{9047EF72-9361-4A4D-9AD2-59094BE971B5}" destId="{90F9F3E9-D2E0-455E-94F9-0E376A81DA01}" srcOrd="3" destOrd="0" presId="urn:microsoft.com/office/officeart/2005/8/layout/vList4"/>
    <dgm:cxn modelId="{3A305553-ED76-459A-9343-C72E009C0354}" type="presParOf" srcId="{9047EF72-9361-4A4D-9AD2-59094BE971B5}" destId="{20092C0C-E527-4786-8073-789981CF87D5}" srcOrd="4" destOrd="0" presId="urn:microsoft.com/office/officeart/2005/8/layout/vList4"/>
    <dgm:cxn modelId="{19BF1E57-D503-4AEE-AE4E-D80807318767}" type="presParOf" srcId="{20092C0C-E527-4786-8073-789981CF87D5}" destId="{1F2FBC8D-A121-40D7-ACC4-52E2DB3DB982}" srcOrd="0" destOrd="0" presId="urn:microsoft.com/office/officeart/2005/8/layout/vList4"/>
    <dgm:cxn modelId="{0B734C80-AA36-46C7-8B35-D81033681B59}" type="presParOf" srcId="{20092C0C-E527-4786-8073-789981CF87D5}" destId="{57D8A456-4E69-46E9-ACCE-A67DB65B0FE0}" srcOrd="1" destOrd="0" presId="urn:microsoft.com/office/officeart/2005/8/layout/vList4"/>
    <dgm:cxn modelId="{892511CA-65CB-4C09-942A-9A3867F0937D}" type="presParOf" srcId="{20092C0C-E527-4786-8073-789981CF87D5}" destId="{B9497E12-91F1-43C5-A2EA-F42AE98DC141}"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3295DCF-FBE2-484D-8FD0-D1624DB3CED6}"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s-ES"/>
        </a:p>
      </dgm:t>
    </dgm:pt>
    <dgm:pt modelId="{7758E78C-F358-47DC-A106-2DF2A3C341FB}">
      <dgm:prSet phldrT="[Texto]"/>
      <dgm:spPr/>
      <dgm:t>
        <a:bodyPr/>
        <a:lstStyle/>
        <a:p>
          <a:r>
            <a:rPr lang="es-ES" dirty="0"/>
            <a:t>SaaS (Software as a Service)</a:t>
          </a:r>
        </a:p>
      </dgm:t>
    </dgm:pt>
    <dgm:pt modelId="{577A4643-A5E4-44DB-B154-FC122DF74C2B}" type="parTrans" cxnId="{F94761D2-EFCA-4676-92F7-323222EDA7FB}">
      <dgm:prSet/>
      <dgm:spPr/>
      <dgm:t>
        <a:bodyPr/>
        <a:lstStyle/>
        <a:p>
          <a:endParaRPr lang="es-ES"/>
        </a:p>
      </dgm:t>
    </dgm:pt>
    <dgm:pt modelId="{82D08CF4-0744-4AF5-9681-F2AFA4DA4E53}" type="sibTrans" cxnId="{F94761D2-EFCA-4676-92F7-323222EDA7FB}">
      <dgm:prSet/>
      <dgm:spPr/>
      <dgm:t>
        <a:bodyPr/>
        <a:lstStyle/>
        <a:p>
          <a:endParaRPr lang="es-ES"/>
        </a:p>
      </dgm:t>
    </dgm:pt>
    <dgm:pt modelId="{3207E7B4-8250-4863-89C2-6793E7B8778C}">
      <dgm:prSet/>
      <dgm:spPr/>
      <dgm:t>
        <a:bodyPr/>
        <a:lstStyle/>
        <a:p>
          <a:r>
            <a:rPr lang="es-ES" dirty="0"/>
            <a:t>Son </a:t>
          </a:r>
          <a:r>
            <a:rPr lang="es-ES" b="1" dirty="0">
              <a:highlight>
                <a:srgbClr val="FFCDCC"/>
              </a:highlight>
            </a:rPr>
            <a:t>aplicaciones</a:t>
          </a:r>
          <a:r>
            <a:rPr lang="es-ES" dirty="0"/>
            <a:t> listas para usar que se entregan a través de Internet.</a:t>
          </a:r>
        </a:p>
      </dgm:t>
    </dgm:pt>
    <dgm:pt modelId="{5799DEDA-7E30-4BD8-9A1D-7DEB05C1E768}" type="parTrans" cxnId="{4BF86A2B-FCCD-48BF-85EE-7C703FCD0B0F}">
      <dgm:prSet/>
      <dgm:spPr/>
      <dgm:t>
        <a:bodyPr/>
        <a:lstStyle/>
        <a:p>
          <a:endParaRPr lang="es-ES"/>
        </a:p>
      </dgm:t>
    </dgm:pt>
    <dgm:pt modelId="{7FBB84F4-5B0A-46BF-AADC-D548DA06479A}" type="sibTrans" cxnId="{4BF86A2B-FCCD-48BF-85EE-7C703FCD0B0F}">
      <dgm:prSet/>
      <dgm:spPr/>
      <dgm:t>
        <a:bodyPr/>
        <a:lstStyle/>
        <a:p>
          <a:endParaRPr lang="es-ES"/>
        </a:p>
      </dgm:t>
    </dgm:pt>
    <dgm:pt modelId="{99A5D1E7-EB72-4BDD-A9A2-9423A3AA99DF}">
      <dgm:prSet/>
      <dgm:spPr/>
      <dgm:t>
        <a:bodyPr/>
        <a:lstStyle/>
        <a:p>
          <a:r>
            <a:rPr lang="es-ES" dirty="0"/>
            <a:t>El proveedor de servicios gestiona la infraestructura, el middleware, los datos y las aplicaciones.</a:t>
          </a:r>
        </a:p>
      </dgm:t>
    </dgm:pt>
    <dgm:pt modelId="{BABCFCEF-3C54-44CF-9F8E-27A22CC5DDA0}" type="parTrans" cxnId="{F15E160D-E3A7-40A3-8271-5A4D5B540949}">
      <dgm:prSet/>
      <dgm:spPr/>
      <dgm:t>
        <a:bodyPr/>
        <a:lstStyle/>
        <a:p>
          <a:endParaRPr lang="es-ES"/>
        </a:p>
      </dgm:t>
    </dgm:pt>
    <dgm:pt modelId="{1AC160D8-27F3-4C0D-AB7C-8F565BF5147B}" type="sibTrans" cxnId="{F15E160D-E3A7-40A3-8271-5A4D5B540949}">
      <dgm:prSet/>
      <dgm:spPr/>
      <dgm:t>
        <a:bodyPr/>
        <a:lstStyle/>
        <a:p>
          <a:endParaRPr lang="es-ES"/>
        </a:p>
      </dgm:t>
    </dgm:pt>
    <dgm:pt modelId="{15CE9BD7-C528-4261-B92C-1F0B70DC406A}">
      <dgm:prSet/>
      <dgm:spPr/>
      <dgm:t>
        <a:bodyPr/>
        <a:lstStyle/>
        <a:p>
          <a:r>
            <a:rPr lang="es-ES" dirty="0"/>
            <a:t>Los usuarios pueden acceder a las aplicaciones desde cualquier dispositivo con una conexión a Internet.</a:t>
          </a:r>
        </a:p>
      </dgm:t>
    </dgm:pt>
    <dgm:pt modelId="{33E454E7-36CC-4DAD-B379-DB40FA39ABAC}" type="parTrans" cxnId="{18EC5EF8-BAD1-4381-964C-524A3856666B}">
      <dgm:prSet/>
      <dgm:spPr/>
      <dgm:t>
        <a:bodyPr/>
        <a:lstStyle/>
        <a:p>
          <a:endParaRPr lang="es-ES"/>
        </a:p>
      </dgm:t>
    </dgm:pt>
    <dgm:pt modelId="{D7AD6753-6F06-430C-8E05-6D9E59EA7C22}" type="sibTrans" cxnId="{18EC5EF8-BAD1-4381-964C-524A3856666B}">
      <dgm:prSet/>
      <dgm:spPr/>
      <dgm:t>
        <a:bodyPr/>
        <a:lstStyle/>
        <a:p>
          <a:endParaRPr lang="es-ES"/>
        </a:p>
      </dgm:t>
    </dgm:pt>
    <dgm:pt modelId="{5D1A351C-3095-4C03-AACA-F57F3F6E8144}">
      <dgm:prSet/>
      <dgm:spPr/>
      <dgm:t>
        <a:bodyPr/>
        <a:lstStyle/>
        <a:p>
          <a:r>
            <a:rPr lang="es-ES" dirty="0"/>
            <a:t>PaaS (Platform as a Service)</a:t>
          </a:r>
        </a:p>
      </dgm:t>
    </dgm:pt>
    <dgm:pt modelId="{2C1A3D09-06A8-4F2E-99F8-62463F6DD06F}" type="parTrans" cxnId="{F78C4F92-5CF0-4ABF-91C2-44DFE2159A1B}">
      <dgm:prSet/>
      <dgm:spPr/>
      <dgm:t>
        <a:bodyPr/>
        <a:lstStyle/>
        <a:p>
          <a:endParaRPr lang="es-ES"/>
        </a:p>
      </dgm:t>
    </dgm:pt>
    <dgm:pt modelId="{B5F2D28D-8557-447D-8B6E-6A009E57218E}" type="sibTrans" cxnId="{F78C4F92-5CF0-4ABF-91C2-44DFE2159A1B}">
      <dgm:prSet/>
      <dgm:spPr/>
      <dgm:t>
        <a:bodyPr/>
        <a:lstStyle/>
        <a:p>
          <a:endParaRPr lang="es-ES"/>
        </a:p>
      </dgm:t>
    </dgm:pt>
    <dgm:pt modelId="{812603E2-7C6A-44DE-9763-3F5B665DF42F}">
      <dgm:prSet/>
      <dgm:spPr/>
      <dgm:t>
        <a:bodyPr/>
        <a:lstStyle/>
        <a:p>
          <a:r>
            <a:rPr lang="es-ES" dirty="0"/>
            <a:t>Son </a:t>
          </a:r>
          <a:r>
            <a:rPr lang="es-ES" b="1" dirty="0">
              <a:highlight>
                <a:srgbClr val="FFCDCC"/>
              </a:highlight>
            </a:rPr>
            <a:t>plataformas</a:t>
          </a:r>
          <a:r>
            <a:rPr lang="es-ES" dirty="0"/>
            <a:t> que permiten a los desarrolladores crear, desplegar y gestionar aplicaciones sin preocuparse por la infraestructura subyacente.</a:t>
          </a:r>
        </a:p>
      </dgm:t>
    </dgm:pt>
    <dgm:pt modelId="{67D26280-460D-4D48-BEF8-CDDC6738B37B}" type="parTrans" cxnId="{BB9EC5E5-5A21-4C7F-90ED-5CE044B66334}">
      <dgm:prSet/>
      <dgm:spPr/>
      <dgm:t>
        <a:bodyPr/>
        <a:lstStyle/>
        <a:p>
          <a:endParaRPr lang="es-ES"/>
        </a:p>
      </dgm:t>
    </dgm:pt>
    <dgm:pt modelId="{52A273EE-D918-407B-8FE6-DF1C53AFEAB3}" type="sibTrans" cxnId="{BB9EC5E5-5A21-4C7F-90ED-5CE044B66334}">
      <dgm:prSet/>
      <dgm:spPr/>
      <dgm:t>
        <a:bodyPr/>
        <a:lstStyle/>
        <a:p>
          <a:endParaRPr lang="es-ES"/>
        </a:p>
      </dgm:t>
    </dgm:pt>
    <dgm:pt modelId="{9BFFC465-0F7E-4049-8163-753BEE447E7F}">
      <dgm:prSet/>
      <dgm:spPr/>
      <dgm:t>
        <a:bodyPr/>
        <a:lstStyle/>
        <a:p>
          <a:r>
            <a:rPr lang="es-ES" dirty="0"/>
            <a:t>Incluye sistemas operativos, bases de datos, servidores web y herramientas de desarrollo.</a:t>
          </a:r>
        </a:p>
      </dgm:t>
    </dgm:pt>
    <dgm:pt modelId="{179BDEEE-6E73-4BCA-ABA3-330FD12D41EA}" type="parTrans" cxnId="{DEA9BC4D-2A32-4645-B991-3CF3A7A8AB97}">
      <dgm:prSet/>
      <dgm:spPr/>
      <dgm:t>
        <a:bodyPr/>
        <a:lstStyle/>
        <a:p>
          <a:endParaRPr lang="es-ES"/>
        </a:p>
      </dgm:t>
    </dgm:pt>
    <dgm:pt modelId="{85D29C4A-5854-4814-AE4F-E3217FA8BA40}" type="sibTrans" cxnId="{DEA9BC4D-2A32-4645-B991-3CF3A7A8AB97}">
      <dgm:prSet/>
      <dgm:spPr/>
      <dgm:t>
        <a:bodyPr/>
        <a:lstStyle/>
        <a:p>
          <a:endParaRPr lang="es-ES"/>
        </a:p>
      </dgm:t>
    </dgm:pt>
    <dgm:pt modelId="{03783A52-6323-4F72-A842-E5497C6E4017}">
      <dgm:prSet/>
      <dgm:spPr/>
      <dgm:t>
        <a:bodyPr/>
        <a:lstStyle/>
        <a:p>
          <a:r>
            <a:rPr lang="es-ES" dirty="0"/>
            <a:t>IaaS (Infrastructure as a Service)</a:t>
          </a:r>
        </a:p>
      </dgm:t>
    </dgm:pt>
    <dgm:pt modelId="{535C5759-DF79-4AA8-9016-9F397CA6B2F5}" type="parTrans" cxnId="{E73D8BE5-3252-4E12-8AFB-62016B5C5441}">
      <dgm:prSet/>
      <dgm:spPr/>
      <dgm:t>
        <a:bodyPr/>
        <a:lstStyle/>
        <a:p>
          <a:endParaRPr lang="es-ES"/>
        </a:p>
      </dgm:t>
    </dgm:pt>
    <dgm:pt modelId="{4C974DE2-8D42-4859-9B97-65D6F9A3EB88}" type="sibTrans" cxnId="{E73D8BE5-3252-4E12-8AFB-62016B5C5441}">
      <dgm:prSet/>
      <dgm:spPr/>
      <dgm:t>
        <a:bodyPr/>
        <a:lstStyle/>
        <a:p>
          <a:endParaRPr lang="es-ES"/>
        </a:p>
      </dgm:t>
    </dgm:pt>
    <dgm:pt modelId="{2BD0ADA7-8B71-43BE-8FB2-7836990ECB32}">
      <dgm:prSet/>
      <dgm:spPr/>
      <dgm:t>
        <a:bodyPr/>
        <a:lstStyle/>
        <a:p>
          <a:r>
            <a:rPr lang="es-ES" dirty="0"/>
            <a:t>Son </a:t>
          </a:r>
          <a:r>
            <a:rPr lang="es-ES" b="1" dirty="0">
              <a:highlight>
                <a:srgbClr val="FFCDCC"/>
              </a:highlight>
            </a:rPr>
            <a:t>infraestructuras</a:t>
          </a:r>
          <a:r>
            <a:rPr lang="es-ES" dirty="0"/>
            <a:t> informáticas básicas como servidores, almacenamiento, redes y sistemas operativos virtualizados a través de Internet.</a:t>
          </a:r>
        </a:p>
      </dgm:t>
    </dgm:pt>
    <dgm:pt modelId="{9F4E9627-A85B-4FB0-A0D4-5936EE3E43D9}" type="parTrans" cxnId="{76611BD3-030E-4BCB-9FF1-07EBAD7AF68A}">
      <dgm:prSet/>
      <dgm:spPr/>
      <dgm:t>
        <a:bodyPr/>
        <a:lstStyle/>
        <a:p>
          <a:endParaRPr lang="es-ES"/>
        </a:p>
      </dgm:t>
    </dgm:pt>
    <dgm:pt modelId="{71BFBCA7-216B-49A6-B0C6-A163546DB024}" type="sibTrans" cxnId="{76611BD3-030E-4BCB-9FF1-07EBAD7AF68A}">
      <dgm:prSet/>
      <dgm:spPr/>
      <dgm:t>
        <a:bodyPr/>
        <a:lstStyle/>
        <a:p>
          <a:endParaRPr lang="es-ES"/>
        </a:p>
      </dgm:t>
    </dgm:pt>
    <dgm:pt modelId="{9093C3F8-B63D-40E8-8DB4-4F63F5BEDA06}">
      <dgm:prSet/>
      <dgm:spPr/>
      <dgm:t>
        <a:bodyPr/>
        <a:lstStyle/>
        <a:p>
          <a:r>
            <a:rPr lang="es-ES" dirty="0"/>
            <a:t>Los usuarios tienen un control completo sobre la infraestructura y pueden ejecutar cualquier software.</a:t>
          </a:r>
        </a:p>
      </dgm:t>
    </dgm:pt>
    <dgm:pt modelId="{1658A8DD-AA9C-4EE9-96C4-9E65DF4696A6}" type="parTrans" cxnId="{493FC521-D4B6-4686-8A57-7B59DA7CC3A7}">
      <dgm:prSet/>
      <dgm:spPr/>
      <dgm:t>
        <a:bodyPr/>
        <a:lstStyle/>
        <a:p>
          <a:endParaRPr lang="es-ES"/>
        </a:p>
      </dgm:t>
    </dgm:pt>
    <dgm:pt modelId="{92AD5EDA-0968-415A-A43D-81ECC6D1CDED}" type="sibTrans" cxnId="{493FC521-D4B6-4686-8A57-7B59DA7CC3A7}">
      <dgm:prSet/>
      <dgm:spPr/>
      <dgm:t>
        <a:bodyPr/>
        <a:lstStyle/>
        <a:p>
          <a:endParaRPr lang="es-ES"/>
        </a:p>
      </dgm:t>
    </dgm:pt>
    <dgm:pt modelId="{E2FDEDD1-2423-48D6-84CA-AD0C99849A3D}" type="pres">
      <dgm:prSet presAssocID="{03295DCF-FBE2-484D-8FD0-D1624DB3CED6}" presName="linear" presStyleCnt="0">
        <dgm:presLayoutVars>
          <dgm:animLvl val="lvl"/>
          <dgm:resizeHandles val="exact"/>
        </dgm:presLayoutVars>
      </dgm:prSet>
      <dgm:spPr/>
    </dgm:pt>
    <dgm:pt modelId="{26F930B5-B41B-4920-AEFB-CEC9FA05AD73}" type="pres">
      <dgm:prSet presAssocID="{7758E78C-F358-47DC-A106-2DF2A3C341FB}" presName="parentText" presStyleLbl="node1" presStyleIdx="0" presStyleCnt="3">
        <dgm:presLayoutVars>
          <dgm:chMax val="0"/>
          <dgm:bulletEnabled val="1"/>
        </dgm:presLayoutVars>
      </dgm:prSet>
      <dgm:spPr/>
    </dgm:pt>
    <dgm:pt modelId="{7AB34228-B551-40D4-9037-7545C33330F8}" type="pres">
      <dgm:prSet presAssocID="{7758E78C-F358-47DC-A106-2DF2A3C341FB}" presName="childText" presStyleLbl="revTx" presStyleIdx="0" presStyleCnt="3">
        <dgm:presLayoutVars>
          <dgm:bulletEnabled val="1"/>
        </dgm:presLayoutVars>
      </dgm:prSet>
      <dgm:spPr/>
    </dgm:pt>
    <dgm:pt modelId="{A26F9707-915A-4976-A6F4-2F25915B1421}" type="pres">
      <dgm:prSet presAssocID="{5D1A351C-3095-4C03-AACA-F57F3F6E8144}" presName="parentText" presStyleLbl="node1" presStyleIdx="1" presStyleCnt="3">
        <dgm:presLayoutVars>
          <dgm:chMax val="0"/>
          <dgm:bulletEnabled val="1"/>
        </dgm:presLayoutVars>
      </dgm:prSet>
      <dgm:spPr/>
    </dgm:pt>
    <dgm:pt modelId="{A896BF18-375E-46E6-A798-64F76DB5A71F}" type="pres">
      <dgm:prSet presAssocID="{5D1A351C-3095-4C03-AACA-F57F3F6E8144}" presName="childText" presStyleLbl="revTx" presStyleIdx="1" presStyleCnt="3">
        <dgm:presLayoutVars>
          <dgm:bulletEnabled val="1"/>
        </dgm:presLayoutVars>
      </dgm:prSet>
      <dgm:spPr/>
    </dgm:pt>
    <dgm:pt modelId="{AD32EF13-04B9-440D-B1F0-85DF62F12D4D}" type="pres">
      <dgm:prSet presAssocID="{03783A52-6323-4F72-A842-E5497C6E4017}" presName="parentText" presStyleLbl="node1" presStyleIdx="2" presStyleCnt="3">
        <dgm:presLayoutVars>
          <dgm:chMax val="0"/>
          <dgm:bulletEnabled val="1"/>
        </dgm:presLayoutVars>
      </dgm:prSet>
      <dgm:spPr/>
    </dgm:pt>
    <dgm:pt modelId="{C3AA1032-AD58-4608-9002-F2667147DCF3}" type="pres">
      <dgm:prSet presAssocID="{03783A52-6323-4F72-A842-E5497C6E4017}" presName="childText" presStyleLbl="revTx" presStyleIdx="2" presStyleCnt="3">
        <dgm:presLayoutVars>
          <dgm:bulletEnabled val="1"/>
        </dgm:presLayoutVars>
      </dgm:prSet>
      <dgm:spPr/>
    </dgm:pt>
  </dgm:ptLst>
  <dgm:cxnLst>
    <dgm:cxn modelId="{F15E160D-E3A7-40A3-8271-5A4D5B540949}" srcId="{7758E78C-F358-47DC-A106-2DF2A3C341FB}" destId="{99A5D1E7-EB72-4BDD-A9A2-9423A3AA99DF}" srcOrd="1" destOrd="0" parTransId="{BABCFCEF-3C54-44CF-9F8E-27A22CC5DDA0}" sibTransId="{1AC160D8-27F3-4C0D-AB7C-8F565BF5147B}"/>
    <dgm:cxn modelId="{AD50981A-BAB4-4530-BC73-E21483FD5B6C}" type="presOf" srcId="{15CE9BD7-C528-4261-B92C-1F0B70DC406A}" destId="{7AB34228-B551-40D4-9037-7545C33330F8}" srcOrd="0" destOrd="2" presId="urn:microsoft.com/office/officeart/2005/8/layout/vList2"/>
    <dgm:cxn modelId="{F609FC20-5F6F-4E4B-9667-C125DC56AC8F}" type="presOf" srcId="{3207E7B4-8250-4863-89C2-6793E7B8778C}" destId="{7AB34228-B551-40D4-9037-7545C33330F8}" srcOrd="0" destOrd="0" presId="urn:microsoft.com/office/officeart/2005/8/layout/vList2"/>
    <dgm:cxn modelId="{493FC521-D4B6-4686-8A57-7B59DA7CC3A7}" srcId="{03783A52-6323-4F72-A842-E5497C6E4017}" destId="{9093C3F8-B63D-40E8-8DB4-4F63F5BEDA06}" srcOrd="1" destOrd="0" parTransId="{1658A8DD-AA9C-4EE9-96C4-9E65DF4696A6}" sibTransId="{92AD5EDA-0968-415A-A43D-81ECC6D1CDED}"/>
    <dgm:cxn modelId="{4BF86A2B-FCCD-48BF-85EE-7C703FCD0B0F}" srcId="{7758E78C-F358-47DC-A106-2DF2A3C341FB}" destId="{3207E7B4-8250-4863-89C2-6793E7B8778C}" srcOrd="0" destOrd="0" parTransId="{5799DEDA-7E30-4BD8-9A1D-7DEB05C1E768}" sibTransId="{7FBB84F4-5B0A-46BF-AADC-D548DA06479A}"/>
    <dgm:cxn modelId="{EDA36A2F-6C9A-4691-88A2-662F3AFFA55F}" type="presOf" srcId="{03295DCF-FBE2-484D-8FD0-D1624DB3CED6}" destId="{E2FDEDD1-2423-48D6-84CA-AD0C99849A3D}" srcOrd="0" destOrd="0" presId="urn:microsoft.com/office/officeart/2005/8/layout/vList2"/>
    <dgm:cxn modelId="{B7FEA946-AA61-4E7C-B4E2-BD1ACDA21AB7}" type="presOf" srcId="{7758E78C-F358-47DC-A106-2DF2A3C341FB}" destId="{26F930B5-B41B-4920-AEFB-CEC9FA05AD73}" srcOrd="0" destOrd="0" presId="urn:microsoft.com/office/officeart/2005/8/layout/vList2"/>
    <dgm:cxn modelId="{DEA9BC4D-2A32-4645-B991-3CF3A7A8AB97}" srcId="{5D1A351C-3095-4C03-AACA-F57F3F6E8144}" destId="{9BFFC465-0F7E-4049-8163-753BEE447E7F}" srcOrd="1" destOrd="0" parTransId="{179BDEEE-6E73-4BCA-ABA3-330FD12D41EA}" sibTransId="{85D29C4A-5854-4814-AE4F-E3217FA8BA40}"/>
    <dgm:cxn modelId="{806E2952-FA43-44EE-8FB5-18FB45E08277}" type="presOf" srcId="{5D1A351C-3095-4C03-AACA-F57F3F6E8144}" destId="{A26F9707-915A-4976-A6F4-2F25915B1421}" srcOrd="0" destOrd="0" presId="urn:microsoft.com/office/officeart/2005/8/layout/vList2"/>
    <dgm:cxn modelId="{E2752786-3CE7-49AE-8F40-BFB8D38D3B5F}" type="presOf" srcId="{812603E2-7C6A-44DE-9763-3F5B665DF42F}" destId="{A896BF18-375E-46E6-A798-64F76DB5A71F}" srcOrd="0" destOrd="0" presId="urn:microsoft.com/office/officeart/2005/8/layout/vList2"/>
    <dgm:cxn modelId="{F78C4F92-5CF0-4ABF-91C2-44DFE2159A1B}" srcId="{03295DCF-FBE2-484D-8FD0-D1624DB3CED6}" destId="{5D1A351C-3095-4C03-AACA-F57F3F6E8144}" srcOrd="1" destOrd="0" parTransId="{2C1A3D09-06A8-4F2E-99F8-62463F6DD06F}" sibTransId="{B5F2D28D-8557-447D-8B6E-6A009E57218E}"/>
    <dgm:cxn modelId="{35FE3DA0-DA6D-4554-AB6C-D00AD292EE32}" type="presOf" srcId="{03783A52-6323-4F72-A842-E5497C6E4017}" destId="{AD32EF13-04B9-440D-B1F0-85DF62F12D4D}" srcOrd="0" destOrd="0" presId="urn:microsoft.com/office/officeart/2005/8/layout/vList2"/>
    <dgm:cxn modelId="{FBE99CA2-7705-4737-B2CA-06860CB1C56C}" type="presOf" srcId="{99A5D1E7-EB72-4BDD-A9A2-9423A3AA99DF}" destId="{7AB34228-B551-40D4-9037-7545C33330F8}" srcOrd="0" destOrd="1" presId="urn:microsoft.com/office/officeart/2005/8/layout/vList2"/>
    <dgm:cxn modelId="{667FB2A2-1291-449B-8A6D-9F647CDC5B5C}" type="presOf" srcId="{9093C3F8-B63D-40E8-8DB4-4F63F5BEDA06}" destId="{C3AA1032-AD58-4608-9002-F2667147DCF3}" srcOrd="0" destOrd="1" presId="urn:microsoft.com/office/officeart/2005/8/layout/vList2"/>
    <dgm:cxn modelId="{F94761D2-EFCA-4676-92F7-323222EDA7FB}" srcId="{03295DCF-FBE2-484D-8FD0-D1624DB3CED6}" destId="{7758E78C-F358-47DC-A106-2DF2A3C341FB}" srcOrd="0" destOrd="0" parTransId="{577A4643-A5E4-44DB-B154-FC122DF74C2B}" sibTransId="{82D08CF4-0744-4AF5-9681-F2AFA4DA4E53}"/>
    <dgm:cxn modelId="{76611BD3-030E-4BCB-9FF1-07EBAD7AF68A}" srcId="{03783A52-6323-4F72-A842-E5497C6E4017}" destId="{2BD0ADA7-8B71-43BE-8FB2-7836990ECB32}" srcOrd="0" destOrd="0" parTransId="{9F4E9627-A85B-4FB0-A0D4-5936EE3E43D9}" sibTransId="{71BFBCA7-216B-49A6-B0C6-A163546DB024}"/>
    <dgm:cxn modelId="{E73D8BE5-3252-4E12-8AFB-62016B5C5441}" srcId="{03295DCF-FBE2-484D-8FD0-D1624DB3CED6}" destId="{03783A52-6323-4F72-A842-E5497C6E4017}" srcOrd="2" destOrd="0" parTransId="{535C5759-DF79-4AA8-9016-9F397CA6B2F5}" sibTransId="{4C974DE2-8D42-4859-9B97-65D6F9A3EB88}"/>
    <dgm:cxn modelId="{BB9EC5E5-5A21-4C7F-90ED-5CE044B66334}" srcId="{5D1A351C-3095-4C03-AACA-F57F3F6E8144}" destId="{812603E2-7C6A-44DE-9763-3F5B665DF42F}" srcOrd="0" destOrd="0" parTransId="{67D26280-460D-4D48-BEF8-CDDC6738B37B}" sibTransId="{52A273EE-D918-407B-8FE6-DF1C53AFEAB3}"/>
    <dgm:cxn modelId="{F4C3FCEA-A39A-4C36-8C1F-F08F2D98C4C3}" type="presOf" srcId="{2BD0ADA7-8B71-43BE-8FB2-7836990ECB32}" destId="{C3AA1032-AD58-4608-9002-F2667147DCF3}" srcOrd="0" destOrd="0" presId="urn:microsoft.com/office/officeart/2005/8/layout/vList2"/>
    <dgm:cxn modelId="{5A171CF1-7057-479C-9066-B218C2E7A232}" type="presOf" srcId="{9BFFC465-0F7E-4049-8163-753BEE447E7F}" destId="{A896BF18-375E-46E6-A798-64F76DB5A71F}" srcOrd="0" destOrd="1" presId="urn:microsoft.com/office/officeart/2005/8/layout/vList2"/>
    <dgm:cxn modelId="{18EC5EF8-BAD1-4381-964C-524A3856666B}" srcId="{7758E78C-F358-47DC-A106-2DF2A3C341FB}" destId="{15CE9BD7-C528-4261-B92C-1F0B70DC406A}" srcOrd="2" destOrd="0" parTransId="{33E454E7-36CC-4DAD-B379-DB40FA39ABAC}" sibTransId="{D7AD6753-6F06-430C-8E05-6D9E59EA7C22}"/>
    <dgm:cxn modelId="{59B1B5D6-50E9-4221-9505-1AB1B9B6894D}" type="presParOf" srcId="{E2FDEDD1-2423-48D6-84CA-AD0C99849A3D}" destId="{26F930B5-B41B-4920-AEFB-CEC9FA05AD73}" srcOrd="0" destOrd="0" presId="urn:microsoft.com/office/officeart/2005/8/layout/vList2"/>
    <dgm:cxn modelId="{A5C10925-6463-4548-A9C7-588731EE8239}" type="presParOf" srcId="{E2FDEDD1-2423-48D6-84CA-AD0C99849A3D}" destId="{7AB34228-B551-40D4-9037-7545C33330F8}" srcOrd="1" destOrd="0" presId="urn:microsoft.com/office/officeart/2005/8/layout/vList2"/>
    <dgm:cxn modelId="{B492428A-495F-480A-93B3-7112F7171F62}" type="presParOf" srcId="{E2FDEDD1-2423-48D6-84CA-AD0C99849A3D}" destId="{A26F9707-915A-4976-A6F4-2F25915B1421}" srcOrd="2" destOrd="0" presId="urn:microsoft.com/office/officeart/2005/8/layout/vList2"/>
    <dgm:cxn modelId="{ED7C0DCC-BCF8-45ED-914B-83626E330FCB}" type="presParOf" srcId="{E2FDEDD1-2423-48D6-84CA-AD0C99849A3D}" destId="{A896BF18-375E-46E6-A798-64F76DB5A71F}" srcOrd="3" destOrd="0" presId="urn:microsoft.com/office/officeart/2005/8/layout/vList2"/>
    <dgm:cxn modelId="{0B03A319-91FD-4C6B-9D31-67E7A1C7616E}" type="presParOf" srcId="{E2FDEDD1-2423-48D6-84CA-AD0C99849A3D}" destId="{AD32EF13-04B9-440D-B1F0-85DF62F12D4D}" srcOrd="4" destOrd="0" presId="urn:microsoft.com/office/officeart/2005/8/layout/vList2"/>
    <dgm:cxn modelId="{2D35DB65-C291-4E65-B0E2-4503C9FB6065}" type="presParOf" srcId="{E2FDEDD1-2423-48D6-84CA-AD0C99849A3D}" destId="{C3AA1032-AD58-4608-9002-F2667147DCF3}"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7D083F-39F5-472B-8D5A-0B9274BF691E}" type="doc">
      <dgm:prSet loTypeId="urn:microsoft.com/office/officeart/2008/layout/PictureAccentBlocks" loCatId="picture" qsTypeId="urn:microsoft.com/office/officeart/2005/8/quickstyle/simple1" qsCatId="simple" csTypeId="urn:microsoft.com/office/officeart/2005/8/colors/accent1_2" csCatId="accent1" phldr="1"/>
      <dgm:spPr/>
      <dgm:t>
        <a:bodyPr/>
        <a:lstStyle/>
        <a:p>
          <a:endParaRPr lang="es-ES"/>
        </a:p>
      </dgm:t>
    </dgm:pt>
    <dgm:pt modelId="{0714EBCF-CBA1-449C-BBC3-B69CCCE28D54}">
      <dgm:prSet phldrT="[Texto]"/>
      <dgm:spPr/>
      <dgm:t>
        <a:bodyPr/>
        <a:lstStyle/>
        <a:p>
          <a:r>
            <a:rPr lang="es-ES" dirty="0"/>
            <a:t>Antes</a:t>
          </a:r>
        </a:p>
      </dgm:t>
    </dgm:pt>
    <dgm:pt modelId="{85505662-2D2E-4F14-BB65-12D97D598F06}" type="parTrans" cxnId="{57048B41-932A-4CC6-8F8A-A45ABA615E77}">
      <dgm:prSet/>
      <dgm:spPr/>
      <dgm:t>
        <a:bodyPr/>
        <a:lstStyle/>
        <a:p>
          <a:endParaRPr lang="es-ES"/>
        </a:p>
      </dgm:t>
    </dgm:pt>
    <dgm:pt modelId="{BA52FAD8-D0C1-4B6B-B417-58C8FD0DA577}" type="sibTrans" cxnId="{57048B41-932A-4CC6-8F8A-A45ABA615E77}">
      <dgm:prSet/>
      <dgm:spPr/>
      <dgm:t>
        <a:bodyPr/>
        <a:lstStyle/>
        <a:p>
          <a:endParaRPr lang="es-ES"/>
        </a:p>
      </dgm:t>
    </dgm:pt>
    <dgm:pt modelId="{255DA2F9-89E8-453D-A140-98082A6E2225}">
      <dgm:prSet phldrT="[Texto]"/>
      <dgm:spPr/>
      <dgm:t>
        <a:bodyPr/>
        <a:lstStyle/>
        <a:p>
          <a:r>
            <a:rPr lang="es-ES" dirty="0"/>
            <a:t>Ahora</a:t>
          </a:r>
        </a:p>
      </dgm:t>
    </dgm:pt>
    <dgm:pt modelId="{AC82BA56-3E02-46FE-AEFE-E4A8409E0556}" type="parTrans" cxnId="{F324C783-B386-4030-9F05-87EAD52ED6FE}">
      <dgm:prSet/>
      <dgm:spPr/>
      <dgm:t>
        <a:bodyPr/>
        <a:lstStyle/>
        <a:p>
          <a:endParaRPr lang="es-ES"/>
        </a:p>
      </dgm:t>
    </dgm:pt>
    <dgm:pt modelId="{DE0D4C69-5260-4F1F-9AF5-8BFF2B7CD63E}" type="sibTrans" cxnId="{F324C783-B386-4030-9F05-87EAD52ED6FE}">
      <dgm:prSet/>
      <dgm:spPr/>
      <dgm:t>
        <a:bodyPr/>
        <a:lstStyle/>
        <a:p>
          <a:endParaRPr lang="es-ES"/>
        </a:p>
      </dgm:t>
    </dgm:pt>
    <dgm:pt modelId="{89927360-216B-4D9D-B583-4DB006F1538F}" type="pres">
      <dgm:prSet presAssocID="{E97D083F-39F5-472B-8D5A-0B9274BF691E}" presName="Name0" presStyleCnt="0">
        <dgm:presLayoutVars>
          <dgm:dir/>
        </dgm:presLayoutVars>
      </dgm:prSet>
      <dgm:spPr/>
    </dgm:pt>
    <dgm:pt modelId="{1F63BBC8-D033-457A-83A2-9A9011F183B7}" type="pres">
      <dgm:prSet presAssocID="{0714EBCF-CBA1-449C-BBC3-B69CCCE28D54}" presName="composite" presStyleCnt="0"/>
      <dgm:spPr/>
    </dgm:pt>
    <dgm:pt modelId="{1DAEA099-C1F6-46F5-B683-91BEE157CF88}" type="pres">
      <dgm:prSet presAssocID="{0714EBCF-CBA1-449C-BBC3-B69CCCE28D54}" presName="Image" presStyleLbl="alignNode1" presStyleIdx="0" presStyleCnt="2"/>
      <dgm:spPr>
        <a:blipFill rotWithShape="1">
          <a:blip xmlns:r="http://schemas.openxmlformats.org/officeDocument/2006/relationships" r:embed="rId1"/>
          <a:srcRect/>
          <a:stretch>
            <a:fillRect l="-7000" r="-7000"/>
          </a:stretch>
        </a:blipFill>
      </dgm:spPr>
    </dgm:pt>
    <dgm:pt modelId="{B784B971-FA63-40BF-942A-BED89D817330}" type="pres">
      <dgm:prSet presAssocID="{0714EBCF-CBA1-449C-BBC3-B69CCCE28D54}" presName="Parent" presStyleLbl="revTx" presStyleIdx="0" presStyleCnt="2">
        <dgm:presLayoutVars>
          <dgm:bulletEnabled val="1"/>
        </dgm:presLayoutVars>
      </dgm:prSet>
      <dgm:spPr/>
    </dgm:pt>
    <dgm:pt modelId="{E201E479-3635-447E-BAA7-5ADE1A7126F5}" type="pres">
      <dgm:prSet presAssocID="{BA52FAD8-D0C1-4B6B-B417-58C8FD0DA577}" presName="sibTrans" presStyleCnt="0"/>
      <dgm:spPr/>
    </dgm:pt>
    <dgm:pt modelId="{CBFAFBC6-A800-487A-B6A2-A506A14FB5E8}" type="pres">
      <dgm:prSet presAssocID="{255DA2F9-89E8-453D-A140-98082A6E2225}" presName="composite" presStyleCnt="0"/>
      <dgm:spPr/>
    </dgm:pt>
    <dgm:pt modelId="{6B3E8C2D-049F-4431-A284-DB61B99217C6}" type="pres">
      <dgm:prSet presAssocID="{255DA2F9-89E8-453D-A140-98082A6E2225}" presName="Image" presStyleLbl="alignNode1" presStyleIdx="1" presStyleCnt="2"/>
      <dgm:spPr>
        <a:blipFill rotWithShape="1">
          <a:blip xmlns:r="http://schemas.openxmlformats.org/officeDocument/2006/relationships" r:embed="rId2">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rcRect/>
          <a:stretch>
            <a:fillRect l="-25000" r="-25000"/>
          </a:stretch>
        </a:blipFill>
      </dgm:spPr>
    </dgm:pt>
    <dgm:pt modelId="{9B16F2BD-B5BE-4FBA-BCAC-486817FBB0DA}" type="pres">
      <dgm:prSet presAssocID="{255DA2F9-89E8-453D-A140-98082A6E2225}" presName="Parent" presStyleLbl="revTx" presStyleIdx="1" presStyleCnt="2">
        <dgm:presLayoutVars>
          <dgm:bulletEnabled val="1"/>
        </dgm:presLayoutVars>
      </dgm:prSet>
      <dgm:spPr/>
    </dgm:pt>
  </dgm:ptLst>
  <dgm:cxnLst>
    <dgm:cxn modelId="{57048B41-932A-4CC6-8F8A-A45ABA615E77}" srcId="{E97D083F-39F5-472B-8D5A-0B9274BF691E}" destId="{0714EBCF-CBA1-449C-BBC3-B69CCCE28D54}" srcOrd="0" destOrd="0" parTransId="{85505662-2D2E-4F14-BB65-12D97D598F06}" sibTransId="{BA52FAD8-D0C1-4B6B-B417-58C8FD0DA577}"/>
    <dgm:cxn modelId="{DCFD544C-B322-4914-BB35-1A1E2AEB4D55}" type="presOf" srcId="{255DA2F9-89E8-453D-A140-98082A6E2225}" destId="{9B16F2BD-B5BE-4FBA-BCAC-486817FBB0DA}" srcOrd="0" destOrd="0" presId="urn:microsoft.com/office/officeart/2008/layout/PictureAccentBlocks"/>
    <dgm:cxn modelId="{A909F152-AF39-47F1-BF6D-21139DA03818}" type="presOf" srcId="{E97D083F-39F5-472B-8D5A-0B9274BF691E}" destId="{89927360-216B-4D9D-B583-4DB006F1538F}" srcOrd="0" destOrd="0" presId="urn:microsoft.com/office/officeart/2008/layout/PictureAccentBlocks"/>
    <dgm:cxn modelId="{ADCBED79-0913-4849-893F-71609D8BD39F}" type="presOf" srcId="{0714EBCF-CBA1-449C-BBC3-B69CCCE28D54}" destId="{B784B971-FA63-40BF-942A-BED89D817330}" srcOrd="0" destOrd="0" presId="urn:microsoft.com/office/officeart/2008/layout/PictureAccentBlocks"/>
    <dgm:cxn modelId="{F324C783-B386-4030-9F05-87EAD52ED6FE}" srcId="{E97D083F-39F5-472B-8D5A-0B9274BF691E}" destId="{255DA2F9-89E8-453D-A140-98082A6E2225}" srcOrd="1" destOrd="0" parTransId="{AC82BA56-3E02-46FE-AEFE-E4A8409E0556}" sibTransId="{DE0D4C69-5260-4F1F-9AF5-8BFF2B7CD63E}"/>
    <dgm:cxn modelId="{7A3BC729-4C9B-4B6D-88C8-BE1781DE165F}" type="presParOf" srcId="{89927360-216B-4D9D-B583-4DB006F1538F}" destId="{1F63BBC8-D033-457A-83A2-9A9011F183B7}" srcOrd="0" destOrd="0" presId="urn:microsoft.com/office/officeart/2008/layout/PictureAccentBlocks"/>
    <dgm:cxn modelId="{DC221A4A-CE83-4F75-9FE1-055BB8858DDC}" type="presParOf" srcId="{1F63BBC8-D033-457A-83A2-9A9011F183B7}" destId="{1DAEA099-C1F6-46F5-B683-91BEE157CF88}" srcOrd="0" destOrd="0" presId="urn:microsoft.com/office/officeart/2008/layout/PictureAccentBlocks"/>
    <dgm:cxn modelId="{6E55F914-026C-4552-84F3-0418FA962F40}" type="presParOf" srcId="{1F63BBC8-D033-457A-83A2-9A9011F183B7}" destId="{B784B971-FA63-40BF-942A-BED89D817330}" srcOrd="1" destOrd="0" presId="urn:microsoft.com/office/officeart/2008/layout/PictureAccentBlocks"/>
    <dgm:cxn modelId="{F11FF416-E938-4381-952C-0F1FE7DE9B25}" type="presParOf" srcId="{89927360-216B-4D9D-B583-4DB006F1538F}" destId="{E201E479-3635-447E-BAA7-5ADE1A7126F5}" srcOrd="1" destOrd="0" presId="urn:microsoft.com/office/officeart/2008/layout/PictureAccentBlocks"/>
    <dgm:cxn modelId="{F8F7E1C3-F812-4F51-B887-36B43E68ED27}" type="presParOf" srcId="{89927360-216B-4D9D-B583-4DB006F1538F}" destId="{CBFAFBC6-A800-487A-B6A2-A506A14FB5E8}" srcOrd="2" destOrd="0" presId="urn:microsoft.com/office/officeart/2008/layout/PictureAccentBlocks"/>
    <dgm:cxn modelId="{FB5AEFFA-9854-468A-855F-1ED67404E42D}" type="presParOf" srcId="{CBFAFBC6-A800-487A-B6A2-A506A14FB5E8}" destId="{6B3E8C2D-049F-4431-A284-DB61B99217C6}" srcOrd="0" destOrd="0" presId="urn:microsoft.com/office/officeart/2008/layout/PictureAccentBlocks"/>
    <dgm:cxn modelId="{E250A2A8-1411-49B4-AEF7-6ABA9D064364}" type="presParOf" srcId="{CBFAFBC6-A800-487A-B6A2-A506A14FB5E8}" destId="{9B16F2BD-B5BE-4FBA-BCAC-486817FBB0DA}" srcOrd="1" destOrd="0" presId="urn:microsoft.com/office/officeart/2008/layout/PictureAccent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EEE727D1-1196-4636-AAB6-D854313A1A51}" type="doc">
      <dgm:prSet loTypeId="urn:microsoft.com/office/officeart/2005/8/layout/chevron1" loCatId="process" qsTypeId="urn:microsoft.com/office/officeart/2005/8/quickstyle/simple1" qsCatId="simple" csTypeId="urn:microsoft.com/office/officeart/2005/8/colors/accent1_3" csCatId="accent1" phldr="1"/>
      <dgm:spPr/>
      <dgm:t>
        <a:bodyPr/>
        <a:lstStyle/>
        <a:p>
          <a:endParaRPr lang="es-ES"/>
        </a:p>
      </dgm:t>
    </dgm:pt>
    <dgm:pt modelId="{AC0A2CAC-C516-4CCC-B772-D834570EA44A}">
      <dgm:prSet phldrT="[Texto]"/>
      <dgm:spPr/>
      <dgm:t>
        <a:bodyPr/>
        <a:lstStyle/>
        <a:p>
          <a:r>
            <a:rPr lang="es-ES" noProof="0" dirty="0"/>
            <a:t>Ingesta y tratamiento de los datos </a:t>
          </a:r>
          <a:r>
            <a:rPr lang="es-ES" noProof="0" dirty="0">
              <a:highlight>
                <a:srgbClr val="000000"/>
              </a:highlight>
            </a:rPr>
            <a:t>(BigData)</a:t>
          </a:r>
          <a:endParaRPr lang="es-ES" noProof="0" dirty="0"/>
        </a:p>
      </dgm:t>
    </dgm:pt>
    <dgm:pt modelId="{C30D1B2F-8714-4CB6-9D04-D14ECC2F3EA4}" type="parTrans" cxnId="{9A1C6603-EFEB-4F2D-B1C3-7DA88733B862}">
      <dgm:prSet/>
      <dgm:spPr/>
      <dgm:t>
        <a:bodyPr/>
        <a:lstStyle/>
        <a:p>
          <a:endParaRPr lang="es-ES" noProof="0" dirty="0"/>
        </a:p>
      </dgm:t>
    </dgm:pt>
    <dgm:pt modelId="{83D760C0-FBA3-4F68-BB5A-EAB411E73ED6}" type="sibTrans" cxnId="{9A1C6603-EFEB-4F2D-B1C3-7DA88733B862}">
      <dgm:prSet/>
      <dgm:spPr/>
      <dgm:t>
        <a:bodyPr/>
        <a:lstStyle/>
        <a:p>
          <a:endParaRPr lang="es-ES" noProof="0" dirty="0"/>
        </a:p>
      </dgm:t>
    </dgm:pt>
    <dgm:pt modelId="{7DC772B1-5324-4CF7-9017-BDC97A138E95}">
      <dgm:prSet/>
      <dgm:spPr/>
      <dgm:t>
        <a:bodyPr/>
        <a:lstStyle/>
        <a:p>
          <a:pPr rtl="0"/>
          <a:r>
            <a:rPr lang="es-ES" noProof="0" dirty="0"/>
            <a:t>Gestión de la plataforma y los procesos necesarios para la  ingesta</a:t>
          </a:r>
        </a:p>
      </dgm:t>
    </dgm:pt>
    <dgm:pt modelId="{F2C526F7-25FD-40A5-9627-5B9C0FD9D1DE}" type="parTrans" cxnId="{D7B63048-093F-4200-BF19-8F9043500218}">
      <dgm:prSet/>
      <dgm:spPr/>
      <dgm:t>
        <a:bodyPr/>
        <a:lstStyle/>
        <a:p>
          <a:endParaRPr lang="es-ES" noProof="0" dirty="0"/>
        </a:p>
      </dgm:t>
    </dgm:pt>
    <dgm:pt modelId="{4CFC54A8-0BA4-4979-8A85-2BF61EC041B0}" type="sibTrans" cxnId="{D7B63048-093F-4200-BF19-8F9043500218}">
      <dgm:prSet/>
      <dgm:spPr/>
      <dgm:t>
        <a:bodyPr/>
        <a:lstStyle/>
        <a:p>
          <a:endParaRPr lang="es-ES" noProof="0" dirty="0"/>
        </a:p>
      </dgm:t>
    </dgm:pt>
    <dgm:pt modelId="{3F7DA0A4-30C6-40DA-B44A-596CDEE6B8AF}">
      <dgm:prSet/>
      <dgm:spPr/>
      <dgm:t>
        <a:bodyPr/>
        <a:lstStyle/>
        <a:p>
          <a:r>
            <a:rPr lang="es-ES" noProof="0" dirty="0"/>
            <a:t>Herramientas y procesos para automatizar su extracción de fuentes dispares</a:t>
          </a:r>
        </a:p>
      </dgm:t>
    </dgm:pt>
    <dgm:pt modelId="{00F1B91F-EA7C-450A-9CA3-6291A72F5FA9}" type="parTrans" cxnId="{DC4F49A8-7E6B-467C-BD8D-122DDD871CFE}">
      <dgm:prSet/>
      <dgm:spPr/>
      <dgm:t>
        <a:bodyPr/>
        <a:lstStyle/>
        <a:p>
          <a:endParaRPr lang="es-ES" noProof="0" dirty="0"/>
        </a:p>
      </dgm:t>
    </dgm:pt>
    <dgm:pt modelId="{0E1DD495-F249-4728-81CA-74CFC6707776}" type="sibTrans" cxnId="{DC4F49A8-7E6B-467C-BD8D-122DDD871CFE}">
      <dgm:prSet/>
      <dgm:spPr/>
      <dgm:t>
        <a:bodyPr/>
        <a:lstStyle/>
        <a:p>
          <a:endParaRPr lang="es-ES" noProof="0" dirty="0"/>
        </a:p>
      </dgm:t>
    </dgm:pt>
    <dgm:pt modelId="{C902EFC2-38DD-4D44-92A7-400F043CAE87}">
      <dgm:prSet/>
      <dgm:spPr/>
      <dgm:t>
        <a:bodyPr/>
        <a:lstStyle/>
        <a:p>
          <a:r>
            <a:rPr lang="es-ES" noProof="0" dirty="0"/>
            <a:t>Fundamentos de los Modelos de aprendizaje automático</a:t>
          </a:r>
        </a:p>
      </dgm:t>
    </dgm:pt>
    <dgm:pt modelId="{256B3CB1-65FD-477E-ABA3-B5305D3005D3}" type="parTrans" cxnId="{290C653C-F22C-4E36-99FA-E0B36A13CFFC}">
      <dgm:prSet/>
      <dgm:spPr/>
      <dgm:t>
        <a:bodyPr/>
        <a:lstStyle/>
        <a:p>
          <a:endParaRPr lang="es-ES" noProof="0" dirty="0"/>
        </a:p>
      </dgm:t>
    </dgm:pt>
    <dgm:pt modelId="{65BCEB8F-7EAD-4A23-9972-BD69F381F4D3}" type="sibTrans" cxnId="{290C653C-F22C-4E36-99FA-E0B36A13CFFC}">
      <dgm:prSet/>
      <dgm:spPr/>
      <dgm:t>
        <a:bodyPr/>
        <a:lstStyle/>
        <a:p>
          <a:endParaRPr lang="es-ES" noProof="0" dirty="0"/>
        </a:p>
      </dgm:t>
    </dgm:pt>
    <dgm:pt modelId="{80CB13E5-9C94-4B02-9C8C-2BDF93182BCF}">
      <dgm:prSet/>
      <dgm:spPr/>
      <dgm:t>
        <a:bodyPr/>
        <a:lstStyle/>
        <a:p>
          <a:r>
            <a:rPr lang="es-ES" noProof="0" dirty="0"/>
            <a:t>Algoritmos de visión artificial: como reconocimiento de objetos, reconocimiento facial y detección de movimiento</a:t>
          </a:r>
        </a:p>
      </dgm:t>
    </dgm:pt>
    <dgm:pt modelId="{DDAB43C7-3B62-45DA-9053-D8569E878C9D}" type="parTrans" cxnId="{9EE74FF5-B7EF-4B0A-B6DD-0E708A3DC05D}">
      <dgm:prSet/>
      <dgm:spPr/>
      <dgm:t>
        <a:bodyPr/>
        <a:lstStyle/>
        <a:p>
          <a:endParaRPr lang="es-ES" noProof="0" dirty="0"/>
        </a:p>
      </dgm:t>
    </dgm:pt>
    <dgm:pt modelId="{B7834CBD-945B-44F1-A979-95EEF4AC26AF}" type="sibTrans" cxnId="{9EE74FF5-B7EF-4B0A-B6DD-0E708A3DC05D}">
      <dgm:prSet/>
      <dgm:spPr/>
      <dgm:t>
        <a:bodyPr/>
        <a:lstStyle/>
        <a:p>
          <a:endParaRPr lang="es-ES" noProof="0" dirty="0"/>
        </a:p>
      </dgm:t>
    </dgm:pt>
    <dgm:pt modelId="{E7CC2ADE-D964-417B-B94A-752BB5B11397}">
      <dgm:prSet/>
      <dgm:spPr/>
      <dgm:t>
        <a:bodyPr/>
        <a:lstStyle/>
        <a:p>
          <a:r>
            <a:rPr lang="es-ES" noProof="0" dirty="0"/>
            <a:t>Algoritmos de procesamiento del lenguaje natural: como traducción automática, análisis de sentimiento y generación de texto</a:t>
          </a:r>
        </a:p>
      </dgm:t>
    </dgm:pt>
    <dgm:pt modelId="{198047A3-120E-4208-A24E-0600589066B9}" type="parTrans" cxnId="{6B0D99B8-948C-4260-B1CF-0002237920F6}">
      <dgm:prSet/>
      <dgm:spPr/>
      <dgm:t>
        <a:bodyPr/>
        <a:lstStyle/>
        <a:p>
          <a:endParaRPr lang="es-ES" noProof="0" dirty="0"/>
        </a:p>
      </dgm:t>
    </dgm:pt>
    <dgm:pt modelId="{99A70760-7CBD-4760-A128-F96C86B3CA3D}" type="sibTrans" cxnId="{6B0D99B8-948C-4260-B1CF-0002237920F6}">
      <dgm:prSet/>
      <dgm:spPr/>
      <dgm:t>
        <a:bodyPr/>
        <a:lstStyle/>
        <a:p>
          <a:endParaRPr lang="es-ES" noProof="0" dirty="0"/>
        </a:p>
      </dgm:t>
    </dgm:pt>
    <dgm:pt modelId="{506857C1-597D-4567-8079-7E6FB1CB27DA}">
      <dgm:prSet/>
      <dgm:spPr/>
      <dgm:t>
        <a:bodyPr/>
        <a:lstStyle/>
        <a:p>
          <a:r>
            <a:rPr lang="es-ES" noProof="0" dirty="0"/>
            <a:t>Algoritmos para hacer análisis explicativo, predictivo y prescriptivo</a:t>
          </a:r>
        </a:p>
      </dgm:t>
    </dgm:pt>
    <dgm:pt modelId="{912FF732-7A7F-4BA0-8F78-F2BDE21BEF14}" type="parTrans" cxnId="{E83D552F-5289-401B-AB72-04B46CFB1B03}">
      <dgm:prSet/>
      <dgm:spPr/>
      <dgm:t>
        <a:bodyPr/>
        <a:lstStyle/>
        <a:p>
          <a:endParaRPr lang="es-ES" noProof="0" dirty="0"/>
        </a:p>
      </dgm:t>
    </dgm:pt>
    <dgm:pt modelId="{FC5997D0-6D7C-429C-942E-A2FC0DBDB7B8}" type="sibTrans" cxnId="{E83D552F-5289-401B-AB72-04B46CFB1B03}">
      <dgm:prSet/>
      <dgm:spPr/>
      <dgm:t>
        <a:bodyPr/>
        <a:lstStyle/>
        <a:p>
          <a:endParaRPr lang="es-ES" noProof="0" dirty="0"/>
        </a:p>
      </dgm:t>
    </dgm:pt>
    <dgm:pt modelId="{903EE382-ED74-46F1-BE53-A07862AB52C8}">
      <dgm:prSet/>
      <dgm:spPr/>
      <dgm:t>
        <a:bodyPr/>
        <a:lstStyle/>
        <a:p>
          <a:r>
            <a:rPr lang="es-ES" noProof="0" dirty="0">
              <a:highlight>
                <a:srgbClr val="000000"/>
              </a:highlight>
            </a:rPr>
            <a:t>Visualización</a:t>
          </a:r>
          <a:r>
            <a:rPr lang="es-ES" noProof="0" dirty="0"/>
            <a:t> de la información generada</a:t>
          </a:r>
        </a:p>
      </dgm:t>
    </dgm:pt>
    <dgm:pt modelId="{A3D39D06-752F-43EB-9F4D-5C62CF1DB856}" type="parTrans" cxnId="{19825E13-76CA-464D-8F61-77231920B0E6}">
      <dgm:prSet/>
      <dgm:spPr/>
      <dgm:t>
        <a:bodyPr/>
        <a:lstStyle/>
        <a:p>
          <a:endParaRPr lang="es-ES" noProof="0" dirty="0"/>
        </a:p>
      </dgm:t>
    </dgm:pt>
    <dgm:pt modelId="{38ABC341-CD4C-487F-AFFC-D99C3C545729}" type="sibTrans" cxnId="{19825E13-76CA-464D-8F61-77231920B0E6}">
      <dgm:prSet/>
      <dgm:spPr/>
      <dgm:t>
        <a:bodyPr/>
        <a:lstStyle/>
        <a:p>
          <a:endParaRPr lang="es-ES" noProof="0" dirty="0"/>
        </a:p>
      </dgm:t>
    </dgm:pt>
    <dgm:pt modelId="{D1483BF0-FA25-4F29-A502-BFE0A977054E}">
      <dgm:prSet/>
      <dgm:spPr/>
      <dgm:t>
        <a:bodyPr/>
        <a:lstStyle/>
        <a:p>
          <a:pPr rtl="0"/>
          <a:r>
            <a:rPr lang="es-ES" noProof="0" dirty="0"/>
            <a:t>A través de Dashboard o similar </a:t>
          </a:r>
        </a:p>
      </dgm:t>
    </dgm:pt>
    <dgm:pt modelId="{8170685E-F54F-48AC-B49D-8CC2B9AA6919}" type="parTrans" cxnId="{60E849A6-62F4-4285-BE00-382C502816B2}">
      <dgm:prSet/>
      <dgm:spPr/>
      <dgm:t>
        <a:bodyPr/>
        <a:lstStyle/>
        <a:p>
          <a:endParaRPr lang="es-ES" noProof="0" dirty="0"/>
        </a:p>
      </dgm:t>
    </dgm:pt>
    <dgm:pt modelId="{3D59A008-C965-448D-AAD9-7E98387ADDF9}" type="sibTrans" cxnId="{60E849A6-62F4-4285-BE00-382C502816B2}">
      <dgm:prSet/>
      <dgm:spPr/>
      <dgm:t>
        <a:bodyPr/>
        <a:lstStyle/>
        <a:p>
          <a:endParaRPr lang="es-ES" noProof="0" dirty="0"/>
        </a:p>
      </dgm:t>
    </dgm:pt>
    <dgm:pt modelId="{10B1DEEC-4272-4956-9067-C8F34F9A023A}">
      <dgm:prSet/>
      <dgm:spPr/>
      <dgm:t>
        <a:bodyPr/>
        <a:lstStyle/>
        <a:p>
          <a:r>
            <a:rPr lang="es-ES" noProof="0" dirty="0"/>
            <a:t>Proporcionando la entrada de información a otras herramientas</a:t>
          </a:r>
        </a:p>
      </dgm:t>
    </dgm:pt>
    <dgm:pt modelId="{0D604974-51CC-4FDB-9361-7DBB237CAC08}" type="parTrans" cxnId="{0E2C7C58-A5C1-487A-8BF6-85F03A59C005}">
      <dgm:prSet/>
      <dgm:spPr/>
      <dgm:t>
        <a:bodyPr/>
        <a:lstStyle/>
        <a:p>
          <a:endParaRPr lang="es-ES" noProof="0" dirty="0"/>
        </a:p>
      </dgm:t>
    </dgm:pt>
    <dgm:pt modelId="{242260B8-23E8-4CC8-AA9A-ED05D639C90C}" type="sibTrans" cxnId="{0E2C7C58-A5C1-487A-8BF6-85F03A59C005}">
      <dgm:prSet/>
      <dgm:spPr/>
      <dgm:t>
        <a:bodyPr/>
        <a:lstStyle/>
        <a:p>
          <a:endParaRPr lang="es-ES" noProof="0" dirty="0"/>
        </a:p>
      </dgm:t>
    </dgm:pt>
    <dgm:pt modelId="{604B9358-6A9A-4D4A-B999-A0021BF32FB2}">
      <dgm:prSet phldr="0"/>
      <dgm:spPr/>
      <dgm:t>
        <a:bodyPr/>
        <a:lstStyle/>
        <a:p>
          <a:pPr rtl="0"/>
          <a:r>
            <a:rPr lang="es-ES" noProof="0" dirty="0"/>
            <a:t>Prompt Engineering</a:t>
          </a:r>
        </a:p>
      </dgm:t>
    </dgm:pt>
    <dgm:pt modelId="{72EE83CB-75A5-4C09-B12E-CAE047FAEFF9}" type="parTrans" cxnId="{5E9025A7-BA32-4D19-B42D-624A47E85B2F}">
      <dgm:prSet/>
      <dgm:spPr/>
      <dgm:t>
        <a:bodyPr/>
        <a:lstStyle/>
        <a:p>
          <a:endParaRPr lang="es-ES" noProof="0" dirty="0"/>
        </a:p>
      </dgm:t>
    </dgm:pt>
    <dgm:pt modelId="{2E67F93C-20DB-4656-A452-107EDC6C99C7}" type="sibTrans" cxnId="{5E9025A7-BA32-4D19-B42D-624A47E85B2F}">
      <dgm:prSet/>
      <dgm:spPr/>
      <dgm:t>
        <a:bodyPr/>
        <a:lstStyle/>
        <a:p>
          <a:endParaRPr lang="es-ES" noProof="0" dirty="0"/>
        </a:p>
      </dgm:t>
    </dgm:pt>
    <dgm:pt modelId="{B727B06F-05D5-4D06-A099-25F5F56D9B9A}">
      <dgm:prSet/>
      <dgm:spPr/>
      <dgm:t>
        <a:bodyPr/>
        <a:lstStyle/>
        <a:p>
          <a:r>
            <a:rPr lang="es-ES" noProof="0" dirty="0"/>
            <a:t>Ingesta y procesamiento conforme al servicio que va a utilizar los datos</a:t>
          </a:r>
        </a:p>
      </dgm:t>
    </dgm:pt>
    <dgm:pt modelId="{26D8DE96-6358-4ACE-BBD7-B4CAE1383C40}" type="parTrans" cxnId="{DBBEC539-D80F-40E0-86E1-B5D7F1922E88}">
      <dgm:prSet/>
      <dgm:spPr/>
      <dgm:t>
        <a:bodyPr/>
        <a:lstStyle/>
        <a:p>
          <a:endParaRPr lang="es-ES" noProof="0" dirty="0"/>
        </a:p>
      </dgm:t>
    </dgm:pt>
    <dgm:pt modelId="{AB398BEC-6E5D-4842-861C-DB5FA126082A}" type="sibTrans" cxnId="{DBBEC539-D80F-40E0-86E1-B5D7F1922E88}">
      <dgm:prSet/>
      <dgm:spPr/>
      <dgm:t>
        <a:bodyPr/>
        <a:lstStyle/>
        <a:p>
          <a:endParaRPr lang="es-ES" noProof="0" dirty="0"/>
        </a:p>
      </dgm:t>
    </dgm:pt>
    <dgm:pt modelId="{4FE0683F-1528-448A-985B-8BBEAB8DF2EC}">
      <dgm:prSet/>
      <dgm:spPr/>
      <dgm:t>
        <a:bodyPr/>
        <a:lstStyle/>
        <a:p>
          <a:pPr rtl="0"/>
          <a:r>
            <a:rPr lang="es-ES" noProof="0" dirty="0"/>
            <a:t>IA </a:t>
          </a:r>
          <a:r>
            <a:rPr lang="es-ES" noProof="0" dirty="0">
              <a:highlight>
                <a:srgbClr val="000000"/>
              </a:highlight>
            </a:rPr>
            <a:t>tradicional</a:t>
          </a:r>
        </a:p>
      </dgm:t>
    </dgm:pt>
    <dgm:pt modelId="{E91973C4-C006-4836-9B61-3F95D15A3844}" type="parTrans" cxnId="{4B515DEE-1B6B-40CE-BF29-F81D68C8FAAE}">
      <dgm:prSet/>
      <dgm:spPr/>
      <dgm:t>
        <a:bodyPr/>
        <a:lstStyle/>
        <a:p>
          <a:endParaRPr lang="es-ES"/>
        </a:p>
      </dgm:t>
    </dgm:pt>
    <dgm:pt modelId="{67945BAC-84CE-471E-9D8E-E8FCEFD342AD}" type="sibTrans" cxnId="{4B515DEE-1B6B-40CE-BF29-F81D68C8FAAE}">
      <dgm:prSet/>
      <dgm:spPr/>
      <dgm:t>
        <a:bodyPr/>
        <a:lstStyle/>
        <a:p>
          <a:endParaRPr lang="es-ES"/>
        </a:p>
      </dgm:t>
    </dgm:pt>
    <dgm:pt modelId="{DF3D0CD3-893B-4D7E-888B-9627952997D5}">
      <dgm:prSet phldr="0"/>
      <dgm:spPr/>
      <dgm:t>
        <a:bodyPr/>
        <a:lstStyle/>
        <a:p>
          <a:pPr rtl="0"/>
          <a:r>
            <a:rPr lang="es-ES" noProof="0" dirty="0"/>
            <a:t>Inteligencia Artificial </a:t>
          </a:r>
          <a:r>
            <a:rPr lang="es-ES" noProof="0" dirty="0">
              <a:highlight>
                <a:srgbClr val="000000"/>
              </a:highlight>
            </a:rPr>
            <a:t>generativa</a:t>
          </a:r>
        </a:p>
      </dgm:t>
    </dgm:pt>
    <dgm:pt modelId="{18C9F8C5-73F1-4BB2-9FAD-D83BB39CAA5F}" type="parTrans" cxnId="{88D69C36-9A12-49BA-8E22-949CFBE37996}">
      <dgm:prSet/>
      <dgm:spPr/>
      <dgm:t>
        <a:bodyPr/>
        <a:lstStyle/>
        <a:p>
          <a:endParaRPr lang="es-ES"/>
        </a:p>
      </dgm:t>
    </dgm:pt>
    <dgm:pt modelId="{A24B004A-D962-4F12-9EFB-8610B5C81DD0}" type="sibTrans" cxnId="{88D69C36-9A12-49BA-8E22-949CFBE37996}">
      <dgm:prSet/>
      <dgm:spPr/>
      <dgm:t>
        <a:bodyPr/>
        <a:lstStyle/>
        <a:p>
          <a:endParaRPr lang="es-ES"/>
        </a:p>
      </dgm:t>
    </dgm:pt>
    <dgm:pt modelId="{F9FCBB0F-527F-4C1D-9C72-3E412BB402D6}">
      <dgm:prSet phldr="0"/>
      <dgm:spPr/>
      <dgm:t>
        <a:bodyPr/>
        <a:lstStyle/>
        <a:p>
          <a:pPr rtl="0"/>
          <a:r>
            <a:rPr lang="es-ES" noProof="0" dirty="0"/>
            <a:t>Fundamentos de LLM (Lenguaje natural)</a:t>
          </a:r>
        </a:p>
      </dgm:t>
    </dgm:pt>
    <dgm:pt modelId="{4475A61A-DC8D-4182-B300-82B9D4BDC958}" type="parTrans" cxnId="{D4511913-C636-4644-B9A4-6FAD242E2EC1}">
      <dgm:prSet/>
      <dgm:spPr/>
      <dgm:t>
        <a:bodyPr/>
        <a:lstStyle/>
        <a:p>
          <a:endParaRPr lang="es-ES"/>
        </a:p>
      </dgm:t>
    </dgm:pt>
    <dgm:pt modelId="{54B0C23C-180A-4A96-8589-5C8E08DB6E40}" type="sibTrans" cxnId="{D4511913-C636-4644-B9A4-6FAD242E2EC1}">
      <dgm:prSet/>
      <dgm:spPr/>
      <dgm:t>
        <a:bodyPr/>
        <a:lstStyle/>
        <a:p>
          <a:endParaRPr lang="es-ES"/>
        </a:p>
      </dgm:t>
    </dgm:pt>
    <dgm:pt modelId="{67EE5740-E8C6-467A-A068-0DBF8FBA35E4}">
      <dgm:prSet phldr="0"/>
      <dgm:spPr/>
      <dgm:t>
        <a:bodyPr/>
        <a:lstStyle/>
        <a:p>
          <a:pPr rtl="0"/>
          <a:r>
            <a:rPr lang="es-ES" noProof="0" dirty="0"/>
            <a:t>Tratamiento de imágenes</a:t>
          </a:r>
        </a:p>
      </dgm:t>
    </dgm:pt>
    <dgm:pt modelId="{A4D7745E-5CE3-41AA-9D14-2EC256A4AADF}" type="parTrans" cxnId="{EABB0D90-2D24-4AFA-B5C2-3A33D667A65B}">
      <dgm:prSet/>
      <dgm:spPr/>
      <dgm:t>
        <a:bodyPr/>
        <a:lstStyle/>
        <a:p>
          <a:endParaRPr lang="es-ES"/>
        </a:p>
      </dgm:t>
    </dgm:pt>
    <dgm:pt modelId="{BBF7FE69-9BFF-4403-9474-980887E0178F}" type="sibTrans" cxnId="{EABB0D90-2D24-4AFA-B5C2-3A33D667A65B}">
      <dgm:prSet/>
      <dgm:spPr/>
      <dgm:t>
        <a:bodyPr/>
        <a:lstStyle/>
        <a:p>
          <a:endParaRPr lang="es-ES"/>
        </a:p>
      </dgm:t>
    </dgm:pt>
    <dgm:pt modelId="{96A8DBB0-0187-4024-AF77-DF4093FA569C}">
      <dgm:prSet phldr="0"/>
      <dgm:spPr/>
      <dgm:t>
        <a:bodyPr/>
        <a:lstStyle/>
        <a:p>
          <a:pPr rtl="0"/>
          <a:r>
            <a:rPr lang="es-ES" noProof="0" dirty="0">
              <a:highlight>
                <a:srgbClr val="FFCDCC"/>
              </a:highlight>
            </a:rPr>
            <a:t>Ajustes: Fine Tuning y Grounding</a:t>
          </a:r>
        </a:p>
      </dgm:t>
    </dgm:pt>
    <dgm:pt modelId="{D97FC515-3F8A-44A6-A25E-3356E4DB51BB}" type="parTrans" cxnId="{8438B4F9-7D19-4B5A-91F9-3FC85C210F8C}">
      <dgm:prSet/>
      <dgm:spPr/>
      <dgm:t>
        <a:bodyPr/>
        <a:lstStyle/>
        <a:p>
          <a:endParaRPr lang="es-ES"/>
        </a:p>
      </dgm:t>
    </dgm:pt>
    <dgm:pt modelId="{66C68885-45E5-4C1F-9F5F-64483DE6E367}" type="sibTrans" cxnId="{8438B4F9-7D19-4B5A-91F9-3FC85C210F8C}">
      <dgm:prSet/>
      <dgm:spPr/>
      <dgm:t>
        <a:bodyPr/>
        <a:lstStyle/>
        <a:p>
          <a:endParaRPr lang="es-ES"/>
        </a:p>
      </dgm:t>
    </dgm:pt>
    <dgm:pt modelId="{9FD0C264-C63C-43B3-8290-977FFF06E9C9}">
      <dgm:prSet/>
      <dgm:spPr/>
      <dgm:t>
        <a:bodyPr/>
        <a:lstStyle/>
        <a:p>
          <a:r>
            <a:rPr lang="es-ES" noProof="0" dirty="0">
              <a:highlight>
                <a:srgbClr val="FFCDCC"/>
              </a:highlight>
            </a:rPr>
            <a:t>Entrenamiento del algoritmo</a:t>
          </a:r>
        </a:p>
      </dgm:t>
    </dgm:pt>
    <dgm:pt modelId="{E74B9C5C-2E0F-4BD6-9588-A32DEBC2198D}" type="parTrans" cxnId="{6F6E227F-41B5-45D1-A69C-EB460FC1EF2F}">
      <dgm:prSet/>
      <dgm:spPr/>
      <dgm:t>
        <a:bodyPr/>
        <a:lstStyle/>
        <a:p>
          <a:endParaRPr lang="es-ES"/>
        </a:p>
      </dgm:t>
    </dgm:pt>
    <dgm:pt modelId="{94741076-8A20-4736-8852-5A003A9B5CF9}" type="sibTrans" cxnId="{6F6E227F-41B5-45D1-A69C-EB460FC1EF2F}">
      <dgm:prSet/>
      <dgm:spPr/>
      <dgm:t>
        <a:bodyPr/>
        <a:lstStyle/>
        <a:p>
          <a:endParaRPr lang="es-ES"/>
        </a:p>
      </dgm:t>
    </dgm:pt>
    <dgm:pt modelId="{CEB794E5-BBD1-402B-937C-BE4C0BEC383D}">
      <dgm:prSet/>
      <dgm:spPr/>
      <dgm:t>
        <a:bodyPr/>
        <a:lstStyle/>
        <a:p>
          <a:r>
            <a:rPr lang="es-ES" noProof="0" dirty="0">
              <a:highlight>
                <a:srgbClr val="FFCDCC"/>
              </a:highlight>
            </a:rPr>
            <a:t>Limpieza y calidad del dato</a:t>
          </a:r>
        </a:p>
      </dgm:t>
    </dgm:pt>
    <dgm:pt modelId="{924AC7A6-B32A-420D-BAB7-1002CD309AC2}" type="parTrans" cxnId="{8293F6C2-9F1E-43AF-818D-DEF2D54F93C3}">
      <dgm:prSet/>
      <dgm:spPr/>
      <dgm:t>
        <a:bodyPr/>
        <a:lstStyle/>
        <a:p>
          <a:endParaRPr lang="es-ES"/>
        </a:p>
      </dgm:t>
    </dgm:pt>
    <dgm:pt modelId="{1A54569E-ED93-4084-8EA8-0B6E1A900561}" type="sibTrans" cxnId="{8293F6C2-9F1E-43AF-818D-DEF2D54F93C3}">
      <dgm:prSet/>
      <dgm:spPr/>
      <dgm:t>
        <a:bodyPr/>
        <a:lstStyle/>
        <a:p>
          <a:endParaRPr lang="es-ES"/>
        </a:p>
      </dgm:t>
    </dgm:pt>
    <dgm:pt modelId="{43A34633-006A-4D82-97FA-6BC69F76119E}">
      <dgm:prSet phldrT="[Texto]"/>
      <dgm:spPr/>
      <dgm:t>
        <a:bodyPr/>
        <a:lstStyle/>
        <a:p>
          <a:r>
            <a:rPr lang="es-ES" noProof="0" dirty="0"/>
            <a:t>Transformación digital</a:t>
          </a:r>
        </a:p>
      </dgm:t>
    </dgm:pt>
    <dgm:pt modelId="{16C9C72D-9AEB-4708-9513-9EA4A383B9DB}" type="parTrans" cxnId="{177F5FC6-6A68-47AD-83D2-6B8DCC78D2F4}">
      <dgm:prSet/>
      <dgm:spPr/>
      <dgm:t>
        <a:bodyPr/>
        <a:lstStyle/>
        <a:p>
          <a:endParaRPr lang="es-ES"/>
        </a:p>
      </dgm:t>
    </dgm:pt>
    <dgm:pt modelId="{64D3C938-19AA-4A4A-B58E-A9538E0AC4F1}" type="sibTrans" cxnId="{177F5FC6-6A68-47AD-83D2-6B8DCC78D2F4}">
      <dgm:prSet/>
      <dgm:spPr/>
      <dgm:t>
        <a:bodyPr/>
        <a:lstStyle/>
        <a:p>
          <a:endParaRPr lang="es-ES"/>
        </a:p>
      </dgm:t>
    </dgm:pt>
    <dgm:pt modelId="{4538E220-90C5-4D46-9A9D-4EFFA19B225F}">
      <dgm:prSet phldrT="[Texto]"/>
      <dgm:spPr/>
      <dgm:t>
        <a:bodyPr/>
        <a:lstStyle/>
        <a:p>
          <a:r>
            <a:rPr lang="es-ES" noProof="0" dirty="0"/>
            <a:t>Un proceso continuo</a:t>
          </a:r>
        </a:p>
      </dgm:t>
    </dgm:pt>
    <dgm:pt modelId="{373A0E81-0237-4521-A19C-2114142D3F31}" type="parTrans" cxnId="{7BB451F5-0A46-4D89-A83E-0A67ECB29E3D}">
      <dgm:prSet/>
      <dgm:spPr/>
      <dgm:t>
        <a:bodyPr/>
        <a:lstStyle/>
        <a:p>
          <a:endParaRPr lang="es-ES"/>
        </a:p>
      </dgm:t>
    </dgm:pt>
    <dgm:pt modelId="{F90D2701-BD6A-4C15-9BDA-973DE346C7CE}" type="sibTrans" cxnId="{7BB451F5-0A46-4D89-A83E-0A67ECB29E3D}">
      <dgm:prSet/>
      <dgm:spPr/>
      <dgm:t>
        <a:bodyPr/>
        <a:lstStyle/>
        <a:p>
          <a:endParaRPr lang="es-ES"/>
        </a:p>
      </dgm:t>
    </dgm:pt>
    <dgm:pt modelId="{C1619379-5EE8-4154-A8EF-04EE198E7F62}">
      <dgm:prSet phldrT="[Texto]"/>
      <dgm:spPr/>
      <dgm:t>
        <a:bodyPr/>
        <a:lstStyle/>
        <a:p>
          <a:r>
            <a:rPr lang="es-ES" noProof="0" dirty="0"/>
            <a:t>Los cuatro vectores y la tecnología.</a:t>
          </a:r>
        </a:p>
      </dgm:t>
    </dgm:pt>
    <dgm:pt modelId="{52A1C6DA-C09B-4877-9E4B-821CB6FD68A7}" type="parTrans" cxnId="{6975FBF0-C8AD-497B-B95C-0C8EB5C83A5B}">
      <dgm:prSet/>
      <dgm:spPr/>
      <dgm:t>
        <a:bodyPr/>
        <a:lstStyle/>
        <a:p>
          <a:endParaRPr lang="es-ES"/>
        </a:p>
      </dgm:t>
    </dgm:pt>
    <dgm:pt modelId="{0F09F28F-5738-4F85-956C-F65F84EA53B3}" type="sibTrans" cxnId="{6975FBF0-C8AD-497B-B95C-0C8EB5C83A5B}">
      <dgm:prSet/>
      <dgm:spPr/>
      <dgm:t>
        <a:bodyPr/>
        <a:lstStyle/>
        <a:p>
          <a:endParaRPr lang="es-ES"/>
        </a:p>
      </dgm:t>
    </dgm:pt>
    <dgm:pt modelId="{270C3BAE-307C-48B0-8D61-40F267F567BE}">
      <dgm:prSet phldrT="[Texto]"/>
      <dgm:spPr/>
      <dgm:t>
        <a:bodyPr/>
        <a:lstStyle/>
        <a:p>
          <a:r>
            <a:rPr lang="es-ES" noProof="0" dirty="0"/>
            <a:t>Perfiles tecnológicos.</a:t>
          </a:r>
        </a:p>
      </dgm:t>
    </dgm:pt>
    <dgm:pt modelId="{0E038A63-FE68-43EF-87EC-18F37C2EA14F}" type="parTrans" cxnId="{AAD15DAD-8202-459D-8414-92556E537931}">
      <dgm:prSet/>
      <dgm:spPr/>
      <dgm:t>
        <a:bodyPr/>
        <a:lstStyle/>
        <a:p>
          <a:endParaRPr lang="es-ES"/>
        </a:p>
      </dgm:t>
    </dgm:pt>
    <dgm:pt modelId="{9F8F2ED0-B3D3-47D5-8480-804A0D052031}" type="sibTrans" cxnId="{AAD15DAD-8202-459D-8414-92556E537931}">
      <dgm:prSet/>
      <dgm:spPr/>
      <dgm:t>
        <a:bodyPr/>
        <a:lstStyle/>
        <a:p>
          <a:endParaRPr lang="es-ES"/>
        </a:p>
      </dgm:t>
    </dgm:pt>
    <dgm:pt modelId="{A2342D7C-6B41-469B-A255-448901F43DCB}">
      <dgm:prSet phldrT="[Texto]"/>
      <dgm:spPr/>
      <dgm:t>
        <a:bodyPr/>
        <a:lstStyle/>
        <a:p>
          <a:r>
            <a:rPr lang="es-ES" noProof="0" dirty="0"/>
            <a:t>El dato (orientación al dato).</a:t>
          </a:r>
        </a:p>
      </dgm:t>
    </dgm:pt>
    <dgm:pt modelId="{205CEEA6-FB16-4480-8E8C-EA1C8BD30D9A}" type="parTrans" cxnId="{1B11079D-1351-477B-8236-EEE9D3D6AD5C}">
      <dgm:prSet/>
      <dgm:spPr/>
      <dgm:t>
        <a:bodyPr/>
        <a:lstStyle/>
        <a:p>
          <a:endParaRPr lang="es-ES"/>
        </a:p>
      </dgm:t>
    </dgm:pt>
    <dgm:pt modelId="{906DBF83-4D29-4302-9A1C-43EFD91E7DA6}" type="sibTrans" cxnId="{1B11079D-1351-477B-8236-EEE9D3D6AD5C}">
      <dgm:prSet/>
      <dgm:spPr/>
      <dgm:t>
        <a:bodyPr/>
        <a:lstStyle/>
        <a:p>
          <a:endParaRPr lang="es-ES"/>
        </a:p>
      </dgm:t>
    </dgm:pt>
    <dgm:pt modelId="{B947A7A8-C8E9-4AD1-8559-8E7F1B3FBFAE}">
      <dgm:prSet phldrT="[Texto]"/>
      <dgm:spPr/>
      <dgm:t>
        <a:bodyPr/>
        <a:lstStyle/>
        <a:p>
          <a:r>
            <a:rPr lang="es-ES" noProof="0" dirty="0"/>
            <a:t>Un proyecto: su venta, desarrollo y producción. </a:t>
          </a:r>
          <a:br>
            <a:rPr lang="es-ES" noProof="0" dirty="0"/>
          </a:br>
          <a:endParaRPr lang="es-ES" noProof="0" dirty="0"/>
        </a:p>
      </dgm:t>
    </dgm:pt>
    <dgm:pt modelId="{56010D27-F45F-4F7B-8637-314EFCE1DB21}" type="parTrans" cxnId="{892F76B9-E18E-45DC-877E-1239106FA97C}">
      <dgm:prSet/>
      <dgm:spPr/>
      <dgm:t>
        <a:bodyPr/>
        <a:lstStyle/>
        <a:p>
          <a:endParaRPr lang="es-ES"/>
        </a:p>
      </dgm:t>
    </dgm:pt>
    <dgm:pt modelId="{05921B20-F37F-49D4-91CD-6EDD781F1B5B}" type="sibTrans" cxnId="{892F76B9-E18E-45DC-877E-1239106FA97C}">
      <dgm:prSet/>
      <dgm:spPr/>
      <dgm:t>
        <a:bodyPr/>
        <a:lstStyle/>
        <a:p>
          <a:endParaRPr lang="es-ES"/>
        </a:p>
      </dgm:t>
    </dgm:pt>
    <dgm:pt modelId="{AD5F1286-EA00-43C3-AEEB-E875CAAB11B0}" type="pres">
      <dgm:prSet presAssocID="{EEE727D1-1196-4636-AAB6-D854313A1A51}" presName="Name0" presStyleCnt="0">
        <dgm:presLayoutVars>
          <dgm:dir/>
          <dgm:animLvl val="lvl"/>
          <dgm:resizeHandles val="exact"/>
        </dgm:presLayoutVars>
      </dgm:prSet>
      <dgm:spPr/>
    </dgm:pt>
    <dgm:pt modelId="{7CF4C66E-CE2B-4EDF-AE76-54F726B7F496}" type="pres">
      <dgm:prSet presAssocID="{43A34633-006A-4D82-97FA-6BC69F76119E}" presName="composite" presStyleCnt="0"/>
      <dgm:spPr/>
    </dgm:pt>
    <dgm:pt modelId="{BEE33B16-1CE6-4A2F-8B58-0C510BC5694E}" type="pres">
      <dgm:prSet presAssocID="{43A34633-006A-4D82-97FA-6BC69F76119E}" presName="parTx" presStyleLbl="node1" presStyleIdx="0" presStyleCnt="5">
        <dgm:presLayoutVars>
          <dgm:chMax val="0"/>
          <dgm:chPref val="0"/>
          <dgm:bulletEnabled val="1"/>
        </dgm:presLayoutVars>
      </dgm:prSet>
      <dgm:spPr/>
    </dgm:pt>
    <dgm:pt modelId="{EDB72548-CE5D-45B0-B3D1-D5CA13286676}" type="pres">
      <dgm:prSet presAssocID="{43A34633-006A-4D82-97FA-6BC69F76119E}" presName="desTx" presStyleLbl="revTx" presStyleIdx="0" presStyleCnt="5">
        <dgm:presLayoutVars>
          <dgm:bulletEnabled val="1"/>
        </dgm:presLayoutVars>
      </dgm:prSet>
      <dgm:spPr/>
    </dgm:pt>
    <dgm:pt modelId="{05AADC04-E4B0-4607-B906-1DCB79926593}" type="pres">
      <dgm:prSet presAssocID="{64D3C938-19AA-4A4A-B58E-A9538E0AC4F1}" presName="space" presStyleCnt="0"/>
      <dgm:spPr/>
    </dgm:pt>
    <dgm:pt modelId="{DEB78BD2-83ED-4922-8934-FC5A47634564}" type="pres">
      <dgm:prSet presAssocID="{AC0A2CAC-C516-4CCC-B772-D834570EA44A}" presName="composite" presStyleCnt="0"/>
      <dgm:spPr/>
    </dgm:pt>
    <dgm:pt modelId="{016FEC40-0324-4130-9D49-165C1341C054}" type="pres">
      <dgm:prSet presAssocID="{AC0A2CAC-C516-4CCC-B772-D834570EA44A}" presName="parTx" presStyleLbl="node1" presStyleIdx="1" presStyleCnt="5">
        <dgm:presLayoutVars>
          <dgm:chMax val="0"/>
          <dgm:chPref val="0"/>
          <dgm:bulletEnabled val="1"/>
        </dgm:presLayoutVars>
      </dgm:prSet>
      <dgm:spPr/>
    </dgm:pt>
    <dgm:pt modelId="{ECF71C3D-BC85-4DD7-8A1C-B755759CAC7F}" type="pres">
      <dgm:prSet presAssocID="{AC0A2CAC-C516-4CCC-B772-D834570EA44A}" presName="desTx" presStyleLbl="revTx" presStyleIdx="1" presStyleCnt="5">
        <dgm:presLayoutVars>
          <dgm:bulletEnabled val="1"/>
        </dgm:presLayoutVars>
      </dgm:prSet>
      <dgm:spPr/>
    </dgm:pt>
    <dgm:pt modelId="{0D0A7069-48A3-4C0C-8D76-E337ABF027B7}" type="pres">
      <dgm:prSet presAssocID="{83D760C0-FBA3-4F68-BB5A-EAB411E73ED6}" presName="space" presStyleCnt="0"/>
      <dgm:spPr/>
    </dgm:pt>
    <dgm:pt modelId="{FE909E4B-0B43-4D55-B8A5-87C2B52763BE}" type="pres">
      <dgm:prSet presAssocID="{903EE382-ED74-46F1-BE53-A07862AB52C8}" presName="composite" presStyleCnt="0"/>
      <dgm:spPr/>
    </dgm:pt>
    <dgm:pt modelId="{55509D5F-6653-4D98-8C98-15B97BBA417C}" type="pres">
      <dgm:prSet presAssocID="{903EE382-ED74-46F1-BE53-A07862AB52C8}" presName="parTx" presStyleLbl="node1" presStyleIdx="2" presStyleCnt="5">
        <dgm:presLayoutVars>
          <dgm:chMax val="0"/>
          <dgm:chPref val="0"/>
          <dgm:bulletEnabled val="1"/>
        </dgm:presLayoutVars>
      </dgm:prSet>
      <dgm:spPr/>
    </dgm:pt>
    <dgm:pt modelId="{F9F4454D-08E9-4C13-B246-77FBEC9BEC0E}" type="pres">
      <dgm:prSet presAssocID="{903EE382-ED74-46F1-BE53-A07862AB52C8}" presName="desTx" presStyleLbl="revTx" presStyleIdx="2" presStyleCnt="5">
        <dgm:presLayoutVars>
          <dgm:bulletEnabled val="1"/>
        </dgm:presLayoutVars>
      </dgm:prSet>
      <dgm:spPr/>
    </dgm:pt>
    <dgm:pt modelId="{1CEA4670-B32B-4A9F-9FAE-C0720AB01255}" type="pres">
      <dgm:prSet presAssocID="{38ABC341-CD4C-487F-AFFC-D99C3C545729}" presName="space" presStyleCnt="0"/>
      <dgm:spPr/>
    </dgm:pt>
    <dgm:pt modelId="{F60AA683-C97D-494D-9D0C-BFDF6AD1C05B}" type="pres">
      <dgm:prSet presAssocID="{DF3D0CD3-893B-4D7E-888B-9627952997D5}" presName="composite" presStyleCnt="0"/>
      <dgm:spPr/>
    </dgm:pt>
    <dgm:pt modelId="{9DFBD93E-2E8F-4F74-8E65-19F7BFF7AA2B}" type="pres">
      <dgm:prSet presAssocID="{DF3D0CD3-893B-4D7E-888B-9627952997D5}" presName="parTx" presStyleLbl="node1" presStyleIdx="3" presStyleCnt="5">
        <dgm:presLayoutVars>
          <dgm:chMax val="0"/>
          <dgm:chPref val="0"/>
          <dgm:bulletEnabled val="1"/>
        </dgm:presLayoutVars>
      </dgm:prSet>
      <dgm:spPr/>
    </dgm:pt>
    <dgm:pt modelId="{E6A64283-551C-42AC-8351-E9A211CBE349}" type="pres">
      <dgm:prSet presAssocID="{DF3D0CD3-893B-4D7E-888B-9627952997D5}" presName="desTx" presStyleLbl="revTx" presStyleIdx="3" presStyleCnt="5">
        <dgm:presLayoutVars>
          <dgm:bulletEnabled val="1"/>
        </dgm:presLayoutVars>
      </dgm:prSet>
      <dgm:spPr/>
    </dgm:pt>
    <dgm:pt modelId="{3DA4B5FA-D63B-4FE2-BE3F-9C240AFBE47A}" type="pres">
      <dgm:prSet presAssocID="{A24B004A-D962-4F12-9EFB-8610B5C81DD0}" presName="space" presStyleCnt="0"/>
      <dgm:spPr/>
    </dgm:pt>
    <dgm:pt modelId="{0E501E67-B58B-4130-8B17-A803923B4677}" type="pres">
      <dgm:prSet presAssocID="{4FE0683F-1528-448A-985B-8BBEAB8DF2EC}" presName="composite" presStyleCnt="0"/>
      <dgm:spPr/>
    </dgm:pt>
    <dgm:pt modelId="{624B82A9-BE52-46D4-BDC0-688D005CE0A5}" type="pres">
      <dgm:prSet presAssocID="{4FE0683F-1528-448A-985B-8BBEAB8DF2EC}" presName="parTx" presStyleLbl="node1" presStyleIdx="4" presStyleCnt="5">
        <dgm:presLayoutVars>
          <dgm:chMax val="0"/>
          <dgm:chPref val="0"/>
          <dgm:bulletEnabled val="1"/>
        </dgm:presLayoutVars>
      </dgm:prSet>
      <dgm:spPr/>
    </dgm:pt>
    <dgm:pt modelId="{A7127549-90EF-40A5-ACD4-5851A4A1E4DD}" type="pres">
      <dgm:prSet presAssocID="{4FE0683F-1528-448A-985B-8BBEAB8DF2EC}" presName="desTx" presStyleLbl="revTx" presStyleIdx="4" presStyleCnt="5">
        <dgm:presLayoutVars>
          <dgm:bulletEnabled val="1"/>
        </dgm:presLayoutVars>
      </dgm:prSet>
      <dgm:spPr/>
    </dgm:pt>
  </dgm:ptLst>
  <dgm:cxnLst>
    <dgm:cxn modelId="{5BB9C400-D17A-4DA1-95CF-0E02E124A200}" type="presOf" srcId="{B947A7A8-C8E9-4AD1-8559-8E7F1B3FBFAE}" destId="{EDB72548-CE5D-45B0-B3D1-D5CA13286676}" srcOrd="0" destOrd="4" presId="urn:microsoft.com/office/officeart/2005/8/layout/chevron1"/>
    <dgm:cxn modelId="{9A1C6603-EFEB-4F2D-B1C3-7DA88733B862}" srcId="{EEE727D1-1196-4636-AAB6-D854313A1A51}" destId="{AC0A2CAC-C516-4CCC-B772-D834570EA44A}" srcOrd="1" destOrd="0" parTransId="{C30D1B2F-8714-4CB6-9D04-D14ECC2F3EA4}" sibTransId="{83D760C0-FBA3-4F68-BB5A-EAB411E73ED6}"/>
    <dgm:cxn modelId="{210CBB08-00CF-48E6-ADDB-C393A37F6B1E}" type="presOf" srcId="{4FE0683F-1528-448A-985B-8BBEAB8DF2EC}" destId="{624B82A9-BE52-46D4-BDC0-688D005CE0A5}" srcOrd="0" destOrd="0" presId="urn:microsoft.com/office/officeart/2005/8/layout/chevron1"/>
    <dgm:cxn modelId="{BEC03609-86BD-4DA5-ABF0-F84E2EB9CBBA}" type="presOf" srcId="{10B1DEEC-4272-4956-9067-C8F34F9A023A}" destId="{F9F4454D-08E9-4C13-B246-77FBEC9BEC0E}" srcOrd="0" destOrd="1" presId="urn:microsoft.com/office/officeart/2005/8/layout/chevron1"/>
    <dgm:cxn modelId="{D4511913-C636-4644-B9A4-6FAD242E2EC1}" srcId="{DF3D0CD3-893B-4D7E-888B-9627952997D5}" destId="{F9FCBB0F-527F-4C1D-9C72-3E412BB402D6}" srcOrd="1" destOrd="0" parTransId="{4475A61A-DC8D-4182-B300-82B9D4BDC958}" sibTransId="{54B0C23C-180A-4A96-8589-5C8E08DB6E40}"/>
    <dgm:cxn modelId="{19825E13-76CA-464D-8F61-77231920B0E6}" srcId="{EEE727D1-1196-4636-AAB6-D854313A1A51}" destId="{903EE382-ED74-46F1-BE53-A07862AB52C8}" srcOrd="2" destOrd="0" parTransId="{A3D39D06-752F-43EB-9F4D-5C62CF1DB856}" sibTransId="{38ABC341-CD4C-487F-AFFC-D99C3C545729}"/>
    <dgm:cxn modelId="{DD7CFF1E-4DEE-4658-9F37-7010973689F1}" type="presOf" srcId="{C902EFC2-38DD-4D44-92A7-400F043CAE87}" destId="{A7127549-90EF-40A5-ACD4-5851A4A1E4DD}" srcOrd="0" destOrd="0" presId="urn:microsoft.com/office/officeart/2005/8/layout/chevron1"/>
    <dgm:cxn modelId="{03B75E2A-51E8-4D67-83C9-C333F02BD556}" type="presOf" srcId="{EEE727D1-1196-4636-AAB6-D854313A1A51}" destId="{AD5F1286-EA00-43C3-AEEB-E875CAAB11B0}" srcOrd="0" destOrd="0" presId="urn:microsoft.com/office/officeart/2005/8/layout/chevron1"/>
    <dgm:cxn modelId="{E83D552F-5289-401B-AB72-04B46CFB1B03}" srcId="{4FE0683F-1528-448A-985B-8BBEAB8DF2EC}" destId="{506857C1-597D-4567-8079-7E6FB1CB27DA}" srcOrd="4" destOrd="0" parTransId="{912FF732-7A7F-4BA0-8F78-F2BDE21BEF14}" sibTransId="{FC5997D0-6D7C-429C-942E-A2FC0DBDB7B8}"/>
    <dgm:cxn modelId="{1E743C33-D465-488F-AD6D-8F7C46576163}" type="presOf" srcId="{96A8DBB0-0187-4024-AF77-DF4093FA569C}" destId="{E6A64283-551C-42AC-8351-E9A211CBE349}" srcOrd="0" destOrd="3" presId="urn:microsoft.com/office/officeart/2005/8/layout/chevron1"/>
    <dgm:cxn modelId="{88D69C36-9A12-49BA-8E22-949CFBE37996}" srcId="{EEE727D1-1196-4636-AAB6-D854313A1A51}" destId="{DF3D0CD3-893B-4D7E-888B-9627952997D5}" srcOrd="3" destOrd="0" parTransId="{18C9F8C5-73F1-4BB2-9FAD-D83BB39CAA5F}" sibTransId="{A24B004A-D962-4F12-9EFB-8610B5C81DD0}"/>
    <dgm:cxn modelId="{DBBEC539-D80F-40E0-86E1-B5D7F1922E88}" srcId="{AC0A2CAC-C516-4CCC-B772-D834570EA44A}" destId="{B727B06F-05D5-4D06-A099-25F5F56D9B9A}" srcOrd="1" destOrd="0" parTransId="{26D8DE96-6358-4ACE-BBD7-B4CAE1383C40}" sibTransId="{AB398BEC-6E5D-4842-861C-DB5FA126082A}"/>
    <dgm:cxn modelId="{6EC9C33A-954A-44DA-9C47-24324522E69E}" type="presOf" srcId="{CEB794E5-BBD1-402B-937C-BE4C0BEC383D}" destId="{ECF71C3D-BC85-4DD7-8A1C-B755759CAC7F}" srcOrd="0" destOrd="3" presId="urn:microsoft.com/office/officeart/2005/8/layout/chevron1"/>
    <dgm:cxn modelId="{290C653C-F22C-4E36-99FA-E0B36A13CFFC}" srcId="{4FE0683F-1528-448A-985B-8BBEAB8DF2EC}" destId="{C902EFC2-38DD-4D44-92A7-400F043CAE87}" srcOrd="0" destOrd="0" parTransId="{256B3CB1-65FD-477E-ABA3-B5305D3005D3}" sibTransId="{65BCEB8F-7EAD-4A23-9972-BD69F381F4D3}"/>
    <dgm:cxn modelId="{1B2BF45C-7386-420C-B752-369528993D45}" type="presOf" srcId="{AC0A2CAC-C516-4CCC-B772-D834570EA44A}" destId="{016FEC40-0324-4130-9D49-165C1341C054}" srcOrd="0" destOrd="0" presId="urn:microsoft.com/office/officeart/2005/8/layout/chevron1"/>
    <dgm:cxn modelId="{EE6AAD42-2262-4432-B3FD-71DDB3CF698A}" type="presOf" srcId="{E7CC2ADE-D964-417B-B94A-752BB5B11397}" destId="{A7127549-90EF-40A5-ACD4-5851A4A1E4DD}" srcOrd="0" destOrd="3" presId="urn:microsoft.com/office/officeart/2005/8/layout/chevron1"/>
    <dgm:cxn modelId="{D7B63048-093F-4200-BF19-8F9043500218}" srcId="{AC0A2CAC-C516-4CCC-B772-D834570EA44A}" destId="{7DC772B1-5324-4CF7-9017-BDC97A138E95}" srcOrd="0" destOrd="0" parTransId="{F2C526F7-25FD-40A5-9627-5B9C0FD9D1DE}" sibTransId="{4CFC54A8-0BA4-4979-8A85-2BF61EC041B0}"/>
    <dgm:cxn modelId="{7592A54C-B944-43AD-8FFE-FF7A76AB9CB7}" type="presOf" srcId="{B727B06F-05D5-4D06-A099-25F5F56D9B9A}" destId="{ECF71C3D-BC85-4DD7-8A1C-B755759CAC7F}" srcOrd="0" destOrd="1" presId="urn:microsoft.com/office/officeart/2005/8/layout/chevron1"/>
    <dgm:cxn modelId="{C29CBE70-B33D-4995-B5A2-18D7FA9030A9}" type="presOf" srcId="{C1619379-5EE8-4154-A8EF-04EE198E7F62}" destId="{EDB72548-CE5D-45B0-B3D1-D5CA13286676}" srcOrd="0" destOrd="1" presId="urn:microsoft.com/office/officeart/2005/8/layout/chevron1"/>
    <dgm:cxn modelId="{16FD7E55-2B0D-4A6B-BE41-82C414E80379}" type="presOf" srcId="{A2342D7C-6B41-469B-A255-448901F43DCB}" destId="{EDB72548-CE5D-45B0-B3D1-D5CA13286676}" srcOrd="0" destOrd="2" presId="urn:microsoft.com/office/officeart/2005/8/layout/chevron1"/>
    <dgm:cxn modelId="{0E2C7C58-A5C1-487A-8BF6-85F03A59C005}" srcId="{903EE382-ED74-46F1-BE53-A07862AB52C8}" destId="{10B1DEEC-4272-4956-9067-C8F34F9A023A}" srcOrd="1" destOrd="0" parTransId="{0D604974-51CC-4FDB-9361-7DBB237CAC08}" sibTransId="{242260B8-23E8-4CC8-AA9A-ED05D639C90C}"/>
    <dgm:cxn modelId="{AADC3759-A106-4742-894B-1909DA64568D}" type="presOf" srcId="{270C3BAE-307C-48B0-8D61-40F267F567BE}" destId="{EDB72548-CE5D-45B0-B3D1-D5CA13286676}" srcOrd="0" destOrd="3" presId="urn:microsoft.com/office/officeart/2005/8/layout/chevron1"/>
    <dgm:cxn modelId="{6F6E227F-41B5-45D1-A69C-EB460FC1EF2F}" srcId="{4FE0683F-1528-448A-985B-8BBEAB8DF2EC}" destId="{9FD0C264-C63C-43B3-8290-977FFF06E9C9}" srcOrd="1" destOrd="0" parTransId="{E74B9C5C-2E0F-4BD6-9588-A32DEBC2198D}" sibTransId="{94741076-8A20-4736-8852-5A003A9B5CF9}"/>
    <dgm:cxn modelId="{A5C4418E-B77A-41B8-9597-061D12FAD910}" type="presOf" srcId="{67EE5740-E8C6-467A-A068-0DBF8FBA35E4}" destId="{E6A64283-551C-42AC-8351-E9A211CBE349}" srcOrd="0" destOrd="2" presId="urn:microsoft.com/office/officeart/2005/8/layout/chevron1"/>
    <dgm:cxn modelId="{EABB0D90-2D24-4AFA-B5C2-3A33D667A65B}" srcId="{DF3D0CD3-893B-4D7E-888B-9627952997D5}" destId="{67EE5740-E8C6-467A-A068-0DBF8FBA35E4}" srcOrd="2" destOrd="0" parTransId="{A4D7745E-5CE3-41AA-9D14-2EC256A4AADF}" sibTransId="{BBF7FE69-9BFF-4403-9474-980887E0178F}"/>
    <dgm:cxn modelId="{A00B5994-14C6-4E7B-A942-FEA0B7B36EB3}" type="presOf" srcId="{903EE382-ED74-46F1-BE53-A07862AB52C8}" destId="{55509D5F-6653-4D98-8C98-15B97BBA417C}" srcOrd="0" destOrd="0" presId="urn:microsoft.com/office/officeart/2005/8/layout/chevron1"/>
    <dgm:cxn modelId="{FF698196-71EE-4186-B7BF-1F7DDD41BB58}" type="presOf" srcId="{80CB13E5-9C94-4B02-9C8C-2BDF93182BCF}" destId="{A7127549-90EF-40A5-ACD4-5851A4A1E4DD}" srcOrd="0" destOrd="2" presId="urn:microsoft.com/office/officeart/2005/8/layout/chevron1"/>
    <dgm:cxn modelId="{1B11079D-1351-477B-8236-EEE9D3D6AD5C}" srcId="{43A34633-006A-4D82-97FA-6BC69F76119E}" destId="{A2342D7C-6B41-469B-A255-448901F43DCB}" srcOrd="2" destOrd="0" parTransId="{205CEEA6-FB16-4480-8E8C-EA1C8BD30D9A}" sibTransId="{906DBF83-4D29-4302-9A1C-43EFD91E7DA6}"/>
    <dgm:cxn modelId="{761588A5-A947-4EEF-870D-FE47C9710B74}" type="presOf" srcId="{DF3D0CD3-893B-4D7E-888B-9627952997D5}" destId="{9DFBD93E-2E8F-4F74-8E65-19F7BFF7AA2B}" srcOrd="0" destOrd="0" presId="urn:microsoft.com/office/officeart/2005/8/layout/chevron1"/>
    <dgm:cxn modelId="{60E849A6-62F4-4285-BE00-382C502816B2}" srcId="{903EE382-ED74-46F1-BE53-A07862AB52C8}" destId="{D1483BF0-FA25-4F29-A502-BFE0A977054E}" srcOrd="0" destOrd="0" parTransId="{8170685E-F54F-48AC-B49D-8CC2B9AA6919}" sibTransId="{3D59A008-C965-448D-AAD9-7E98387ADDF9}"/>
    <dgm:cxn modelId="{5E9025A7-BA32-4D19-B42D-624A47E85B2F}" srcId="{DF3D0CD3-893B-4D7E-888B-9627952997D5}" destId="{604B9358-6A9A-4D4A-B999-A0021BF32FB2}" srcOrd="0" destOrd="0" parTransId="{72EE83CB-75A5-4C09-B12E-CAE047FAEFF9}" sibTransId="{2E67F93C-20DB-4656-A452-107EDC6C99C7}"/>
    <dgm:cxn modelId="{DC4F49A8-7E6B-467C-BD8D-122DDD871CFE}" srcId="{AC0A2CAC-C516-4CCC-B772-D834570EA44A}" destId="{3F7DA0A4-30C6-40DA-B44A-596CDEE6B8AF}" srcOrd="2" destOrd="0" parTransId="{00F1B91F-EA7C-450A-9CA3-6291A72F5FA9}" sibTransId="{0E1DD495-F249-4728-81CA-74CFC6707776}"/>
    <dgm:cxn modelId="{4016F9A8-60A5-409D-BB01-5C7CAB6E2633}" type="presOf" srcId="{43A34633-006A-4D82-97FA-6BC69F76119E}" destId="{BEE33B16-1CE6-4A2F-8B58-0C510BC5694E}" srcOrd="0" destOrd="0" presId="urn:microsoft.com/office/officeart/2005/8/layout/chevron1"/>
    <dgm:cxn modelId="{AAD15DAD-8202-459D-8414-92556E537931}" srcId="{43A34633-006A-4D82-97FA-6BC69F76119E}" destId="{270C3BAE-307C-48B0-8D61-40F267F567BE}" srcOrd="3" destOrd="0" parTransId="{0E038A63-FE68-43EF-87EC-18F37C2EA14F}" sibTransId="{9F8F2ED0-B3D3-47D5-8480-804A0D052031}"/>
    <dgm:cxn modelId="{6B0D99B8-948C-4260-B1CF-0002237920F6}" srcId="{4FE0683F-1528-448A-985B-8BBEAB8DF2EC}" destId="{E7CC2ADE-D964-417B-B94A-752BB5B11397}" srcOrd="3" destOrd="0" parTransId="{198047A3-120E-4208-A24E-0600589066B9}" sibTransId="{99A70760-7CBD-4760-A128-F96C86B3CA3D}"/>
    <dgm:cxn modelId="{892F76B9-E18E-45DC-877E-1239106FA97C}" srcId="{43A34633-006A-4D82-97FA-6BC69F76119E}" destId="{B947A7A8-C8E9-4AD1-8559-8E7F1B3FBFAE}" srcOrd="4" destOrd="0" parTransId="{56010D27-F45F-4F7B-8637-314EFCE1DB21}" sibTransId="{05921B20-F37F-49D4-91CD-6EDD781F1B5B}"/>
    <dgm:cxn modelId="{512245BA-BF9F-48C0-B4EC-C264C359221A}" type="presOf" srcId="{9FD0C264-C63C-43B3-8290-977FFF06E9C9}" destId="{A7127549-90EF-40A5-ACD4-5851A4A1E4DD}" srcOrd="0" destOrd="1" presId="urn:microsoft.com/office/officeart/2005/8/layout/chevron1"/>
    <dgm:cxn modelId="{533E54BD-2354-4438-A336-7998DB9F50C6}" type="presOf" srcId="{3F7DA0A4-30C6-40DA-B44A-596CDEE6B8AF}" destId="{ECF71C3D-BC85-4DD7-8A1C-B755759CAC7F}" srcOrd="0" destOrd="2" presId="urn:microsoft.com/office/officeart/2005/8/layout/chevron1"/>
    <dgm:cxn modelId="{8293F6C2-9F1E-43AF-818D-DEF2D54F93C3}" srcId="{AC0A2CAC-C516-4CCC-B772-D834570EA44A}" destId="{CEB794E5-BBD1-402B-937C-BE4C0BEC383D}" srcOrd="3" destOrd="0" parTransId="{924AC7A6-B32A-420D-BAB7-1002CD309AC2}" sibTransId="{1A54569E-ED93-4084-8EA8-0B6E1A900561}"/>
    <dgm:cxn modelId="{177F5FC6-6A68-47AD-83D2-6B8DCC78D2F4}" srcId="{EEE727D1-1196-4636-AAB6-D854313A1A51}" destId="{43A34633-006A-4D82-97FA-6BC69F76119E}" srcOrd="0" destOrd="0" parTransId="{16C9C72D-9AEB-4708-9513-9EA4A383B9DB}" sibTransId="{64D3C938-19AA-4A4A-B58E-A9538E0AC4F1}"/>
    <dgm:cxn modelId="{4EA289CE-37FC-4702-88EA-925704A69548}" type="presOf" srcId="{D1483BF0-FA25-4F29-A502-BFE0A977054E}" destId="{F9F4454D-08E9-4C13-B246-77FBEC9BEC0E}" srcOrd="0" destOrd="0" presId="urn:microsoft.com/office/officeart/2005/8/layout/chevron1"/>
    <dgm:cxn modelId="{3B8BE0D8-22F2-435D-B416-726A296FD6C8}" type="presOf" srcId="{604B9358-6A9A-4D4A-B999-A0021BF32FB2}" destId="{E6A64283-551C-42AC-8351-E9A211CBE349}" srcOrd="0" destOrd="0" presId="urn:microsoft.com/office/officeart/2005/8/layout/chevron1"/>
    <dgm:cxn modelId="{6D2D5EE9-4047-4FE1-8B08-E603D4D03D4B}" type="presOf" srcId="{4538E220-90C5-4D46-9A9D-4EFFA19B225F}" destId="{EDB72548-CE5D-45B0-B3D1-D5CA13286676}" srcOrd="0" destOrd="0" presId="urn:microsoft.com/office/officeart/2005/8/layout/chevron1"/>
    <dgm:cxn modelId="{CBB743EA-3452-48A3-B4B5-38FE4E4D9FAB}" type="presOf" srcId="{506857C1-597D-4567-8079-7E6FB1CB27DA}" destId="{A7127549-90EF-40A5-ACD4-5851A4A1E4DD}" srcOrd="0" destOrd="4" presId="urn:microsoft.com/office/officeart/2005/8/layout/chevron1"/>
    <dgm:cxn modelId="{4B515DEE-1B6B-40CE-BF29-F81D68C8FAAE}" srcId="{EEE727D1-1196-4636-AAB6-D854313A1A51}" destId="{4FE0683F-1528-448A-985B-8BBEAB8DF2EC}" srcOrd="4" destOrd="0" parTransId="{E91973C4-C006-4836-9B61-3F95D15A3844}" sibTransId="{67945BAC-84CE-471E-9D8E-E8FCEFD342AD}"/>
    <dgm:cxn modelId="{2C2A24F0-E8A8-47F9-92D3-77645DBECF50}" type="presOf" srcId="{F9FCBB0F-527F-4C1D-9C72-3E412BB402D6}" destId="{E6A64283-551C-42AC-8351-E9A211CBE349}" srcOrd="0" destOrd="1" presId="urn:microsoft.com/office/officeart/2005/8/layout/chevron1"/>
    <dgm:cxn modelId="{6975FBF0-C8AD-497B-B95C-0C8EB5C83A5B}" srcId="{43A34633-006A-4D82-97FA-6BC69F76119E}" destId="{C1619379-5EE8-4154-A8EF-04EE198E7F62}" srcOrd="1" destOrd="0" parTransId="{52A1C6DA-C09B-4877-9E4B-821CB6FD68A7}" sibTransId="{0F09F28F-5738-4F85-956C-F65F84EA53B3}"/>
    <dgm:cxn modelId="{997909F4-568A-4696-9D6D-AB6BFD5D92E0}" type="presOf" srcId="{7DC772B1-5324-4CF7-9017-BDC97A138E95}" destId="{ECF71C3D-BC85-4DD7-8A1C-B755759CAC7F}" srcOrd="0" destOrd="0" presId="urn:microsoft.com/office/officeart/2005/8/layout/chevron1"/>
    <dgm:cxn modelId="{9EE74FF5-B7EF-4B0A-B6DD-0E708A3DC05D}" srcId="{4FE0683F-1528-448A-985B-8BBEAB8DF2EC}" destId="{80CB13E5-9C94-4B02-9C8C-2BDF93182BCF}" srcOrd="2" destOrd="0" parTransId="{DDAB43C7-3B62-45DA-9053-D8569E878C9D}" sibTransId="{B7834CBD-945B-44F1-A979-95EEF4AC26AF}"/>
    <dgm:cxn modelId="{7BB451F5-0A46-4D89-A83E-0A67ECB29E3D}" srcId="{43A34633-006A-4D82-97FA-6BC69F76119E}" destId="{4538E220-90C5-4D46-9A9D-4EFFA19B225F}" srcOrd="0" destOrd="0" parTransId="{373A0E81-0237-4521-A19C-2114142D3F31}" sibTransId="{F90D2701-BD6A-4C15-9BDA-973DE346C7CE}"/>
    <dgm:cxn modelId="{8438B4F9-7D19-4B5A-91F9-3FC85C210F8C}" srcId="{DF3D0CD3-893B-4D7E-888B-9627952997D5}" destId="{96A8DBB0-0187-4024-AF77-DF4093FA569C}" srcOrd="3" destOrd="0" parTransId="{D97FC515-3F8A-44A6-A25E-3356E4DB51BB}" sibTransId="{66C68885-45E5-4C1F-9F5F-64483DE6E367}"/>
    <dgm:cxn modelId="{EEF83F9B-208B-4F57-A66B-7F6531A4301D}" type="presParOf" srcId="{AD5F1286-EA00-43C3-AEEB-E875CAAB11B0}" destId="{7CF4C66E-CE2B-4EDF-AE76-54F726B7F496}" srcOrd="0" destOrd="0" presId="urn:microsoft.com/office/officeart/2005/8/layout/chevron1"/>
    <dgm:cxn modelId="{EFBCB786-EDAC-49D1-8AED-C1EB298FEA1B}" type="presParOf" srcId="{7CF4C66E-CE2B-4EDF-AE76-54F726B7F496}" destId="{BEE33B16-1CE6-4A2F-8B58-0C510BC5694E}" srcOrd="0" destOrd="0" presId="urn:microsoft.com/office/officeart/2005/8/layout/chevron1"/>
    <dgm:cxn modelId="{9B830793-0CB8-4C17-A7B5-CB07A95D8CB5}" type="presParOf" srcId="{7CF4C66E-CE2B-4EDF-AE76-54F726B7F496}" destId="{EDB72548-CE5D-45B0-B3D1-D5CA13286676}" srcOrd="1" destOrd="0" presId="urn:microsoft.com/office/officeart/2005/8/layout/chevron1"/>
    <dgm:cxn modelId="{1F232D06-C9D8-42AB-97C8-7F859EDD6E69}" type="presParOf" srcId="{AD5F1286-EA00-43C3-AEEB-E875CAAB11B0}" destId="{05AADC04-E4B0-4607-B906-1DCB79926593}" srcOrd="1" destOrd="0" presId="urn:microsoft.com/office/officeart/2005/8/layout/chevron1"/>
    <dgm:cxn modelId="{D27D386D-FAC4-476F-9BF2-588C49BA808E}" type="presParOf" srcId="{AD5F1286-EA00-43C3-AEEB-E875CAAB11B0}" destId="{DEB78BD2-83ED-4922-8934-FC5A47634564}" srcOrd="2" destOrd="0" presId="urn:microsoft.com/office/officeart/2005/8/layout/chevron1"/>
    <dgm:cxn modelId="{EB5CE31A-EC83-409C-B63E-E1DCCB86E28A}" type="presParOf" srcId="{DEB78BD2-83ED-4922-8934-FC5A47634564}" destId="{016FEC40-0324-4130-9D49-165C1341C054}" srcOrd="0" destOrd="0" presId="urn:microsoft.com/office/officeart/2005/8/layout/chevron1"/>
    <dgm:cxn modelId="{E8F23798-663F-43AD-B67D-93563D310533}" type="presParOf" srcId="{DEB78BD2-83ED-4922-8934-FC5A47634564}" destId="{ECF71C3D-BC85-4DD7-8A1C-B755759CAC7F}" srcOrd="1" destOrd="0" presId="urn:microsoft.com/office/officeart/2005/8/layout/chevron1"/>
    <dgm:cxn modelId="{7A2126BF-CF16-4BC2-A3BC-ACA1B37EE979}" type="presParOf" srcId="{AD5F1286-EA00-43C3-AEEB-E875CAAB11B0}" destId="{0D0A7069-48A3-4C0C-8D76-E337ABF027B7}" srcOrd="3" destOrd="0" presId="urn:microsoft.com/office/officeart/2005/8/layout/chevron1"/>
    <dgm:cxn modelId="{DB0A2F22-AF99-4E92-A554-429D441EA334}" type="presParOf" srcId="{AD5F1286-EA00-43C3-AEEB-E875CAAB11B0}" destId="{FE909E4B-0B43-4D55-B8A5-87C2B52763BE}" srcOrd="4" destOrd="0" presId="urn:microsoft.com/office/officeart/2005/8/layout/chevron1"/>
    <dgm:cxn modelId="{3F52DC33-5A3C-49B4-9A57-2EABF817A97C}" type="presParOf" srcId="{FE909E4B-0B43-4D55-B8A5-87C2B52763BE}" destId="{55509D5F-6653-4D98-8C98-15B97BBA417C}" srcOrd="0" destOrd="0" presId="urn:microsoft.com/office/officeart/2005/8/layout/chevron1"/>
    <dgm:cxn modelId="{9AAA878A-8AAF-4EBC-ACFE-5FEFADB5B139}" type="presParOf" srcId="{FE909E4B-0B43-4D55-B8A5-87C2B52763BE}" destId="{F9F4454D-08E9-4C13-B246-77FBEC9BEC0E}" srcOrd="1" destOrd="0" presId="urn:microsoft.com/office/officeart/2005/8/layout/chevron1"/>
    <dgm:cxn modelId="{2D8439E9-BE65-4A03-BA2E-41A9E436FE81}" type="presParOf" srcId="{AD5F1286-EA00-43C3-AEEB-E875CAAB11B0}" destId="{1CEA4670-B32B-4A9F-9FAE-C0720AB01255}" srcOrd="5" destOrd="0" presId="urn:microsoft.com/office/officeart/2005/8/layout/chevron1"/>
    <dgm:cxn modelId="{A6544BBF-0802-4B41-815D-D58A3DA67A28}" type="presParOf" srcId="{AD5F1286-EA00-43C3-AEEB-E875CAAB11B0}" destId="{F60AA683-C97D-494D-9D0C-BFDF6AD1C05B}" srcOrd="6" destOrd="0" presId="urn:microsoft.com/office/officeart/2005/8/layout/chevron1"/>
    <dgm:cxn modelId="{A935FB52-E83C-410E-ACD3-322BE7D7026C}" type="presParOf" srcId="{F60AA683-C97D-494D-9D0C-BFDF6AD1C05B}" destId="{9DFBD93E-2E8F-4F74-8E65-19F7BFF7AA2B}" srcOrd="0" destOrd="0" presId="urn:microsoft.com/office/officeart/2005/8/layout/chevron1"/>
    <dgm:cxn modelId="{73C1A4EA-F729-4525-87AE-4EB445F14B20}" type="presParOf" srcId="{F60AA683-C97D-494D-9D0C-BFDF6AD1C05B}" destId="{E6A64283-551C-42AC-8351-E9A211CBE349}" srcOrd="1" destOrd="0" presId="urn:microsoft.com/office/officeart/2005/8/layout/chevron1"/>
    <dgm:cxn modelId="{D202A23F-9259-4052-AE2E-2DF2CC4E1CC0}" type="presParOf" srcId="{AD5F1286-EA00-43C3-AEEB-E875CAAB11B0}" destId="{3DA4B5FA-D63B-4FE2-BE3F-9C240AFBE47A}" srcOrd="7" destOrd="0" presId="urn:microsoft.com/office/officeart/2005/8/layout/chevron1"/>
    <dgm:cxn modelId="{C7AE0BB3-F52E-4FA2-9FD1-C53CE67B897A}" type="presParOf" srcId="{AD5F1286-EA00-43C3-AEEB-E875CAAB11B0}" destId="{0E501E67-B58B-4130-8B17-A803923B4677}" srcOrd="8" destOrd="0" presId="urn:microsoft.com/office/officeart/2005/8/layout/chevron1"/>
    <dgm:cxn modelId="{FD84F6EE-842F-481B-A5CC-A6280CE3BAED}" type="presParOf" srcId="{0E501E67-B58B-4130-8B17-A803923B4677}" destId="{624B82A9-BE52-46D4-BDC0-688D005CE0A5}" srcOrd="0" destOrd="0" presId="urn:microsoft.com/office/officeart/2005/8/layout/chevron1"/>
    <dgm:cxn modelId="{E5FA3A4E-7826-4EE5-A46B-9ECDB997B6CB}" type="presParOf" srcId="{0E501E67-B58B-4130-8B17-A803923B4677}" destId="{A7127549-90EF-40A5-ACD4-5851A4A1E4DD}"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7E3DDFF-2F81-4FAA-BD09-F71B9CEEBD35}"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s-ES"/>
        </a:p>
      </dgm:t>
    </dgm:pt>
    <dgm:pt modelId="{02EE8520-6C2F-453E-9869-D85ADB908632}">
      <dgm:prSet phldrT="[Texto]"/>
      <dgm:spPr/>
      <dgm:t>
        <a:bodyPr/>
        <a:lstStyle/>
        <a:p>
          <a:r>
            <a:rPr lang="es-ES" dirty="0"/>
            <a:t>Conjunto de </a:t>
          </a:r>
          <a:r>
            <a:rPr lang="es-ES" strike="sngStrike" baseline="0" dirty="0"/>
            <a:t>nuevas</a:t>
          </a:r>
          <a:r>
            <a:rPr lang="es-ES" dirty="0"/>
            <a:t> tecnologías capaces de ingestar datos (</a:t>
          </a:r>
          <a:r>
            <a:rPr lang="es-ES" strike="sngStrike" baseline="0" dirty="0"/>
            <a:t>obtener valor de datos, convertirlos en información y conocimiento</a:t>
          </a:r>
          <a:r>
            <a:rPr lang="es-ES" dirty="0"/>
            <a:t>) que por sus características (situación, volumen, variedad o velocidad), antes no se aprovechaban.”</a:t>
          </a:r>
        </a:p>
      </dgm:t>
    </dgm:pt>
    <dgm:pt modelId="{9A353231-25D2-490C-92FC-EF1AB25D5FFD}" type="parTrans" cxnId="{FE283D2C-CD02-47E4-BE3C-79D3E1767305}">
      <dgm:prSet/>
      <dgm:spPr/>
      <dgm:t>
        <a:bodyPr/>
        <a:lstStyle/>
        <a:p>
          <a:endParaRPr lang="es-ES"/>
        </a:p>
      </dgm:t>
    </dgm:pt>
    <dgm:pt modelId="{964B9D1E-419F-4C72-B4C8-BB5E6E672B06}" type="sibTrans" cxnId="{FE283D2C-CD02-47E4-BE3C-79D3E1767305}">
      <dgm:prSet/>
      <dgm:spPr/>
      <dgm:t>
        <a:bodyPr/>
        <a:lstStyle/>
        <a:p>
          <a:endParaRPr lang="es-ES"/>
        </a:p>
      </dgm:t>
    </dgm:pt>
    <dgm:pt modelId="{C87E8AE0-1BBA-44CA-A66D-DD21C0B0283D}">
      <dgm:prSet phldrT="[Texto]"/>
      <dgm:spPr/>
      <dgm:t>
        <a:bodyPr/>
        <a:lstStyle/>
        <a:p>
          <a:r>
            <a:rPr lang="es-ES" dirty="0"/>
            <a:t>“Esa cantidad de datos que no sabía que tenía ni que podía usar y ahora que lo se quiero hacerlo.”</a:t>
          </a:r>
        </a:p>
        <a:p>
          <a:endParaRPr lang="es-ES" dirty="0"/>
        </a:p>
        <a:p>
          <a:r>
            <a:rPr lang="es-ES" dirty="0"/>
            <a:t>Marketing, Sector Retail.</a:t>
          </a:r>
        </a:p>
      </dgm:t>
    </dgm:pt>
    <dgm:pt modelId="{E80F38CF-75BB-47DE-B999-613466F4966E}" type="parTrans" cxnId="{00450D09-34BF-43DD-9EB2-76DB61EE5CCB}">
      <dgm:prSet/>
      <dgm:spPr/>
      <dgm:t>
        <a:bodyPr/>
        <a:lstStyle/>
        <a:p>
          <a:endParaRPr lang="es-ES"/>
        </a:p>
      </dgm:t>
    </dgm:pt>
    <dgm:pt modelId="{68C9F634-EF0E-4CAC-AD8C-15EB467EA9F1}" type="sibTrans" cxnId="{00450D09-34BF-43DD-9EB2-76DB61EE5CCB}">
      <dgm:prSet/>
      <dgm:spPr/>
      <dgm:t>
        <a:bodyPr/>
        <a:lstStyle/>
        <a:p>
          <a:endParaRPr lang="es-ES"/>
        </a:p>
      </dgm:t>
    </dgm:pt>
    <dgm:pt modelId="{F6A95AB7-04AE-4E18-9983-23EF7DDA50A2}">
      <dgm:prSet phldrT="[Texto]"/>
      <dgm:spPr/>
      <dgm:t>
        <a:bodyPr/>
        <a:lstStyle/>
        <a:p>
          <a:r>
            <a:rPr lang="es-ES" dirty="0"/>
            <a:t>Conjunto de tecnologías para hacer tratamiento “distribuido” y “paralelizado” de datos. </a:t>
          </a:r>
        </a:p>
      </dgm:t>
    </dgm:pt>
    <dgm:pt modelId="{98B2C20B-0E3E-4304-BFF7-A5633FFAE28A}" type="parTrans" cxnId="{1D2D9B22-E5CD-41C2-B736-FE787836D828}">
      <dgm:prSet/>
      <dgm:spPr/>
      <dgm:t>
        <a:bodyPr/>
        <a:lstStyle/>
        <a:p>
          <a:endParaRPr lang="es-ES"/>
        </a:p>
      </dgm:t>
    </dgm:pt>
    <dgm:pt modelId="{5A75403B-E89F-4CFB-B559-3D6F1B0932DD}" type="sibTrans" cxnId="{1D2D9B22-E5CD-41C2-B736-FE787836D828}">
      <dgm:prSet/>
      <dgm:spPr/>
      <dgm:t>
        <a:bodyPr/>
        <a:lstStyle/>
        <a:p>
          <a:endParaRPr lang="es-ES"/>
        </a:p>
      </dgm:t>
    </dgm:pt>
    <dgm:pt modelId="{8AB47A9D-5C68-4B74-8985-E47FFEB5E772}">
      <dgm:prSet phldrT="[Texto]"/>
      <dgm:spPr/>
      <dgm:t>
        <a:bodyPr/>
        <a:lstStyle/>
        <a:p>
          <a:r>
            <a:rPr lang="es-ES" dirty="0"/>
            <a:t>Aplica a Analítica, todavía no a operaciones.</a:t>
          </a:r>
        </a:p>
      </dgm:t>
    </dgm:pt>
    <dgm:pt modelId="{6CC77D2F-6DB9-4DA4-9EBF-077F27A4F630}" type="parTrans" cxnId="{EDDFECA5-CEED-48A9-A00E-FC15E1760C35}">
      <dgm:prSet/>
      <dgm:spPr/>
      <dgm:t>
        <a:bodyPr/>
        <a:lstStyle/>
        <a:p>
          <a:endParaRPr lang="es-ES"/>
        </a:p>
      </dgm:t>
    </dgm:pt>
    <dgm:pt modelId="{F5943530-CF39-4C5F-9D69-34A6153688A5}" type="sibTrans" cxnId="{EDDFECA5-CEED-48A9-A00E-FC15E1760C35}">
      <dgm:prSet/>
      <dgm:spPr/>
      <dgm:t>
        <a:bodyPr/>
        <a:lstStyle/>
        <a:p>
          <a:endParaRPr lang="es-ES"/>
        </a:p>
      </dgm:t>
    </dgm:pt>
    <dgm:pt modelId="{D785AF06-8538-4B62-8D5E-BE7112A915C2}" type="pres">
      <dgm:prSet presAssocID="{47E3DDFF-2F81-4FAA-BD09-F71B9CEEBD35}" presName="diagram" presStyleCnt="0">
        <dgm:presLayoutVars>
          <dgm:dir/>
          <dgm:resizeHandles val="exact"/>
        </dgm:presLayoutVars>
      </dgm:prSet>
      <dgm:spPr/>
    </dgm:pt>
    <dgm:pt modelId="{96C484DD-BF20-4355-BB84-4330A81B3740}" type="pres">
      <dgm:prSet presAssocID="{F6A95AB7-04AE-4E18-9983-23EF7DDA50A2}" presName="node" presStyleLbl="node1" presStyleIdx="0" presStyleCnt="4">
        <dgm:presLayoutVars>
          <dgm:bulletEnabled val="1"/>
        </dgm:presLayoutVars>
      </dgm:prSet>
      <dgm:spPr/>
    </dgm:pt>
    <dgm:pt modelId="{BF872FD1-0252-430C-920F-229E825E66FB}" type="pres">
      <dgm:prSet presAssocID="{5A75403B-E89F-4CFB-B559-3D6F1B0932DD}" presName="sibTrans" presStyleCnt="0"/>
      <dgm:spPr/>
    </dgm:pt>
    <dgm:pt modelId="{F25DC9A4-F3BA-411E-99F9-DB813E9AC5D1}" type="pres">
      <dgm:prSet presAssocID="{02EE8520-6C2F-453E-9869-D85ADB908632}" presName="node" presStyleLbl="node1" presStyleIdx="1" presStyleCnt="4">
        <dgm:presLayoutVars>
          <dgm:bulletEnabled val="1"/>
        </dgm:presLayoutVars>
      </dgm:prSet>
      <dgm:spPr/>
    </dgm:pt>
    <dgm:pt modelId="{9425D81B-C3A1-4A72-89B4-6C191E61B143}" type="pres">
      <dgm:prSet presAssocID="{964B9D1E-419F-4C72-B4C8-BB5E6E672B06}" presName="sibTrans" presStyleCnt="0"/>
      <dgm:spPr/>
    </dgm:pt>
    <dgm:pt modelId="{2A2AE762-E367-437B-B10E-9464DE3F8C9D}" type="pres">
      <dgm:prSet presAssocID="{C87E8AE0-1BBA-44CA-A66D-DD21C0B0283D}" presName="node" presStyleLbl="node1" presStyleIdx="2" presStyleCnt="4">
        <dgm:presLayoutVars>
          <dgm:bulletEnabled val="1"/>
        </dgm:presLayoutVars>
      </dgm:prSet>
      <dgm:spPr/>
    </dgm:pt>
    <dgm:pt modelId="{ACFB21D9-773F-4758-A0B3-32127C05368E}" type="pres">
      <dgm:prSet presAssocID="{68C9F634-EF0E-4CAC-AD8C-15EB467EA9F1}" presName="sibTrans" presStyleCnt="0"/>
      <dgm:spPr/>
    </dgm:pt>
    <dgm:pt modelId="{2F265CE5-94ED-41E1-80EA-7D1147F64F73}" type="pres">
      <dgm:prSet presAssocID="{8AB47A9D-5C68-4B74-8985-E47FFEB5E772}" presName="node" presStyleLbl="node1" presStyleIdx="3" presStyleCnt="4">
        <dgm:presLayoutVars>
          <dgm:bulletEnabled val="1"/>
        </dgm:presLayoutVars>
      </dgm:prSet>
      <dgm:spPr/>
    </dgm:pt>
  </dgm:ptLst>
  <dgm:cxnLst>
    <dgm:cxn modelId="{00450D09-34BF-43DD-9EB2-76DB61EE5CCB}" srcId="{47E3DDFF-2F81-4FAA-BD09-F71B9CEEBD35}" destId="{C87E8AE0-1BBA-44CA-A66D-DD21C0B0283D}" srcOrd="2" destOrd="0" parTransId="{E80F38CF-75BB-47DE-B999-613466F4966E}" sibTransId="{68C9F634-EF0E-4CAC-AD8C-15EB467EA9F1}"/>
    <dgm:cxn modelId="{1D2D9B22-E5CD-41C2-B736-FE787836D828}" srcId="{47E3DDFF-2F81-4FAA-BD09-F71B9CEEBD35}" destId="{F6A95AB7-04AE-4E18-9983-23EF7DDA50A2}" srcOrd="0" destOrd="0" parTransId="{98B2C20B-0E3E-4304-BFF7-A5633FFAE28A}" sibTransId="{5A75403B-E89F-4CFB-B559-3D6F1B0932DD}"/>
    <dgm:cxn modelId="{FE283D2C-CD02-47E4-BE3C-79D3E1767305}" srcId="{47E3DDFF-2F81-4FAA-BD09-F71B9CEEBD35}" destId="{02EE8520-6C2F-453E-9869-D85ADB908632}" srcOrd="1" destOrd="0" parTransId="{9A353231-25D2-490C-92FC-EF1AB25D5FFD}" sibTransId="{964B9D1E-419F-4C72-B4C8-BB5E6E672B06}"/>
    <dgm:cxn modelId="{62029F5E-FDA5-48A9-B4F4-941EF8CFCF42}" type="presOf" srcId="{F6A95AB7-04AE-4E18-9983-23EF7DDA50A2}" destId="{96C484DD-BF20-4355-BB84-4330A81B3740}" srcOrd="0" destOrd="0" presId="urn:microsoft.com/office/officeart/2005/8/layout/default"/>
    <dgm:cxn modelId="{CAF4B254-3031-46FB-8136-4CE708764041}" type="presOf" srcId="{8AB47A9D-5C68-4B74-8985-E47FFEB5E772}" destId="{2F265CE5-94ED-41E1-80EA-7D1147F64F73}" srcOrd="0" destOrd="0" presId="urn:microsoft.com/office/officeart/2005/8/layout/default"/>
    <dgm:cxn modelId="{3FC98D75-78F7-463D-9333-746939DC2090}" type="presOf" srcId="{02EE8520-6C2F-453E-9869-D85ADB908632}" destId="{F25DC9A4-F3BA-411E-99F9-DB813E9AC5D1}" srcOrd="0" destOrd="0" presId="urn:microsoft.com/office/officeart/2005/8/layout/default"/>
    <dgm:cxn modelId="{DE02BCA1-F204-4FBB-BF65-F3ADFE3BF170}" type="presOf" srcId="{47E3DDFF-2F81-4FAA-BD09-F71B9CEEBD35}" destId="{D785AF06-8538-4B62-8D5E-BE7112A915C2}" srcOrd="0" destOrd="0" presId="urn:microsoft.com/office/officeart/2005/8/layout/default"/>
    <dgm:cxn modelId="{EDDFECA5-CEED-48A9-A00E-FC15E1760C35}" srcId="{47E3DDFF-2F81-4FAA-BD09-F71B9CEEBD35}" destId="{8AB47A9D-5C68-4B74-8985-E47FFEB5E772}" srcOrd="3" destOrd="0" parTransId="{6CC77D2F-6DB9-4DA4-9EBF-077F27A4F630}" sibTransId="{F5943530-CF39-4C5F-9D69-34A6153688A5}"/>
    <dgm:cxn modelId="{CC18E0BF-5A94-4725-B5BE-2EC016C988D5}" type="presOf" srcId="{C87E8AE0-1BBA-44CA-A66D-DD21C0B0283D}" destId="{2A2AE762-E367-437B-B10E-9464DE3F8C9D}" srcOrd="0" destOrd="0" presId="urn:microsoft.com/office/officeart/2005/8/layout/default"/>
    <dgm:cxn modelId="{1CB81027-F92C-4D0E-95FB-BDD0520873C6}" type="presParOf" srcId="{D785AF06-8538-4B62-8D5E-BE7112A915C2}" destId="{96C484DD-BF20-4355-BB84-4330A81B3740}" srcOrd="0" destOrd="0" presId="urn:microsoft.com/office/officeart/2005/8/layout/default"/>
    <dgm:cxn modelId="{CDBCEF68-9C32-4454-AE24-59645FDA1C77}" type="presParOf" srcId="{D785AF06-8538-4B62-8D5E-BE7112A915C2}" destId="{BF872FD1-0252-430C-920F-229E825E66FB}" srcOrd="1" destOrd="0" presId="urn:microsoft.com/office/officeart/2005/8/layout/default"/>
    <dgm:cxn modelId="{E109AA1E-939E-4662-A255-8DA59F90438F}" type="presParOf" srcId="{D785AF06-8538-4B62-8D5E-BE7112A915C2}" destId="{F25DC9A4-F3BA-411E-99F9-DB813E9AC5D1}" srcOrd="2" destOrd="0" presId="urn:microsoft.com/office/officeart/2005/8/layout/default"/>
    <dgm:cxn modelId="{24773E8B-0F34-44A8-824D-F0B6C555BF34}" type="presParOf" srcId="{D785AF06-8538-4B62-8D5E-BE7112A915C2}" destId="{9425D81B-C3A1-4A72-89B4-6C191E61B143}" srcOrd="3" destOrd="0" presId="urn:microsoft.com/office/officeart/2005/8/layout/default"/>
    <dgm:cxn modelId="{7DF2FE24-AA0D-48B6-B43C-9041679BAAC4}" type="presParOf" srcId="{D785AF06-8538-4B62-8D5E-BE7112A915C2}" destId="{2A2AE762-E367-437B-B10E-9464DE3F8C9D}" srcOrd="4" destOrd="0" presId="urn:microsoft.com/office/officeart/2005/8/layout/default"/>
    <dgm:cxn modelId="{F53C74A4-18D0-40B8-B1CF-93448CB93D5A}" type="presParOf" srcId="{D785AF06-8538-4B62-8D5E-BE7112A915C2}" destId="{ACFB21D9-773F-4758-A0B3-32127C05368E}" srcOrd="5" destOrd="0" presId="urn:microsoft.com/office/officeart/2005/8/layout/default"/>
    <dgm:cxn modelId="{8619A511-84E0-4C43-BC5C-167B05791EFA}" type="presParOf" srcId="{D785AF06-8538-4B62-8D5E-BE7112A915C2}" destId="{2F265CE5-94ED-41E1-80EA-7D1147F64F73}"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E47E3A5-F291-4CB0-9551-658A13C10FD2}"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s-ES"/>
        </a:p>
      </dgm:t>
    </dgm:pt>
    <dgm:pt modelId="{9CFFE8AD-4E89-4A4E-BBCD-B316F387EC64}">
      <dgm:prSet phldrT="[Texto]"/>
      <dgm:spPr/>
      <dgm:t>
        <a:bodyPr/>
        <a:lstStyle/>
        <a:p>
          <a:r>
            <a:rPr lang="es-ES" dirty="0"/>
            <a:t>Distribución de procesos y almacenamiento en diferentes servidores. </a:t>
          </a:r>
        </a:p>
      </dgm:t>
    </dgm:pt>
    <dgm:pt modelId="{58837016-34E3-45A1-A6B5-6F36371C9701}" type="parTrans" cxnId="{E9FC08CF-2871-4594-BFB5-514F29DEFB44}">
      <dgm:prSet/>
      <dgm:spPr/>
      <dgm:t>
        <a:bodyPr/>
        <a:lstStyle/>
        <a:p>
          <a:endParaRPr lang="es-ES"/>
        </a:p>
      </dgm:t>
    </dgm:pt>
    <dgm:pt modelId="{2FBF5313-0010-4850-9AF1-4F04772B54CE}" type="sibTrans" cxnId="{E9FC08CF-2871-4594-BFB5-514F29DEFB44}">
      <dgm:prSet/>
      <dgm:spPr/>
      <dgm:t>
        <a:bodyPr/>
        <a:lstStyle/>
        <a:p>
          <a:endParaRPr lang="es-ES"/>
        </a:p>
      </dgm:t>
    </dgm:pt>
    <dgm:pt modelId="{A0188A49-277E-4E25-AD75-B4B05E7C11D9}">
      <dgm:prSet/>
      <dgm:spPr/>
      <dgm:t>
        <a:bodyPr/>
        <a:lstStyle/>
        <a:p>
          <a:r>
            <a:rPr lang="es-ES" dirty="0"/>
            <a:t>Permite un enorme poder de computación barata.</a:t>
          </a:r>
        </a:p>
      </dgm:t>
    </dgm:pt>
    <dgm:pt modelId="{43327EE3-4B49-4A59-B17B-2BD1491FC463}" type="parTrans" cxnId="{66BCC18A-A36D-47E4-B06F-CE6E19869B49}">
      <dgm:prSet/>
      <dgm:spPr/>
      <dgm:t>
        <a:bodyPr/>
        <a:lstStyle/>
        <a:p>
          <a:endParaRPr lang="es-ES"/>
        </a:p>
      </dgm:t>
    </dgm:pt>
    <dgm:pt modelId="{CF5FA8C1-48CA-4CA9-8EE4-593D66A92EBA}" type="sibTrans" cxnId="{66BCC18A-A36D-47E4-B06F-CE6E19869B49}">
      <dgm:prSet/>
      <dgm:spPr/>
      <dgm:t>
        <a:bodyPr/>
        <a:lstStyle/>
        <a:p>
          <a:endParaRPr lang="es-ES"/>
        </a:p>
      </dgm:t>
    </dgm:pt>
    <dgm:pt modelId="{24017BC8-B718-4EF0-8363-9DF0F69C1653}">
      <dgm:prSet/>
      <dgm:spPr/>
      <dgm:t>
        <a:bodyPr/>
        <a:lstStyle/>
        <a:p>
          <a:r>
            <a:rPr lang="es-ES" dirty="0"/>
            <a:t>Cosas que hasta hoy estaban “casi” vedadas con las tecnologías tradicionales, ya se pueden hacer.</a:t>
          </a:r>
        </a:p>
      </dgm:t>
    </dgm:pt>
    <dgm:pt modelId="{A7E02B3C-B3C5-4771-B62A-BE6345267AA5}" type="parTrans" cxnId="{60258E36-F9E6-4CB2-80F3-5E5D0D234755}">
      <dgm:prSet/>
      <dgm:spPr/>
      <dgm:t>
        <a:bodyPr/>
        <a:lstStyle/>
        <a:p>
          <a:endParaRPr lang="es-ES"/>
        </a:p>
      </dgm:t>
    </dgm:pt>
    <dgm:pt modelId="{4E11249D-EB13-41BD-B604-14DF41A06308}" type="sibTrans" cxnId="{60258E36-F9E6-4CB2-80F3-5E5D0D234755}">
      <dgm:prSet/>
      <dgm:spPr/>
      <dgm:t>
        <a:bodyPr/>
        <a:lstStyle/>
        <a:p>
          <a:endParaRPr lang="es-ES"/>
        </a:p>
      </dgm:t>
    </dgm:pt>
    <dgm:pt modelId="{39CFE6F9-2729-459A-983A-9D93AD7C28EE}">
      <dgm:prSet phldrT="[Texto]"/>
      <dgm:spPr/>
      <dgm:t>
        <a:bodyPr/>
        <a:lstStyle/>
        <a:p>
          <a:r>
            <a:rPr lang="es-ES" dirty="0"/>
            <a:t>Paralelización.</a:t>
          </a:r>
        </a:p>
      </dgm:t>
    </dgm:pt>
    <dgm:pt modelId="{7CEE7DE2-824F-4160-A5E7-0D1BACDBCFDA}" type="parTrans" cxnId="{9CEF7089-2D0E-457E-937F-4A91CC194E0C}">
      <dgm:prSet/>
      <dgm:spPr/>
      <dgm:t>
        <a:bodyPr/>
        <a:lstStyle/>
        <a:p>
          <a:endParaRPr lang="es-ES"/>
        </a:p>
      </dgm:t>
    </dgm:pt>
    <dgm:pt modelId="{404659AA-CEA0-419C-967E-AEDFF76563C5}" type="sibTrans" cxnId="{9CEF7089-2D0E-457E-937F-4A91CC194E0C}">
      <dgm:prSet/>
      <dgm:spPr/>
      <dgm:t>
        <a:bodyPr/>
        <a:lstStyle/>
        <a:p>
          <a:endParaRPr lang="es-ES"/>
        </a:p>
      </dgm:t>
    </dgm:pt>
    <dgm:pt modelId="{523FE1A9-9CD0-4926-8B9F-437F03F0A4BA}">
      <dgm:prSet/>
      <dgm:spPr/>
      <dgm:t>
        <a:bodyPr/>
        <a:lstStyle/>
        <a:p>
          <a:r>
            <a:rPr lang="es-ES" dirty="0"/>
            <a:t>Eje: Puede ingestar información no estructurada en Streaming </a:t>
          </a:r>
        </a:p>
      </dgm:t>
    </dgm:pt>
    <dgm:pt modelId="{970F9874-38A3-4A96-BB15-4D0D23B7951D}" type="parTrans" cxnId="{17DC36BC-DFEC-456F-B39F-A5BAE4185296}">
      <dgm:prSet/>
      <dgm:spPr/>
      <dgm:t>
        <a:bodyPr/>
        <a:lstStyle/>
        <a:p>
          <a:endParaRPr lang="es-ES"/>
        </a:p>
      </dgm:t>
    </dgm:pt>
    <dgm:pt modelId="{3CC3F46A-B088-4092-8230-F3D373B18261}" type="sibTrans" cxnId="{17DC36BC-DFEC-456F-B39F-A5BAE4185296}">
      <dgm:prSet/>
      <dgm:spPr/>
      <dgm:t>
        <a:bodyPr/>
        <a:lstStyle/>
        <a:p>
          <a:endParaRPr lang="es-ES"/>
        </a:p>
      </dgm:t>
    </dgm:pt>
    <dgm:pt modelId="{1ADD7516-F613-4F65-ABC6-3A7A58CE07B6}" type="pres">
      <dgm:prSet presAssocID="{4E47E3A5-F291-4CB0-9551-658A13C10FD2}" presName="diagram" presStyleCnt="0">
        <dgm:presLayoutVars>
          <dgm:dir/>
          <dgm:resizeHandles val="exact"/>
        </dgm:presLayoutVars>
      </dgm:prSet>
      <dgm:spPr/>
    </dgm:pt>
    <dgm:pt modelId="{29F1D0BB-3E45-4276-91E3-0C6F093D0A7E}" type="pres">
      <dgm:prSet presAssocID="{9CFFE8AD-4E89-4A4E-BBCD-B316F387EC64}" presName="node" presStyleLbl="node1" presStyleIdx="0" presStyleCnt="5">
        <dgm:presLayoutVars>
          <dgm:bulletEnabled val="1"/>
        </dgm:presLayoutVars>
      </dgm:prSet>
      <dgm:spPr/>
    </dgm:pt>
    <dgm:pt modelId="{0A88FD5E-6D10-4EBE-911F-43490E26937B}" type="pres">
      <dgm:prSet presAssocID="{2FBF5313-0010-4850-9AF1-4F04772B54CE}" presName="sibTrans" presStyleCnt="0"/>
      <dgm:spPr/>
    </dgm:pt>
    <dgm:pt modelId="{7597247B-6EAF-409A-97D8-0DED4898FE32}" type="pres">
      <dgm:prSet presAssocID="{39CFE6F9-2729-459A-983A-9D93AD7C28EE}" presName="node" presStyleLbl="node1" presStyleIdx="1" presStyleCnt="5">
        <dgm:presLayoutVars>
          <dgm:bulletEnabled val="1"/>
        </dgm:presLayoutVars>
      </dgm:prSet>
      <dgm:spPr/>
    </dgm:pt>
    <dgm:pt modelId="{2E290A4C-63A3-46CD-A1DD-83D4DA70932C}" type="pres">
      <dgm:prSet presAssocID="{404659AA-CEA0-419C-967E-AEDFF76563C5}" presName="sibTrans" presStyleCnt="0"/>
      <dgm:spPr/>
    </dgm:pt>
    <dgm:pt modelId="{E1757EFE-0A6A-4D35-9C1A-F37CEADA0599}" type="pres">
      <dgm:prSet presAssocID="{A0188A49-277E-4E25-AD75-B4B05E7C11D9}" presName="node" presStyleLbl="node1" presStyleIdx="2" presStyleCnt="5">
        <dgm:presLayoutVars>
          <dgm:bulletEnabled val="1"/>
        </dgm:presLayoutVars>
      </dgm:prSet>
      <dgm:spPr/>
    </dgm:pt>
    <dgm:pt modelId="{6C3BAB1F-B08C-4BFE-BDD7-9B2422006F9A}" type="pres">
      <dgm:prSet presAssocID="{CF5FA8C1-48CA-4CA9-8EE4-593D66A92EBA}" presName="sibTrans" presStyleCnt="0"/>
      <dgm:spPr/>
    </dgm:pt>
    <dgm:pt modelId="{2E0C1144-2611-4EC4-B504-C63C45C62C6E}" type="pres">
      <dgm:prSet presAssocID="{24017BC8-B718-4EF0-8363-9DF0F69C1653}" presName="node" presStyleLbl="node1" presStyleIdx="3" presStyleCnt="5">
        <dgm:presLayoutVars>
          <dgm:bulletEnabled val="1"/>
        </dgm:presLayoutVars>
      </dgm:prSet>
      <dgm:spPr/>
    </dgm:pt>
    <dgm:pt modelId="{3BB9A1B3-010B-45E0-8396-25DD9DEB026A}" type="pres">
      <dgm:prSet presAssocID="{4E11249D-EB13-41BD-B604-14DF41A06308}" presName="sibTrans" presStyleCnt="0"/>
      <dgm:spPr/>
    </dgm:pt>
    <dgm:pt modelId="{91B47735-245E-4733-847E-EB3046BEDE2B}" type="pres">
      <dgm:prSet presAssocID="{523FE1A9-9CD0-4926-8B9F-437F03F0A4BA}" presName="node" presStyleLbl="node1" presStyleIdx="4" presStyleCnt="5">
        <dgm:presLayoutVars>
          <dgm:bulletEnabled val="1"/>
        </dgm:presLayoutVars>
      </dgm:prSet>
      <dgm:spPr/>
    </dgm:pt>
  </dgm:ptLst>
  <dgm:cxnLst>
    <dgm:cxn modelId="{CE8DED32-1EC5-4078-A03F-1FB612D9466A}" type="presOf" srcId="{9CFFE8AD-4E89-4A4E-BBCD-B316F387EC64}" destId="{29F1D0BB-3E45-4276-91E3-0C6F093D0A7E}" srcOrd="0" destOrd="0" presId="urn:microsoft.com/office/officeart/2005/8/layout/default"/>
    <dgm:cxn modelId="{60258E36-F9E6-4CB2-80F3-5E5D0D234755}" srcId="{4E47E3A5-F291-4CB0-9551-658A13C10FD2}" destId="{24017BC8-B718-4EF0-8363-9DF0F69C1653}" srcOrd="3" destOrd="0" parTransId="{A7E02B3C-B3C5-4771-B62A-BE6345267AA5}" sibTransId="{4E11249D-EB13-41BD-B604-14DF41A06308}"/>
    <dgm:cxn modelId="{C321B564-2F24-473B-B6EE-554CE6FA09C2}" type="presOf" srcId="{523FE1A9-9CD0-4926-8B9F-437F03F0A4BA}" destId="{91B47735-245E-4733-847E-EB3046BEDE2B}" srcOrd="0" destOrd="0" presId="urn:microsoft.com/office/officeart/2005/8/layout/default"/>
    <dgm:cxn modelId="{B0463A4B-B502-4FE8-AD78-D2549B44FAC0}" type="presOf" srcId="{24017BC8-B718-4EF0-8363-9DF0F69C1653}" destId="{2E0C1144-2611-4EC4-B504-C63C45C62C6E}" srcOrd="0" destOrd="0" presId="urn:microsoft.com/office/officeart/2005/8/layout/default"/>
    <dgm:cxn modelId="{8EC7447A-05F3-41E5-A8EF-3D06FB3A793D}" type="presOf" srcId="{39CFE6F9-2729-459A-983A-9D93AD7C28EE}" destId="{7597247B-6EAF-409A-97D8-0DED4898FE32}" srcOrd="0" destOrd="0" presId="urn:microsoft.com/office/officeart/2005/8/layout/default"/>
    <dgm:cxn modelId="{BF22597F-84D9-4F7C-B97C-948E5AF30E26}" type="presOf" srcId="{A0188A49-277E-4E25-AD75-B4B05E7C11D9}" destId="{E1757EFE-0A6A-4D35-9C1A-F37CEADA0599}" srcOrd="0" destOrd="0" presId="urn:microsoft.com/office/officeart/2005/8/layout/default"/>
    <dgm:cxn modelId="{9CEF7089-2D0E-457E-937F-4A91CC194E0C}" srcId="{4E47E3A5-F291-4CB0-9551-658A13C10FD2}" destId="{39CFE6F9-2729-459A-983A-9D93AD7C28EE}" srcOrd="1" destOrd="0" parTransId="{7CEE7DE2-824F-4160-A5E7-0D1BACDBCFDA}" sibTransId="{404659AA-CEA0-419C-967E-AEDFF76563C5}"/>
    <dgm:cxn modelId="{66BCC18A-A36D-47E4-B06F-CE6E19869B49}" srcId="{4E47E3A5-F291-4CB0-9551-658A13C10FD2}" destId="{A0188A49-277E-4E25-AD75-B4B05E7C11D9}" srcOrd="2" destOrd="0" parTransId="{43327EE3-4B49-4A59-B17B-2BD1491FC463}" sibTransId="{CF5FA8C1-48CA-4CA9-8EE4-593D66A92EBA}"/>
    <dgm:cxn modelId="{4C84A298-F106-4451-B9AA-63F0609CA95C}" type="presOf" srcId="{4E47E3A5-F291-4CB0-9551-658A13C10FD2}" destId="{1ADD7516-F613-4F65-ABC6-3A7A58CE07B6}" srcOrd="0" destOrd="0" presId="urn:microsoft.com/office/officeart/2005/8/layout/default"/>
    <dgm:cxn modelId="{17DC36BC-DFEC-456F-B39F-A5BAE4185296}" srcId="{4E47E3A5-F291-4CB0-9551-658A13C10FD2}" destId="{523FE1A9-9CD0-4926-8B9F-437F03F0A4BA}" srcOrd="4" destOrd="0" parTransId="{970F9874-38A3-4A96-BB15-4D0D23B7951D}" sibTransId="{3CC3F46A-B088-4092-8230-F3D373B18261}"/>
    <dgm:cxn modelId="{E9FC08CF-2871-4594-BFB5-514F29DEFB44}" srcId="{4E47E3A5-F291-4CB0-9551-658A13C10FD2}" destId="{9CFFE8AD-4E89-4A4E-BBCD-B316F387EC64}" srcOrd="0" destOrd="0" parTransId="{58837016-34E3-45A1-A6B5-6F36371C9701}" sibTransId="{2FBF5313-0010-4850-9AF1-4F04772B54CE}"/>
    <dgm:cxn modelId="{02F8E74E-7374-4127-9015-65ACE96B2B07}" type="presParOf" srcId="{1ADD7516-F613-4F65-ABC6-3A7A58CE07B6}" destId="{29F1D0BB-3E45-4276-91E3-0C6F093D0A7E}" srcOrd="0" destOrd="0" presId="urn:microsoft.com/office/officeart/2005/8/layout/default"/>
    <dgm:cxn modelId="{0453E869-72A4-42DF-9490-2E7D85553404}" type="presParOf" srcId="{1ADD7516-F613-4F65-ABC6-3A7A58CE07B6}" destId="{0A88FD5E-6D10-4EBE-911F-43490E26937B}" srcOrd="1" destOrd="0" presId="urn:microsoft.com/office/officeart/2005/8/layout/default"/>
    <dgm:cxn modelId="{288B9732-166A-4882-A2E7-98A27416FBF4}" type="presParOf" srcId="{1ADD7516-F613-4F65-ABC6-3A7A58CE07B6}" destId="{7597247B-6EAF-409A-97D8-0DED4898FE32}" srcOrd="2" destOrd="0" presId="urn:microsoft.com/office/officeart/2005/8/layout/default"/>
    <dgm:cxn modelId="{74F9AECC-76B4-4B6E-AF89-6E475DFF5441}" type="presParOf" srcId="{1ADD7516-F613-4F65-ABC6-3A7A58CE07B6}" destId="{2E290A4C-63A3-46CD-A1DD-83D4DA70932C}" srcOrd="3" destOrd="0" presId="urn:microsoft.com/office/officeart/2005/8/layout/default"/>
    <dgm:cxn modelId="{81B096E1-ECC6-4A7F-B5C3-F14543649A9A}" type="presParOf" srcId="{1ADD7516-F613-4F65-ABC6-3A7A58CE07B6}" destId="{E1757EFE-0A6A-4D35-9C1A-F37CEADA0599}" srcOrd="4" destOrd="0" presId="urn:microsoft.com/office/officeart/2005/8/layout/default"/>
    <dgm:cxn modelId="{82CEE73A-1AB8-4C97-B8E1-ADB507D4B5DB}" type="presParOf" srcId="{1ADD7516-F613-4F65-ABC6-3A7A58CE07B6}" destId="{6C3BAB1F-B08C-4BFE-BDD7-9B2422006F9A}" srcOrd="5" destOrd="0" presId="urn:microsoft.com/office/officeart/2005/8/layout/default"/>
    <dgm:cxn modelId="{929E72BC-E042-4FE6-9DA2-78A3983C4D1A}" type="presParOf" srcId="{1ADD7516-F613-4F65-ABC6-3A7A58CE07B6}" destId="{2E0C1144-2611-4EC4-B504-C63C45C62C6E}" srcOrd="6" destOrd="0" presId="urn:microsoft.com/office/officeart/2005/8/layout/default"/>
    <dgm:cxn modelId="{80130BFA-5433-4C9D-9192-B3C30B653ACE}" type="presParOf" srcId="{1ADD7516-F613-4F65-ABC6-3A7A58CE07B6}" destId="{3BB9A1B3-010B-45E0-8396-25DD9DEB026A}" srcOrd="7" destOrd="0" presId="urn:microsoft.com/office/officeart/2005/8/layout/default"/>
    <dgm:cxn modelId="{04B38903-EF5E-4D9B-B767-CEC4D13AC062}" type="presParOf" srcId="{1ADD7516-F613-4F65-ABC6-3A7A58CE07B6}" destId="{91B47735-245E-4733-847E-EB3046BEDE2B}"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B43BB7DE-6B3E-43E6-9209-5B58EEE68B61}" type="doc">
      <dgm:prSet loTypeId="urn:microsoft.com/office/officeart/2008/layout/PictureStrips" loCatId="list" qsTypeId="urn:microsoft.com/office/officeart/2005/8/quickstyle/simple1" qsCatId="simple" csTypeId="urn:microsoft.com/office/officeart/2005/8/colors/accent0_2" csCatId="mainScheme" phldr="1"/>
      <dgm:spPr/>
      <dgm:t>
        <a:bodyPr/>
        <a:lstStyle/>
        <a:p>
          <a:endParaRPr lang="es-ES"/>
        </a:p>
      </dgm:t>
    </dgm:pt>
    <dgm:pt modelId="{4D3AA085-899E-42B1-B211-965D379C6353}">
      <dgm:prSet phldrT="[Texto]" custT="1"/>
      <dgm:spPr/>
      <dgm:t>
        <a:bodyPr/>
        <a:lstStyle/>
        <a:p>
          <a:r>
            <a:rPr lang="es-ES" sz="1600" b="1" dirty="0"/>
            <a:t>Robert Mercer:</a:t>
          </a:r>
        </a:p>
      </dgm:t>
    </dgm:pt>
    <dgm:pt modelId="{D4BF4BE5-56DE-48C7-B67B-732ED20F8D9A}" type="parTrans" cxnId="{32F4E09D-0333-48F6-83ED-6B3AFAD7DD52}">
      <dgm:prSet/>
      <dgm:spPr/>
      <dgm:t>
        <a:bodyPr/>
        <a:lstStyle/>
        <a:p>
          <a:endParaRPr lang="es-ES" sz="1600"/>
        </a:p>
      </dgm:t>
    </dgm:pt>
    <dgm:pt modelId="{D67BB4B6-26D0-4942-AFD9-60BC7C9A4BED}" type="sibTrans" cxnId="{32F4E09D-0333-48F6-83ED-6B3AFAD7DD52}">
      <dgm:prSet/>
      <dgm:spPr/>
      <dgm:t>
        <a:bodyPr/>
        <a:lstStyle/>
        <a:p>
          <a:endParaRPr lang="es-ES" sz="1600"/>
        </a:p>
      </dgm:t>
    </dgm:pt>
    <dgm:pt modelId="{4D69895F-05A2-4FEC-A253-76B2AC461E9B}">
      <dgm:prSet custT="1"/>
      <dgm:spPr/>
      <dgm:t>
        <a:bodyPr/>
        <a:lstStyle/>
        <a:p>
          <a:r>
            <a:rPr lang="es-ES" sz="1600" b="1" dirty="0"/>
            <a:t>Steve Bannon:</a:t>
          </a:r>
        </a:p>
      </dgm:t>
    </dgm:pt>
    <dgm:pt modelId="{9A367AA7-D550-4037-9FBB-CF7AA68FD555}" type="parTrans" cxnId="{6831657C-D247-4715-B70C-D6FDC85EF2E8}">
      <dgm:prSet/>
      <dgm:spPr/>
      <dgm:t>
        <a:bodyPr/>
        <a:lstStyle/>
        <a:p>
          <a:endParaRPr lang="es-ES" sz="1600"/>
        </a:p>
      </dgm:t>
    </dgm:pt>
    <dgm:pt modelId="{1C3D5806-6D1A-4334-9E2C-9BB9ED5F691A}" type="sibTrans" cxnId="{6831657C-D247-4715-B70C-D6FDC85EF2E8}">
      <dgm:prSet/>
      <dgm:spPr/>
      <dgm:t>
        <a:bodyPr/>
        <a:lstStyle/>
        <a:p>
          <a:endParaRPr lang="es-ES" sz="1600"/>
        </a:p>
      </dgm:t>
    </dgm:pt>
    <dgm:pt modelId="{1CD44BB7-0DC3-43B5-B8E4-696EAA9ADA17}">
      <dgm:prSet custT="1"/>
      <dgm:spPr/>
      <dgm:t>
        <a:bodyPr/>
        <a:lstStyle/>
        <a:p>
          <a:r>
            <a:rPr lang="es-ES" sz="1600" b="1" dirty="0"/>
            <a:t>Alexander Nix:</a:t>
          </a:r>
        </a:p>
      </dgm:t>
    </dgm:pt>
    <dgm:pt modelId="{8FA4CB3E-F16D-4BF0-829B-6B919AF00316}" type="parTrans" cxnId="{785C1441-BFE2-4881-87D9-ABE4E3304FA4}">
      <dgm:prSet/>
      <dgm:spPr/>
      <dgm:t>
        <a:bodyPr/>
        <a:lstStyle/>
        <a:p>
          <a:endParaRPr lang="es-ES" sz="1600"/>
        </a:p>
      </dgm:t>
    </dgm:pt>
    <dgm:pt modelId="{6D11C981-34D8-4B85-80A9-E05FBE7CEDE0}" type="sibTrans" cxnId="{785C1441-BFE2-4881-87D9-ABE4E3304FA4}">
      <dgm:prSet/>
      <dgm:spPr/>
      <dgm:t>
        <a:bodyPr/>
        <a:lstStyle/>
        <a:p>
          <a:endParaRPr lang="es-ES" sz="1600"/>
        </a:p>
      </dgm:t>
    </dgm:pt>
    <dgm:pt modelId="{C6945B76-FD02-42A4-8293-B5D1CC8C88B0}">
      <dgm:prSet custT="1"/>
      <dgm:spPr/>
      <dgm:t>
        <a:bodyPr/>
        <a:lstStyle/>
        <a:p>
          <a:r>
            <a:rPr lang="es-ES" sz="1600" b="1" dirty="0"/>
            <a:t>Carole Cadwalladr</a:t>
          </a:r>
        </a:p>
      </dgm:t>
    </dgm:pt>
    <dgm:pt modelId="{EE6BE84F-F400-4F0D-8D4A-7D1195E18002}" type="parTrans" cxnId="{AF24CC08-7CB8-4A92-A4B0-A56D250C870C}">
      <dgm:prSet/>
      <dgm:spPr/>
      <dgm:t>
        <a:bodyPr/>
        <a:lstStyle/>
        <a:p>
          <a:endParaRPr lang="es-ES" sz="1600"/>
        </a:p>
      </dgm:t>
    </dgm:pt>
    <dgm:pt modelId="{8BFACCC6-0C66-4256-93C8-4E0414CF2A05}" type="sibTrans" cxnId="{AF24CC08-7CB8-4A92-A4B0-A56D250C870C}">
      <dgm:prSet/>
      <dgm:spPr/>
      <dgm:t>
        <a:bodyPr/>
        <a:lstStyle/>
        <a:p>
          <a:endParaRPr lang="es-ES" sz="1600"/>
        </a:p>
      </dgm:t>
    </dgm:pt>
    <dgm:pt modelId="{70FDC1C2-47A0-41D7-80FF-D726B336DD1A}">
      <dgm:prSet phldrT="[Texto]" custT="1"/>
      <dgm:spPr/>
      <dgm:t>
        <a:bodyPr/>
        <a:lstStyle/>
        <a:p>
          <a:r>
            <a:rPr lang="es-ES" sz="1600" dirty="0"/>
            <a:t>Millonario americano</a:t>
          </a:r>
        </a:p>
      </dgm:t>
    </dgm:pt>
    <dgm:pt modelId="{1B263307-5D56-43DB-B418-C391C3B5290B}" type="parTrans" cxnId="{6B6192D1-24AE-4118-8905-0E62C90C8E8F}">
      <dgm:prSet/>
      <dgm:spPr/>
      <dgm:t>
        <a:bodyPr/>
        <a:lstStyle/>
        <a:p>
          <a:endParaRPr lang="es-ES" sz="1600"/>
        </a:p>
      </dgm:t>
    </dgm:pt>
    <dgm:pt modelId="{8147621A-0921-4D45-B7E1-23C22A1E70F2}" type="sibTrans" cxnId="{6B6192D1-24AE-4118-8905-0E62C90C8E8F}">
      <dgm:prSet/>
      <dgm:spPr/>
      <dgm:t>
        <a:bodyPr/>
        <a:lstStyle/>
        <a:p>
          <a:endParaRPr lang="es-ES" sz="1600"/>
        </a:p>
      </dgm:t>
    </dgm:pt>
    <dgm:pt modelId="{6E170308-812F-477C-B767-DCDC180DEB2B}">
      <dgm:prSet custT="1"/>
      <dgm:spPr/>
      <dgm:t>
        <a:bodyPr/>
        <a:lstStyle/>
        <a:p>
          <a:r>
            <a:rPr lang="es-ES" sz="1600" dirty="0"/>
            <a:t>ex asesor de Trump</a:t>
          </a:r>
        </a:p>
      </dgm:t>
    </dgm:pt>
    <dgm:pt modelId="{80E2885D-1712-4011-B4F5-06AC1C726BC6}" type="parTrans" cxnId="{F4537B40-2ED2-4B63-80F6-9B5A979A26D7}">
      <dgm:prSet/>
      <dgm:spPr/>
      <dgm:t>
        <a:bodyPr/>
        <a:lstStyle/>
        <a:p>
          <a:endParaRPr lang="es-ES" sz="1600"/>
        </a:p>
      </dgm:t>
    </dgm:pt>
    <dgm:pt modelId="{22883C81-D813-4F1E-837B-849032A1A3F8}" type="sibTrans" cxnId="{F4537B40-2ED2-4B63-80F6-9B5A979A26D7}">
      <dgm:prSet/>
      <dgm:spPr/>
      <dgm:t>
        <a:bodyPr/>
        <a:lstStyle/>
        <a:p>
          <a:endParaRPr lang="es-ES" sz="1600"/>
        </a:p>
      </dgm:t>
    </dgm:pt>
    <dgm:pt modelId="{32C54744-F363-48D0-9A31-35DA616E1F6D}">
      <dgm:prSet custT="1"/>
      <dgm:spPr/>
      <dgm:t>
        <a:bodyPr/>
        <a:lstStyle/>
        <a:p>
          <a:r>
            <a:rPr lang="es-ES" sz="1600" dirty="0"/>
            <a:t>Director ejecutivo SCL Group</a:t>
          </a:r>
        </a:p>
      </dgm:t>
    </dgm:pt>
    <dgm:pt modelId="{E5F371A0-9631-4CE3-9CAD-362341E43480}" type="parTrans" cxnId="{64FB6A7D-CAC4-4396-913E-D48B97CDDD90}">
      <dgm:prSet/>
      <dgm:spPr/>
      <dgm:t>
        <a:bodyPr/>
        <a:lstStyle/>
        <a:p>
          <a:endParaRPr lang="es-ES" sz="1600"/>
        </a:p>
      </dgm:t>
    </dgm:pt>
    <dgm:pt modelId="{5B6F42DC-3130-4CA4-90DC-1FADCD90A60B}" type="sibTrans" cxnId="{64FB6A7D-CAC4-4396-913E-D48B97CDDD90}">
      <dgm:prSet/>
      <dgm:spPr/>
      <dgm:t>
        <a:bodyPr/>
        <a:lstStyle/>
        <a:p>
          <a:endParaRPr lang="es-ES" sz="1600"/>
        </a:p>
      </dgm:t>
    </dgm:pt>
    <dgm:pt modelId="{BF951352-45C9-4A7D-BF49-F62BB278F0DB}">
      <dgm:prSet custT="1"/>
      <dgm:spPr/>
      <dgm:t>
        <a:bodyPr/>
        <a:lstStyle/>
        <a:p>
          <a:r>
            <a:rPr lang="es-ES" sz="1600" dirty="0"/>
            <a:t>'The Guardian' y su dominical, 'The Observer’.</a:t>
          </a:r>
        </a:p>
      </dgm:t>
    </dgm:pt>
    <dgm:pt modelId="{8D80E5D8-A3D5-4E10-998A-6EAD7EEE6290}" type="parTrans" cxnId="{F05BE7D5-A306-434D-90E8-F08AD84D6E42}">
      <dgm:prSet/>
      <dgm:spPr/>
      <dgm:t>
        <a:bodyPr/>
        <a:lstStyle/>
        <a:p>
          <a:endParaRPr lang="es-ES" sz="1600"/>
        </a:p>
      </dgm:t>
    </dgm:pt>
    <dgm:pt modelId="{9BE5A672-C53D-42F0-A9BB-40CC89D73D72}" type="sibTrans" cxnId="{F05BE7D5-A306-434D-90E8-F08AD84D6E42}">
      <dgm:prSet/>
      <dgm:spPr/>
      <dgm:t>
        <a:bodyPr/>
        <a:lstStyle/>
        <a:p>
          <a:endParaRPr lang="es-ES" sz="1600"/>
        </a:p>
      </dgm:t>
    </dgm:pt>
    <dgm:pt modelId="{176768C9-2F37-41AF-8F30-697BAC9E9BE6}">
      <dgm:prSet phldrT="[Texto]" custT="1"/>
      <dgm:spPr/>
      <dgm:t>
        <a:bodyPr/>
        <a:lstStyle/>
        <a:p>
          <a:r>
            <a:rPr lang="es-ES" sz="1600" dirty="0"/>
            <a:t>Dueño de Breitbart, Cambridge Analytica.</a:t>
          </a:r>
        </a:p>
      </dgm:t>
    </dgm:pt>
    <dgm:pt modelId="{CD7973EC-ED76-4B4C-AA2A-210EA9F7E2C6}" type="parTrans" cxnId="{DDA33F95-2D91-4D3A-8D55-4EAAE05E66B9}">
      <dgm:prSet/>
      <dgm:spPr/>
      <dgm:t>
        <a:bodyPr/>
        <a:lstStyle/>
        <a:p>
          <a:endParaRPr lang="es-ES"/>
        </a:p>
      </dgm:t>
    </dgm:pt>
    <dgm:pt modelId="{928C0205-DDE6-431A-B159-998784515FA1}" type="sibTrans" cxnId="{DDA33F95-2D91-4D3A-8D55-4EAAE05E66B9}">
      <dgm:prSet/>
      <dgm:spPr/>
      <dgm:t>
        <a:bodyPr/>
        <a:lstStyle/>
        <a:p>
          <a:endParaRPr lang="es-ES"/>
        </a:p>
      </dgm:t>
    </dgm:pt>
    <dgm:pt modelId="{E0BEDF7B-ADFF-4A8F-901C-FB67512F4BEE}">
      <dgm:prSet custT="1"/>
      <dgm:spPr/>
      <dgm:t>
        <a:bodyPr/>
        <a:lstStyle/>
        <a:p>
          <a:r>
            <a:rPr lang="es-ES" sz="1600" dirty="0"/>
            <a:t>Ex vicepresidente de Cambridge Analytica.</a:t>
          </a:r>
        </a:p>
      </dgm:t>
    </dgm:pt>
    <dgm:pt modelId="{4315C91C-29F9-4E1B-B9B6-1D7037A508FB}" type="parTrans" cxnId="{F3757965-5B32-433C-9D43-0A83D29AE2DF}">
      <dgm:prSet/>
      <dgm:spPr/>
      <dgm:t>
        <a:bodyPr/>
        <a:lstStyle/>
        <a:p>
          <a:endParaRPr lang="es-ES"/>
        </a:p>
      </dgm:t>
    </dgm:pt>
    <dgm:pt modelId="{82052CB5-7622-486E-860A-37E8E446CB8D}" type="sibTrans" cxnId="{F3757965-5B32-433C-9D43-0A83D29AE2DF}">
      <dgm:prSet/>
      <dgm:spPr/>
      <dgm:t>
        <a:bodyPr/>
        <a:lstStyle/>
        <a:p>
          <a:endParaRPr lang="es-ES"/>
        </a:p>
      </dgm:t>
    </dgm:pt>
    <dgm:pt modelId="{F0A33081-6054-4394-B3CB-60075A928A7C}">
      <dgm:prSet custT="1"/>
      <dgm:spPr/>
      <dgm:t>
        <a:bodyPr/>
        <a:lstStyle/>
        <a:p>
          <a:r>
            <a:rPr lang="es-ES" sz="1600" dirty="0"/>
            <a:t>Cambridge Analytic.</a:t>
          </a:r>
        </a:p>
      </dgm:t>
    </dgm:pt>
    <dgm:pt modelId="{51C4F4B1-A66E-4D85-928A-DE6FEBDAD8E9}" type="parTrans" cxnId="{DA20D9EF-F37D-4634-81F9-8871D07BDEBE}">
      <dgm:prSet/>
      <dgm:spPr/>
      <dgm:t>
        <a:bodyPr/>
        <a:lstStyle/>
        <a:p>
          <a:endParaRPr lang="es-ES"/>
        </a:p>
      </dgm:t>
    </dgm:pt>
    <dgm:pt modelId="{DE668920-1279-481B-9678-54B39AF46BEE}" type="sibTrans" cxnId="{DA20D9EF-F37D-4634-81F9-8871D07BDEBE}">
      <dgm:prSet/>
      <dgm:spPr/>
      <dgm:t>
        <a:bodyPr/>
        <a:lstStyle/>
        <a:p>
          <a:endParaRPr lang="es-ES"/>
        </a:p>
      </dgm:t>
    </dgm:pt>
    <dgm:pt modelId="{3499BCB7-72E6-4146-8730-E692A5C6F2F2}">
      <dgm:prSet custT="1"/>
      <dgm:spPr/>
      <dgm:t>
        <a:bodyPr/>
        <a:lstStyle/>
        <a:p>
          <a:r>
            <a:rPr lang="es-ES" sz="1600" b="1" dirty="0"/>
            <a:t>Aleksandr Kogan.</a:t>
          </a:r>
        </a:p>
      </dgm:t>
    </dgm:pt>
    <dgm:pt modelId="{57B50FBC-FF4F-4BAD-A813-DF320DEECF48}" type="parTrans" cxnId="{278B6AA7-FF62-488B-A16F-A58E02D668D1}">
      <dgm:prSet/>
      <dgm:spPr/>
      <dgm:t>
        <a:bodyPr/>
        <a:lstStyle/>
        <a:p>
          <a:endParaRPr lang="es-ES"/>
        </a:p>
      </dgm:t>
    </dgm:pt>
    <dgm:pt modelId="{289AD00E-135A-4BD1-B0DD-F1005DD1BFD8}" type="sibTrans" cxnId="{278B6AA7-FF62-488B-A16F-A58E02D668D1}">
      <dgm:prSet/>
      <dgm:spPr/>
      <dgm:t>
        <a:bodyPr/>
        <a:lstStyle/>
        <a:p>
          <a:endParaRPr lang="es-ES"/>
        </a:p>
      </dgm:t>
    </dgm:pt>
    <dgm:pt modelId="{335E7D4C-FDD0-4E15-BA09-42D3F6808666}">
      <dgm:prSet custT="1"/>
      <dgm:spPr/>
      <dgm:t>
        <a:bodyPr/>
        <a:lstStyle/>
        <a:p>
          <a:r>
            <a:rPr lang="es-ES" sz="1600" dirty="0"/>
            <a:t>Crea la APP ‘Thisisyourdigitallife’.</a:t>
          </a:r>
        </a:p>
      </dgm:t>
    </dgm:pt>
    <dgm:pt modelId="{BC1BD25C-E1DF-4294-BE9D-859CBF289936}" type="parTrans" cxnId="{6C2EE8FA-25B0-4B95-BE5F-DD3D01B6AAB2}">
      <dgm:prSet/>
      <dgm:spPr/>
      <dgm:t>
        <a:bodyPr/>
        <a:lstStyle/>
        <a:p>
          <a:endParaRPr lang="es-ES"/>
        </a:p>
      </dgm:t>
    </dgm:pt>
    <dgm:pt modelId="{9D8A765F-990D-4681-9CAA-97D24788B728}" type="sibTrans" cxnId="{6C2EE8FA-25B0-4B95-BE5F-DD3D01B6AAB2}">
      <dgm:prSet/>
      <dgm:spPr/>
      <dgm:t>
        <a:bodyPr/>
        <a:lstStyle/>
        <a:p>
          <a:endParaRPr lang="es-ES"/>
        </a:p>
      </dgm:t>
    </dgm:pt>
    <dgm:pt modelId="{60C82183-183C-4F9D-AD76-532422970EF8}" type="pres">
      <dgm:prSet presAssocID="{B43BB7DE-6B3E-43E6-9209-5B58EEE68B61}" presName="Name0" presStyleCnt="0">
        <dgm:presLayoutVars>
          <dgm:dir/>
          <dgm:resizeHandles val="exact"/>
        </dgm:presLayoutVars>
      </dgm:prSet>
      <dgm:spPr/>
    </dgm:pt>
    <dgm:pt modelId="{E666485D-6D31-4C7B-8568-F82890E1EBCB}" type="pres">
      <dgm:prSet presAssocID="{4D3AA085-899E-42B1-B211-965D379C6353}" presName="composite" presStyleCnt="0"/>
      <dgm:spPr/>
    </dgm:pt>
    <dgm:pt modelId="{0726C07E-DDD0-4CC2-A1CD-F791C1E2675C}" type="pres">
      <dgm:prSet presAssocID="{4D3AA085-899E-42B1-B211-965D379C6353}" presName="rect1" presStyleLbl="trAlignAcc1" presStyleIdx="0" presStyleCnt="5">
        <dgm:presLayoutVars>
          <dgm:bulletEnabled val="1"/>
        </dgm:presLayoutVars>
      </dgm:prSet>
      <dgm:spPr/>
    </dgm:pt>
    <dgm:pt modelId="{08A2BC8C-264F-4425-BAEF-A39C42B9848B}" type="pres">
      <dgm:prSet presAssocID="{4D3AA085-899E-42B1-B211-965D379C6353}" presName="rect2" presStyleLbl="fgImgPlace1" presStyleIdx="0" presStyleCnt="5" custScaleX="144871" custLinFactNeighborX="-17303" custLinFactNeighborY="5746"/>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66B9C96E-2EFA-485D-8F1C-DFEEDCBAFF49}" type="pres">
      <dgm:prSet presAssocID="{D67BB4B6-26D0-4942-AFD9-60BC7C9A4BED}" presName="sibTrans" presStyleCnt="0"/>
      <dgm:spPr/>
    </dgm:pt>
    <dgm:pt modelId="{48214828-218C-46BF-9E55-04BE8FC23E3B}" type="pres">
      <dgm:prSet presAssocID="{3499BCB7-72E6-4146-8730-E692A5C6F2F2}" presName="composite" presStyleCnt="0"/>
      <dgm:spPr/>
    </dgm:pt>
    <dgm:pt modelId="{E22D2633-2258-4849-BCB6-16829227F036}" type="pres">
      <dgm:prSet presAssocID="{3499BCB7-72E6-4146-8730-E692A5C6F2F2}" presName="rect1" presStyleLbl="trAlignAcc1" presStyleIdx="1" presStyleCnt="5" custLinFactNeighborX="8666">
        <dgm:presLayoutVars>
          <dgm:bulletEnabled val="1"/>
        </dgm:presLayoutVars>
      </dgm:prSet>
      <dgm:spPr/>
    </dgm:pt>
    <dgm:pt modelId="{5ADB5214-22D9-4C05-B5DF-015734F268DF}" type="pres">
      <dgm:prSet presAssocID="{3499BCB7-72E6-4146-8730-E692A5C6F2F2}" presName="rect2" presStyleLbl="fgImgPlace1" presStyleIdx="1" presStyleCnt="5" custScaleX="144871" custLinFactNeighborX="22277" custLinFactNeighborY="5746"/>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3471ABF2-0B4F-41C2-A5A9-4AE563BF31A9}" type="pres">
      <dgm:prSet presAssocID="{289AD00E-135A-4BD1-B0DD-F1005DD1BFD8}" presName="sibTrans" presStyleCnt="0"/>
      <dgm:spPr/>
    </dgm:pt>
    <dgm:pt modelId="{365B933E-C604-4D54-926E-187538741BEF}" type="pres">
      <dgm:prSet presAssocID="{4D69895F-05A2-4FEC-A253-76B2AC461E9B}" presName="composite" presStyleCnt="0"/>
      <dgm:spPr/>
    </dgm:pt>
    <dgm:pt modelId="{0EA3A76B-A570-4E1A-B9BB-2E8E62CFCEFE}" type="pres">
      <dgm:prSet presAssocID="{4D69895F-05A2-4FEC-A253-76B2AC461E9B}" presName="rect1" presStyleLbl="trAlignAcc1" presStyleIdx="2" presStyleCnt="5">
        <dgm:presLayoutVars>
          <dgm:bulletEnabled val="1"/>
        </dgm:presLayoutVars>
      </dgm:prSet>
      <dgm:spPr/>
    </dgm:pt>
    <dgm:pt modelId="{0F8CF855-5927-44C3-8BE6-EF217469CFDB}" type="pres">
      <dgm:prSet presAssocID="{4D69895F-05A2-4FEC-A253-76B2AC461E9B}" presName="rect2" presStyleLbl="fgImgPlace1" presStyleIdx="2" presStyleCnt="5" custScaleX="144871" custLinFactNeighborX="-17303" custLinFactNeighborY="5746"/>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A68E4C4F-08AC-45D9-B00E-6269D2BAA3FE}" type="pres">
      <dgm:prSet presAssocID="{1C3D5806-6D1A-4334-9E2C-9BB9ED5F691A}" presName="sibTrans" presStyleCnt="0"/>
      <dgm:spPr/>
    </dgm:pt>
    <dgm:pt modelId="{C7D0692C-CC10-4946-B496-A1CB4FD65054}" type="pres">
      <dgm:prSet presAssocID="{1CD44BB7-0DC3-43B5-B8E4-696EAA9ADA17}" presName="composite" presStyleCnt="0"/>
      <dgm:spPr/>
    </dgm:pt>
    <dgm:pt modelId="{99A936D9-BBB0-455C-8DFC-5A2982A23803}" type="pres">
      <dgm:prSet presAssocID="{1CD44BB7-0DC3-43B5-B8E4-696EAA9ADA17}" presName="rect1" presStyleLbl="trAlignAcc1" presStyleIdx="3" presStyleCnt="5" custLinFactNeighborX="8666">
        <dgm:presLayoutVars>
          <dgm:bulletEnabled val="1"/>
        </dgm:presLayoutVars>
      </dgm:prSet>
      <dgm:spPr/>
    </dgm:pt>
    <dgm:pt modelId="{774F464C-861B-4ECA-8E85-09A8C8939D40}" type="pres">
      <dgm:prSet presAssocID="{1CD44BB7-0DC3-43B5-B8E4-696EAA9ADA17}" presName="rect2" presStyleLbl="fgImgPlace1" presStyleIdx="3" presStyleCnt="5" custScaleX="144871" custLinFactNeighborX="22277" custLinFactNeighborY="5746"/>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4652BCF7-D43F-47A6-B531-DBCE11121205}" type="pres">
      <dgm:prSet presAssocID="{6D11C981-34D8-4B85-80A9-E05FBE7CEDE0}" presName="sibTrans" presStyleCnt="0"/>
      <dgm:spPr/>
    </dgm:pt>
    <dgm:pt modelId="{DF9FB3E3-BC10-4E99-AA4A-712F88437D24}" type="pres">
      <dgm:prSet presAssocID="{C6945B76-FD02-42A4-8293-B5D1CC8C88B0}" presName="composite" presStyleCnt="0"/>
      <dgm:spPr/>
    </dgm:pt>
    <dgm:pt modelId="{1C9734A2-94C9-4909-A1A0-CF5B1E582147}" type="pres">
      <dgm:prSet presAssocID="{C6945B76-FD02-42A4-8293-B5D1CC8C88B0}" presName="rect1" presStyleLbl="trAlignAcc1" presStyleIdx="4" presStyleCnt="5">
        <dgm:presLayoutVars>
          <dgm:bulletEnabled val="1"/>
        </dgm:presLayoutVars>
      </dgm:prSet>
      <dgm:spPr/>
    </dgm:pt>
    <dgm:pt modelId="{290678E8-AF1E-42DB-BDBD-7014B7E22E17}" type="pres">
      <dgm:prSet presAssocID="{C6945B76-FD02-42A4-8293-B5D1CC8C88B0}" presName="rect2" presStyleLbl="fgImgPlace1" presStyleIdx="4" presStyleCnt="5" custScaleX="144871" custLinFactNeighborX="-17303" custLinFactNeighborY="6370"/>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Lst>
  <dgm:cxnLst>
    <dgm:cxn modelId="{AF24CC08-7CB8-4A92-A4B0-A56D250C870C}" srcId="{B43BB7DE-6B3E-43E6-9209-5B58EEE68B61}" destId="{C6945B76-FD02-42A4-8293-B5D1CC8C88B0}" srcOrd="4" destOrd="0" parTransId="{EE6BE84F-F400-4F0D-8D4A-7D1195E18002}" sibTransId="{8BFACCC6-0C66-4256-93C8-4E0414CF2A05}"/>
    <dgm:cxn modelId="{4C65CA0D-E99A-4910-92EF-58E768BEB858}" type="presOf" srcId="{C6945B76-FD02-42A4-8293-B5D1CC8C88B0}" destId="{1C9734A2-94C9-4909-A1A0-CF5B1E582147}" srcOrd="0" destOrd="0" presId="urn:microsoft.com/office/officeart/2008/layout/PictureStrips"/>
    <dgm:cxn modelId="{D6B2B626-8BCA-44B1-88A6-563C278DFF10}" type="presOf" srcId="{4D3AA085-899E-42B1-B211-965D379C6353}" destId="{0726C07E-DDD0-4CC2-A1CD-F791C1E2675C}" srcOrd="0" destOrd="0" presId="urn:microsoft.com/office/officeart/2008/layout/PictureStrips"/>
    <dgm:cxn modelId="{D0833A2E-D546-4E3D-9451-F38D58B31643}" type="presOf" srcId="{BF951352-45C9-4A7D-BF49-F62BB278F0DB}" destId="{1C9734A2-94C9-4909-A1A0-CF5B1E582147}" srcOrd="0" destOrd="1" presId="urn:microsoft.com/office/officeart/2008/layout/PictureStrips"/>
    <dgm:cxn modelId="{F4537B40-2ED2-4B63-80F6-9B5A979A26D7}" srcId="{4D69895F-05A2-4FEC-A253-76B2AC461E9B}" destId="{6E170308-812F-477C-B767-DCDC180DEB2B}" srcOrd="0" destOrd="0" parTransId="{80E2885D-1712-4011-B4F5-06AC1C726BC6}" sibTransId="{22883C81-D813-4F1E-837B-849032A1A3F8}"/>
    <dgm:cxn modelId="{785C1441-BFE2-4881-87D9-ABE4E3304FA4}" srcId="{B43BB7DE-6B3E-43E6-9209-5B58EEE68B61}" destId="{1CD44BB7-0DC3-43B5-B8E4-696EAA9ADA17}" srcOrd="3" destOrd="0" parTransId="{8FA4CB3E-F16D-4BF0-829B-6B919AF00316}" sibTransId="{6D11C981-34D8-4B85-80A9-E05FBE7CEDE0}"/>
    <dgm:cxn modelId="{A8BDF842-BC7B-4CB0-9C07-1C97F1F46D01}" type="presOf" srcId="{176768C9-2F37-41AF-8F30-697BAC9E9BE6}" destId="{0726C07E-DDD0-4CC2-A1CD-F791C1E2675C}" srcOrd="0" destOrd="2" presId="urn:microsoft.com/office/officeart/2008/layout/PictureStrips"/>
    <dgm:cxn modelId="{F3757965-5B32-433C-9D43-0A83D29AE2DF}" srcId="{4D69895F-05A2-4FEC-A253-76B2AC461E9B}" destId="{E0BEDF7B-ADFF-4A8F-901C-FB67512F4BEE}" srcOrd="1" destOrd="0" parTransId="{4315C91C-29F9-4E1B-B9B6-1D7037A508FB}" sibTransId="{82052CB5-7622-486E-860A-37E8E446CB8D}"/>
    <dgm:cxn modelId="{44EDAD73-7C67-4E3B-ADAD-8B4CC6D13393}" type="presOf" srcId="{4D69895F-05A2-4FEC-A253-76B2AC461E9B}" destId="{0EA3A76B-A570-4E1A-B9BB-2E8E62CFCEFE}" srcOrd="0" destOrd="0" presId="urn:microsoft.com/office/officeart/2008/layout/PictureStrips"/>
    <dgm:cxn modelId="{449CBA54-5FA0-47A1-9E41-3E335B03A35C}" type="presOf" srcId="{3499BCB7-72E6-4146-8730-E692A5C6F2F2}" destId="{E22D2633-2258-4849-BCB6-16829227F036}" srcOrd="0" destOrd="0" presId="urn:microsoft.com/office/officeart/2008/layout/PictureStrips"/>
    <dgm:cxn modelId="{83ECA359-3527-464C-BF20-9FE5A1030993}" type="presOf" srcId="{32C54744-F363-48D0-9A31-35DA616E1F6D}" destId="{99A936D9-BBB0-455C-8DFC-5A2982A23803}" srcOrd="0" destOrd="1" presId="urn:microsoft.com/office/officeart/2008/layout/PictureStrips"/>
    <dgm:cxn modelId="{6831657C-D247-4715-B70C-D6FDC85EF2E8}" srcId="{B43BB7DE-6B3E-43E6-9209-5B58EEE68B61}" destId="{4D69895F-05A2-4FEC-A253-76B2AC461E9B}" srcOrd="2" destOrd="0" parTransId="{9A367AA7-D550-4037-9FBB-CF7AA68FD555}" sibTransId="{1C3D5806-6D1A-4334-9E2C-9BB9ED5F691A}"/>
    <dgm:cxn modelId="{64FB6A7D-CAC4-4396-913E-D48B97CDDD90}" srcId="{1CD44BB7-0DC3-43B5-B8E4-696EAA9ADA17}" destId="{32C54744-F363-48D0-9A31-35DA616E1F6D}" srcOrd="0" destOrd="0" parTransId="{E5F371A0-9631-4CE3-9CAD-362341E43480}" sibTransId="{5B6F42DC-3130-4CA4-90DC-1FADCD90A60B}"/>
    <dgm:cxn modelId="{8FA5797D-1306-40CA-B9A7-2B681CF001DD}" type="presOf" srcId="{E0BEDF7B-ADFF-4A8F-901C-FB67512F4BEE}" destId="{0EA3A76B-A570-4E1A-B9BB-2E8E62CFCEFE}" srcOrd="0" destOrd="2" presId="urn:microsoft.com/office/officeart/2008/layout/PictureStrips"/>
    <dgm:cxn modelId="{FE98F784-413D-467D-A5D1-1E51AE95619D}" type="presOf" srcId="{F0A33081-6054-4394-B3CB-60075A928A7C}" destId="{99A936D9-BBB0-455C-8DFC-5A2982A23803}" srcOrd="0" destOrd="2" presId="urn:microsoft.com/office/officeart/2008/layout/PictureStrips"/>
    <dgm:cxn modelId="{DDA33F95-2D91-4D3A-8D55-4EAAE05E66B9}" srcId="{4D3AA085-899E-42B1-B211-965D379C6353}" destId="{176768C9-2F37-41AF-8F30-697BAC9E9BE6}" srcOrd="1" destOrd="0" parTransId="{CD7973EC-ED76-4B4C-AA2A-210EA9F7E2C6}" sibTransId="{928C0205-DDE6-431A-B159-998784515FA1}"/>
    <dgm:cxn modelId="{32F4E09D-0333-48F6-83ED-6B3AFAD7DD52}" srcId="{B43BB7DE-6B3E-43E6-9209-5B58EEE68B61}" destId="{4D3AA085-899E-42B1-B211-965D379C6353}" srcOrd="0" destOrd="0" parTransId="{D4BF4BE5-56DE-48C7-B67B-732ED20F8D9A}" sibTransId="{D67BB4B6-26D0-4942-AFD9-60BC7C9A4BED}"/>
    <dgm:cxn modelId="{278B6AA7-FF62-488B-A16F-A58E02D668D1}" srcId="{B43BB7DE-6B3E-43E6-9209-5B58EEE68B61}" destId="{3499BCB7-72E6-4146-8730-E692A5C6F2F2}" srcOrd="1" destOrd="0" parTransId="{57B50FBC-FF4F-4BAD-A813-DF320DEECF48}" sibTransId="{289AD00E-135A-4BD1-B0DD-F1005DD1BFD8}"/>
    <dgm:cxn modelId="{1F3CB6A9-1B12-4137-9D5D-80374C8E7FF5}" type="presOf" srcId="{6E170308-812F-477C-B767-DCDC180DEB2B}" destId="{0EA3A76B-A570-4E1A-B9BB-2E8E62CFCEFE}" srcOrd="0" destOrd="1" presId="urn:microsoft.com/office/officeart/2008/layout/PictureStrips"/>
    <dgm:cxn modelId="{5F90B2C1-BF9A-4E84-87D3-6BA5938DCE4F}" type="presOf" srcId="{B43BB7DE-6B3E-43E6-9209-5B58EEE68B61}" destId="{60C82183-183C-4F9D-AD76-532422970EF8}" srcOrd="0" destOrd="0" presId="urn:microsoft.com/office/officeart/2008/layout/PictureStrips"/>
    <dgm:cxn modelId="{6B6192D1-24AE-4118-8905-0E62C90C8E8F}" srcId="{4D3AA085-899E-42B1-B211-965D379C6353}" destId="{70FDC1C2-47A0-41D7-80FF-D726B336DD1A}" srcOrd="0" destOrd="0" parTransId="{1B263307-5D56-43DB-B418-C391C3B5290B}" sibTransId="{8147621A-0921-4D45-B7E1-23C22A1E70F2}"/>
    <dgm:cxn modelId="{F05BE7D5-A306-434D-90E8-F08AD84D6E42}" srcId="{C6945B76-FD02-42A4-8293-B5D1CC8C88B0}" destId="{BF951352-45C9-4A7D-BF49-F62BB278F0DB}" srcOrd="0" destOrd="0" parTransId="{8D80E5D8-A3D5-4E10-998A-6EAD7EEE6290}" sibTransId="{9BE5A672-C53D-42F0-A9BB-40CC89D73D72}"/>
    <dgm:cxn modelId="{AA10E9D6-DDA7-4E0C-87D5-9289387FF818}" type="presOf" srcId="{335E7D4C-FDD0-4E15-BA09-42D3F6808666}" destId="{E22D2633-2258-4849-BCB6-16829227F036}" srcOrd="0" destOrd="1" presId="urn:microsoft.com/office/officeart/2008/layout/PictureStrips"/>
    <dgm:cxn modelId="{573394EC-374F-448B-A2A3-7EBC1AE8C43C}" type="presOf" srcId="{1CD44BB7-0DC3-43B5-B8E4-696EAA9ADA17}" destId="{99A936D9-BBB0-455C-8DFC-5A2982A23803}" srcOrd="0" destOrd="0" presId="urn:microsoft.com/office/officeart/2008/layout/PictureStrips"/>
    <dgm:cxn modelId="{DA20D9EF-F37D-4634-81F9-8871D07BDEBE}" srcId="{1CD44BB7-0DC3-43B5-B8E4-696EAA9ADA17}" destId="{F0A33081-6054-4394-B3CB-60075A928A7C}" srcOrd="1" destOrd="0" parTransId="{51C4F4B1-A66E-4D85-928A-DE6FEBDAD8E9}" sibTransId="{DE668920-1279-481B-9678-54B39AF46BEE}"/>
    <dgm:cxn modelId="{1D5739F8-5E07-43D1-A185-61A3235E213B}" type="presOf" srcId="{70FDC1C2-47A0-41D7-80FF-D726B336DD1A}" destId="{0726C07E-DDD0-4CC2-A1CD-F791C1E2675C}" srcOrd="0" destOrd="1" presId="urn:microsoft.com/office/officeart/2008/layout/PictureStrips"/>
    <dgm:cxn modelId="{6C2EE8FA-25B0-4B95-BE5F-DD3D01B6AAB2}" srcId="{3499BCB7-72E6-4146-8730-E692A5C6F2F2}" destId="{335E7D4C-FDD0-4E15-BA09-42D3F6808666}" srcOrd="0" destOrd="0" parTransId="{BC1BD25C-E1DF-4294-BE9D-859CBF289936}" sibTransId="{9D8A765F-990D-4681-9CAA-97D24788B728}"/>
    <dgm:cxn modelId="{7EB9A285-16C3-4434-9F73-C8B7F23391A1}" type="presParOf" srcId="{60C82183-183C-4F9D-AD76-532422970EF8}" destId="{E666485D-6D31-4C7B-8568-F82890E1EBCB}" srcOrd="0" destOrd="0" presId="urn:microsoft.com/office/officeart/2008/layout/PictureStrips"/>
    <dgm:cxn modelId="{241243B8-615D-474E-AFAD-4DF5EECD93D2}" type="presParOf" srcId="{E666485D-6D31-4C7B-8568-F82890E1EBCB}" destId="{0726C07E-DDD0-4CC2-A1CD-F791C1E2675C}" srcOrd="0" destOrd="0" presId="urn:microsoft.com/office/officeart/2008/layout/PictureStrips"/>
    <dgm:cxn modelId="{BDF9B682-B5F2-4551-BF5A-63A4561535C6}" type="presParOf" srcId="{E666485D-6D31-4C7B-8568-F82890E1EBCB}" destId="{08A2BC8C-264F-4425-BAEF-A39C42B9848B}" srcOrd="1" destOrd="0" presId="urn:microsoft.com/office/officeart/2008/layout/PictureStrips"/>
    <dgm:cxn modelId="{FFF4224F-EADF-48B9-9D0F-9D0149A1EC9C}" type="presParOf" srcId="{60C82183-183C-4F9D-AD76-532422970EF8}" destId="{66B9C96E-2EFA-485D-8F1C-DFEEDCBAFF49}" srcOrd="1" destOrd="0" presId="urn:microsoft.com/office/officeart/2008/layout/PictureStrips"/>
    <dgm:cxn modelId="{15325BB4-007E-4803-8772-E084165D90C2}" type="presParOf" srcId="{60C82183-183C-4F9D-AD76-532422970EF8}" destId="{48214828-218C-46BF-9E55-04BE8FC23E3B}" srcOrd="2" destOrd="0" presId="urn:microsoft.com/office/officeart/2008/layout/PictureStrips"/>
    <dgm:cxn modelId="{BC4EDF4A-62E1-44D9-A999-2A659CB63855}" type="presParOf" srcId="{48214828-218C-46BF-9E55-04BE8FC23E3B}" destId="{E22D2633-2258-4849-BCB6-16829227F036}" srcOrd="0" destOrd="0" presId="urn:microsoft.com/office/officeart/2008/layout/PictureStrips"/>
    <dgm:cxn modelId="{CAE56AD4-6F2C-4ABB-AD33-B570AF62026E}" type="presParOf" srcId="{48214828-218C-46BF-9E55-04BE8FC23E3B}" destId="{5ADB5214-22D9-4C05-B5DF-015734F268DF}" srcOrd="1" destOrd="0" presId="urn:microsoft.com/office/officeart/2008/layout/PictureStrips"/>
    <dgm:cxn modelId="{D445880C-99A9-4CB1-9154-E6BA32AFADAA}" type="presParOf" srcId="{60C82183-183C-4F9D-AD76-532422970EF8}" destId="{3471ABF2-0B4F-41C2-A5A9-4AE563BF31A9}" srcOrd="3" destOrd="0" presId="urn:microsoft.com/office/officeart/2008/layout/PictureStrips"/>
    <dgm:cxn modelId="{66E096C7-3FE2-4734-8590-D77AA101EFE4}" type="presParOf" srcId="{60C82183-183C-4F9D-AD76-532422970EF8}" destId="{365B933E-C604-4D54-926E-187538741BEF}" srcOrd="4" destOrd="0" presId="urn:microsoft.com/office/officeart/2008/layout/PictureStrips"/>
    <dgm:cxn modelId="{2503AFDD-CDAF-414B-9A1E-93EDFFEFF2B1}" type="presParOf" srcId="{365B933E-C604-4D54-926E-187538741BEF}" destId="{0EA3A76B-A570-4E1A-B9BB-2E8E62CFCEFE}" srcOrd="0" destOrd="0" presId="urn:microsoft.com/office/officeart/2008/layout/PictureStrips"/>
    <dgm:cxn modelId="{2E075C27-7E28-4A7D-83E8-049EC9A4FF28}" type="presParOf" srcId="{365B933E-C604-4D54-926E-187538741BEF}" destId="{0F8CF855-5927-44C3-8BE6-EF217469CFDB}" srcOrd="1" destOrd="0" presId="urn:microsoft.com/office/officeart/2008/layout/PictureStrips"/>
    <dgm:cxn modelId="{A37313A7-3A97-4A76-B9C1-AC29CA1C2919}" type="presParOf" srcId="{60C82183-183C-4F9D-AD76-532422970EF8}" destId="{A68E4C4F-08AC-45D9-B00E-6269D2BAA3FE}" srcOrd="5" destOrd="0" presId="urn:microsoft.com/office/officeart/2008/layout/PictureStrips"/>
    <dgm:cxn modelId="{7053BFA8-B393-445D-81FC-CAD252D9C749}" type="presParOf" srcId="{60C82183-183C-4F9D-AD76-532422970EF8}" destId="{C7D0692C-CC10-4946-B496-A1CB4FD65054}" srcOrd="6" destOrd="0" presId="urn:microsoft.com/office/officeart/2008/layout/PictureStrips"/>
    <dgm:cxn modelId="{DE4BC673-C82A-412F-9611-BB2313FA3DD1}" type="presParOf" srcId="{C7D0692C-CC10-4946-B496-A1CB4FD65054}" destId="{99A936D9-BBB0-455C-8DFC-5A2982A23803}" srcOrd="0" destOrd="0" presId="urn:microsoft.com/office/officeart/2008/layout/PictureStrips"/>
    <dgm:cxn modelId="{FF876493-4B2E-4752-871D-CDB77342E96B}" type="presParOf" srcId="{C7D0692C-CC10-4946-B496-A1CB4FD65054}" destId="{774F464C-861B-4ECA-8E85-09A8C8939D40}" srcOrd="1" destOrd="0" presId="urn:microsoft.com/office/officeart/2008/layout/PictureStrips"/>
    <dgm:cxn modelId="{51EED7C1-D076-45E0-93DF-74FDE577954B}" type="presParOf" srcId="{60C82183-183C-4F9D-AD76-532422970EF8}" destId="{4652BCF7-D43F-47A6-B531-DBCE11121205}" srcOrd="7" destOrd="0" presId="urn:microsoft.com/office/officeart/2008/layout/PictureStrips"/>
    <dgm:cxn modelId="{F8BE708C-DAF4-45B0-8488-554039A805B0}" type="presParOf" srcId="{60C82183-183C-4F9D-AD76-532422970EF8}" destId="{DF9FB3E3-BC10-4E99-AA4A-712F88437D24}" srcOrd="8" destOrd="0" presId="urn:microsoft.com/office/officeart/2008/layout/PictureStrips"/>
    <dgm:cxn modelId="{BF3A9778-238D-43F4-9C5A-915F99A2A8D8}" type="presParOf" srcId="{DF9FB3E3-BC10-4E99-AA4A-712F88437D24}" destId="{1C9734A2-94C9-4909-A1A0-CF5B1E582147}" srcOrd="0" destOrd="0" presId="urn:microsoft.com/office/officeart/2008/layout/PictureStrips"/>
    <dgm:cxn modelId="{6F0C154D-7E74-4B40-A8C5-08E9AAB38F10}" type="presParOf" srcId="{DF9FB3E3-BC10-4E99-AA4A-712F88437D24}" destId="{290678E8-AF1E-42DB-BDBD-7014B7E22E17}"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80258F9E-899F-4B55-8482-8B6CCA3B99D1}" type="doc">
      <dgm:prSet loTypeId="urn:microsoft.com/office/officeart/2008/layout/IncreasingCircleProcess" loCatId="process" qsTypeId="urn:microsoft.com/office/officeart/2005/8/quickstyle/simple1" qsCatId="simple" csTypeId="urn:microsoft.com/office/officeart/2005/8/colors/accent1_2" csCatId="accent1" phldr="1"/>
      <dgm:spPr/>
    </dgm:pt>
    <dgm:pt modelId="{31BC1C53-B413-47A4-80DD-58770D72F7D2}">
      <dgm:prSet phldrT="[Texto]" custT="1"/>
      <dgm:spPr/>
      <dgm:t>
        <a:bodyPr/>
        <a:lstStyle/>
        <a:p>
          <a:r>
            <a:rPr lang="es-ES" sz="4000" dirty="0"/>
            <a:t>2007</a:t>
          </a:r>
        </a:p>
      </dgm:t>
    </dgm:pt>
    <dgm:pt modelId="{406D5CEE-6280-4642-BB25-6C68128B8D0C}" type="parTrans" cxnId="{8802F740-2330-4531-8B1D-15FC3929E69D}">
      <dgm:prSet/>
      <dgm:spPr/>
      <dgm:t>
        <a:bodyPr/>
        <a:lstStyle/>
        <a:p>
          <a:endParaRPr lang="es-ES" sz="2400"/>
        </a:p>
      </dgm:t>
    </dgm:pt>
    <dgm:pt modelId="{29F1BFAF-54BC-4111-84FA-78EFFCEAA1CA}" type="sibTrans" cxnId="{8802F740-2330-4531-8B1D-15FC3929E69D}">
      <dgm:prSet/>
      <dgm:spPr/>
      <dgm:t>
        <a:bodyPr/>
        <a:lstStyle/>
        <a:p>
          <a:endParaRPr lang="es-ES" sz="2400"/>
        </a:p>
      </dgm:t>
    </dgm:pt>
    <dgm:pt modelId="{E303108C-2E4F-4566-95C6-B60B455FDA3F}">
      <dgm:prSet phldrT="[Texto]" custT="1"/>
      <dgm:spPr/>
      <dgm:t>
        <a:bodyPr/>
        <a:lstStyle/>
        <a:p>
          <a:r>
            <a:rPr lang="es-ES" sz="1600" dirty="0"/>
            <a:t>Rober Mercer invirtió 10 millones de US$ para crear Breitbart  (SCL Group).</a:t>
          </a:r>
        </a:p>
      </dgm:t>
    </dgm:pt>
    <dgm:pt modelId="{21C59F6B-5D7A-46E0-9BF2-3AE524F54B93}" type="parTrans" cxnId="{93D755A2-F85D-4C88-8211-770CAEF3A2BE}">
      <dgm:prSet/>
      <dgm:spPr/>
      <dgm:t>
        <a:bodyPr/>
        <a:lstStyle/>
        <a:p>
          <a:endParaRPr lang="es-ES" sz="2400"/>
        </a:p>
      </dgm:t>
    </dgm:pt>
    <dgm:pt modelId="{6EAE40D5-F5AE-4B89-8B09-0ED6478715BE}" type="sibTrans" cxnId="{93D755A2-F85D-4C88-8211-770CAEF3A2BE}">
      <dgm:prSet/>
      <dgm:spPr/>
      <dgm:t>
        <a:bodyPr/>
        <a:lstStyle/>
        <a:p>
          <a:endParaRPr lang="es-ES" sz="2400"/>
        </a:p>
      </dgm:t>
    </dgm:pt>
    <dgm:pt modelId="{9C1E2F84-BBAD-4597-8B2A-F2825A3AEB22}">
      <dgm:prSet phldrT="[Texto]" custT="1"/>
      <dgm:spPr/>
      <dgm:t>
        <a:bodyPr/>
        <a:lstStyle/>
        <a:p>
          <a:r>
            <a:rPr lang="es-ES" sz="4000" dirty="0"/>
            <a:t>2010</a:t>
          </a:r>
        </a:p>
      </dgm:t>
    </dgm:pt>
    <dgm:pt modelId="{9C187051-E632-42FC-B970-B69F548C9C49}" type="parTrans" cxnId="{5240B845-8B83-45CD-A99B-BC445BB53804}">
      <dgm:prSet/>
      <dgm:spPr/>
      <dgm:t>
        <a:bodyPr/>
        <a:lstStyle/>
        <a:p>
          <a:endParaRPr lang="es-ES" sz="2400"/>
        </a:p>
      </dgm:t>
    </dgm:pt>
    <dgm:pt modelId="{2AA730FF-C237-475D-9231-44A76800F4CC}" type="sibTrans" cxnId="{5240B845-8B83-45CD-A99B-BC445BB53804}">
      <dgm:prSet/>
      <dgm:spPr/>
      <dgm:t>
        <a:bodyPr/>
        <a:lstStyle/>
        <a:p>
          <a:endParaRPr lang="es-ES" sz="2400"/>
        </a:p>
      </dgm:t>
    </dgm:pt>
    <dgm:pt modelId="{6E87D590-BEFF-4F79-83A2-4AE5C939B760}">
      <dgm:prSet phldrT="[Texto]" custT="1"/>
      <dgm:spPr/>
      <dgm:t>
        <a:bodyPr/>
        <a:lstStyle/>
        <a:p>
          <a:r>
            <a:rPr lang="es-ES" sz="1600" dirty="0"/>
            <a:t>Facebook lanza Open Graph API para desarrolladores de aplicaciones de carácter educativo.</a:t>
          </a:r>
        </a:p>
      </dgm:t>
    </dgm:pt>
    <dgm:pt modelId="{C17B3A0E-C788-490F-9357-CC50C2221EED}" type="parTrans" cxnId="{B44ECDB9-A67A-4789-9B6A-2BE9FEBB5208}">
      <dgm:prSet/>
      <dgm:spPr/>
      <dgm:t>
        <a:bodyPr/>
        <a:lstStyle/>
        <a:p>
          <a:endParaRPr lang="es-ES" sz="2400"/>
        </a:p>
      </dgm:t>
    </dgm:pt>
    <dgm:pt modelId="{9FC0E853-3943-44B5-8818-C2627AC8D12D}" type="sibTrans" cxnId="{B44ECDB9-A67A-4789-9B6A-2BE9FEBB5208}">
      <dgm:prSet/>
      <dgm:spPr/>
      <dgm:t>
        <a:bodyPr/>
        <a:lstStyle/>
        <a:p>
          <a:endParaRPr lang="es-ES" sz="2400"/>
        </a:p>
      </dgm:t>
    </dgm:pt>
    <dgm:pt modelId="{6E7D552F-CC39-44E7-ADE3-A90D79C95A36}">
      <dgm:prSet phldrT="[Texto]" custT="1"/>
      <dgm:spPr/>
      <dgm:t>
        <a:bodyPr/>
        <a:lstStyle/>
        <a:p>
          <a:r>
            <a:rPr lang="es-ES" sz="4000" dirty="0"/>
            <a:t>2013</a:t>
          </a:r>
        </a:p>
      </dgm:t>
    </dgm:pt>
    <dgm:pt modelId="{BBF7F079-337A-4E78-B41B-6C144DA83ADB}" type="parTrans" cxnId="{49DC4003-D039-4E4B-ADB2-F0AAC3EAEA8E}">
      <dgm:prSet/>
      <dgm:spPr/>
      <dgm:t>
        <a:bodyPr/>
        <a:lstStyle/>
        <a:p>
          <a:endParaRPr lang="es-ES" sz="2400"/>
        </a:p>
      </dgm:t>
    </dgm:pt>
    <dgm:pt modelId="{4A8B979F-A5C2-4A4C-906E-3651C816A514}" type="sibTrans" cxnId="{49DC4003-D039-4E4B-ADB2-F0AAC3EAEA8E}">
      <dgm:prSet/>
      <dgm:spPr/>
      <dgm:t>
        <a:bodyPr/>
        <a:lstStyle/>
        <a:p>
          <a:endParaRPr lang="es-ES" sz="2400"/>
        </a:p>
      </dgm:t>
    </dgm:pt>
    <dgm:pt modelId="{643FD953-928A-4B7E-B4B9-D193528FD1BF}">
      <dgm:prSet phldrT="[Texto]" custT="1"/>
      <dgm:spPr/>
      <dgm:t>
        <a:bodyPr/>
        <a:lstStyle/>
        <a:p>
          <a:r>
            <a:rPr lang="es-ES" sz="1600" dirty="0"/>
            <a:t>Aleksandr Kogan crea la APP ‘Thisisyourdigitallife’.</a:t>
          </a:r>
        </a:p>
      </dgm:t>
    </dgm:pt>
    <dgm:pt modelId="{B5FA77ED-C949-4630-8303-2D19823C253C}" type="parTrans" cxnId="{7AFCD392-FE16-480E-8E00-747E167765AE}">
      <dgm:prSet/>
      <dgm:spPr/>
      <dgm:t>
        <a:bodyPr/>
        <a:lstStyle/>
        <a:p>
          <a:endParaRPr lang="es-ES" sz="2400"/>
        </a:p>
      </dgm:t>
    </dgm:pt>
    <dgm:pt modelId="{138CE49C-4124-467C-82F0-0C9B214B9242}" type="sibTrans" cxnId="{7AFCD392-FE16-480E-8E00-747E167765AE}">
      <dgm:prSet/>
      <dgm:spPr/>
      <dgm:t>
        <a:bodyPr/>
        <a:lstStyle/>
        <a:p>
          <a:endParaRPr lang="es-ES" sz="2400"/>
        </a:p>
      </dgm:t>
    </dgm:pt>
    <dgm:pt modelId="{98053021-F564-4975-9FCD-A88605ABBD75}">
      <dgm:prSet phldrT="[Texto]" custT="1"/>
      <dgm:spPr/>
      <dgm:t>
        <a:bodyPr/>
        <a:lstStyle/>
        <a:p>
          <a:r>
            <a:rPr lang="es-ES" sz="1600" dirty="0"/>
            <a:t>La APP incitaba a la gente a responder preguntas para posteriormente crear un perfil psicológico.</a:t>
          </a:r>
        </a:p>
      </dgm:t>
    </dgm:pt>
    <dgm:pt modelId="{4DA5A903-C438-45C9-B83F-638072145633}" type="parTrans" cxnId="{6DD97E36-F608-4BA5-B5B0-8EC26D2A1C80}">
      <dgm:prSet/>
      <dgm:spPr/>
      <dgm:t>
        <a:bodyPr/>
        <a:lstStyle/>
        <a:p>
          <a:endParaRPr lang="es-ES" sz="2400"/>
        </a:p>
      </dgm:t>
    </dgm:pt>
    <dgm:pt modelId="{A0183435-9E2C-4D10-BCF0-A06F7121FF44}" type="sibTrans" cxnId="{6DD97E36-F608-4BA5-B5B0-8EC26D2A1C80}">
      <dgm:prSet/>
      <dgm:spPr/>
      <dgm:t>
        <a:bodyPr/>
        <a:lstStyle/>
        <a:p>
          <a:endParaRPr lang="es-ES" sz="2400"/>
        </a:p>
      </dgm:t>
    </dgm:pt>
    <dgm:pt modelId="{17D6B6B2-DC3B-4D28-AA90-0706265D9496}">
      <dgm:prSet phldrT="[Texto]" custT="1"/>
      <dgm:spPr/>
      <dgm:t>
        <a:bodyPr/>
        <a:lstStyle/>
        <a:p>
          <a:endParaRPr lang="es-ES" sz="1600" dirty="0"/>
        </a:p>
      </dgm:t>
    </dgm:pt>
    <dgm:pt modelId="{936823FA-1C49-4E7A-965D-5E518F71D5C2}" type="parTrans" cxnId="{75FF2723-AB1E-492F-8631-0A664705CE35}">
      <dgm:prSet/>
      <dgm:spPr/>
      <dgm:t>
        <a:bodyPr/>
        <a:lstStyle/>
        <a:p>
          <a:endParaRPr lang="es-ES" sz="2400"/>
        </a:p>
      </dgm:t>
    </dgm:pt>
    <dgm:pt modelId="{00BEE232-E292-4055-B8E5-825D6DB58377}" type="sibTrans" cxnId="{75FF2723-AB1E-492F-8631-0A664705CE35}">
      <dgm:prSet/>
      <dgm:spPr/>
      <dgm:t>
        <a:bodyPr/>
        <a:lstStyle/>
        <a:p>
          <a:endParaRPr lang="es-ES" sz="2400"/>
        </a:p>
      </dgm:t>
    </dgm:pt>
    <dgm:pt modelId="{523D7C8B-3E69-4EF1-8463-51850E225A79}">
      <dgm:prSet phldrT="[Texto]" custT="1"/>
      <dgm:spPr/>
      <dgm:t>
        <a:bodyPr/>
        <a:lstStyle/>
        <a:p>
          <a:r>
            <a:rPr lang="es-ES" sz="1600" dirty="0"/>
            <a:t>Cambridge Analytic, filial americana de SCL Group, trabaja en EEUU</a:t>
          </a:r>
        </a:p>
      </dgm:t>
    </dgm:pt>
    <dgm:pt modelId="{57AC5ED1-9458-4E5A-AA1A-8AD6304043CE}" type="parTrans" cxnId="{BBAAF04E-55C4-4983-A972-5D08C9280A18}">
      <dgm:prSet/>
      <dgm:spPr/>
      <dgm:t>
        <a:bodyPr/>
        <a:lstStyle/>
        <a:p>
          <a:endParaRPr lang="es-ES" sz="2400"/>
        </a:p>
      </dgm:t>
    </dgm:pt>
    <dgm:pt modelId="{437107B7-1F9C-49DB-A814-4BA96ECDAD6F}" type="sibTrans" cxnId="{BBAAF04E-55C4-4983-A972-5D08C9280A18}">
      <dgm:prSet/>
      <dgm:spPr/>
      <dgm:t>
        <a:bodyPr/>
        <a:lstStyle/>
        <a:p>
          <a:endParaRPr lang="es-ES" sz="2400"/>
        </a:p>
      </dgm:t>
    </dgm:pt>
    <dgm:pt modelId="{21189560-C3A9-403C-B293-64DEF0C75A9E}">
      <dgm:prSet phldrT="[Texto]" custT="1"/>
      <dgm:spPr/>
      <dgm:t>
        <a:bodyPr/>
        <a:lstStyle/>
        <a:p>
          <a:r>
            <a:rPr lang="es-ES" sz="4000" dirty="0"/>
            <a:t>2014</a:t>
          </a:r>
        </a:p>
      </dgm:t>
    </dgm:pt>
    <dgm:pt modelId="{F913A5C0-9624-43E1-9299-525BF578E861}" type="parTrans" cxnId="{236FBB18-5D18-4C19-87DE-638E66B5179C}">
      <dgm:prSet/>
      <dgm:spPr/>
      <dgm:t>
        <a:bodyPr/>
        <a:lstStyle/>
        <a:p>
          <a:endParaRPr lang="es-ES" sz="2400"/>
        </a:p>
      </dgm:t>
    </dgm:pt>
    <dgm:pt modelId="{6654F95E-2B9A-4F1B-93B3-C96773A88623}" type="sibTrans" cxnId="{236FBB18-5D18-4C19-87DE-638E66B5179C}">
      <dgm:prSet/>
      <dgm:spPr/>
      <dgm:t>
        <a:bodyPr/>
        <a:lstStyle/>
        <a:p>
          <a:endParaRPr lang="es-ES" sz="2400"/>
        </a:p>
      </dgm:t>
    </dgm:pt>
    <dgm:pt modelId="{AD9D1D53-49DC-43D7-9670-BE681BFA3FB8}">
      <dgm:prSet phldrT="[Texto]" custT="1"/>
      <dgm:spPr/>
      <dgm:t>
        <a:bodyPr/>
        <a:lstStyle/>
        <a:p>
          <a:r>
            <a:rPr lang="es-ES" sz="1600" dirty="0"/>
            <a:t>Aleksandr Kogan vende los datos obtenidos mediante su aplicación a Cambridge Analytica.</a:t>
          </a:r>
        </a:p>
      </dgm:t>
    </dgm:pt>
    <dgm:pt modelId="{D749C58F-25A6-4567-BA02-A107E40623C9}" type="parTrans" cxnId="{CB0B0055-8DB8-4132-BB2B-CB10971212E7}">
      <dgm:prSet/>
      <dgm:spPr/>
      <dgm:t>
        <a:bodyPr/>
        <a:lstStyle/>
        <a:p>
          <a:endParaRPr lang="es-ES" sz="2400"/>
        </a:p>
      </dgm:t>
    </dgm:pt>
    <dgm:pt modelId="{AFF7B6CC-58FF-4E96-9443-47B719D4F79C}" type="sibTrans" cxnId="{CB0B0055-8DB8-4132-BB2B-CB10971212E7}">
      <dgm:prSet/>
      <dgm:spPr/>
      <dgm:t>
        <a:bodyPr/>
        <a:lstStyle/>
        <a:p>
          <a:endParaRPr lang="es-ES" sz="2400"/>
        </a:p>
      </dgm:t>
    </dgm:pt>
    <dgm:pt modelId="{14939831-9822-427C-B56D-F0951C73658C}">
      <dgm:prSet phldrT="[Texto]" custT="1"/>
      <dgm:spPr/>
      <dgm:t>
        <a:bodyPr/>
        <a:lstStyle/>
        <a:p>
          <a:endParaRPr lang="es-ES" sz="1600" dirty="0"/>
        </a:p>
      </dgm:t>
    </dgm:pt>
    <dgm:pt modelId="{6452F55F-8AFA-4FEC-BCF1-391C07EBDA32}" type="parTrans" cxnId="{4D5318E7-7025-4987-A876-5C753DC6A13F}">
      <dgm:prSet/>
      <dgm:spPr/>
      <dgm:t>
        <a:bodyPr/>
        <a:lstStyle/>
        <a:p>
          <a:endParaRPr lang="es-ES" sz="2400"/>
        </a:p>
      </dgm:t>
    </dgm:pt>
    <dgm:pt modelId="{8F1B2C32-5055-45C7-9D92-930924924F98}" type="sibTrans" cxnId="{4D5318E7-7025-4987-A876-5C753DC6A13F}">
      <dgm:prSet/>
      <dgm:spPr/>
      <dgm:t>
        <a:bodyPr/>
        <a:lstStyle/>
        <a:p>
          <a:endParaRPr lang="es-ES" sz="2400"/>
        </a:p>
      </dgm:t>
    </dgm:pt>
    <dgm:pt modelId="{5677EECA-B4EB-4AD2-A4B9-459E3EA4B15E}">
      <dgm:prSet phldrT="[Texto]" custT="1"/>
      <dgm:spPr/>
      <dgm:t>
        <a:bodyPr/>
        <a:lstStyle/>
        <a:p>
          <a:r>
            <a:rPr lang="es-ES" sz="1600" dirty="0"/>
            <a:t>Bannon decidió abrir 'Breitbart London.</a:t>
          </a:r>
        </a:p>
      </dgm:t>
    </dgm:pt>
    <dgm:pt modelId="{6BB0324F-F79F-4832-8C64-78579ED0289D}" type="parTrans" cxnId="{6B07946E-C5D1-41CF-ADA7-0B8B93B3A316}">
      <dgm:prSet/>
      <dgm:spPr/>
      <dgm:t>
        <a:bodyPr/>
        <a:lstStyle/>
        <a:p>
          <a:endParaRPr lang="es-ES" sz="2400"/>
        </a:p>
      </dgm:t>
    </dgm:pt>
    <dgm:pt modelId="{98E1213D-0FD3-4737-9ED0-A955D14B9A9B}" type="sibTrans" cxnId="{6B07946E-C5D1-41CF-ADA7-0B8B93B3A316}">
      <dgm:prSet/>
      <dgm:spPr/>
      <dgm:t>
        <a:bodyPr/>
        <a:lstStyle/>
        <a:p>
          <a:endParaRPr lang="es-ES" sz="2400"/>
        </a:p>
      </dgm:t>
    </dgm:pt>
    <dgm:pt modelId="{0B5CE41F-B468-4801-9DA2-3BAF9E0D5B6E}">
      <dgm:prSet phldrT="[Texto]" custT="1"/>
      <dgm:spPr/>
      <dgm:t>
        <a:bodyPr/>
        <a:lstStyle/>
        <a:p>
          <a:r>
            <a:rPr lang="es-ES" sz="1600" dirty="0"/>
            <a:t>A través de Likes + opiniones (PLN), se generan patrones.</a:t>
          </a:r>
        </a:p>
      </dgm:t>
    </dgm:pt>
    <dgm:pt modelId="{EB993198-9C63-4CBF-871A-EF2206E9D487}" type="parTrans" cxnId="{DB4F26B3-B121-4ACF-B947-76D4291507DB}">
      <dgm:prSet/>
      <dgm:spPr/>
      <dgm:t>
        <a:bodyPr/>
        <a:lstStyle/>
        <a:p>
          <a:endParaRPr lang="es-ES" sz="2400"/>
        </a:p>
      </dgm:t>
    </dgm:pt>
    <dgm:pt modelId="{3044F865-4E32-407E-B1DD-21DEF867491D}" type="sibTrans" cxnId="{DB4F26B3-B121-4ACF-B947-76D4291507DB}">
      <dgm:prSet/>
      <dgm:spPr/>
      <dgm:t>
        <a:bodyPr/>
        <a:lstStyle/>
        <a:p>
          <a:endParaRPr lang="es-ES" sz="2400"/>
        </a:p>
      </dgm:t>
    </dgm:pt>
    <dgm:pt modelId="{0EA6310F-AF82-4D0E-9EB1-B84A07A7D3EA}" type="pres">
      <dgm:prSet presAssocID="{80258F9E-899F-4B55-8482-8B6CCA3B99D1}" presName="Name0" presStyleCnt="0">
        <dgm:presLayoutVars>
          <dgm:chMax val="7"/>
          <dgm:chPref val="7"/>
          <dgm:dir/>
          <dgm:animOne val="branch"/>
          <dgm:animLvl val="lvl"/>
        </dgm:presLayoutVars>
      </dgm:prSet>
      <dgm:spPr/>
    </dgm:pt>
    <dgm:pt modelId="{57A74F92-DD78-4ACA-A3F7-23B004DE8A86}" type="pres">
      <dgm:prSet presAssocID="{31BC1C53-B413-47A4-80DD-58770D72F7D2}" presName="composite" presStyleCnt="0"/>
      <dgm:spPr/>
    </dgm:pt>
    <dgm:pt modelId="{5F600C7F-CFCA-4EC3-AAB7-AE572BA33F9A}" type="pres">
      <dgm:prSet presAssocID="{31BC1C53-B413-47A4-80DD-58770D72F7D2}" presName="BackAccent" presStyleLbl="bgShp" presStyleIdx="0" presStyleCnt="4"/>
      <dgm:spPr/>
    </dgm:pt>
    <dgm:pt modelId="{61087B56-765E-4CBA-B5D0-108A0D768133}" type="pres">
      <dgm:prSet presAssocID="{31BC1C53-B413-47A4-80DD-58770D72F7D2}" presName="Accent" presStyleLbl="alignNode1" presStyleIdx="0" presStyleCnt="4"/>
      <dgm:spPr/>
    </dgm:pt>
    <dgm:pt modelId="{1A0A9E20-8C79-4978-A385-180AD120D08B}" type="pres">
      <dgm:prSet presAssocID="{31BC1C53-B413-47A4-80DD-58770D72F7D2}" presName="Child" presStyleLbl="revTx" presStyleIdx="0" presStyleCnt="8">
        <dgm:presLayoutVars>
          <dgm:chMax val="0"/>
          <dgm:chPref val="0"/>
          <dgm:bulletEnabled val="1"/>
        </dgm:presLayoutVars>
      </dgm:prSet>
      <dgm:spPr/>
    </dgm:pt>
    <dgm:pt modelId="{4B974C86-4EFA-49A0-A9BA-F4B97E0BC0C3}" type="pres">
      <dgm:prSet presAssocID="{31BC1C53-B413-47A4-80DD-58770D72F7D2}" presName="Parent" presStyleLbl="revTx" presStyleIdx="1" presStyleCnt="8">
        <dgm:presLayoutVars>
          <dgm:chMax val="1"/>
          <dgm:chPref val="1"/>
          <dgm:bulletEnabled val="1"/>
        </dgm:presLayoutVars>
      </dgm:prSet>
      <dgm:spPr/>
    </dgm:pt>
    <dgm:pt modelId="{B1E26852-E4C1-44DC-8811-1BD65B93C9B7}" type="pres">
      <dgm:prSet presAssocID="{29F1BFAF-54BC-4111-84FA-78EFFCEAA1CA}" presName="sibTrans" presStyleCnt="0"/>
      <dgm:spPr/>
    </dgm:pt>
    <dgm:pt modelId="{54ED4A25-1286-4D75-A30F-E5BFFCB18860}" type="pres">
      <dgm:prSet presAssocID="{9C1E2F84-BBAD-4597-8B2A-F2825A3AEB22}" presName="composite" presStyleCnt="0"/>
      <dgm:spPr/>
    </dgm:pt>
    <dgm:pt modelId="{2AE7CF44-C3D5-4269-BED7-FD40AED4C66C}" type="pres">
      <dgm:prSet presAssocID="{9C1E2F84-BBAD-4597-8B2A-F2825A3AEB22}" presName="BackAccent" presStyleLbl="bgShp" presStyleIdx="1" presStyleCnt="4"/>
      <dgm:spPr/>
    </dgm:pt>
    <dgm:pt modelId="{DDABE3A8-B5C2-4078-B0C6-9BA681C33CB9}" type="pres">
      <dgm:prSet presAssocID="{9C1E2F84-BBAD-4597-8B2A-F2825A3AEB22}" presName="Accent" presStyleLbl="alignNode1" presStyleIdx="1" presStyleCnt="4"/>
      <dgm:spPr/>
    </dgm:pt>
    <dgm:pt modelId="{BD36422C-618D-44CE-821C-09949896FE94}" type="pres">
      <dgm:prSet presAssocID="{9C1E2F84-BBAD-4597-8B2A-F2825A3AEB22}" presName="Child" presStyleLbl="revTx" presStyleIdx="2" presStyleCnt="8">
        <dgm:presLayoutVars>
          <dgm:chMax val="0"/>
          <dgm:chPref val="0"/>
          <dgm:bulletEnabled val="1"/>
        </dgm:presLayoutVars>
      </dgm:prSet>
      <dgm:spPr/>
    </dgm:pt>
    <dgm:pt modelId="{DB2F3043-26CD-4C9B-98E2-39640D080D5D}" type="pres">
      <dgm:prSet presAssocID="{9C1E2F84-BBAD-4597-8B2A-F2825A3AEB22}" presName="Parent" presStyleLbl="revTx" presStyleIdx="3" presStyleCnt="8">
        <dgm:presLayoutVars>
          <dgm:chMax val="1"/>
          <dgm:chPref val="1"/>
          <dgm:bulletEnabled val="1"/>
        </dgm:presLayoutVars>
      </dgm:prSet>
      <dgm:spPr/>
    </dgm:pt>
    <dgm:pt modelId="{C8E6F661-7B69-4CCC-9E0C-C489B4EE68D9}" type="pres">
      <dgm:prSet presAssocID="{2AA730FF-C237-475D-9231-44A76800F4CC}" presName="sibTrans" presStyleCnt="0"/>
      <dgm:spPr/>
    </dgm:pt>
    <dgm:pt modelId="{CCDCED32-F95F-44F7-8FD9-24CED9523321}" type="pres">
      <dgm:prSet presAssocID="{6E7D552F-CC39-44E7-ADE3-A90D79C95A36}" presName="composite" presStyleCnt="0"/>
      <dgm:spPr/>
    </dgm:pt>
    <dgm:pt modelId="{FA5C925A-5C94-4EB2-9D5F-8701BE0D7B39}" type="pres">
      <dgm:prSet presAssocID="{6E7D552F-CC39-44E7-ADE3-A90D79C95A36}" presName="BackAccent" presStyleLbl="bgShp" presStyleIdx="2" presStyleCnt="4"/>
      <dgm:spPr/>
    </dgm:pt>
    <dgm:pt modelId="{BF34FF6B-BE05-4E5E-B4C7-EC9FC9E424C7}" type="pres">
      <dgm:prSet presAssocID="{6E7D552F-CC39-44E7-ADE3-A90D79C95A36}" presName="Accent" presStyleLbl="alignNode1" presStyleIdx="2" presStyleCnt="4"/>
      <dgm:spPr/>
    </dgm:pt>
    <dgm:pt modelId="{8947D528-E436-4CD5-88CF-D404C0F4C78F}" type="pres">
      <dgm:prSet presAssocID="{6E7D552F-CC39-44E7-ADE3-A90D79C95A36}" presName="Child" presStyleLbl="revTx" presStyleIdx="4" presStyleCnt="8" custScaleX="113384">
        <dgm:presLayoutVars>
          <dgm:chMax val="0"/>
          <dgm:chPref val="0"/>
          <dgm:bulletEnabled val="1"/>
        </dgm:presLayoutVars>
      </dgm:prSet>
      <dgm:spPr/>
    </dgm:pt>
    <dgm:pt modelId="{B54E22B0-BDA6-4826-B2F5-F1ADF23D9469}" type="pres">
      <dgm:prSet presAssocID="{6E7D552F-CC39-44E7-ADE3-A90D79C95A36}" presName="Parent" presStyleLbl="revTx" presStyleIdx="5" presStyleCnt="8">
        <dgm:presLayoutVars>
          <dgm:chMax val="1"/>
          <dgm:chPref val="1"/>
          <dgm:bulletEnabled val="1"/>
        </dgm:presLayoutVars>
      </dgm:prSet>
      <dgm:spPr/>
    </dgm:pt>
    <dgm:pt modelId="{B57CB2F9-1A55-4F24-8A5E-8AD7F4CFE226}" type="pres">
      <dgm:prSet presAssocID="{4A8B979F-A5C2-4A4C-906E-3651C816A514}" presName="sibTrans" presStyleCnt="0"/>
      <dgm:spPr/>
    </dgm:pt>
    <dgm:pt modelId="{A52780C4-758F-4E63-9A7A-DEA1ED115329}" type="pres">
      <dgm:prSet presAssocID="{21189560-C3A9-403C-B293-64DEF0C75A9E}" presName="composite" presStyleCnt="0"/>
      <dgm:spPr/>
    </dgm:pt>
    <dgm:pt modelId="{7B493B74-C7C1-4865-9F16-BD8D5543A77A}" type="pres">
      <dgm:prSet presAssocID="{21189560-C3A9-403C-B293-64DEF0C75A9E}" presName="BackAccent" presStyleLbl="bgShp" presStyleIdx="3" presStyleCnt="4"/>
      <dgm:spPr/>
    </dgm:pt>
    <dgm:pt modelId="{BB59E275-20E2-4ADA-9B6F-467CA7D79431}" type="pres">
      <dgm:prSet presAssocID="{21189560-C3A9-403C-B293-64DEF0C75A9E}" presName="Accent" presStyleLbl="alignNode1" presStyleIdx="3" presStyleCnt="4"/>
      <dgm:spPr/>
    </dgm:pt>
    <dgm:pt modelId="{A26A4B01-021B-460E-9D1F-4A952227ACC2}" type="pres">
      <dgm:prSet presAssocID="{21189560-C3A9-403C-B293-64DEF0C75A9E}" presName="Child" presStyleLbl="revTx" presStyleIdx="6" presStyleCnt="8">
        <dgm:presLayoutVars>
          <dgm:chMax val="0"/>
          <dgm:chPref val="0"/>
          <dgm:bulletEnabled val="1"/>
        </dgm:presLayoutVars>
      </dgm:prSet>
      <dgm:spPr/>
    </dgm:pt>
    <dgm:pt modelId="{31E0BF55-CAC3-44FE-B5A9-43EF731C62DD}" type="pres">
      <dgm:prSet presAssocID="{21189560-C3A9-403C-B293-64DEF0C75A9E}" presName="Parent" presStyleLbl="revTx" presStyleIdx="7" presStyleCnt="8">
        <dgm:presLayoutVars>
          <dgm:chMax val="1"/>
          <dgm:chPref val="1"/>
          <dgm:bulletEnabled val="1"/>
        </dgm:presLayoutVars>
      </dgm:prSet>
      <dgm:spPr/>
    </dgm:pt>
  </dgm:ptLst>
  <dgm:cxnLst>
    <dgm:cxn modelId="{49DC4003-D039-4E4B-ADB2-F0AAC3EAEA8E}" srcId="{80258F9E-899F-4B55-8482-8B6CCA3B99D1}" destId="{6E7D552F-CC39-44E7-ADE3-A90D79C95A36}" srcOrd="2" destOrd="0" parTransId="{BBF7F079-337A-4E78-B41B-6C144DA83ADB}" sibTransId="{4A8B979F-A5C2-4A4C-906E-3651C816A514}"/>
    <dgm:cxn modelId="{236FBB18-5D18-4C19-87DE-638E66B5179C}" srcId="{80258F9E-899F-4B55-8482-8B6CCA3B99D1}" destId="{21189560-C3A9-403C-B293-64DEF0C75A9E}" srcOrd="3" destOrd="0" parTransId="{F913A5C0-9624-43E1-9299-525BF578E861}" sibTransId="{6654F95E-2B9A-4F1B-93B3-C96773A88623}"/>
    <dgm:cxn modelId="{5C11DC19-F040-4CE8-AB95-409F2C961F4C}" type="presOf" srcId="{98053021-F564-4975-9FCD-A88605ABBD75}" destId="{8947D528-E436-4CD5-88CF-D404C0F4C78F}" srcOrd="0" destOrd="1" presId="urn:microsoft.com/office/officeart/2008/layout/IncreasingCircleProcess"/>
    <dgm:cxn modelId="{C57D9E1B-B278-4CC8-83D6-0B285917701E}" type="presOf" srcId="{9C1E2F84-BBAD-4597-8B2A-F2825A3AEB22}" destId="{DB2F3043-26CD-4C9B-98E2-39640D080D5D}" srcOrd="0" destOrd="0" presId="urn:microsoft.com/office/officeart/2008/layout/IncreasingCircleProcess"/>
    <dgm:cxn modelId="{75FF2723-AB1E-492F-8631-0A664705CE35}" srcId="{6E7D552F-CC39-44E7-ADE3-A90D79C95A36}" destId="{17D6B6B2-DC3B-4D28-AA90-0706265D9496}" srcOrd="3" destOrd="0" parTransId="{936823FA-1C49-4E7A-965D-5E518F71D5C2}" sibTransId="{00BEE232-E292-4055-B8E5-825D6DB58377}"/>
    <dgm:cxn modelId="{6DD97E36-F608-4BA5-B5B0-8EC26D2A1C80}" srcId="{6E7D552F-CC39-44E7-ADE3-A90D79C95A36}" destId="{98053021-F564-4975-9FCD-A88605ABBD75}" srcOrd="1" destOrd="0" parTransId="{4DA5A903-C438-45C9-B83F-638072145633}" sibTransId="{A0183435-9E2C-4D10-BCF0-A06F7121FF44}"/>
    <dgm:cxn modelId="{07F42738-77BB-4923-97E3-F1ED9AB8E8F6}" type="presOf" srcId="{6E7D552F-CC39-44E7-ADE3-A90D79C95A36}" destId="{B54E22B0-BDA6-4826-B2F5-F1ADF23D9469}" srcOrd="0" destOrd="0" presId="urn:microsoft.com/office/officeart/2008/layout/IncreasingCircleProcess"/>
    <dgm:cxn modelId="{8802F740-2330-4531-8B1D-15FC3929E69D}" srcId="{80258F9E-899F-4B55-8482-8B6CCA3B99D1}" destId="{31BC1C53-B413-47A4-80DD-58770D72F7D2}" srcOrd="0" destOrd="0" parTransId="{406D5CEE-6280-4642-BB25-6C68128B8D0C}" sibTransId="{29F1BFAF-54BC-4111-84FA-78EFFCEAA1CA}"/>
    <dgm:cxn modelId="{5240B845-8B83-45CD-A99B-BC445BB53804}" srcId="{80258F9E-899F-4B55-8482-8B6CCA3B99D1}" destId="{9C1E2F84-BBAD-4597-8B2A-F2825A3AEB22}" srcOrd="1" destOrd="0" parTransId="{9C187051-E632-42FC-B970-B69F548C9C49}" sibTransId="{2AA730FF-C237-475D-9231-44A76800F4CC}"/>
    <dgm:cxn modelId="{D99A6C4E-ACB9-42F6-97D3-EEA67A696CD5}" type="presOf" srcId="{31BC1C53-B413-47A4-80DD-58770D72F7D2}" destId="{4B974C86-4EFA-49A0-A9BA-F4B97E0BC0C3}" srcOrd="0" destOrd="0" presId="urn:microsoft.com/office/officeart/2008/layout/IncreasingCircleProcess"/>
    <dgm:cxn modelId="{6B07946E-C5D1-41CF-ADA7-0B8B93B3A316}" srcId="{21189560-C3A9-403C-B293-64DEF0C75A9E}" destId="{5677EECA-B4EB-4AD2-A4B9-459E3EA4B15E}" srcOrd="2" destOrd="0" parTransId="{6BB0324F-F79F-4832-8C64-78579ED0289D}" sibTransId="{98E1213D-0FD3-4737-9ED0-A955D14B9A9B}"/>
    <dgm:cxn modelId="{BBAAF04E-55C4-4983-A972-5D08C9280A18}" srcId="{6E7D552F-CC39-44E7-ADE3-A90D79C95A36}" destId="{523D7C8B-3E69-4EF1-8463-51850E225A79}" srcOrd="4" destOrd="0" parTransId="{57AC5ED1-9458-4E5A-AA1A-8AD6304043CE}" sibTransId="{437107B7-1F9C-49DB-A814-4BA96ECDAD6F}"/>
    <dgm:cxn modelId="{3ED48A6F-5D3B-4F1C-9BBA-76D80615F629}" type="presOf" srcId="{6E87D590-BEFF-4F79-83A2-4AE5C939B760}" destId="{BD36422C-618D-44CE-821C-09949896FE94}" srcOrd="0" destOrd="0" presId="urn:microsoft.com/office/officeart/2008/layout/IncreasingCircleProcess"/>
    <dgm:cxn modelId="{CB0B0055-8DB8-4132-BB2B-CB10971212E7}" srcId="{21189560-C3A9-403C-B293-64DEF0C75A9E}" destId="{AD9D1D53-49DC-43D7-9670-BE681BFA3FB8}" srcOrd="0" destOrd="0" parTransId="{D749C58F-25A6-4567-BA02-A107E40623C9}" sibTransId="{AFF7B6CC-58FF-4E96-9443-47B719D4F79C}"/>
    <dgm:cxn modelId="{ECFAE077-7E89-40F6-90B6-121DE681E5ED}" type="presOf" srcId="{21189560-C3A9-403C-B293-64DEF0C75A9E}" destId="{31E0BF55-CAC3-44FE-B5A9-43EF731C62DD}" srcOrd="0" destOrd="0" presId="urn:microsoft.com/office/officeart/2008/layout/IncreasingCircleProcess"/>
    <dgm:cxn modelId="{8DA6BA58-7355-4111-A6F5-4EB0644C0886}" type="presOf" srcId="{AD9D1D53-49DC-43D7-9670-BE681BFA3FB8}" destId="{A26A4B01-021B-460E-9D1F-4A952227ACC2}" srcOrd="0" destOrd="0" presId="urn:microsoft.com/office/officeart/2008/layout/IncreasingCircleProcess"/>
    <dgm:cxn modelId="{0F8E9D7E-D74B-4741-ABD1-DCB9D25D8E2C}" type="presOf" srcId="{14939831-9822-427C-B56D-F0951C73658C}" destId="{A26A4B01-021B-460E-9D1F-4A952227ACC2}" srcOrd="0" destOrd="1" presId="urn:microsoft.com/office/officeart/2008/layout/IncreasingCircleProcess"/>
    <dgm:cxn modelId="{7AFCD392-FE16-480E-8E00-747E167765AE}" srcId="{6E7D552F-CC39-44E7-ADE3-A90D79C95A36}" destId="{643FD953-928A-4B7E-B4B9-D193528FD1BF}" srcOrd="0" destOrd="0" parTransId="{B5FA77ED-C949-4630-8303-2D19823C253C}" sibTransId="{138CE49C-4124-467C-82F0-0C9B214B9242}"/>
    <dgm:cxn modelId="{93D755A2-F85D-4C88-8211-770CAEF3A2BE}" srcId="{31BC1C53-B413-47A4-80DD-58770D72F7D2}" destId="{E303108C-2E4F-4566-95C6-B60B455FDA3F}" srcOrd="0" destOrd="0" parTransId="{21C59F6B-5D7A-46E0-9BF2-3AE524F54B93}" sibTransId="{6EAE40D5-F5AE-4B89-8B09-0ED6478715BE}"/>
    <dgm:cxn modelId="{BA68B8A9-5427-43C2-B43A-0AB36426AC0B}" type="presOf" srcId="{0B5CE41F-B468-4801-9DA2-3BAF9E0D5B6E}" destId="{8947D528-E436-4CD5-88CF-D404C0F4C78F}" srcOrd="0" destOrd="2" presId="urn:microsoft.com/office/officeart/2008/layout/IncreasingCircleProcess"/>
    <dgm:cxn modelId="{689164AD-8A69-429F-AC13-6603EDC5D4D1}" type="presOf" srcId="{80258F9E-899F-4B55-8482-8B6CCA3B99D1}" destId="{0EA6310F-AF82-4D0E-9EB1-B84A07A7D3EA}" srcOrd="0" destOrd="0" presId="urn:microsoft.com/office/officeart/2008/layout/IncreasingCircleProcess"/>
    <dgm:cxn modelId="{DB4F26B3-B121-4ACF-B947-76D4291507DB}" srcId="{6E7D552F-CC39-44E7-ADE3-A90D79C95A36}" destId="{0B5CE41F-B468-4801-9DA2-3BAF9E0D5B6E}" srcOrd="2" destOrd="0" parTransId="{EB993198-9C63-4CBF-871A-EF2206E9D487}" sibTransId="{3044F865-4E32-407E-B1DD-21DEF867491D}"/>
    <dgm:cxn modelId="{B44ECDB9-A67A-4789-9B6A-2BE9FEBB5208}" srcId="{9C1E2F84-BBAD-4597-8B2A-F2825A3AEB22}" destId="{6E87D590-BEFF-4F79-83A2-4AE5C939B760}" srcOrd="0" destOrd="0" parTransId="{C17B3A0E-C788-490F-9357-CC50C2221EED}" sibTransId="{9FC0E853-3943-44B5-8818-C2627AC8D12D}"/>
    <dgm:cxn modelId="{017A80C6-133C-47BE-9B11-CEA160CF421F}" type="presOf" srcId="{523D7C8B-3E69-4EF1-8463-51850E225A79}" destId="{8947D528-E436-4CD5-88CF-D404C0F4C78F}" srcOrd="0" destOrd="4" presId="urn:microsoft.com/office/officeart/2008/layout/IncreasingCircleProcess"/>
    <dgm:cxn modelId="{7048C5DF-C0B3-4488-BF0F-A343D4AD5DBC}" type="presOf" srcId="{17D6B6B2-DC3B-4D28-AA90-0706265D9496}" destId="{8947D528-E436-4CD5-88CF-D404C0F4C78F}" srcOrd="0" destOrd="3" presId="urn:microsoft.com/office/officeart/2008/layout/IncreasingCircleProcess"/>
    <dgm:cxn modelId="{4D5318E7-7025-4987-A876-5C753DC6A13F}" srcId="{21189560-C3A9-403C-B293-64DEF0C75A9E}" destId="{14939831-9822-427C-B56D-F0951C73658C}" srcOrd="1" destOrd="0" parTransId="{6452F55F-8AFA-4FEC-BCF1-391C07EBDA32}" sibTransId="{8F1B2C32-5055-45C7-9D92-930924924F98}"/>
    <dgm:cxn modelId="{015382F3-2D3C-44D1-AF1A-1105B3D71013}" type="presOf" srcId="{E303108C-2E4F-4566-95C6-B60B455FDA3F}" destId="{1A0A9E20-8C79-4978-A385-180AD120D08B}" srcOrd="0" destOrd="0" presId="urn:microsoft.com/office/officeart/2008/layout/IncreasingCircleProcess"/>
    <dgm:cxn modelId="{12C9A8F4-7265-4598-A7E4-147F4549844F}" type="presOf" srcId="{5677EECA-B4EB-4AD2-A4B9-459E3EA4B15E}" destId="{A26A4B01-021B-460E-9D1F-4A952227ACC2}" srcOrd="0" destOrd="2" presId="urn:microsoft.com/office/officeart/2008/layout/IncreasingCircleProcess"/>
    <dgm:cxn modelId="{796E64F5-3688-4059-8186-BB812D3A958E}" type="presOf" srcId="{643FD953-928A-4B7E-B4B9-D193528FD1BF}" destId="{8947D528-E436-4CD5-88CF-D404C0F4C78F}" srcOrd="0" destOrd="0" presId="urn:microsoft.com/office/officeart/2008/layout/IncreasingCircleProcess"/>
    <dgm:cxn modelId="{D7CC161F-4040-465F-9DA0-AF2A2EE70A0F}" type="presParOf" srcId="{0EA6310F-AF82-4D0E-9EB1-B84A07A7D3EA}" destId="{57A74F92-DD78-4ACA-A3F7-23B004DE8A86}" srcOrd="0" destOrd="0" presId="urn:microsoft.com/office/officeart/2008/layout/IncreasingCircleProcess"/>
    <dgm:cxn modelId="{442EFEBD-8EC2-4948-8DF6-EDAC564B3FF6}" type="presParOf" srcId="{57A74F92-DD78-4ACA-A3F7-23B004DE8A86}" destId="{5F600C7F-CFCA-4EC3-AAB7-AE572BA33F9A}" srcOrd="0" destOrd="0" presId="urn:microsoft.com/office/officeart/2008/layout/IncreasingCircleProcess"/>
    <dgm:cxn modelId="{82CE3BE1-4700-47F5-897F-A5AFBBD7A13E}" type="presParOf" srcId="{57A74F92-DD78-4ACA-A3F7-23B004DE8A86}" destId="{61087B56-765E-4CBA-B5D0-108A0D768133}" srcOrd="1" destOrd="0" presId="urn:microsoft.com/office/officeart/2008/layout/IncreasingCircleProcess"/>
    <dgm:cxn modelId="{AE47846F-B179-4191-90BD-59A2837D1A89}" type="presParOf" srcId="{57A74F92-DD78-4ACA-A3F7-23B004DE8A86}" destId="{1A0A9E20-8C79-4978-A385-180AD120D08B}" srcOrd="2" destOrd="0" presId="urn:microsoft.com/office/officeart/2008/layout/IncreasingCircleProcess"/>
    <dgm:cxn modelId="{CA2F8C31-570C-49DD-8474-6FC147D753F9}" type="presParOf" srcId="{57A74F92-DD78-4ACA-A3F7-23B004DE8A86}" destId="{4B974C86-4EFA-49A0-A9BA-F4B97E0BC0C3}" srcOrd="3" destOrd="0" presId="urn:microsoft.com/office/officeart/2008/layout/IncreasingCircleProcess"/>
    <dgm:cxn modelId="{82A7B2E7-9F5D-46F4-849A-DD553024F70F}" type="presParOf" srcId="{0EA6310F-AF82-4D0E-9EB1-B84A07A7D3EA}" destId="{B1E26852-E4C1-44DC-8811-1BD65B93C9B7}" srcOrd="1" destOrd="0" presId="urn:microsoft.com/office/officeart/2008/layout/IncreasingCircleProcess"/>
    <dgm:cxn modelId="{C64EC68B-B997-47FA-A91D-2C853A287F0D}" type="presParOf" srcId="{0EA6310F-AF82-4D0E-9EB1-B84A07A7D3EA}" destId="{54ED4A25-1286-4D75-A30F-E5BFFCB18860}" srcOrd="2" destOrd="0" presId="urn:microsoft.com/office/officeart/2008/layout/IncreasingCircleProcess"/>
    <dgm:cxn modelId="{38211012-59F2-4F8D-9FD5-5B3E11100948}" type="presParOf" srcId="{54ED4A25-1286-4D75-A30F-E5BFFCB18860}" destId="{2AE7CF44-C3D5-4269-BED7-FD40AED4C66C}" srcOrd="0" destOrd="0" presId="urn:microsoft.com/office/officeart/2008/layout/IncreasingCircleProcess"/>
    <dgm:cxn modelId="{3C467F74-3BA8-48D4-96BC-3AC38B94DE7B}" type="presParOf" srcId="{54ED4A25-1286-4D75-A30F-E5BFFCB18860}" destId="{DDABE3A8-B5C2-4078-B0C6-9BA681C33CB9}" srcOrd="1" destOrd="0" presId="urn:microsoft.com/office/officeart/2008/layout/IncreasingCircleProcess"/>
    <dgm:cxn modelId="{578775C1-711C-4809-BB1C-7E6E5FD1968A}" type="presParOf" srcId="{54ED4A25-1286-4D75-A30F-E5BFFCB18860}" destId="{BD36422C-618D-44CE-821C-09949896FE94}" srcOrd="2" destOrd="0" presId="urn:microsoft.com/office/officeart/2008/layout/IncreasingCircleProcess"/>
    <dgm:cxn modelId="{F04FBDF7-05E2-4EE4-838A-079F40E50D66}" type="presParOf" srcId="{54ED4A25-1286-4D75-A30F-E5BFFCB18860}" destId="{DB2F3043-26CD-4C9B-98E2-39640D080D5D}" srcOrd="3" destOrd="0" presId="urn:microsoft.com/office/officeart/2008/layout/IncreasingCircleProcess"/>
    <dgm:cxn modelId="{67FACFF0-A17F-44C6-9D67-BE3317A6FC8E}" type="presParOf" srcId="{0EA6310F-AF82-4D0E-9EB1-B84A07A7D3EA}" destId="{C8E6F661-7B69-4CCC-9E0C-C489B4EE68D9}" srcOrd="3" destOrd="0" presId="urn:microsoft.com/office/officeart/2008/layout/IncreasingCircleProcess"/>
    <dgm:cxn modelId="{B6D76A6F-B1AC-4797-866D-844244780F5C}" type="presParOf" srcId="{0EA6310F-AF82-4D0E-9EB1-B84A07A7D3EA}" destId="{CCDCED32-F95F-44F7-8FD9-24CED9523321}" srcOrd="4" destOrd="0" presId="urn:microsoft.com/office/officeart/2008/layout/IncreasingCircleProcess"/>
    <dgm:cxn modelId="{43FE8D25-CD15-4C76-8A3E-79BFF44E38CE}" type="presParOf" srcId="{CCDCED32-F95F-44F7-8FD9-24CED9523321}" destId="{FA5C925A-5C94-4EB2-9D5F-8701BE0D7B39}" srcOrd="0" destOrd="0" presId="urn:microsoft.com/office/officeart/2008/layout/IncreasingCircleProcess"/>
    <dgm:cxn modelId="{78D5A234-0F5A-4101-BF3B-200599438BC4}" type="presParOf" srcId="{CCDCED32-F95F-44F7-8FD9-24CED9523321}" destId="{BF34FF6B-BE05-4E5E-B4C7-EC9FC9E424C7}" srcOrd="1" destOrd="0" presId="urn:microsoft.com/office/officeart/2008/layout/IncreasingCircleProcess"/>
    <dgm:cxn modelId="{BBD55B13-4C20-445A-992A-81E932545731}" type="presParOf" srcId="{CCDCED32-F95F-44F7-8FD9-24CED9523321}" destId="{8947D528-E436-4CD5-88CF-D404C0F4C78F}" srcOrd="2" destOrd="0" presId="urn:microsoft.com/office/officeart/2008/layout/IncreasingCircleProcess"/>
    <dgm:cxn modelId="{A6A2D7BE-66A3-448C-B1E6-69ECC33FA8FF}" type="presParOf" srcId="{CCDCED32-F95F-44F7-8FD9-24CED9523321}" destId="{B54E22B0-BDA6-4826-B2F5-F1ADF23D9469}" srcOrd="3" destOrd="0" presId="urn:microsoft.com/office/officeart/2008/layout/IncreasingCircleProcess"/>
    <dgm:cxn modelId="{2A30E9B6-237C-4443-BCCF-0936C0C4B7C3}" type="presParOf" srcId="{0EA6310F-AF82-4D0E-9EB1-B84A07A7D3EA}" destId="{B57CB2F9-1A55-4F24-8A5E-8AD7F4CFE226}" srcOrd="5" destOrd="0" presId="urn:microsoft.com/office/officeart/2008/layout/IncreasingCircleProcess"/>
    <dgm:cxn modelId="{30B5A0F8-BCD2-4B2E-BE24-FACA37CF3AA0}" type="presParOf" srcId="{0EA6310F-AF82-4D0E-9EB1-B84A07A7D3EA}" destId="{A52780C4-758F-4E63-9A7A-DEA1ED115329}" srcOrd="6" destOrd="0" presId="urn:microsoft.com/office/officeart/2008/layout/IncreasingCircleProcess"/>
    <dgm:cxn modelId="{3BF9D37B-E0F4-411C-9344-4DF033680A19}" type="presParOf" srcId="{A52780C4-758F-4E63-9A7A-DEA1ED115329}" destId="{7B493B74-C7C1-4865-9F16-BD8D5543A77A}" srcOrd="0" destOrd="0" presId="urn:microsoft.com/office/officeart/2008/layout/IncreasingCircleProcess"/>
    <dgm:cxn modelId="{251A395F-6A4F-4B4A-8D64-71AD430C9D0D}" type="presParOf" srcId="{A52780C4-758F-4E63-9A7A-DEA1ED115329}" destId="{BB59E275-20E2-4ADA-9B6F-467CA7D79431}" srcOrd="1" destOrd="0" presId="urn:microsoft.com/office/officeart/2008/layout/IncreasingCircleProcess"/>
    <dgm:cxn modelId="{D51DC29E-D6E9-430A-B40D-1DF4D31C1DD8}" type="presParOf" srcId="{A52780C4-758F-4E63-9A7A-DEA1ED115329}" destId="{A26A4B01-021B-460E-9D1F-4A952227ACC2}" srcOrd="2" destOrd="0" presId="urn:microsoft.com/office/officeart/2008/layout/IncreasingCircleProcess"/>
    <dgm:cxn modelId="{57781EE5-E24F-4BA5-9454-A1B394343524}" type="presParOf" srcId="{A52780C4-758F-4E63-9A7A-DEA1ED115329}" destId="{31E0BF55-CAC3-44FE-B5A9-43EF731C62DD}"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80258F9E-899F-4B55-8482-8B6CCA3B99D1}" type="doc">
      <dgm:prSet loTypeId="urn:microsoft.com/office/officeart/2009/3/layout/StepUpProcess" loCatId="process" qsTypeId="urn:microsoft.com/office/officeart/2005/8/quickstyle/simple1" qsCatId="simple" csTypeId="urn:microsoft.com/office/officeart/2005/8/colors/accent1_2" csCatId="accent1" phldr="1"/>
      <dgm:spPr/>
    </dgm:pt>
    <dgm:pt modelId="{BD8789B9-CED5-4D8B-BEA2-7FF8B41F4B22}">
      <dgm:prSet phldrT="[Texto]" custT="1"/>
      <dgm:spPr/>
      <dgm:t>
        <a:bodyPr/>
        <a:lstStyle/>
        <a:p>
          <a:r>
            <a:rPr lang="es-ES" sz="2400" dirty="0"/>
            <a:t>2014-2016</a:t>
          </a:r>
        </a:p>
      </dgm:t>
    </dgm:pt>
    <dgm:pt modelId="{B8B286FB-C01C-4981-8A3C-946311F89D98}" type="parTrans" cxnId="{5C2031C1-4EF4-4182-9391-B8B8D1773E40}">
      <dgm:prSet/>
      <dgm:spPr/>
      <dgm:t>
        <a:bodyPr/>
        <a:lstStyle/>
        <a:p>
          <a:endParaRPr lang="es-ES" sz="2800"/>
        </a:p>
      </dgm:t>
    </dgm:pt>
    <dgm:pt modelId="{AE60BA45-6B2D-4942-B819-FA9CE75ED6D7}" type="sibTrans" cxnId="{5C2031C1-4EF4-4182-9391-B8B8D1773E40}">
      <dgm:prSet/>
      <dgm:spPr/>
      <dgm:t>
        <a:bodyPr/>
        <a:lstStyle/>
        <a:p>
          <a:endParaRPr lang="es-ES" sz="2800"/>
        </a:p>
      </dgm:t>
    </dgm:pt>
    <dgm:pt modelId="{57FBE605-31A3-4D06-BD9C-A84C2D0DE19F}">
      <dgm:prSet phldrT="[Texto]" custT="1"/>
      <dgm:spPr/>
      <dgm:t>
        <a:bodyPr/>
        <a:lstStyle/>
        <a:p>
          <a:r>
            <a:rPr lang="es-ES" sz="1800" dirty="0"/>
            <a:t>Cambridge Analytica trabaja para:</a:t>
          </a:r>
        </a:p>
      </dgm:t>
    </dgm:pt>
    <dgm:pt modelId="{F1EDC955-6015-406C-93EE-74ECF0D39556}" type="parTrans" cxnId="{BAA0C850-B7BA-4B13-93AB-FF01DFD5E46C}">
      <dgm:prSet/>
      <dgm:spPr/>
      <dgm:t>
        <a:bodyPr/>
        <a:lstStyle/>
        <a:p>
          <a:endParaRPr lang="es-ES" sz="2800"/>
        </a:p>
      </dgm:t>
    </dgm:pt>
    <dgm:pt modelId="{07D0C995-0E82-4B40-8347-4B0DDF6FFAEB}" type="sibTrans" cxnId="{BAA0C850-B7BA-4B13-93AB-FF01DFD5E46C}">
      <dgm:prSet/>
      <dgm:spPr/>
      <dgm:t>
        <a:bodyPr/>
        <a:lstStyle/>
        <a:p>
          <a:endParaRPr lang="es-ES" sz="2800"/>
        </a:p>
      </dgm:t>
    </dgm:pt>
    <dgm:pt modelId="{B690F3A9-D9C9-4EF3-A0FD-06749FE6DBA0}">
      <dgm:prSet phldrT="[Texto]" custT="1"/>
      <dgm:spPr/>
      <dgm:t>
        <a:bodyPr/>
        <a:lstStyle/>
        <a:p>
          <a:r>
            <a:rPr lang="es-ES" sz="2400" dirty="0"/>
            <a:t>2016, Jun.23</a:t>
          </a:r>
        </a:p>
      </dgm:t>
    </dgm:pt>
    <dgm:pt modelId="{A49FAD81-CEA9-4A63-9AE1-0DB22B57AF16}" type="parTrans" cxnId="{8940B0BC-99E2-4C77-A4CE-23BB37D4C6A5}">
      <dgm:prSet/>
      <dgm:spPr/>
      <dgm:t>
        <a:bodyPr/>
        <a:lstStyle/>
        <a:p>
          <a:endParaRPr lang="es-ES" sz="2800"/>
        </a:p>
      </dgm:t>
    </dgm:pt>
    <dgm:pt modelId="{E9759A0F-79E8-419F-8ECA-D88DDB9EE920}" type="sibTrans" cxnId="{8940B0BC-99E2-4C77-A4CE-23BB37D4C6A5}">
      <dgm:prSet/>
      <dgm:spPr/>
      <dgm:t>
        <a:bodyPr/>
        <a:lstStyle/>
        <a:p>
          <a:endParaRPr lang="es-ES" sz="2800"/>
        </a:p>
      </dgm:t>
    </dgm:pt>
    <dgm:pt modelId="{91E53878-6B94-467B-A7A8-2E21133575B0}">
      <dgm:prSet phldrT="[Texto]" custT="1"/>
      <dgm:spPr/>
      <dgm:t>
        <a:bodyPr/>
        <a:lstStyle/>
        <a:p>
          <a:r>
            <a:rPr lang="es-ES" sz="1800" dirty="0"/>
            <a:t>Brexit "vote leave"</a:t>
          </a:r>
        </a:p>
      </dgm:t>
    </dgm:pt>
    <dgm:pt modelId="{0C66334A-F2E1-4959-B8E5-7C7C83E64A6A}" type="parTrans" cxnId="{15564C15-6C38-404B-86CA-5B50F5B092EA}">
      <dgm:prSet/>
      <dgm:spPr/>
      <dgm:t>
        <a:bodyPr/>
        <a:lstStyle/>
        <a:p>
          <a:endParaRPr lang="es-ES" sz="2800"/>
        </a:p>
      </dgm:t>
    </dgm:pt>
    <dgm:pt modelId="{DDFBD608-6E1D-4B06-8517-369928CFFA4C}" type="sibTrans" cxnId="{15564C15-6C38-404B-86CA-5B50F5B092EA}">
      <dgm:prSet/>
      <dgm:spPr/>
      <dgm:t>
        <a:bodyPr/>
        <a:lstStyle/>
        <a:p>
          <a:endParaRPr lang="es-ES" sz="2800"/>
        </a:p>
      </dgm:t>
    </dgm:pt>
    <dgm:pt modelId="{354C73C5-4DD3-47CD-9F8B-7E8BDB6F889F}">
      <dgm:prSet phldrT="[Texto]" custT="1"/>
      <dgm:spPr/>
      <dgm:t>
        <a:bodyPr/>
        <a:lstStyle/>
        <a:p>
          <a:r>
            <a:rPr lang="es-ES" sz="1800" dirty="0"/>
            <a:t>Emigrantes + Inoperancia UE</a:t>
          </a:r>
        </a:p>
      </dgm:t>
    </dgm:pt>
    <dgm:pt modelId="{546E4DC1-DCF0-4C54-A642-D226BD85F940}" type="parTrans" cxnId="{66485CA3-D104-439F-8A43-2C66DF1313A5}">
      <dgm:prSet/>
      <dgm:spPr/>
      <dgm:t>
        <a:bodyPr/>
        <a:lstStyle/>
        <a:p>
          <a:endParaRPr lang="es-ES" sz="2800"/>
        </a:p>
      </dgm:t>
    </dgm:pt>
    <dgm:pt modelId="{DC92B289-B960-4BC4-9B92-E626D941FF84}" type="sibTrans" cxnId="{66485CA3-D104-439F-8A43-2C66DF1313A5}">
      <dgm:prSet/>
      <dgm:spPr/>
      <dgm:t>
        <a:bodyPr/>
        <a:lstStyle/>
        <a:p>
          <a:endParaRPr lang="es-ES" sz="2800"/>
        </a:p>
      </dgm:t>
    </dgm:pt>
    <dgm:pt modelId="{77473049-027A-4157-894B-5BA8E6EF4F9A}">
      <dgm:prSet phldrT="[Texto]" custT="1"/>
      <dgm:spPr/>
      <dgm:t>
        <a:bodyPr/>
        <a:lstStyle/>
        <a:p>
          <a:r>
            <a:rPr lang="es-ES" sz="2400" dirty="0"/>
            <a:t>2016, Nov.8</a:t>
          </a:r>
        </a:p>
      </dgm:t>
    </dgm:pt>
    <dgm:pt modelId="{CAC1A1B3-C1C1-4B44-80AD-A67815DE4891}" type="parTrans" cxnId="{AD3F4AB3-AFC3-432F-8405-8B5BA7571C99}">
      <dgm:prSet/>
      <dgm:spPr/>
      <dgm:t>
        <a:bodyPr/>
        <a:lstStyle/>
        <a:p>
          <a:endParaRPr lang="es-ES" sz="2800"/>
        </a:p>
      </dgm:t>
    </dgm:pt>
    <dgm:pt modelId="{F9F1F79D-4D45-4313-84A3-91E18651D3C8}" type="sibTrans" cxnId="{AD3F4AB3-AFC3-432F-8405-8B5BA7571C99}">
      <dgm:prSet/>
      <dgm:spPr/>
      <dgm:t>
        <a:bodyPr/>
        <a:lstStyle/>
        <a:p>
          <a:endParaRPr lang="es-ES" sz="2800"/>
        </a:p>
      </dgm:t>
    </dgm:pt>
    <dgm:pt modelId="{996A2752-5B1F-4653-95DD-A70C4A1EC99B}">
      <dgm:prSet phldrT="[Texto]" custT="1"/>
      <dgm:spPr/>
      <dgm:t>
        <a:bodyPr/>
        <a:lstStyle/>
        <a:p>
          <a:r>
            <a:rPr lang="es-ES" sz="1800" dirty="0"/>
            <a:t>Trump</a:t>
          </a:r>
        </a:p>
      </dgm:t>
    </dgm:pt>
    <dgm:pt modelId="{67E4704D-FA5E-421C-BFA8-323979168495}" type="parTrans" cxnId="{654757EC-2270-452B-B648-0C63B685BB60}">
      <dgm:prSet/>
      <dgm:spPr/>
      <dgm:t>
        <a:bodyPr/>
        <a:lstStyle/>
        <a:p>
          <a:endParaRPr lang="es-ES" sz="2800"/>
        </a:p>
      </dgm:t>
    </dgm:pt>
    <dgm:pt modelId="{441956B3-2361-4132-AEA7-AE2B261EDA36}" type="sibTrans" cxnId="{654757EC-2270-452B-B648-0C63B685BB60}">
      <dgm:prSet/>
      <dgm:spPr/>
      <dgm:t>
        <a:bodyPr/>
        <a:lstStyle/>
        <a:p>
          <a:endParaRPr lang="es-ES" sz="2800"/>
        </a:p>
      </dgm:t>
    </dgm:pt>
    <dgm:pt modelId="{1B0D65F7-8893-4079-97B3-3FC6EF76A5EB}">
      <dgm:prSet phldrT="[Texto]" custT="1"/>
      <dgm:spPr/>
      <dgm:t>
        <a:bodyPr/>
        <a:lstStyle/>
        <a:p>
          <a:r>
            <a:rPr lang="es-ES" sz="1800" dirty="0"/>
            <a:t>“EL sueño americano”</a:t>
          </a:r>
        </a:p>
        <a:p>
          <a:r>
            <a:rPr lang="es-ES" sz="1800" dirty="0"/>
            <a:t>Se obtiene info de 280,000 a 320,000  personas. </a:t>
          </a:r>
        </a:p>
      </dgm:t>
    </dgm:pt>
    <dgm:pt modelId="{180FBAEF-6748-4739-8FBE-528CC385EE8F}" type="parTrans" cxnId="{60718148-078F-44AD-9588-47F356C46183}">
      <dgm:prSet/>
      <dgm:spPr/>
      <dgm:t>
        <a:bodyPr/>
        <a:lstStyle/>
        <a:p>
          <a:endParaRPr lang="es-ES" sz="2800"/>
        </a:p>
      </dgm:t>
    </dgm:pt>
    <dgm:pt modelId="{E4F798C6-7F8F-4498-87BB-4248A9A64DFA}" type="sibTrans" cxnId="{60718148-078F-44AD-9588-47F356C46183}">
      <dgm:prSet/>
      <dgm:spPr/>
      <dgm:t>
        <a:bodyPr/>
        <a:lstStyle/>
        <a:p>
          <a:endParaRPr lang="es-ES" sz="2800"/>
        </a:p>
      </dgm:t>
    </dgm:pt>
    <dgm:pt modelId="{909E169F-700E-4987-9732-0BF93165DD02}">
      <dgm:prSet phldrT="[Texto]" custT="1"/>
      <dgm:spPr/>
      <dgm:t>
        <a:bodyPr/>
        <a:lstStyle/>
        <a:p>
          <a:r>
            <a:rPr lang="es-ES" sz="1800" dirty="0"/>
            <a:t>Mensajes a los ciudadanos conforme a lo que conforme a los patrones son sensibles.</a:t>
          </a:r>
        </a:p>
      </dgm:t>
    </dgm:pt>
    <dgm:pt modelId="{8B2404DD-8A83-46ED-8332-AEEBBA061822}" type="parTrans" cxnId="{B1D17C9D-2AB4-41CD-BD6A-93BEF96775BB}">
      <dgm:prSet/>
      <dgm:spPr/>
      <dgm:t>
        <a:bodyPr/>
        <a:lstStyle/>
        <a:p>
          <a:endParaRPr lang="es-ES" sz="2800"/>
        </a:p>
      </dgm:t>
    </dgm:pt>
    <dgm:pt modelId="{D990CB0E-44C7-4743-906A-DE992832A656}" type="sibTrans" cxnId="{B1D17C9D-2AB4-41CD-BD6A-93BEF96775BB}">
      <dgm:prSet/>
      <dgm:spPr/>
      <dgm:t>
        <a:bodyPr/>
        <a:lstStyle/>
        <a:p>
          <a:endParaRPr lang="es-ES" sz="2800"/>
        </a:p>
      </dgm:t>
    </dgm:pt>
    <dgm:pt modelId="{014A893C-C8AE-461A-A8D2-7AC1B9695953}">
      <dgm:prSet custT="1"/>
      <dgm:spPr/>
      <dgm:t>
        <a:bodyPr/>
        <a:lstStyle/>
        <a:p>
          <a:r>
            <a:rPr lang="es-ES" sz="1800" dirty="0"/>
            <a:t>Desde FACEBOOK y otros</a:t>
          </a:r>
        </a:p>
      </dgm:t>
    </dgm:pt>
    <dgm:pt modelId="{12842F8B-6F22-4383-BE8B-8710377894B4}" type="parTrans" cxnId="{B8D36973-F50C-42F3-B7DF-F154D2B7EAA4}">
      <dgm:prSet/>
      <dgm:spPr/>
      <dgm:t>
        <a:bodyPr/>
        <a:lstStyle/>
        <a:p>
          <a:endParaRPr lang="es-ES" sz="2800"/>
        </a:p>
      </dgm:t>
    </dgm:pt>
    <dgm:pt modelId="{A1199053-EF9C-4F53-A248-23E192C9BCAE}" type="sibTrans" cxnId="{B8D36973-F50C-42F3-B7DF-F154D2B7EAA4}">
      <dgm:prSet/>
      <dgm:spPr/>
      <dgm:t>
        <a:bodyPr/>
        <a:lstStyle/>
        <a:p>
          <a:endParaRPr lang="es-ES" sz="2800"/>
        </a:p>
      </dgm:t>
    </dgm:pt>
    <dgm:pt modelId="{6883A1DD-5153-4A51-8DBE-D9E13AB567DA}">
      <dgm:prSet phldrT="[Texto]" custT="1"/>
      <dgm:spPr/>
      <dgm:t>
        <a:bodyPr/>
        <a:lstStyle/>
        <a:p>
          <a:r>
            <a:rPr lang="es-ES" sz="1800" dirty="0"/>
            <a:t>Se llego a unas 84 M personas. (325 Millones)</a:t>
          </a:r>
        </a:p>
      </dgm:t>
    </dgm:pt>
    <dgm:pt modelId="{05A985F1-D4D2-496F-BF29-416879DCB7A7}" type="parTrans" cxnId="{C41693E5-7C4E-4665-9654-A16AD0F56542}">
      <dgm:prSet/>
      <dgm:spPr/>
      <dgm:t>
        <a:bodyPr/>
        <a:lstStyle/>
        <a:p>
          <a:endParaRPr lang="es-ES" sz="2800"/>
        </a:p>
      </dgm:t>
    </dgm:pt>
    <dgm:pt modelId="{1A04FAEC-A85D-45A5-B623-1070F2491319}" type="sibTrans" cxnId="{C41693E5-7C4E-4665-9654-A16AD0F56542}">
      <dgm:prSet/>
      <dgm:spPr/>
      <dgm:t>
        <a:bodyPr/>
        <a:lstStyle/>
        <a:p>
          <a:endParaRPr lang="es-ES" sz="2800"/>
        </a:p>
      </dgm:t>
    </dgm:pt>
    <dgm:pt modelId="{370D452C-8F3A-4661-8EA7-360BECF34E62}">
      <dgm:prSet phldrT="[Texto]" custT="1"/>
      <dgm:spPr/>
      <dgm:t>
        <a:bodyPr/>
        <a:lstStyle/>
        <a:p>
          <a:r>
            <a:rPr lang="es-ES" sz="1800" dirty="0"/>
            <a:t>Se pudo llegar a 1.1 Millones. (60 Millones) </a:t>
          </a:r>
        </a:p>
      </dgm:t>
    </dgm:pt>
    <dgm:pt modelId="{5D9FFCD1-D18C-4412-B70E-FAFFD9D7F8F7}" type="parTrans" cxnId="{15F720AD-E25D-46CC-9F9B-B43937AD3F66}">
      <dgm:prSet/>
      <dgm:spPr/>
      <dgm:t>
        <a:bodyPr/>
        <a:lstStyle/>
        <a:p>
          <a:endParaRPr lang="es-ES" sz="2800"/>
        </a:p>
      </dgm:t>
    </dgm:pt>
    <dgm:pt modelId="{062B09D7-2ECC-40F1-A664-65C12E776301}" type="sibTrans" cxnId="{15F720AD-E25D-46CC-9F9B-B43937AD3F66}">
      <dgm:prSet/>
      <dgm:spPr/>
      <dgm:t>
        <a:bodyPr/>
        <a:lstStyle/>
        <a:p>
          <a:endParaRPr lang="es-ES" sz="2800"/>
        </a:p>
      </dgm:t>
    </dgm:pt>
    <dgm:pt modelId="{39F87A5D-5C77-48C2-8776-742F3C362A78}" type="pres">
      <dgm:prSet presAssocID="{80258F9E-899F-4B55-8482-8B6CCA3B99D1}" presName="rootnode" presStyleCnt="0">
        <dgm:presLayoutVars>
          <dgm:chMax/>
          <dgm:chPref/>
          <dgm:dir/>
          <dgm:animLvl val="lvl"/>
        </dgm:presLayoutVars>
      </dgm:prSet>
      <dgm:spPr/>
    </dgm:pt>
    <dgm:pt modelId="{DE16D0F7-91F5-46CE-9DFC-DE0C12AA94F8}" type="pres">
      <dgm:prSet presAssocID="{BD8789B9-CED5-4D8B-BEA2-7FF8B41F4B22}" presName="composite" presStyleCnt="0"/>
      <dgm:spPr/>
    </dgm:pt>
    <dgm:pt modelId="{AD43A186-27DD-4071-BC6D-16A5676C441E}" type="pres">
      <dgm:prSet presAssocID="{BD8789B9-CED5-4D8B-BEA2-7FF8B41F4B22}" presName="LShape" presStyleLbl="alignNode1" presStyleIdx="0" presStyleCnt="5"/>
      <dgm:spPr/>
    </dgm:pt>
    <dgm:pt modelId="{EFEDE6BC-FC18-480D-9FDF-A44018A1F602}" type="pres">
      <dgm:prSet presAssocID="{BD8789B9-CED5-4D8B-BEA2-7FF8B41F4B22}" presName="ParentText" presStyleLbl="revTx" presStyleIdx="0" presStyleCnt="3">
        <dgm:presLayoutVars>
          <dgm:chMax val="0"/>
          <dgm:chPref val="0"/>
          <dgm:bulletEnabled val="1"/>
        </dgm:presLayoutVars>
      </dgm:prSet>
      <dgm:spPr/>
    </dgm:pt>
    <dgm:pt modelId="{6EF0E6CF-870D-4F42-9EEA-B745870179FC}" type="pres">
      <dgm:prSet presAssocID="{BD8789B9-CED5-4D8B-BEA2-7FF8B41F4B22}" presName="Triangle" presStyleLbl="alignNode1" presStyleIdx="1" presStyleCnt="5"/>
      <dgm:spPr/>
    </dgm:pt>
    <dgm:pt modelId="{A55BCF06-33DF-4507-9930-F20498E7B522}" type="pres">
      <dgm:prSet presAssocID="{AE60BA45-6B2D-4942-B819-FA9CE75ED6D7}" presName="sibTrans" presStyleCnt="0"/>
      <dgm:spPr/>
    </dgm:pt>
    <dgm:pt modelId="{4CAD071E-FAD6-47DA-9A9C-2B3B95A34B30}" type="pres">
      <dgm:prSet presAssocID="{AE60BA45-6B2D-4942-B819-FA9CE75ED6D7}" presName="space" presStyleCnt="0"/>
      <dgm:spPr/>
    </dgm:pt>
    <dgm:pt modelId="{5F429DE7-413F-40F3-9E1F-D582D21E965C}" type="pres">
      <dgm:prSet presAssocID="{B690F3A9-D9C9-4EF3-A0FD-06749FE6DBA0}" presName="composite" presStyleCnt="0"/>
      <dgm:spPr/>
    </dgm:pt>
    <dgm:pt modelId="{D58EDF54-AF2C-45CA-B03F-9C7B92D3EE7D}" type="pres">
      <dgm:prSet presAssocID="{B690F3A9-D9C9-4EF3-A0FD-06749FE6DBA0}" presName="LShape" presStyleLbl="alignNode1" presStyleIdx="2" presStyleCnt="5"/>
      <dgm:spPr/>
    </dgm:pt>
    <dgm:pt modelId="{8D0E6C04-4D06-4B9F-8A78-54106CFA366C}" type="pres">
      <dgm:prSet presAssocID="{B690F3A9-D9C9-4EF3-A0FD-06749FE6DBA0}" presName="ParentText" presStyleLbl="revTx" presStyleIdx="1" presStyleCnt="3">
        <dgm:presLayoutVars>
          <dgm:chMax val="0"/>
          <dgm:chPref val="0"/>
          <dgm:bulletEnabled val="1"/>
        </dgm:presLayoutVars>
      </dgm:prSet>
      <dgm:spPr/>
    </dgm:pt>
    <dgm:pt modelId="{60CC5F36-9896-461E-B3C4-7D040DE91900}" type="pres">
      <dgm:prSet presAssocID="{B690F3A9-D9C9-4EF3-A0FD-06749FE6DBA0}" presName="Triangle" presStyleLbl="alignNode1" presStyleIdx="3" presStyleCnt="5"/>
      <dgm:spPr/>
    </dgm:pt>
    <dgm:pt modelId="{7C519397-79DF-44BA-8F7F-7E44CBE1F0CE}" type="pres">
      <dgm:prSet presAssocID="{E9759A0F-79E8-419F-8ECA-D88DDB9EE920}" presName="sibTrans" presStyleCnt="0"/>
      <dgm:spPr/>
    </dgm:pt>
    <dgm:pt modelId="{F496090B-BF94-49B7-A0C5-52FF35C21B7A}" type="pres">
      <dgm:prSet presAssocID="{E9759A0F-79E8-419F-8ECA-D88DDB9EE920}" presName="space" presStyleCnt="0"/>
      <dgm:spPr/>
    </dgm:pt>
    <dgm:pt modelId="{9E5A3B97-A7CB-49BF-952E-B351C70F5C64}" type="pres">
      <dgm:prSet presAssocID="{77473049-027A-4157-894B-5BA8E6EF4F9A}" presName="composite" presStyleCnt="0"/>
      <dgm:spPr/>
    </dgm:pt>
    <dgm:pt modelId="{B4C6E02F-F529-4EB6-ABD7-3D9F8FAEAA87}" type="pres">
      <dgm:prSet presAssocID="{77473049-027A-4157-894B-5BA8E6EF4F9A}" presName="LShape" presStyleLbl="alignNode1" presStyleIdx="4" presStyleCnt="5"/>
      <dgm:spPr/>
    </dgm:pt>
    <dgm:pt modelId="{433B58BD-E685-4EF1-903E-99ABAFC92DC5}" type="pres">
      <dgm:prSet presAssocID="{77473049-027A-4157-894B-5BA8E6EF4F9A}" presName="ParentText" presStyleLbl="revTx" presStyleIdx="2" presStyleCnt="3">
        <dgm:presLayoutVars>
          <dgm:chMax val="0"/>
          <dgm:chPref val="0"/>
          <dgm:bulletEnabled val="1"/>
        </dgm:presLayoutVars>
      </dgm:prSet>
      <dgm:spPr/>
    </dgm:pt>
  </dgm:ptLst>
  <dgm:cxnLst>
    <dgm:cxn modelId="{A85BCE0A-F514-4623-8865-7F58BDF0A697}" type="presOf" srcId="{80258F9E-899F-4B55-8482-8B6CCA3B99D1}" destId="{39F87A5D-5C77-48C2-8776-742F3C362A78}" srcOrd="0" destOrd="0" presId="urn:microsoft.com/office/officeart/2009/3/layout/StepUpProcess"/>
    <dgm:cxn modelId="{11CA6313-46BD-415E-9DFF-251D50A7B08D}" type="presOf" srcId="{909E169F-700E-4987-9732-0BF93165DD02}" destId="{EFEDE6BC-FC18-480D-9FDF-A44018A1F602}" srcOrd="0" destOrd="2" presId="urn:microsoft.com/office/officeart/2009/3/layout/StepUpProcess"/>
    <dgm:cxn modelId="{54C02615-6892-46D5-82EB-48C2818F71F6}" type="presOf" srcId="{1B0D65F7-8893-4079-97B3-3FC6EF76A5EB}" destId="{433B58BD-E685-4EF1-903E-99ABAFC92DC5}" srcOrd="0" destOrd="2" presId="urn:microsoft.com/office/officeart/2009/3/layout/StepUpProcess"/>
    <dgm:cxn modelId="{15564C15-6C38-404B-86CA-5B50F5B092EA}" srcId="{B690F3A9-D9C9-4EF3-A0FD-06749FE6DBA0}" destId="{91E53878-6B94-467B-A7A8-2E21133575B0}" srcOrd="0" destOrd="0" parTransId="{0C66334A-F2E1-4959-B8E5-7C7C83E64A6A}" sibTransId="{DDFBD608-6E1D-4B06-8517-369928CFFA4C}"/>
    <dgm:cxn modelId="{73DCD015-BDA8-46FA-BA61-78CD90BB89AB}" type="presOf" srcId="{996A2752-5B1F-4653-95DD-A70C4A1EC99B}" destId="{433B58BD-E685-4EF1-903E-99ABAFC92DC5}" srcOrd="0" destOrd="1" presId="urn:microsoft.com/office/officeart/2009/3/layout/StepUpProcess"/>
    <dgm:cxn modelId="{EC00051C-3BAF-4CF2-87D7-80978BDA9118}" type="presOf" srcId="{91E53878-6B94-467B-A7A8-2E21133575B0}" destId="{8D0E6C04-4D06-4B9F-8A78-54106CFA366C}" srcOrd="0" destOrd="1" presId="urn:microsoft.com/office/officeart/2009/3/layout/StepUpProcess"/>
    <dgm:cxn modelId="{BC497543-6823-458E-BB70-EEBC6F34C030}" type="presOf" srcId="{014A893C-C8AE-461A-A8D2-7AC1B9695953}" destId="{EFEDE6BC-FC18-480D-9FDF-A44018A1F602}" srcOrd="0" destOrd="3" presId="urn:microsoft.com/office/officeart/2009/3/layout/StepUpProcess"/>
    <dgm:cxn modelId="{60718148-078F-44AD-9588-47F356C46183}" srcId="{77473049-027A-4157-894B-5BA8E6EF4F9A}" destId="{1B0D65F7-8893-4079-97B3-3FC6EF76A5EB}" srcOrd="1" destOrd="0" parTransId="{180FBAEF-6748-4739-8FBE-528CC385EE8F}" sibTransId="{E4F798C6-7F8F-4498-87BB-4248A9A64DFA}"/>
    <dgm:cxn modelId="{BAA0C850-B7BA-4B13-93AB-FF01DFD5E46C}" srcId="{BD8789B9-CED5-4D8B-BEA2-7FF8B41F4B22}" destId="{57FBE605-31A3-4D06-BD9C-A84C2D0DE19F}" srcOrd="0" destOrd="0" parTransId="{F1EDC955-6015-406C-93EE-74ECF0D39556}" sibTransId="{07D0C995-0E82-4B40-8347-4B0DDF6FFAEB}"/>
    <dgm:cxn modelId="{802A7B71-3D35-478E-B6BB-5B4325C9C072}" type="presOf" srcId="{6883A1DD-5153-4A51-8DBE-D9E13AB567DA}" destId="{433B58BD-E685-4EF1-903E-99ABAFC92DC5}" srcOrd="0" destOrd="3" presId="urn:microsoft.com/office/officeart/2009/3/layout/StepUpProcess"/>
    <dgm:cxn modelId="{B8D36973-F50C-42F3-B7DF-F154D2B7EAA4}" srcId="{BD8789B9-CED5-4D8B-BEA2-7FF8B41F4B22}" destId="{014A893C-C8AE-461A-A8D2-7AC1B9695953}" srcOrd="2" destOrd="0" parTransId="{12842F8B-6F22-4383-BE8B-8710377894B4}" sibTransId="{A1199053-EF9C-4F53-A248-23E192C9BCAE}"/>
    <dgm:cxn modelId="{A7D56B73-4F2D-43FA-80DD-35D4723E03D1}" type="presOf" srcId="{57FBE605-31A3-4D06-BD9C-A84C2D0DE19F}" destId="{EFEDE6BC-FC18-480D-9FDF-A44018A1F602}" srcOrd="0" destOrd="1" presId="urn:microsoft.com/office/officeart/2009/3/layout/StepUpProcess"/>
    <dgm:cxn modelId="{69E49453-DCA9-448B-BAE0-0B8DC4BB4704}" type="presOf" srcId="{77473049-027A-4157-894B-5BA8E6EF4F9A}" destId="{433B58BD-E685-4EF1-903E-99ABAFC92DC5}" srcOrd="0" destOrd="0" presId="urn:microsoft.com/office/officeart/2009/3/layout/StepUpProcess"/>
    <dgm:cxn modelId="{A1ED0584-E9C4-4A86-8E0F-1F04B5BA5688}" type="presOf" srcId="{370D452C-8F3A-4661-8EA7-360BECF34E62}" destId="{8D0E6C04-4D06-4B9F-8A78-54106CFA366C}" srcOrd="0" destOrd="3" presId="urn:microsoft.com/office/officeart/2009/3/layout/StepUpProcess"/>
    <dgm:cxn modelId="{B1D17C9D-2AB4-41CD-BD6A-93BEF96775BB}" srcId="{BD8789B9-CED5-4D8B-BEA2-7FF8B41F4B22}" destId="{909E169F-700E-4987-9732-0BF93165DD02}" srcOrd="1" destOrd="0" parTransId="{8B2404DD-8A83-46ED-8332-AEEBBA061822}" sibTransId="{D990CB0E-44C7-4743-906A-DE992832A656}"/>
    <dgm:cxn modelId="{148730A0-CE21-4419-B7D6-C88975D2B68F}" type="presOf" srcId="{BD8789B9-CED5-4D8B-BEA2-7FF8B41F4B22}" destId="{EFEDE6BC-FC18-480D-9FDF-A44018A1F602}" srcOrd="0" destOrd="0" presId="urn:microsoft.com/office/officeart/2009/3/layout/StepUpProcess"/>
    <dgm:cxn modelId="{66485CA3-D104-439F-8A43-2C66DF1313A5}" srcId="{B690F3A9-D9C9-4EF3-A0FD-06749FE6DBA0}" destId="{354C73C5-4DD3-47CD-9F8B-7E8BDB6F889F}" srcOrd="1" destOrd="0" parTransId="{546E4DC1-DCF0-4C54-A642-D226BD85F940}" sibTransId="{DC92B289-B960-4BC4-9B92-E626D941FF84}"/>
    <dgm:cxn modelId="{15F720AD-E25D-46CC-9F9B-B43937AD3F66}" srcId="{B690F3A9-D9C9-4EF3-A0FD-06749FE6DBA0}" destId="{370D452C-8F3A-4661-8EA7-360BECF34E62}" srcOrd="2" destOrd="0" parTransId="{5D9FFCD1-D18C-4412-B70E-FAFFD9D7F8F7}" sibTransId="{062B09D7-2ECC-40F1-A664-65C12E776301}"/>
    <dgm:cxn modelId="{AD3F4AB3-AFC3-432F-8405-8B5BA7571C99}" srcId="{80258F9E-899F-4B55-8482-8B6CCA3B99D1}" destId="{77473049-027A-4157-894B-5BA8E6EF4F9A}" srcOrd="2" destOrd="0" parTransId="{CAC1A1B3-C1C1-4B44-80AD-A67815DE4891}" sibTransId="{F9F1F79D-4D45-4313-84A3-91E18651D3C8}"/>
    <dgm:cxn modelId="{8940B0BC-99E2-4C77-A4CE-23BB37D4C6A5}" srcId="{80258F9E-899F-4B55-8482-8B6CCA3B99D1}" destId="{B690F3A9-D9C9-4EF3-A0FD-06749FE6DBA0}" srcOrd="1" destOrd="0" parTransId="{A49FAD81-CEA9-4A63-9AE1-0DB22B57AF16}" sibTransId="{E9759A0F-79E8-419F-8ECA-D88DDB9EE920}"/>
    <dgm:cxn modelId="{5C2031C1-4EF4-4182-9391-B8B8D1773E40}" srcId="{80258F9E-899F-4B55-8482-8B6CCA3B99D1}" destId="{BD8789B9-CED5-4D8B-BEA2-7FF8B41F4B22}" srcOrd="0" destOrd="0" parTransId="{B8B286FB-C01C-4981-8A3C-946311F89D98}" sibTransId="{AE60BA45-6B2D-4942-B819-FA9CE75ED6D7}"/>
    <dgm:cxn modelId="{C41693E5-7C4E-4665-9654-A16AD0F56542}" srcId="{77473049-027A-4157-894B-5BA8E6EF4F9A}" destId="{6883A1DD-5153-4A51-8DBE-D9E13AB567DA}" srcOrd="2" destOrd="0" parTransId="{05A985F1-D4D2-496F-BF29-416879DCB7A7}" sibTransId="{1A04FAEC-A85D-45A5-B623-1070F2491319}"/>
    <dgm:cxn modelId="{654757EC-2270-452B-B648-0C63B685BB60}" srcId="{77473049-027A-4157-894B-5BA8E6EF4F9A}" destId="{996A2752-5B1F-4653-95DD-A70C4A1EC99B}" srcOrd="0" destOrd="0" parTransId="{67E4704D-FA5E-421C-BFA8-323979168495}" sibTransId="{441956B3-2361-4132-AEA7-AE2B261EDA36}"/>
    <dgm:cxn modelId="{FF5485F6-82D6-48DC-8B3F-F51107F46F58}" type="presOf" srcId="{B690F3A9-D9C9-4EF3-A0FD-06749FE6DBA0}" destId="{8D0E6C04-4D06-4B9F-8A78-54106CFA366C}" srcOrd="0" destOrd="0" presId="urn:microsoft.com/office/officeart/2009/3/layout/StepUpProcess"/>
    <dgm:cxn modelId="{562540F7-8697-4240-B760-93E6A7E792D7}" type="presOf" srcId="{354C73C5-4DD3-47CD-9F8B-7E8BDB6F889F}" destId="{8D0E6C04-4D06-4B9F-8A78-54106CFA366C}" srcOrd="0" destOrd="2" presId="urn:microsoft.com/office/officeart/2009/3/layout/StepUpProcess"/>
    <dgm:cxn modelId="{C1D6FE55-C0BF-4163-82ED-EF19E0F423B3}" type="presParOf" srcId="{39F87A5D-5C77-48C2-8776-742F3C362A78}" destId="{DE16D0F7-91F5-46CE-9DFC-DE0C12AA94F8}" srcOrd="0" destOrd="0" presId="urn:microsoft.com/office/officeart/2009/3/layout/StepUpProcess"/>
    <dgm:cxn modelId="{684B6F70-3299-4930-A495-9E185B2E5BF6}" type="presParOf" srcId="{DE16D0F7-91F5-46CE-9DFC-DE0C12AA94F8}" destId="{AD43A186-27DD-4071-BC6D-16A5676C441E}" srcOrd="0" destOrd="0" presId="urn:microsoft.com/office/officeart/2009/3/layout/StepUpProcess"/>
    <dgm:cxn modelId="{7CEC9268-A6F4-49CA-9157-8FCBB403CE9F}" type="presParOf" srcId="{DE16D0F7-91F5-46CE-9DFC-DE0C12AA94F8}" destId="{EFEDE6BC-FC18-480D-9FDF-A44018A1F602}" srcOrd="1" destOrd="0" presId="urn:microsoft.com/office/officeart/2009/3/layout/StepUpProcess"/>
    <dgm:cxn modelId="{6A0859FF-D9A1-489B-8216-E91D93C97585}" type="presParOf" srcId="{DE16D0F7-91F5-46CE-9DFC-DE0C12AA94F8}" destId="{6EF0E6CF-870D-4F42-9EEA-B745870179FC}" srcOrd="2" destOrd="0" presId="urn:microsoft.com/office/officeart/2009/3/layout/StepUpProcess"/>
    <dgm:cxn modelId="{91EDB292-0D61-491A-B7A4-F7F50E2A350B}" type="presParOf" srcId="{39F87A5D-5C77-48C2-8776-742F3C362A78}" destId="{A55BCF06-33DF-4507-9930-F20498E7B522}" srcOrd="1" destOrd="0" presId="urn:microsoft.com/office/officeart/2009/3/layout/StepUpProcess"/>
    <dgm:cxn modelId="{1EB65ACB-2BA8-4646-8C24-5911A6A42D6E}" type="presParOf" srcId="{A55BCF06-33DF-4507-9930-F20498E7B522}" destId="{4CAD071E-FAD6-47DA-9A9C-2B3B95A34B30}" srcOrd="0" destOrd="0" presId="urn:microsoft.com/office/officeart/2009/3/layout/StepUpProcess"/>
    <dgm:cxn modelId="{7187EE42-1318-4F2C-9220-C62BDE8C4E05}" type="presParOf" srcId="{39F87A5D-5C77-48C2-8776-742F3C362A78}" destId="{5F429DE7-413F-40F3-9E1F-D582D21E965C}" srcOrd="2" destOrd="0" presId="urn:microsoft.com/office/officeart/2009/3/layout/StepUpProcess"/>
    <dgm:cxn modelId="{A911B65D-5F28-4F77-BD7B-AE5C90206BE7}" type="presParOf" srcId="{5F429DE7-413F-40F3-9E1F-D582D21E965C}" destId="{D58EDF54-AF2C-45CA-B03F-9C7B92D3EE7D}" srcOrd="0" destOrd="0" presId="urn:microsoft.com/office/officeart/2009/3/layout/StepUpProcess"/>
    <dgm:cxn modelId="{CFB1C492-1E65-4E52-8C0B-955893656842}" type="presParOf" srcId="{5F429DE7-413F-40F3-9E1F-D582D21E965C}" destId="{8D0E6C04-4D06-4B9F-8A78-54106CFA366C}" srcOrd="1" destOrd="0" presId="urn:microsoft.com/office/officeart/2009/3/layout/StepUpProcess"/>
    <dgm:cxn modelId="{BE06D298-27EA-430E-B92B-71726C860E1D}" type="presParOf" srcId="{5F429DE7-413F-40F3-9E1F-D582D21E965C}" destId="{60CC5F36-9896-461E-B3C4-7D040DE91900}" srcOrd="2" destOrd="0" presId="urn:microsoft.com/office/officeart/2009/3/layout/StepUpProcess"/>
    <dgm:cxn modelId="{FCFCA91B-E65D-4B15-A617-594288610389}" type="presParOf" srcId="{39F87A5D-5C77-48C2-8776-742F3C362A78}" destId="{7C519397-79DF-44BA-8F7F-7E44CBE1F0CE}" srcOrd="3" destOrd="0" presId="urn:microsoft.com/office/officeart/2009/3/layout/StepUpProcess"/>
    <dgm:cxn modelId="{4BFFBC77-08EF-4217-AD03-17B83688ECCF}" type="presParOf" srcId="{7C519397-79DF-44BA-8F7F-7E44CBE1F0CE}" destId="{F496090B-BF94-49B7-A0C5-52FF35C21B7A}" srcOrd="0" destOrd="0" presId="urn:microsoft.com/office/officeart/2009/3/layout/StepUpProcess"/>
    <dgm:cxn modelId="{4A629DC4-1522-41F3-B66F-6C04D198E628}" type="presParOf" srcId="{39F87A5D-5C77-48C2-8776-742F3C362A78}" destId="{9E5A3B97-A7CB-49BF-952E-B351C70F5C64}" srcOrd="4" destOrd="0" presId="urn:microsoft.com/office/officeart/2009/3/layout/StepUpProcess"/>
    <dgm:cxn modelId="{DB740074-5836-4AFC-A546-C333485189A7}" type="presParOf" srcId="{9E5A3B97-A7CB-49BF-952E-B351C70F5C64}" destId="{B4C6E02F-F529-4EB6-ABD7-3D9F8FAEAA87}" srcOrd="0" destOrd="0" presId="urn:microsoft.com/office/officeart/2009/3/layout/StepUpProcess"/>
    <dgm:cxn modelId="{6088A2B2-01F0-4172-A22D-3259BB427F52}" type="presParOf" srcId="{9E5A3B97-A7CB-49BF-952E-B351C70F5C64}" destId="{433B58BD-E685-4EF1-903E-99ABAFC92DC5}"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A10E627-5527-4B99-B869-6CC48E7AE6A4}"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s-ES"/>
        </a:p>
      </dgm:t>
    </dgm:pt>
    <dgm:pt modelId="{B5E2C744-A22E-4907-ACC8-18863327ED4D}">
      <dgm:prSet/>
      <dgm:spPr/>
      <dgm:t>
        <a:bodyPr/>
        <a:lstStyle/>
        <a:p>
          <a:r>
            <a:rPr lang="es-ES" dirty="0"/>
            <a:t>Los simpatizantes de 'la salida' (de la UE) crearon tuits falsos mediante bots.</a:t>
          </a:r>
        </a:p>
      </dgm:t>
    </dgm:pt>
    <dgm:pt modelId="{FBF9FC42-64EB-4497-9573-1FBEC5395522}" type="parTrans" cxnId="{78D9C2CB-C1DE-4140-ABEF-B2C20E9D2857}">
      <dgm:prSet/>
      <dgm:spPr/>
      <dgm:t>
        <a:bodyPr/>
        <a:lstStyle/>
        <a:p>
          <a:endParaRPr lang="es-ES"/>
        </a:p>
      </dgm:t>
    </dgm:pt>
    <dgm:pt modelId="{EBD2D1EA-2EB5-4FF3-B328-0ED1980B3D9F}" type="sibTrans" cxnId="{78D9C2CB-C1DE-4140-ABEF-B2C20E9D2857}">
      <dgm:prSet/>
      <dgm:spPr/>
      <dgm:t>
        <a:bodyPr/>
        <a:lstStyle/>
        <a:p>
          <a:endParaRPr lang="es-ES"/>
        </a:p>
      </dgm:t>
    </dgm:pt>
    <dgm:pt modelId="{B4F39A71-6A04-4F21-9D9C-A93841BF0F9F}">
      <dgm:prSet/>
      <dgm:spPr/>
      <dgm:t>
        <a:bodyPr/>
        <a:lstStyle/>
        <a:p>
          <a:r>
            <a:rPr lang="es-ES" dirty="0"/>
            <a:t>Los datos recolectados se orientaron a las campañas a nivel local.</a:t>
          </a:r>
        </a:p>
      </dgm:t>
    </dgm:pt>
    <dgm:pt modelId="{D62C277C-D848-4B68-8E7B-10E1F539A8DF}" type="parTrans" cxnId="{3935D6F1-90D3-4950-BB7E-15087758DC4F}">
      <dgm:prSet/>
      <dgm:spPr/>
      <dgm:t>
        <a:bodyPr/>
        <a:lstStyle/>
        <a:p>
          <a:endParaRPr lang="es-ES"/>
        </a:p>
      </dgm:t>
    </dgm:pt>
    <dgm:pt modelId="{57F010A1-2B76-405D-8EC1-845B6CC169EB}" type="sibTrans" cxnId="{3935D6F1-90D3-4950-BB7E-15087758DC4F}">
      <dgm:prSet/>
      <dgm:spPr/>
      <dgm:t>
        <a:bodyPr/>
        <a:lstStyle/>
        <a:p>
          <a:endParaRPr lang="es-ES"/>
        </a:p>
      </dgm:t>
    </dgm:pt>
    <dgm:pt modelId="{0F844878-BCF1-45FB-BB67-CFBDF510A25E}">
      <dgm:prSet/>
      <dgm:spPr/>
      <dgm:t>
        <a:bodyPr/>
        <a:lstStyle/>
        <a:p>
          <a:r>
            <a:rPr lang="es-ES" dirty="0"/>
            <a:t>Las noticias desaparecen, haciendo que sea imposible investigar sobre ellas.</a:t>
          </a:r>
        </a:p>
      </dgm:t>
    </dgm:pt>
    <dgm:pt modelId="{134471BD-F089-451E-BEF4-F43AD489C34E}" type="parTrans" cxnId="{4C4FF183-73A2-46C3-B397-3B27CF8F7AF7}">
      <dgm:prSet/>
      <dgm:spPr/>
      <dgm:t>
        <a:bodyPr/>
        <a:lstStyle/>
        <a:p>
          <a:endParaRPr lang="es-ES"/>
        </a:p>
      </dgm:t>
    </dgm:pt>
    <dgm:pt modelId="{DA3BD599-C8BB-4E4A-99C4-59F1DB8CA2D8}" type="sibTrans" cxnId="{4C4FF183-73A2-46C3-B397-3B27CF8F7AF7}">
      <dgm:prSet/>
      <dgm:spPr/>
      <dgm:t>
        <a:bodyPr/>
        <a:lstStyle/>
        <a:p>
          <a:endParaRPr lang="es-ES"/>
        </a:p>
      </dgm:t>
    </dgm:pt>
    <dgm:pt modelId="{13C2744D-9421-466E-8066-5170C1B2DB7A}">
      <dgm:prSet/>
      <dgm:spPr/>
      <dgm:t>
        <a:bodyPr/>
        <a:lstStyle/>
        <a:p>
          <a:r>
            <a:rPr lang="es-ES" dirty="0"/>
            <a:t>La gente quiere escuchar lo que creé previamente. </a:t>
          </a:r>
        </a:p>
      </dgm:t>
    </dgm:pt>
    <dgm:pt modelId="{5E649762-6691-4579-8C7C-20B7AD8BCB7D}" type="parTrans" cxnId="{9B27FCBF-0835-46D9-83C7-04B9EC54EC23}">
      <dgm:prSet/>
      <dgm:spPr/>
      <dgm:t>
        <a:bodyPr/>
        <a:lstStyle/>
        <a:p>
          <a:endParaRPr lang="es-ES"/>
        </a:p>
      </dgm:t>
    </dgm:pt>
    <dgm:pt modelId="{958657DB-B30D-4CF8-931A-A859B299CBD7}" type="sibTrans" cxnId="{9B27FCBF-0835-46D9-83C7-04B9EC54EC23}">
      <dgm:prSet/>
      <dgm:spPr/>
      <dgm:t>
        <a:bodyPr/>
        <a:lstStyle/>
        <a:p>
          <a:endParaRPr lang="es-ES"/>
        </a:p>
      </dgm:t>
    </dgm:pt>
    <dgm:pt modelId="{710D2362-CF65-43F3-85AD-EC4CA39A0851}">
      <dgm:prSet/>
      <dgm:spPr/>
      <dgm:t>
        <a:bodyPr/>
        <a:lstStyle/>
        <a:p>
          <a:r>
            <a:rPr lang="es-ES" dirty="0"/>
            <a:t>Partidarios del Brexit invirtieron 750 K libras en anuncios que contenían información falsa.</a:t>
          </a:r>
        </a:p>
      </dgm:t>
    </dgm:pt>
    <dgm:pt modelId="{DF2FFCF3-DE0A-4DFF-B6B0-367342C8F48F}" type="parTrans" cxnId="{58400933-9CE0-4C5D-8C98-74E4149B8174}">
      <dgm:prSet/>
      <dgm:spPr/>
      <dgm:t>
        <a:bodyPr/>
        <a:lstStyle/>
        <a:p>
          <a:endParaRPr lang="es-ES"/>
        </a:p>
      </dgm:t>
    </dgm:pt>
    <dgm:pt modelId="{2F4EDB37-1501-4910-B51B-22360C3D1A5D}" type="sibTrans" cxnId="{58400933-9CE0-4C5D-8C98-74E4149B8174}">
      <dgm:prSet/>
      <dgm:spPr/>
      <dgm:t>
        <a:bodyPr/>
        <a:lstStyle/>
        <a:p>
          <a:endParaRPr lang="es-ES"/>
        </a:p>
      </dgm:t>
    </dgm:pt>
    <dgm:pt modelId="{DEF76C8A-213B-42E7-B771-F86798AF4D4D}">
      <dgm:prSet/>
      <dgm:spPr/>
      <dgm:t>
        <a:bodyPr/>
        <a:lstStyle/>
        <a:p>
          <a:r>
            <a:rPr lang="es-ES" dirty="0"/>
            <a:t>¡no votaré!</a:t>
          </a:r>
        </a:p>
      </dgm:t>
    </dgm:pt>
    <dgm:pt modelId="{61ACEA16-EABF-4E48-A403-8E14BF555D84}" type="parTrans" cxnId="{263F97E2-8DC7-4257-9BE5-E342BAA3F76F}">
      <dgm:prSet/>
      <dgm:spPr/>
      <dgm:t>
        <a:bodyPr/>
        <a:lstStyle/>
        <a:p>
          <a:endParaRPr lang="es-ES"/>
        </a:p>
      </dgm:t>
    </dgm:pt>
    <dgm:pt modelId="{ED486535-7F79-49FD-9B6D-5A03A868872F}" type="sibTrans" cxnId="{263F97E2-8DC7-4257-9BE5-E342BAA3F76F}">
      <dgm:prSet/>
      <dgm:spPr/>
      <dgm:t>
        <a:bodyPr/>
        <a:lstStyle/>
        <a:p>
          <a:endParaRPr lang="es-ES"/>
        </a:p>
      </dgm:t>
    </dgm:pt>
    <dgm:pt modelId="{34BBC86A-B11A-4DBB-822E-49A976200BBF}" type="pres">
      <dgm:prSet presAssocID="{1A10E627-5527-4B99-B869-6CC48E7AE6A4}" presName="diagram" presStyleCnt="0">
        <dgm:presLayoutVars>
          <dgm:dir/>
          <dgm:resizeHandles val="exact"/>
        </dgm:presLayoutVars>
      </dgm:prSet>
      <dgm:spPr/>
    </dgm:pt>
    <dgm:pt modelId="{F4F0E0FC-48F6-4910-A0A7-8F079B943E4B}" type="pres">
      <dgm:prSet presAssocID="{13C2744D-9421-466E-8066-5170C1B2DB7A}" presName="node" presStyleLbl="node1" presStyleIdx="0" presStyleCnt="6">
        <dgm:presLayoutVars>
          <dgm:bulletEnabled val="1"/>
        </dgm:presLayoutVars>
      </dgm:prSet>
      <dgm:spPr/>
    </dgm:pt>
    <dgm:pt modelId="{13ADC592-D2CE-48B5-B795-B19E224A7B4F}" type="pres">
      <dgm:prSet presAssocID="{958657DB-B30D-4CF8-931A-A859B299CBD7}" presName="sibTrans" presStyleCnt="0"/>
      <dgm:spPr/>
    </dgm:pt>
    <dgm:pt modelId="{23593C86-B571-4C9C-A272-20CB7D1FB407}" type="pres">
      <dgm:prSet presAssocID="{B5E2C744-A22E-4907-ACC8-18863327ED4D}" presName="node" presStyleLbl="node1" presStyleIdx="1" presStyleCnt="6">
        <dgm:presLayoutVars>
          <dgm:bulletEnabled val="1"/>
        </dgm:presLayoutVars>
      </dgm:prSet>
      <dgm:spPr/>
    </dgm:pt>
    <dgm:pt modelId="{4E8C9A13-78F2-4481-9C7C-3191AD7806A5}" type="pres">
      <dgm:prSet presAssocID="{EBD2D1EA-2EB5-4FF3-B328-0ED1980B3D9F}" presName="sibTrans" presStyleCnt="0"/>
      <dgm:spPr/>
    </dgm:pt>
    <dgm:pt modelId="{0FE4A231-779E-4817-ADBB-C3EE746B622B}" type="pres">
      <dgm:prSet presAssocID="{B4F39A71-6A04-4F21-9D9C-A93841BF0F9F}" presName="node" presStyleLbl="node1" presStyleIdx="2" presStyleCnt="6">
        <dgm:presLayoutVars>
          <dgm:bulletEnabled val="1"/>
        </dgm:presLayoutVars>
      </dgm:prSet>
      <dgm:spPr/>
    </dgm:pt>
    <dgm:pt modelId="{9B93A587-215C-465E-A47F-EFDA9AE0498B}" type="pres">
      <dgm:prSet presAssocID="{57F010A1-2B76-405D-8EC1-845B6CC169EB}" presName="sibTrans" presStyleCnt="0"/>
      <dgm:spPr/>
    </dgm:pt>
    <dgm:pt modelId="{EE947564-C3D9-4074-898C-B0F87E10FD8A}" type="pres">
      <dgm:prSet presAssocID="{710D2362-CF65-43F3-85AD-EC4CA39A0851}" presName="node" presStyleLbl="node1" presStyleIdx="3" presStyleCnt="6">
        <dgm:presLayoutVars>
          <dgm:bulletEnabled val="1"/>
        </dgm:presLayoutVars>
      </dgm:prSet>
      <dgm:spPr/>
    </dgm:pt>
    <dgm:pt modelId="{2FBB83B2-E7D4-40C7-880C-7A21F92D48AC}" type="pres">
      <dgm:prSet presAssocID="{2F4EDB37-1501-4910-B51B-22360C3D1A5D}" presName="sibTrans" presStyleCnt="0"/>
      <dgm:spPr/>
    </dgm:pt>
    <dgm:pt modelId="{381DA602-C1D7-4398-B2D0-6C0E26091701}" type="pres">
      <dgm:prSet presAssocID="{0F844878-BCF1-45FB-BB67-CFBDF510A25E}" presName="node" presStyleLbl="node1" presStyleIdx="4" presStyleCnt="6">
        <dgm:presLayoutVars>
          <dgm:bulletEnabled val="1"/>
        </dgm:presLayoutVars>
      </dgm:prSet>
      <dgm:spPr/>
    </dgm:pt>
    <dgm:pt modelId="{10D49624-FF15-4875-BA27-6E56A0CF2A9A}" type="pres">
      <dgm:prSet presAssocID="{DA3BD599-C8BB-4E4A-99C4-59F1DB8CA2D8}" presName="sibTrans" presStyleCnt="0"/>
      <dgm:spPr/>
    </dgm:pt>
    <dgm:pt modelId="{FE7D655C-1627-4140-9081-D9E3E6A85B0D}" type="pres">
      <dgm:prSet presAssocID="{DEF76C8A-213B-42E7-B771-F86798AF4D4D}" presName="node" presStyleLbl="node1" presStyleIdx="5" presStyleCnt="6">
        <dgm:presLayoutVars>
          <dgm:bulletEnabled val="1"/>
        </dgm:presLayoutVars>
      </dgm:prSet>
      <dgm:spPr/>
    </dgm:pt>
  </dgm:ptLst>
  <dgm:cxnLst>
    <dgm:cxn modelId="{C960D428-63E4-44DF-9DB6-2C43D83B173B}" type="presOf" srcId="{0F844878-BCF1-45FB-BB67-CFBDF510A25E}" destId="{381DA602-C1D7-4398-B2D0-6C0E26091701}" srcOrd="0" destOrd="0" presId="urn:microsoft.com/office/officeart/2005/8/layout/default"/>
    <dgm:cxn modelId="{58400933-9CE0-4C5D-8C98-74E4149B8174}" srcId="{1A10E627-5527-4B99-B869-6CC48E7AE6A4}" destId="{710D2362-CF65-43F3-85AD-EC4CA39A0851}" srcOrd="3" destOrd="0" parTransId="{DF2FFCF3-DE0A-4DFF-B6B0-367342C8F48F}" sibTransId="{2F4EDB37-1501-4910-B51B-22360C3D1A5D}"/>
    <dgm:cxn modelId="{0D6C3C5F-7EA6-4284-B1AB-AC34842BD8B6}" type="presOf" srcId="{B5E2C744-A22E-4907-ACC8-18863327ED4D}" destId="{23593C86-B571-4C9C-A272-20CB7D1FB407}" srcOrd="0" destOrd="0" presId="urn:microsoft.com/office/officeart/2005/8/layout/default"/>
    <dgm:cxn modelId="{0A4B6281-B648-46F1-A5AE-7A15DD290ABD}" type="presOf" srcId="{B4F39A71-6A04-4F21-9D9C-A93841BF0F9F}" destId="{0FE4A231-779E-4817-ADBB-C3EE746B622B}" srcOrd="0" destOrd="0" presId="urn:microsoft.com/office/officeart/2005/8/layout/default"/>
    <dgm:cxn modelId="{4C4FF183-73A2-46C3-B397-3B27CF8F7AF7}" srcId="{1A10E627-5527-4B99-B869-6CC48E7AE6A4}" destId="{0F844878-BCF1-45FB-BB67-CFBDF510A25E}" srcOrd="4" destOrd="0" parTransId="{134471BD-F089-451E-BEF4-F43AD489C34E}" sibTransId="{DA3BD599-C8BB-4E4A-99C4-59F1DB8CA2D8}"/>
    <dgm:cxn modelId="{EF5EFB9F-6C4B-47B1-A3DE-4F0098C7FFA8}" type="presOf" srcId="{710D2362-CF65-43F3-85AD-EC4CA39A0851}" destId="{EE947564-C3D9-4074-898C-B0F87E10FD8A}" srcOrd="0" destOrd="0" presId="urn:microsoft.com/office/officeart/2005/8/layout/default"/>
    <dgm:cxn modelId="{D1D808A1-388F-4B31-93C6-73F6A0A97895}" type="presOf" srcId="{1A10E627-5527-4B99-B869-6CC48E7AE6A4}" destId="{34BBC86A-B11A-4DBB-822E-49A976200BBF}" srcOrd="0" destOrd="0" presId="urn:microsoft.com/office/officeart/2005/8/layout/default"/>
    <dgm:cxn modelId="{753050A1-2A6E-4673-B6F4-8AA0C0EFCB51}" type="presOf" srcId="{DEF76C8A-213B-42E7-B771-F86798AF4D4D}" destId="{FE7D655C-1627-4140-9081-D9E3E6A85B0D}" srcOrd="0" destOrd="0" presId="urn:microsoft.com/office/officeart/2005/8/layout/default"/>
    <dgm:cxn modelId="{9B27FCBF-0835-46D9-83C7-04B9EC54EC23}" srcId="{1A10E627-5527-4B99-B869-6CC48E7AE6A4}" destId="{13C2744D-9421-466E-8066-5170C1B2DB7A}" srcOrd="0" destOrd="0" parTransId="{5E649762-6691-4579-8C7C-20B7AD8BCB7D}" sibTransId="{958657DB-B30D-4CF8-931A-A859B299CBD7}"/>
    <dgm:cxn modelId="{78D9C2CB-C1DE-4140-ABEF-B2C20E9D2857}" srcId="{1A10E627-5527-4B99-B869-6CC48E7AE6A4}" destId="{B5E2C744-A22E-4907-ACC8-18863327ED4D}" srcOrd="1" destOrd="0" parTransId="{FBF9FC42-64EB-4497-9573-1FBEC5395522}" sibTransId="{EBD2D1EA-2EB5-4FF3-B328-0ED1980B3D9F}"/>
    <dgm:cxn modelId="{263F97E2-8DC7-4257-9BE5-E342BAA3F76F}" srcId="{1A10E627-5527-4B99-B869-6CC48E7AE6A4}" destId="{DEF76C8A-213B-42E7-B771-F86798AF4D4D}" srcOrd="5" destOrd="0" parTransId="{61ACEA16-EABF-4E48-A403-8E14BF555D84}" sibTransId="{ED486535-7F79-49FD-9B6D-5A03A868872F}"/>
    <dgm:cxn modelId="{54C2D0EC-5286-43EB-9916-4776DDC74855}" type="presOf" srcId="{13C2744D-9421-466E-8066-5170C1B2DB7A}" destId="{F4F0E0FC-48F6-4910-A0A7-8F079B943E4B}" srcOrd="0" destOrd="0" presId="urn:microsoft.com/office/officeart/2005/8/layout/default"/>
    <dgm:cxn modelId="{3935D6F1-90D3-4950-BB7E-15087758DC4F}" srcId="{1A10E627-5527-4B99-B869-6CC48E7AE6A4}" destId="{B4F39A71-6A04-4F21-9D9C-A93841BF0F9F}" srcOrd="2" destOrd="0" parTransId="{D62C277C-D848-4B68-8E7B-10E1F539A8DF}" sibTransId="{57F010A1-2B76-405D-8EC1-845B6CC169EB}"/>
    <dgm:cxn modelId="{79D65308-2848-4802-B56D-FEB9829E38A9}" type="presParOf" srcId="{34BBC86A-B11A-4DBB-822E-49A976200BBF}" destId="{F4F0E0FC-48F6-4910-A0A7-8F079B943E4B}" srcOrd="0" destOrd="0" presId="urn:microsoft.com/office/officeart/2005/8/layout/default"/>
    <dgm:cxn modelId="{48662DD4-DC1E-4B4F-BF44-5DF7D5630AF8}" type="presParOf" srcId="{34BBC86A-B11A-4DBB-822E-49A976200BBF}" destId="{13ADC592-D2CE-48B5-B795-B19E224A7B4F}" srcOrd="1" destOrd="0" presId="urn:microsoft.com/office/officeart/2005/8/layout/default"/>
    <dgm:cxn modelId="{124F8DDE-C3B7-4735-84E7-A6D68AA64B1B}" type="presParOf" srcId="{34BBC86A-B11A-4DBB-822E-49A976200BBF}" destId="{23593C86-B571-4C9C-A272-20CB7D1FB407}" srcOrd="2" destOrd="0" presId="urn:microsoft.com/office/officeart/2005/8/layout/default"/>
    <dgm:cxn modelId="{F79193F6-F0B3-4026-A048-A7A143DB9793}" type="presParOf" srcId="{34BBC86A-B11A-4DBB-822E-49A976200BBF}" destId="{4E8C9A13-78F2-4481-9C7C-3191AD7806A5}" srcOrd="3" destOrd="0" presId="urn:microsoft.com/office/officeart/2005/8/layout/default"/>
    <dgm:cxn modelId="{367109A7-C45F-4E14-B0CB-77B548B2EC09}" type="presParOf" srcId="{34BBC86A-B11A-4DBB-822E-49A976200BBF}" destId="{0FE4A231-779E-4817-ADBB-C3EE746B622B}" srcOrd="4" destOrd="0" presId="urn:microsoft.com/office/officeart/2005/8/layout/default"/>
    <dgm:cxn modelId="{EBEC7A2D-44D4-4FEA-8E17-A73568308C3C}" type="presParOf" srcId="{34BBC86A-B11A-4DBB-822E-49A976200BBF}" destId="{9B93A587-215C-465E-A47F-EFDA9AE0498B}" srcOrd="5" destOrd="0" presId="urn:microsoft.com/office/officeart/2005/8/layout/default"/>
    <dgm:cxn modelId="{6C6FF2F2-0493-4128-90F4-0BBC3FD44BC8}" type="presParOf" srcId="{34BBC86A-B11A-4DBB-822E-49A976200BBF}" destId="{EE947564-C3D9-4074-898C-B0F87E10FD8A}" srcOrd="6" destOrd="0" presId="urn:microsoft.com/office/officeart/2005/8/layout/default"/>
    <dgm:cxn modelId="{C9556217-5B62-4469-9CA3-0956AC77260A}" type="presParOf" srcId="{34BBC86A-B11A-4DBB-822E-49A976200BBF}" destId="{2FBB83B2-E7D4-40C7-880C-7A21F92D48AC}" srcOrd="7" destOrd="0" presId="urn:microsoft.com/office/officeart/2005/8/layout/default"/>
    <dgm:cxn modelId="{1831EB0B-3050-47C9-9622-7B5CE66BF94B}" type="presParOf" srcId="{34BBC86A-B11A-4DBB-822E-49A976200BBF}" destId="{381DA602-C1D7-4398-B2D0-6C0E26091701}" srcOrd="8" destOrd="0" presId="urn:microsoft.com/office/officeart/2005/8/layout/default"/>
    <dgm:cxn modelId="{88FA37D8-A2BA-4D49-841D-1908ECACE909}" type="presParOf" srcId="{34BBC86A-B11A-4DBB-822E-49A976200BBF}" destId="{10D49624-FF15-4875-BA27-6E56A0CF2A9A}" srcOrd="9" destOrd="0" presId="urn:microsoft.com/office/officeart/2005/8/layout/default"/>
    <dgm:cxn modelId="{6FBCA8D8-6801-4705-978B-4A13C635C062}" type="presParOf" srcId="{34BBC86A-B11A-4DBB-822E-49A976200BBF}" destId="{FE7D655C-1627-4140-9081-D9E3E6A85B0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35AA0783-6511-41E8-8035-169D846B5C5C}" type="doc">
      <dgm:prSet loTypeId="urn:microsoft.com/office/officeart/2005/8/layout/chevron1" loCatId="process" qsTypeId="urn:microsoft.com/office/officeart/2005/8/quickstyle/simple4" qsCatId="simple" csTypeId="urn:microsoft.com/office/officeart/2005/8/colors/accent0_3" csCatId="mainScheme" phldr="1"/>
      <dgm:spPr/>
      <dgm:t>
        <a:bodyPr/>
        <a:lstStyle/>
        <a:p>
          <a:endParaRPr lang="es-ES"/>
        </a:p>
      </dgm:t>
    </dgm:pt>
    <dgm:pt modelId="{B3B3C7AF-67B2-45FC-99D6-0A3BCAB7106B}">
      <dgm:prSet phldrT="[Texto]"/>
      <dgm:spPr/>
      <dgm:t>
        <a:bodyPr/>
        <a:lstStyle/>
        <a:p>
          <a:r>
            <a:rPr lang="en-US" b="1" dirty="0"/>
            <a:t>Casas de apuestas | Big Data “vs” Encuestas</a:t>
          </a:r>
          <a:endParaRPr lang="es-ES" b="1" dirty="0"/>
        </a:p>
      </dgm:t>
    </dgm:pt>
    <dgm:pt modelId="{311CCEDA-4B9E-4F5F-AA86-4F913F52F7C4}" type="parTrans" cxnId="{3478A262-E33F-46AF-8FAF-2335CA2D655B}">
      <dgm:prSet/>
      <dgm:spPr/>
      <dgm:t>
        <a:bodyPr/>
        <a:lstStyle/>
        <a:p>
          <a:endParaRPr lang="es-ES"/>
        </a:p>
      </dgm:t>
    </dgm:pt>
    <dgm:pt modelId="{649B0C74-5DDE-4DDF-BE42-BEA81ADE23D7}" type="sibTrans" cxnId="{3478A262-E33F-46AF-8FAF-2335CA2D655B}">
      <dgm:prSet/>
      <dgm:spPr/>
      <dgm:t>
        <a:bodyPr/>
        <a:lstStyle/>
        <a:p>
          <a:endParaRPr lang="es-ES"/>
        </a:p>
      </dgm:t>
    </dgm:pt>
    <dgm:pt modelId="{CD6224A0-C6D1-4E8C-98FA-EE915FF0F097}">
      <dgm:prSet phldrT="[Texto]"/>
      <dgm:spPr/>
      <dgm:t>
        <a:bodyPr/>
        <a:lstStyle/>
        <a:p>
          <a:r>
            <a:rPr lang="es-ES" dirty="0"/>
            <a:t>Tras las primeras elecciones tras la Guerra de Secesión, las casas de apuestas han acertado siempre los resultados y las encuestas no. </a:t>
          </a:r>
        </a:p>
      </dgm:t>
    </dgm:pt>
    <dgm:pt modelId="{AD80F3DB-C46C-41AD-8F5E-830AEF660B27}" type="parTrans" cxnId="{CD799929-08D4-4289-906D-5A2094C2038A}">
      <dgm:prSet/>
      <dgm:spPr/>
      <dgm:t>
        <a:bodyPr/>
        <a:lstStyle/>
        <a:p>
          <a:endParaRPr lang="es-ES"/>
        </a:p>
      </dgm:t>
    </dgm:pt>
    <dgm:pt modelId="{69EDD606-4164-4C9B-8BE2-63908EE3EC54}" type="sibTrans" cxnId="{CD799929-08D4-4289-906D-5A2094C2038A}">
      <dgm:prSet/>
      <dgm:spPr/>
      <dgm:t>
        <a:bodyPr/>
        <a:lstStyle/>
        <a:p>
          <a:endParaRPr lang="es-ES"/>
        </a:p>
      </dgm:t>
    </dgm:pt>
    <dgm:pt modelId="{DFB4D522-2A4E-4475-AB51-680BA023D959}">
      <dgm:prSet phldrT="[Texto]"/>
      <dgm:spPr/>
      <dgm:t>
        <a:bodyPr/>
        <a:lstStyle/>
        <a:p>
          <a:r>
            <a:rPr lang="en-US" b="1" dirty="0"/>
            <a:t>Pronóstico</a:t>
          </a:r>
          <a:endParaRPr lang="es-ES" b="1" dirty="0"/>
        </a:p>
      </dgm:t>
    </dgm:pt>
    <dgm:pt modelId="{6ADC071A-C1B9-41B4-B10E-ECCCF9114D2B}" type="parTrans" cxnId="{EF3B09C3-5102-44FA-8779-532FF15E5F46}">
      <dgm:prSet/>
      <dgm:spPr/>
      <dgm:t>
        <a:bodyPr/>
        <a:lstStyle/>
        <a:p>
          <a:endParaRPr lang="es-ES"/>
        </a:p>
      </dgm:t>
    </dgm:pt>
    <dgm:pt modelId="{B4D1FB58-8293-4E75-BE91-7F0955626BC3}" type="sibTrans" cxnId="{EF3B09C3-5102-44FA-8779-532FF15E5F46}">
      <dgm:prSet/>
      <dgm:spPr/>
      <dgm:t>
        <a:bodyPr/>
        <a:lstStyle/>
        <a:p>
          <a:endParaRPr lang="es-ES"/>
        </a:p>
      </dgm:t>
    </dgm:pt>
    <dgm:pt modelId="{34A032B8-F161-493C-9118-664B74C36B3A}">
      <dgm:prSet phldrT="[Texto]"/>
      <dgm:spPr/>
      <dgm:t>
        <a:bodyPr/>
        <a:lstStyle/>
        <a:p>
          <a:r>
            <a:rPr lang="es-ES" dirty="0"/>
            <a:t>Allan Lichtman, (American University). 32 años pronosticando correctamente el resultado de las elecciones presidenciales.. </a:t>
          </a:r>
        </a:p>
      </dgm:t>
    </dgm:pt>
    <dgm:pt modelId="{FAA5B9DA-6DC0-4567-88E0-FEE7F05E71A6}" type="parTrans" cxnId="{33258D94-8247-4DD4-B503-D2486790125C}">
      <dgm:prSet/>
      <dgm:spPr/>
      <dgm:t>
        <a:bodyPr/>
        <a:lstStyle/>
        <a:p>
          <a:endParaRPr lang="es-ES"/>
        </a:p>
      </dgm:t>
    </dgm:pt>
    <dgm:pt modelId="{F6A53B0C-0C4C-4823-AA9F-449887566751}" type="sibTrans" cxnId="{33258D94-8247-4DD4-B503-D2486790125C}">
      <dgm:prSet/>
      <dgm:spPr/>
      <dgm:t>
        <a:bodyPr/>
        <a:lstStyle/>
        <a:p>
          <a:endParaRPr lang="es-ES"/>
        </a:p>
      </dgm:t>
    </dgm:pt>
    <dgm:pt modelId="{453C602A-8F2A-4CBE-9DB8-C9F5DA1D2C71}">
      <dgm:prSet phldrT="[Texto]"/>
      <dgm:spPr/>
      <dgm:t>
        <a:bodyPr/>
        <a:lstStyle/>
        <a:p>
          <a:r>
            <a:rPr lang="en-US" b="1" dirty="0"/>
            <a:t>Meetings 2016</a:t>
          </a:r>
        </a:p>
      </dgm:t>
    </dgm:pt>
    <dgm:pt modelId="{2CE15117-DD1B-4F56-B7E5-7D1B5FED9406}" type="parTrans" cxnId="{7FF6A31B-FB88-454F-AC6D-C29EBD4FC93F}">
      <dgm:prSet/>
      <dgm:spPr/>
      <dgm:t>
        <a:bodyPr/>
        <a:lstStyle/>
        <a:p>
          <a:endParaRPr lang="es-ES"/>
        </a:p>
      </dgm:t>
    </dgm:pt>
    <dgm:pt modelId="{CE7BD6A8-E824-4CA9-B8B9-A6CE1046529C}" type="sibTrans" cxnId="{7FF6A31B-FB88-454F-AC6D-C29EBD4FC93F}">
      <dgm:prSet/>
      <dgm:spPr/>
      <dgm:t>
        <a:bodyPr/>
        <a:lstStyle/>
        <a:p>
          <a:endParaRPr lang="es-ES"/>
        </a:p>
      </dgm:t>
    </dgm:pt>
    <dgm:pt modelId="{80061858-AE24-44D8-B190-C9FC9133DD1B}">
      <dgm:prSet phldrT="[Texto]"/>
      <dgm:spPr/>
      <dgm:t>
        <a:bodyPr/>
        <a:lstStyle/>
        <a:p>
          <a:r>
            <a:rPr lang="es-ES" dirty="0"/>
            <a:t>los resultados entre ambos candidatos, estuvo tan igualado porque ambos utilizaron técnicas Big Data basadas en Apache Spark + LNP cada vez que iban a una ciudad. </a:t>
          </a:r>
        </a:p>
      </dgm:t>
    </dgm:pt>
    <dgm:pt modelId="{8E58FB1E-2247-4A61-B89D-C71D98B5370F}" type="parTrans" cxnId="{E86BB3ED-7FA6-4DB9-B500-F8E823512FDA}">
      <dgm:prSet/>
      <dgm:spPr/>
      <dgm:t>
        <a:bodyPr/>
        <a:lstStyle/>
        <a:p>
          <a:endParaRPr lang="es-ES"/>
        </a:p>
      </dgm:t>
    </dgm:pt>
    <dgm:pt modelId="{67CA483B-8278-4196-8767-BA43AC4463C0}" type="sibTrans" cxnId="{E86BB3ED-7FA6-4DB9-B500-F8E823512FDA}">
      <dgm:prSet/>
      <dgm:spPr/>
      <dgm:t>
        <a:bodyPr/>
        <a:lstStyle/>
        <a:p>
          <a:endParaRPr lang="es-ES"/>
        </a:p>
      </dgm:t>
    </dgm:pt>
    <dgm:pt modelId="{E108F246-F7AF-4CD7-9BF4-CFCE3C246306}">
      <dgm:prSet/>
      <dgm:spPr/>
      <dgm:t>
        <a:bodyPr/>
        <a:lstStyle/>
        <a:p>
          <a:r>
            <a:rPr lang="es-ES" dirty="0"/>
            <a:t>[La predicción de las casas de apuestas falló ante una de las Guerras mundiales],</a:t>
          </a:r>
        </a:p>
      </dgm:t>
    </dgm:pt>
    <dgm:pt modelId="{6097145A-5747-4693-BB67-57D01E93773E}" type="parTrans" cxnId="{9B673159-67D4-4B0B-A537-263FE6D63851}">
      <dgm:prSet/>
      <dgm:spPr/>
      <dgm:t>
        <a:bodyPr/>
        <a:lstStyle/>
        <a:p>
          <a:endParaRPr lang="es-ES"/>
        </a:p>
      </dgm:t>
    </dgm:pt>
    <dgm:pt modelId="{3C72448E-E9A7-458E-876C-E3A0D2723AB1}" type="sibTrans" cxnId="{9B673159-67D4-4B0B-A537-263FE6D63851}">
      <dgm:prSet/>
      <dgm:spPr/>
      <dgm:t>
        <a:bodyPr/>
        <a:lstStyle/>
        <a:p>
          <a:endParaRPr lang="es-ES"/>
        </a:p>
      </dgm:t>
    </dgm:pt>
    <dgm:pt modelId="{646641B5-1BCD-4368-8747-40C279A98219}">
      <dgm:prSet/>
      <dgm:spPr/>
      <dgm:t>
        <a:bodyPr/>
        <a:lstStyle/>
        <a:p>
          <a:r>
            <a:rPr lang="es-ES" dirty="0"/>
            <a:t>Con Big Data es posible emular lo que sucede en las casa de apuestas. </a:t>
          </a:r>
        </a:p>
      </dgm:t>
    </dgm:pt>
    <dgm:pt modelId="{716BD08A-5E9E-4A7F-BFAD-84953EC99AFF}" type="parTrans" cxnId="{DE0BAE95-C4B6-4179-8F16-C3A98CD1774E}">
      <dgm:prSet/>
      <dgm:spPr/>
      <dgm:t>
        <a:bodyPr/>
        <a:lstStyle/>
        <a:p>
          <a:endParaRPr lang="es-ES"/>
        </a:p>
      </dgm:t>
    </dgm:pt>
    <dgm:pt modelId="{FBBDCF94-8F91-4192-8BB0-9E6789FFFAF6}" type="sibTrans" cxnId="{DE0BAE95-C4B6-4179-8F16-C3A98CD1774E}">
      <dgm:prSet/>
      <dgm:spPr/>
      <dgm:t>
        <a:bodyPr/>
        <a:lstStyle/>
        <a:p>
          <a:endParaRPr lang="es-ES"/>
        </a:p>
      </dgm:t>
    </dgm:pt>
    <dgm:pt modelId="{61A08248-C599-4F1A-854C-C2BAAA6D120F}">
      <dgm:prSet/>
      <dgm:spPr/>
      <dgm:t>
        <a:bodyPr/>
        <a:lstStyle/>
        <a:p>
          <a:r>
            <a:rPr lang="es-ES" dirty="0"/>
            <a:t>Ha desarrollado un sistema científico/matemático basado en 13 preguntas</a:t>
          </a:r>
        </a:p>
      </dgm:t>
    </dgm:pt>
    <dgm:pt modelId="{EE6C9A17-12EE-49E5-B3B5-B36BA2187C0B}" type="parTrans" cxnId="{33858BB8-1092-44FE-9C63-530FBD51DB81}">
      <dgm:prSet/>
      <dgm:spPr/>
      <dgm:t>
        <a:bodyPr/>
        <a:lstStyle/>
        <a:p>
          <a:endParaRPr lang="es-ES"/>
        </a:p>
      </dgm:t>
    </dgm:pt>
    <dgm:pt modelId="{BBD739EB-BE36-46D5-B1CB-0AC972DC6156}" type="sibTrans" cxnId="{33858BB8-1092-44FE-9C63-530FBD51DB81}">
      <dgm:prSet/>
      <dgm:spPr/>
      <dgm:t>
        <a:bodyPr/>
        <a:lstStyle/>
        <a:p>
          <a:endParaRPr lang="es-ES"/>
        </a:p>
      </dgm:t>
    </dgm:pt>
    <dgm:pt modelId="{70D90817-1983-4D89-A0D2-BE00AFFCA8C5}">
      <dgm:prSet/>
      <dgm:spPr/>
      <dgm:t>
        <a:bodyPr/>
        <a:lstStyle/>
        <a:p>
          <a:r>
            <a:rPr lang="es-ES" dirty="0"/>
            <a:t>Analizan cómo ha sido la gestión del partido que ha estado los últimos cuatro años en la Casa Blanca. </a:t>
          </a:r>
        </a:p>
      </dgm:t>
    </dgm:pt>
    <dgm:pt modelId="{5DF958F5-759B-4BBA-8312-8BAD5385ED57}" type="parTrans" cxnId="{F73BC6F1-385E-472B-92A0-612B9D329532}">
      <dgm:prSet/>
      <dgm:spPr/>
      <dgm:t>
        <a:bodyPr/>
        <a:lstStyle/>
        <a:p>
          <a:endParaRPr lang="es-ES"/>
        </a:p>
      </dgm:t>
    </dgm:pt>
    <dgm:pt modelId="{CEDEB256-330E-4F8B-A74C-FBF2B47E9207}" type="sibTrans" cxnId="{F73BC6F1-385E-472B-92A0-612B9D329532}">
      <dgm:prSet/>
      <dgm:spPr/>
      <dgm:t>
        <a:bodyPr/>
        <a:lstStyle/>
        <a:p>
          <a:endParaRPr lang="es-ES"/>
        </a:p>
      </dgm:t>
    </dgm:pt>
    <dgm:pt modelId="{79226E23-F707-4BF6-99A7-789FB403BE08}">
      <dgm:prSet/>
      <dgm:spPr/>
      <dgm:t>
        <a:bodyPr/>
        <a:lstStyle/>
        <a:p>
          <a:r>
            <a:rPr lang="es-ES" dirty="0"/>
            <a:t>Sabían lo que les preocupa en la ciudades que visitaban y los dos más o menos decían lo mismo. </a:t>
          </a:r>
        </a:p>
      </dgm:t>
    </dgm:pt>
    <dgm:pt modelId="{9477B6EC-D3F4-470B-A506-F31FDD1EB0C5}" type="parTrans" cxnId="{CBFAE7CD-2479-4B1E-8DF8-5525F19F2D88}">
      <dgm:prSet/>
      <dgm:spPr/>
      <dgm:t>
        <a:bodyPr/>
        <a:lstStyle/>
        <a:p>
          <a:endParaRPr lang="es-ES"/>
        </a:p>
      </dgm:t>
    </dgm:pt>
    <dgm:pt modelId="{080EB669-2AEA-45FB-833A-8BBA6898FC28}" type="sibTrans" cxnId="{CBFAE7CD-2479-4B1E-8DF8-5525F19F2D88}">
      <dgm:prSet/>
      <dgm:spPr/>
      <dgm:t>
        <a:bodyPr/>
        <a:lstStyle/>
        <a:p>
          <a:endParaRPr lang="es-ES"/>
        </a:p>
      </dgm:t>
    </dgm:pt>
    <dgm:pt modelId="{27AF80CF-5161-4862-902E-5D7FA0A2D172}">
      <dgm:prSet/>
      <dgm:spPr/>
      <dgm:t>
        <a:bodyPr/>
        <a:lstStyle/>
        <a:p>
          <a:r>
            <a:rPr lang="es-ES" dirty="0"/>
            <a:t>Se analizaron Blogs, Redes sociales, foros etc..]</a:t>
          </a:r>
        </a:p>
      </dgm:t>
    </dgm:pt>
    <dgm:pt modelId="{DC87D31E-3B06-42B0-A493-9AB23803E856}" type="parTrans" cxnId="{8C024719-4CEC-418C-A614-577C9DE4C677}">
      <dgm:prSet/>
      <dgm:spPr/>
      <dgm:t>
        <a:bodyPr/>
        <a:lstStyle/>
        <a:p>
          <a:endParaRPr lang="es-ES"/>
        </a:p>
      </dgm:t>
    </dgm:pt>
    <dgm:pt modelId="{428B76C7-AB51-4F5C-9ADF-42A8ADB37A58}" type="sibTrans" cxnId="{8C024719-4CEC-418C-A614-577C9DE4C677}">
      <dgm:prSet/>
      <dgm:spPr/>
      <dgm:t>
        <a:bodyPr/>
        <a:lstStyle/>
        <a:p>
          <a:endParaRPr lang="es-ES"/>
        </a:p>
      </dgm:t>
    </dgm:pt>
    <dgm:pt modelId="{0D79C534-BEFB-4659-BC63-F0CE29CFCC17}">
      <dgm:prSet/>
      <dgm:spPr/>
      <dgm:t>
        <a:bodyPr/>
        <a:lstStyle/>
        <a:p>
          <a:r>
            <a:rPr lang="es-ES" dirty="0"/>
            <a:t>Se responden de manera objetiva con un sí o un no.</a:t>
          </a:r>
        </a:p>
      </dgm:t>
    </dgm:pt>
    <dgm:pt modelId="{ED3AC4CE-F9C0-4314-B733-D975B3BF94F6}" type="parTrans" cxnId="{3C28BEC9-A829-465A-81F8-DF68754FBDC9}">
      <dgm:prSet/>
      <dgm:spPr/>
      <dgm:t>
        <a:bodyPr/>
        <a:lstStyle/>
        <a:p>
          <a:endParaRPr lang="es-ES"/>
        </a:p>
      </dgm:t>
    </dgm:pt>
    <dgm:pt modelId="{3AB0D441-9225-4418-81E6-47ACE0377DD7}" type="sibTrans" cxnId="{3C28BEC9-A829-465A-81F8-DF68754FBDC9}">
      <dgm:prSet/>
      <dgm:spPr/>
      <dgm:t>
        <a:bodyPr/>
        <a:lstStyle/>
        <a:p>
          <a:endParaRPr lang="es-ES"/>
        </a:p>
      </dgm:t>
    </dgm:pt>
    <dgm:pt modelId="{AB38AB09-0236-467A-A56B-0048BD59A836}" type="pres">
      <dgm:prSet presAssocID="{35AA0783-6511-41E8-8035-169D846B5C5C}" presName="Name0" presStyleCnt="0">
        <dgm:presLayoutVars>
          <dgm:dir/>
          <dgm:animLvl val="lvl"/>
          <dgm:resizeHandles val="exact"/>
        </dgm:presLayoutVars>
      </dgm:prSet>
      <dgm:spPr/>
    </dgm:pt>
    <dgm:pt modelId="{B4E7F141-D522-4FBE-8966-EDF395F30C24}" type="pres">
      <dgm:prSet presAssocID="{B3B3C7AF-67B2-45FC-99D6-0A3BCAB7106B}" presName="composite" presStyleCnt="0"/>
      <dgm:spPr/>
    </dgm:pt>
    <dgm:pt modelId="{25CA91A7-CF26-4D87-A0B3-784C5A0DDB78}" type="pres">
      <dgm:prSet presAssocID="{B3B3C7AF-67B2-45FC-99D6-0A3BCAB7106B}" presName="parTx" presStyleLbl="node1" presStyleIdx="0" presStyleCnt="3">
        <dgm:presLayoutVars>
          <dgm:chMax val="0"/>
          <dgm:chPref val="0"/>
          <dgm:bulletEnabled val="1"/>
        </dgm:presLayoutVars>
      </dgm:prSet>
      <dgm:spPr/>
    </dgm:pt>
    <dgm:pt modelId="{497BB6E2-5B63-425F-BD5D-9C097FA4120A}" type="pres">
      <dgm:prSet presAssocID="{B3B3C7AF-67B2-45FC-99D6-0A3BCAB7106B}" presName="desTx" presStyleLbl="revTx" presStyleIdx="0" presStyleCnt="3">
        <dgm:presLayoutVars>
          <dgm:bulletEnabled val="1"/>
        </dgm:presLayoutVars>
      </dgm:prSet>
      <dgm:spPr/>
    </dgm:pt>
    <dgm:pt modelId="{DEB8591A-5D99-4172-81E4-992F1FFCC246}" type="pres">
      <dgm:prSet presAssocID="{649B0C74-5DDE-4DDF-BE42-BEA81ADE23D7}" presName="space" presStyleCnt="0"/>
      <dgm:spPr/>
    </dgm:pt>
    <dgm:pt modelId="{8D08B3B0-0590-4C5D-9841-5EF718B274AC}" type="pres">
      <dgm:prSet presAssocID="{DFB4D522-2A4E-4475-AB51-680BA023D959}" presName="composite" presStyleCnt="0"/>
      <dgm:spPr/>
    </dgm:pt>
    <dgm:pt modelId="{D823A577-A35C-4005-A022-0C16F9FA4001}" type="pres">
      <dgm:prSet presAssocID="{DFB4D522-2A4E-4475-AB51-680BA023D959}" presName="parTx" presStyleLbl="node1" presStyleIdx="1" presStyleCnt="3">
        <dgm:presLayoutVars>
          <dgm:chMax val="0"/>
          <dgm:chPref val="0"/>
          <dgm:bulletEnabled val="1"/>
        </dgm:presLayoutVars>
      </dgm:prSet>
      <dgm:spPr/>
    </dgm:pt>
    <dgm:pt modelId="{F97C5328-3262-42E5-AA56-4D3A562EA830}" type="pres">
      <dgm:prSet presAssocID="{DFB4D522-2A4E-4475-AB51-680BA023D959}" presName="desTx" presStyleLbl="revTx" presStyleIdx="1" presStyleCnt="3">
        <dgm:presLayoutVars>
          <dgm:bulletEnabled val="1"/>
        </dgm:presLayoutVars>
      </dgm:prSet>
      <dgm:spPr/>
    </dgm:pt>
    <dgm:pt modelId="{EFCCB6BA-5544-46E4-A7CF-D385E40412BA}" type="pres">
      <dgm:prSet presAssocID="{B4D1FB58-8293-4E75-BE91-7F0955626BC3}" presName="space" presStyleCnt="0"/>
      <dgm:spPr/>
    </dgm:pt>
    <dgm:pt modelId="{3384CD07-EDCC-4445-9BC5-8254DCD92682}" type="pres">
      <dgm:prSet presAssocID="{453C602A-8F2A-4CBE-9DB8-C9F5DA1D2C71}" presName="composite" presStyleCnt="0"/>
      <dgm:spPr/>
    </dgm:pt>
    <dgm:pt modelId="{A4B21AF0-D3F4-4CC0-87FA-96D29F29E3B5}" type="pres">
      <dgm:prSet presAssocID="{453C602A-8F2A-4CBE-9DB8-C9F5DA1D2C71}" presName="parTx" presStyleLbl="node1" presStyleIdx="2" presStyleCnt="3">
        <dgm:presLayoutVars>
          <dgm:chMax val="0"/>
          <dgm:chPref val="0"/>
          <dgm:bulletEnabled val="1"/>
        </dgm:presLayoutVars>
      </dgm:prSet>
      <dgm:spPr/>
    </dgm:pt>
    <dgm:pt modelId="{FF2BBB73-EEBC-4A9E-B867-4B0BC889EA67}" type="pres">
      <dgm:prSet presAssocID="{453C602A-8F2A-4CBE-9DB8-C9F5DA1D2C71}" presName="desTx" presStyleLbl="revTx" presStyleIdx="2" presStyleCnt="3">
        <dgm:presLayoutVars>
          <dgm:bulletEnabled val="1"/>
        </dgm:presLayoutVars>
      </dgm:prSet>
      <dgm:spPr/>
    </dgm:pt>
  </dgm:ptLst>
  <dgm:cxnLst>
    <dgm:cxn modelId="{A1F97313-CD1D-41ED-BA4E-FDED6C406C26}" type="presOf" srcId="{70D90817-1983-4D89-A0D2-BE00AFFCA8C5}" destId="{F97C5328-3262-42E5-AA56-4D3A562EA830}" srcOrd="0" destOrd="3" presId="urn:microsoft.com/office/officeart/2005/8/layout/chevron1"/>
    <dgm:cxn modelId="{10199017-4DED-4F6B-A542-3CF732E72F9F}" type="presOf" srcId="{27AF80CF-5161-4862-902E-5D7FA0A2D172}" destId="{FF2BBB73-EEBC-4A9E-B867-4B0BC889EA67}" srcOrd="0" destOrd="2" presId="urn:microsoft.com/office/officeart/2005/8/layout/chevron1"/>
    <dgm:cxn modelId="{8C024719-4CEC-418C-A614-577C9DE4C677}" srcId="{80061858-AE24-44D8-B190-C9FC9133DD1B}" destId="{27AF80CF-5161-4862-902E-5D7FA0A2D172}" srcOrd="1" destOrd="0" parTransId="{DC87D31E-3B06-42B0-A493-9AB23803E856}" sibTransId="{428B76C7-AB51-4F5C-9ADF-42A8ADB37A58}"/>
    <dgm:cxn modelId="{7FF6A31B-FB88-454F-AC6D-C29EBD4FC93F}" srcId="{35AA0783-6511-41E8-8035-169D846B5C5C}" destId="{453C602A-8F2A-4CBE-9DB8-C9F5DA1D2C71}" srcOrd="2" destOrd="0" parTransId="{2CE15117-DD1B-4F56-B7E5-7D1B5FED9406}" sibTransId="{CE7BD6A8-E824-4CA9-B8B9-A6CE1046529C}"/>
    <dgm:cxn modelId="{CD799929-08D4-4289-906D-5A2094C2038A}" srcId="{B3B3C7AF-67B2-45FC-99D6-0A3BCAB7106B}" destId="{CD6224A0-C6D1-4E8C-98FA-EE915FF0F097}" srcOrd="0" destOrd="0" parTransId="{AD80F3DB-C46C-41AD-8F5E-830AEF660B27}" sibTransId="{69EDD606-4164-4C9B-8BE2-63908EE3EC54}"/>
    <dgm:cxn modelId="{E118CB3E-8A0E-4DAA-B430-F1E7A667BC3A}" type="presOf" srcId="{79226E23-F707-4BF6-99A7-789FB403BE08}" destId="{FF2BBB73-EEBC-4A9E-B867-4B0BC889EA67}" srcOrd="0" destOrd="1" presId="urn:microsoft.com/office/officeart/2005/8/layout/chevron1"/>
    <dgm:cxn modelId="{0AB03C3F-7D87-409B-9268-A46B9440D5D6}" type="presOf" srcId="{E108F246-F7AF-4CD7-9BF4-CFCE3C246306}" destId="{497BB6E2-5B63-425F-BD5D-9C097FA4120A}" srcOrd="0" destOrd="1" presId="urn:microsoft.com/office/officeart/2005/8/layout/chevron1"/>
    <dgm:cxn modelId="{3478A262-E33F-46AF-8FAF-2335CA2D655B}" srcId="{35AA0783-6511-41E8-8035-169D846B5C5C}" destId="{B3B3C7AF-67B2-45FC-99D6-0A3BCAB7106B}" srcOrd="0" destOrd="0" parTransId="{311CCEDA-4B9E-4F5F-AA86-4F913F52F7C4}" sibTransId="{649B0C74-5DDE-4DDF-BE42-BEA81ADE23D7}"/>
    <dgm:cxn modelId="{A80DA449-1246-43EB-9778-3B69C3346568}" type="presOf" srcId="{B3B3C7AF-67B2-45FC-99D6-0A3BCAB7106B}" destId="{25CA91A7-CF26-4D87-A0B3-784C5A0DDB78}" srcOrd="0" destOrd="0" presId="urn:microsoft.com/office/officeart/2005/8/layout/chevron1"/>
    <dgm:cxn modelId="{AB24EC54-AA44-44BA-A759-4A6F0F689A66}" type="presOf" srcId="{CD6224A0-C6D1-4E8C-98FA-EE915FF0F097}" destId="{497BB6E2-5B63-425F-BD5D-9C097FA4120A}" srcOrd="0" destOrd="0" presId="urn:microsoft.com/office/officeart/2005/8/layout/chevron1"/>
    <dgm:cxn modelId="{16801277-2AE2-4710-8B15-8AB5710BAC36}" type="presOf" srcId="{61A08248-C599-4F1A-854C-C2BAAA6D120F}" destId="{F97C5328-3262-42E5-AA56-4D3A562EA830}" srcOrd="0" destOrd="1" presId="urn:microsoft.com/office/officeart/2005/8/layout/chevron1"/>
    <dgm:cxn modelId="{9B673159-67D4-4B0B-A537-263FE6D63851}" srcId="{CD6224A0-C6D1-4E8C-98FA-EE915FF0F097}" destId="{E108F246-F7AF-4CD7-9BF4-CFCE3C246306}" srcOrd="0" destOrd="0" parTransId="{6097145A-5747-4693-BB67-57D01E93773E}" sibTransId="{3C72448E-E9A7-458E-876C-E3A0D2723AB1}"/>
    <dgm:cxn modelId="{33258D94-8247-4DD4-B503-D2486790125C}" srcId="{DFB4D522-2A4E-4475-AB51-680BA023D959}" destId="{34A032B8-F161-493C-9118-664B74C36B3A}" srcOrd="0" destOrd="0" parTransId="{FAA5B9DA-6DC0-4567-88E0-FEE7F05E71A6}" sibTransId="{F6A53B0C-0C4C-4823-AA9F-449887566751}"/>
    <dgm:cxn modelId="{DE0BAE95-C4B6-4179-8F16-C3A98CD1774E}" srcId="{CD6224A0-C6D1-4E8C-98FA-EE915FF0F097}" destId="{646641B5-1BCD-4368-8747-40C279A98219}" srcOrd="1" destOrd="0" parTransId="{716BD08A-5E9E-4A7F-BFAD-84953EC99AFF}" sibTransId="{FBBDCF94-8F91-4192-8BB0-9E6789FFFAF6}"/>
    <dgm:cxn modelId="{E2CDEA97-911D-4BF5-AC35-789513B761F9}" type="presOf" srcId="{DFB4D522-2A4E-4475-AB51-680BA023D959}" destId="{D823A577-A35C-4005-A022-0C16F9FA4001}" srcOrd="0" destOrd="0" presId="urn:microsoft.com/office/officeart/2005/8/layout/chevron1"/>
    <dgm:cxn modelId="{AA0D9DA9-572A-432B-8E0B-9087B3F06241}" type="presOf" srcId="{34A032B8-F161-493C-9118-664B74C36B3A}" destId="{F97C5328-3262-42E5-AA56-4D3A562EA830}" srcOrd="0" destOrd="0" presId="urn:microsoft.com/office/officeart/2005/8/layout/chevron1"/>
    <dgm:cxn modelId="{33858BB8-1092-44FE-9C63-530FBD51DB81}" srcId="{34A032B8-F161-493C-9118-664B74C36B3A}" destId="{61A08248-C599-4F1A-854C-C2BAAA6D120F}" srcOrd="0" destOrd="0" parTransId="{EE6C9A17-12EE-49E5-B3B5-B36BA2187C0B}" sibTransId="{BBD739EB-BE36-46D5-B1CB-0AC972DC6156}"/>
    <dgm:cxn modelId="{ED42ACC1-A108-4E71-9871-8A4FFBB59D2E}" type="presOf" srcId="{453C602A-8F2A-4CBE-9DB8-C9F5DA1D2C71}" destId="{A4B21AF0-D3F4-4CC0-87FA-96D29F29E3B5}" srcOrd="0" destOrd="0" presId="urn:microsoft.com/office/officeart/2005/8/layout/chevron1"/>
    <dgm:cxn modelId="{EF3B09C3-5102-44FA-8779-532FF15E5F46}" srcId="{35AA0783-6511-41E8-8035-169D846B5C5C}" destId="{DFB4D522-2A4E-4475-AB51-680BA023D959}" srcOrd="1" destOrd="0" parTransId="{6ADC071A-C1B9-41B4-B10E-ECCCF9114D2B}" sibTransId="{B4D1FB58-8293-4E75-BE91-7F0955626BC3}"/>
    <dgm:cxn modelId="{79BF00C6-1011-4C2A-93B6-BF09D43ED6B4}" type="presOf" srcId="{0D79C534-BEFB-4659-BC63-F0CE29CFCC17}" destId="{F97C5328-3262-42E5-AA56-4D3A562EA830}" srcOrd="0" destOrd="2" presId="urn:microsoft.com/office/officeart/2005/8/layout/chevron1"/>
    <dgm:cxn modelId="{3C28BEC9-A829-465A-81F8-DF68754FBDC9}" srcId="{34A032B8-F161-493C-9118-664B74C36B3A}" destId="{0D79C534-BEFB-4659-BC63-F0CE29CFCC17}" srcOrd="1" destOrd="0" parTransId="{ED3AC4CE-F9C0-4314-B733-D975B3BF94F6}" sibTransId="{3AB0D441-9225-4418-81E6-47ACE0377DD7}"/>
    <dgm:cxn modelId="{CBFAE7CD-2479-4B1E-8DF8-5525F19F2D88}" srcId="{80061858-AE24-44D8-B190-C9FC9133DD1B}" destId="{79226E23-F707-4BF6-99A7-789FB403BE08}" srcOrd="0" destOrd="0" parTransId="{9477B6EC-D3F4-470B-A506-F31FDD1EB0C5}" sibTransId="{080EB669-2AEA-45FB-833A-8BBA6898FC28}"/>
    <dgm:cxn modelId="{FDC105D9-2BA0-42EC-8F55-F3B51D5DCCF7}" type="presOf" srcId="{80061858-AE24-44D8-B190-C9FC9133DD1B}" destId="{FF2BBB73-EEBC-4A9E-B867-4B0BC889EA67}" srcOrd="0" destOrd="0" presId="urn:microsoft.com/office/officeart/2005/8/layout/chevron1"/>
    <dgm:cxn modelId="{C74D21DF-4E8A-488D-BC5A-9544D56B7271}" type="presOf" srcId="{35AA0783-6511-41E8-8035-169D846B5C5C}" destId="{AB38AB09-0236-467A-A56B-0048BD59A836}" srcOrd="0" destOrd="0" presId="urn:microsoft.com/office/officeart/2005/8/layout/chevron1"/>
    <dgm:cxn modelId="{D778A5E4-EB2B-40E6-839E-B55A74C3446F}" type="presOf" srcId="{646641B5-1BCD-4368-8747-40C279A98219}" destId="{497BB6E2-5B63-425F-BD5D-9C097FA4120A}" srcOrd="0" destOrd="2" presId="urn:microsoft.com/office/officeart/2005/8/layout/chevron1"/>
    <dgm:cxn modelId="{E86BB3ED-7FA6-4DB9-B500-F8E823512FDA}" srcId="{453C602A-8F2A-4CBE-9DB8-C9F5DA1D2C71}" destId="{80061858-AE24-44D8-B190-C9FC9133DD1B}" srcOrd="0" destOrd="0" parTransId="{8E58FB1E-2247-4A61-B89D-C71D98B5370F}" sibTransId="{67CA483B-8278-4196-8767-BA43AC4463C0}"/>
    <dgm:cxn modelId="{F73BC6F1-385E-472B-92A0-612B9D329532}" srcId="{34A032B8-F161-493C-9118-664B74C36B3A}" destId="{70D90817-1983-4D89-A0D2-BE00AFFCA8C5}" srcOrd="2" destOrd="0" parTransId="{5DF958F5-759B-4BBA-8312-8BAD5385ED57}" sibTransId="{CEDEB256-330E-4F8B-A74C-FBF2B47E9207}"/>
    <dgm:cxn modelId="{46CFD0FE-A6F0-4CF0-B861-76A8A8A507B3}" type="presParOf" srcId="{AB38AB09-0236-467A-A56B-0048BD59A836}" destId="{B4E7F141-D522-4FBE-8966-EDF395F30C24}" srcOrd="0" destOrd="0" presId="urn:microsoft.com/office/officeart/2005/8/layout/chevron1"/>
    <dgm:cxn modelId="{014146AE-A18D-4CCD-A5A9-4B89324484DD}" type="presParOf" srcId="{B4E7F141-D522-4FBE-8966-EDF395F30C24}" destId="{25CA91A7-CF26-4D87-A0B3-784C5A0DDB78}" srcOrd="0" destOrd="0" presId="urn:microsoft.com/office/officeart/2005/8/layout/chevron1"/>
    <dgm:cxn modelId="{1EF8AC5F-D24D-4735-93FB-CB67DFB426D5}" type="presParOf" srcId="{B4E7F141-D522-4FBE-8966-EDF395F30C24}" destId="{497BB6E2-5B63-425F-BD5D-9C097FA4120A}" srcOrd="1" destOrd="0" presId="urn:microsoft.com/office/officeart/2005/8/layout/chevron1"/>
    <dgm:cxn modelId="{2A4F00BE-9561-4F55-91C6-4B29E370EFDD}" type="presParOf" srcId="{AB38AB09-0236-467A-A56B-0048BD59A836}" destId="{DEB8591A-5D99-4172-81E4-992F1FFCC246}" srcOrd="1" destOrd="0" presId="urn:microsoft.com/office/officeart/2005/8/layout/chevron1"/>
    <dgm:cxn modelId="{887851E4-B0F5-44B9-91D5-EB0E4807538B}" type="presParOf" srcId="{AB38AB09-0236-467A-A56B-0048BD59A836}" destId="{8D08B3B0-0590-4C5D-9841-5EF718B274AC}" srcOrd="2" destOrd="0" presId="urn:microsoft.com/office/officeart/2005/8/layout/chevron1"/>
    <dgm:cxn modelId="{DABFA511-4D0B-4032-A8F1-DC446637CF93}" type="presParOf" srcId="{8D08B3B0-0590-4C5D-9841-5EF718B274AC}" destId="{D823A577-A35C-4005-A022-0C16F9FA4001}" srcOrd="0" destOrd="0" presId="urn:microsoft.com/office/officeart/2005/8/layout/chevron1"/>
    <dgm:cxn modelId="{051D2FF3-B80F-4ED4-92F0-44E5F1AA913C}" type="presParOf" srcId="{8D08B3B0-0590-4C5D-9841-5EF718B274AC}" destId="{F97C5328-3262-42E5-AA56-4D3A562EA830}" srcOrd="1" destOrd="0" presId="urn:microsoft.com/office/officeart/2005/8/layout/chevron1"/>
    <dgm:cxn modelId="{EDD34C30-F41A-4083-8CCC-0AE14C086CDA}" type="presParOf" srcId="{AB38AB09-0236-467A-A56B-0048BD59A836}" destId="{EFCCB6BA-5544-46E4-A7CF-D385E40412BA}" srcOrd="3" destOrd="0" presId="urn:microsoft.com/office/officeart/2005/8/layout/chevron1"/>
    <dgm:cxn modelId="{8211F890-093E-4D36-B581-0A82E2AE9AD7}" type="presParOf" srcId="{AB38AB09-0236-467A-A56B-0048BD59A836}" destId="{3384CD07-EDCC-4445-9BC5-8254DCD92682}" srcOrd="4" destOrd="0" presId="urn:microsoft.com/office/officeart/2005/8/layout/chevron1"/>
    <dgm:cxn modelId="{3C2AD426-8818-42FC-B918-63658799D8D7}" type="presParOf" srcId="{3384CD07-EDCC-4445-9BC5-8254DCD92682}" destId="{A4B21AF0-D3F4-4CC0-87FA-96D29F29E3B5}" srcOrd="0" destOrd="0" presId="urn:microsoft.com/office/officeart/2005/8/layout/chevron1"/>
    <dgm:cxn modelId="{808B0ED4-F0E6-4A56-9A4F-21020705C59F}" type="presParOf" srcId="{3384CD07-EDCC-4445-9BC5-8254DCD92682}" destId="{FF2BBB73-EEBC-4A9E-B867-4B0BC889EA67}"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37DDA90F-3A05-49CE-B6D6-0A5FCD30E0E2}" type="doc">
      <dgm:prSet loTypeId="urn:microsoft.com/office/officeart/2005/8/layout/default" loCatId="list" qsTypeId="urn:microsoft.com/office/officeart/2005/8/quickstyle/simple3" qsCatId="simple" csTypeId="urn:microsoft.com/office/officeart/2005/8/colors/accent1_4" csCatId="accent1" phldr="1"/>
      <dgm:spPr/>
      <dgm:t>
        <a:bodyPr/>
        <a:lstStyle/>
        <a:p>
          <a:endParaRPr lang="es-ES"/>
        </a:p>
      </dgm:t>
    </dgm:pt>
    <dgm:pt modelId="{4ABDD9E0-FA48-43D3-B202-616E9653FE0C}">
      <dgm:prSet phldrT="[Texto]" custT="1"/>
      <dgm:spPr/>
      <dgm:t>
        <a:bodyPr/>
        <a:lstStyle/>
        <a:p>
          <a:r>
            <a:rPr lang="es-ES" sz="1400" dirty="0"/>
            <a:t>1. El partido en la Casa Blanca ganó asientos en las elecciones de mitad de periodo.</a:t>
          </a:r>
        </a:p>
      </dgm:t>
    </dgm:pt>
    <dgm:pt modelId="{6BD3BBD4-26A3-4FFB-B821-638E39E7FE21}" type="parTrans" cxnId="{8E5D5443-C517-4AD3-8803-C3C17123FB36}">
      <dgm:prSet/>
      <dgm:spPr/>
      <dgm:t>
        <a:bodyPr/>
        <a:lstStyle/>
        <a:p>
          <a:endParaRPr lang="es-ES" sz="2000"/>
        </a:p>
      </dgm:t>
    </dgm:pt>
    <dgm:pt modelId="{DD7A06CF-7A73-471A-BB73-A361715AEBFF}" type="sibTrans" cxnId="{8E5D5443-C517-4AD3-8803-C3C17123FB36}">
      <dgm:prSet/>
      <dgm:spPr/>
      <dgm:t>
        <a:bodyPr/>
        <a:lstStyle/>
        <a:p>
          <a:endParaRPr lang="es-ES" sz="2000"/>
        </a:p>
      </dgm:t>
    </dgm:pt>
    <dgm:pt modelId="{6409E3A3-745E-4580-A848-22316CF1C686}">
      <dgm:prSet custT="1"/>
      <dgm:spPr/>
      <dgm:t>
        <a:bodyPr/>
        <a:lstStyle/>
        <a:p>
          <a:r>
            <a:rPr lang="es-ES" sz="1400" dirty="0"/>
            <a:t>2. Ningún rival desafía al presidente en las primarias del partido en el poder.</a:t>
          </a:r>
        </a:p>
      </dgm:t>
    </dgm:pt>
    <dgm:pt modelId="{CD920D45-A690-4CDC-8FC5-4198FA1ECD93}" type="parTrans" cxnId="{1B76B571-329E-4598-9C04-C14809152501}">
      <dgm:prSet/>
      <dgm:spPr/>
      <dgm:t>
        <a:bodyPr/>
        <a:lstStyle/>
        <a:p>
          <a:endParaRPr lang="es-ES" sz="2000"/>
        </a:p>
      </dgm:t>
    </dgm:pt>
    <dgm:pt modelId="{ABD6C791-1864-4E60-8E56-AB47C259D21E}" type="sibTrans" cxnId="{1B76B571-329E-4598-9C04-C14809152501}">
      <dgm:prSet/>
      <dgm:spPr/>
      <dgm:t>
        <a:bodyPr/>
        <a:lstStyle/>
        <a:p>
          <a:endParaRPr lang="es-ES" sz="2000"/>
        </a:p>
      </dgm:t>
    </dgm:pt>
    <dgm:pt modelId="{AE3B1394-185B-4E3A-8AE1-21F6644A0000}">
      <dgm:prSet custT="1"/>
      <dgm:spPr/>
      <dgm:t>
        <a:bodyPr/>
        <a:lstStyle/>
        <a:p>
          <a:r>
            <a:rPr lang="es-ES" sz="1400" dirty="0"/>
            <a:t>3. El presidente busca la reelección.</a:t>
          </a:r>
        </a:p>
      </dgm:t>
    </dgm:pt>
    <dgm:pt modelId="{BBD3FAFE-1B11-4403-9032-21CE35835394}" type="parTrans" cxnId="{13DAA727-03E8-44C6-AC00-DA663E01CE25}">
      <dgm:prSet/>
      <dgm:spPr/>
      <dgm:t>
        <a:bodyPr/>
        <a:lstStyle/>
        <a:p>
          <a:endParaRPr lang="es-ES" sz="2000"/>
        </a:p>
      </dgm:t>
    </dgm:pt>
    <dgm:pt modelId="{49AE673A-5A75-48BF-BABF-51B5A15BB555}" type="sibTrans" cxnId="{13DAA727-03E8-44C6-AC00-DA663E01CE25}">
      <dgm:prSet/>
      <dgm:spPr/>
      <dgm:t>
        <a:bodyPr/>
        <a:lstStyle/>
        <a:p>
          <a:endParaRPr lang="es-ES" sz="2000"/>
        </a:p>
      </dgm:t>
    </dgm:pt>
    <dgm:pt modelId="{784B754C-848B-42D0-A24E-4B870C8A4A93}">
      <dgm:prSet custT="1"/>
      <dgm:spPr/>
      <dgm:t>
        <a:bodyPr/>
        <a:lstStyle/>
        <a:p>
          <a:r>
            <a:rPr lang="es-ES" sz="1400" dirty="0"/>
            <a:t>4. No hay candidato de un tercer partido.</a:t>
          </a:r>
        </a:p>
      </dgm:t>
    </dgm:pt>
    <dgm:pt modelId="{87C18A42-FFB0-4ED5-864F-39BDB1AA49AF}" type="parTrans" cxnId="{6A69757F-6312-416C-8163-2ED6F2008326}">
      <dgm:prSet/>
      <dgm:spPr/>
      <dgm:t>
        <a:bodyPr/>
        <a:lstStyle/>
        <a:p>
          <a:endParaRPr lang="es-ES" sz="2000"/>
        </a:p>
      </dgm:t>
    </dgm:pt>
    <dgm:pt modelId="{4A304F01-1C7C-4464-8040-1262AE0432B7}" type="sibTrans" cxnId="{6A69757F-6312-416C-8163-2ED6F2008326}">
      <dgm:prSet/>
      <dgm:spPr/>
      <dgm:t>
        <a:bodyPr/>
        <a:lstStyle/>
        <a:p>
          <a:endParaRPr lang="es-ES" sz="2000"/>
        </a:p>
      </dgm:t>
    </dgm:pt>
    <dgm:pt modelId="{7AE7E8AE-029D-477D-9B18-5CFD8B7F3339}">
      <dgm:prSet custT="1"/>
      <dgm:spPr/>
      <dgm:t>
        <a:bodyPr/>
        <a:lstStyle/>
        <a:p>
          <a:r>
            <a:rPr lang="es-ES" sz="1400" dirty="0"/>
            <a:t>6. La economía ha crecido en el periodo presidencial tanto como en los dos anteriores.</a:t>
          </a:r>
        </a:p>
      </dgm:t>
    </dgm:pt>
    <dgm:pt modelId="{799C643D-D4BF-4EBC-A355-16824AB3E6A0}" type="parTrans" cxnId="{E2101DBD-F3BC-46D6-8F8F-02B9105CC752}">
      <dgm:prSet/>
      <dgm:spPr/>
      <dgm:t>
        <a:bodyPr/>
        <a:lstStyle/>
        <a:p>
          <a:endParaRPr lang="es-ES" sz="2000"/>
        </a:p>
      </dgm:t>
    </dgm:pt>
    <dgm:pt modelId="{A2D0203E-C60A-4793-BED9-E9586CB6AD26}" type="sibTrans" cxnId="{E2101DBD-F3BC-46D6-8F8F-02B9105CC752}">
      <dgm:prSet/>
      <dgm:spPr/>
      <dgm:t>
        <a:bodyPr/>
        <a:lstStyle/>
        <a:p>
          <a:endParaRPr lang="es-ES" sz="2000"/>
        </a:p>
      </dgm:t>
    </dgm:pt>
    <dgm:pt modelId="{9E36E7CA-C406-4C85-9789-AE5D284D37A7}">
      <dgm:prSet custT="1"/>
      <dgm:spPr/>
      <dgm:t>
        <a:bodyPr/>
        <a:lstStyle/>
        <a:p>
          <a:r>
            <a:rPr lang="es-ES" sz="1400" dirty="0"/>
            <a:t>7. El presidente ha hecho grandes cambios en la política nacional.</a:t>
          </a:r>
        </a:p>
      </dgm:t>
    </dgm:pt>
    <dgm:pt modelId="{F200714D-0DD3-4F2B-A17C-783F120A3823}" type="parTrans" cxnId="{0D12CC00-8BAC-4D9F-A6FD-49CEDB0F0E6C}">
      <dgm:prSet/>
      <dgm:spPr/>
      <dgm:t>
        <a:bodyPr/>
        <a:lstStyle/>
        <a:p>
          <a:endParaRPr lang="es-ES" sz="2000"/>
        </a:p>
      </dgm:t>
    </dgm:pt>
    <dgm:pt modelId="{7F6ABDA8-4179-4CB4-B907-13006E552F21}" type="sibTrans" cxnId="{0D12CC00-8BAC-4D9F-A6FD-49CEDB0F0E6C}">
      <dgm:prSet/>
      <dgm:spPr/>
      <dgm:t>
        <a:bodyPr/>
        <a:lstStyle/>
        <a:p>
          <a:endParaRPr lang="es-ES" sz="2000"/>
        </a:p>
      </dgm:t>
    </dgm:pt>
    <dgm:pt modelId="{78A9749A-FC12-4F4C-A932-10305F3B8C35}">
      <dgm:prSet custT="1"/>
      <dgm:spPr/>
      <dgm:t>
        <a:bodyPr/>
        <a:lstStyle/>
        <a:p>
          <a:r>
            <a:rPr lang="es-ES" sz="1400" dirty="0"/>
            <a:t>8. No ha habido conflictos sociales durante el mandato.</a:t>
          </a:r>
        </a:p>
      </dgm:t>
    </dgm:pt>
    <dgm:pt modelId="{6716983D-38B2-4EF0-A965-93885F8D151A}" type="parTrans" cxnId="{D0E0E06F-DA07-4B2F-A6F6-AD9E6A69C2D5}">
      <dgm:prSet/>
      <dgm:spPr/>
      <dgm:t>
        <a:bodyPr/>
        <a:lstStyle/>
        <a:p>
          <a:endParaRPr lang="es-ES" sz="2000"/>
        </a:p>
      </dgm:t>
    </dgm:pt>
    <dgm:pt modelId="{AEA12F66-151A-4266-A955-B427C5676B01}" type="sibTrans" cxnId="{D0E0E06F-DA07-4B2F-A6F6-AD9E6A69C2D5}">
      <dgm:prSet/>
      <dgm:spPr/>
      <dgm:t>
        <a:bodyPr/>
        <a:lstStyle/>
        <a:p>
          <a:endParaRPr lang="es-ES" sz="2000"/>
        </a:p>
      </dgm:t>
    </dgm:pt>
    <dgm:pt modelId="{276CC2B8-4D7D-4049-A047-DFA933A89F79}">
      <dgm:prSet custT="1"/>
      <dgm:spPr/>
      <dgm:t>
        <a:bodyPr/>
        <a:lstStyle/>
        <a:p>
          <a:r>
            <a:rPr lang="es-ES" sz="1400" dirty="0"/>
            <a:t>9. No ha habido escándalos que salpiquen a la Casa Blanca.</a:t>
          </a:r>
        </a:p>
      </dgm:t>
    </dgm:pt>
    <dgm:pt modelId="{00C5EFC3-C19A-42B1-A724-A0590420D9A7}" type="parTrans" cxnId="{F671AD77-595B-4A98-9905-79E5BADC7846}">
      <dgm:prSet/>
      <dgm:spPr/>
      <dgm:t>
        <a:bodyPr/>
        <a:lstStyle/>
        <a:p>
          <a:endParaRPr lang="es-ES" sz="2000"/>
        </a:p>
      </dgm:t>
    </dgm:pt>
    <dgm:pt modelId="{BD92A2E6-1B49-46E9-9A2E-8E4004D80840}" type="sibTrans" cxnId="{F671AD77-595B-4A98-9905-79E5BADC7846}">
      <dgm:prSet/>
      <dgm:spPr/>
      <dgm:t>
        <a:bodyPr/>
        <a:lstStyle/>
        <a:p>
          <a:endParaRPr lang="es-ES" sz="2000"/>
        </a:p>
      </dgm:t>
    </dgm:pt>
    <dgm:pt modelId="{C90C9673-FED6-488B-96A6-4C219F3486D8}">
      <dgm:prSet custT="1"/>
      <dgm:spPr/>
      <dgm:t>
        <a:bodyPr/>
        <a:lstStyle/>
        <a:p>
          <a:r>
            <a:rPr lang="es-ES" sz="1400" dirty="0"/>
            <a:t>10. El ejército de Estados Unidos no ha sufrido grandes fracasos en el exterior.</a:t>
          </a:r>
        </a:p>
      </dgm:t>
    </dgm:pt>
    <dgm:pt modelId="{A7ABAF38-DE3E-4133-B200-44A80C2D8EDF}" type="parTrans" cxnId="{161F4FD9-3109-4061-BB9B-082D5B218FE5}">
      <dgm:prSet/>
      <dgm:spPr/>
      <dgm:t>
        <a:bodyPr/>
        <a:lstStyle/>
        <a:p>
          <a:endParaRPr lang="es-ES" sz="2000"/>
        </a:p>
      </dgm:t>
    </dgm:pt>
    <dgm:pt modelId="{83361024-E3AB-4FAB-B87F-266C34D19759}" type="sibTrans" cxnId="{161F4FD9-3109-4061-BB9B-082D5B218FE5}">
      <dgm:prSet/>
      <dgm:spPr/>
      <dgm:t>
        <a:bodyPr/>
        <a:lstStyle/>
        <a:p>
          <a:endParaRPr lang="es-ES" sz="2000"/>
        </a:p>
      </dgm:t>
    </dgm:pt>
    <dgm:pt modelId="{E573E248-A146-4994-81DB-11BC366E6A4C}">
      <dgm:prSet custT="1"/>
      <dgm:spPr/>
      <dgm:t>
        <a:bodyPr/>
        <a:lstStyle/>
        <a:p>
          <a:r>
            <a:rPr lang="es-ES" sz="1400" dirty="0"/>
            <a:t>11. La Casa Blanca ha obtenido un gran éxito militar en el exterior.</a:t>
          </a:r>
        </a:p>
      </dgm:t>
    </dgm:pt>
    <dgm:pt modelId="{EAA48A3C-E8E4-407F-9E06-8C9168191FDE}" type="parTrans" cxnId="{8C1456D8-087E-42B0-9ED8-F0E08EDCBA9E}">
      <dgm:prSet/>
      <dgm:spPr/>
      <dgm:t>
        <a:bodyPr/>
        <a:lstStyle/>
        <a:p>
          <a:endParaRPr lang="es-ES" sz="2000"/>
        </a:p>
      </dgm:t>
    </dgm:pt>
    <dgm:pt modelId="{42949BC9-A9B8-4DC0-B035-86DF5AD32A18}" type="sibTrans" cxnId="{8C1456D8-087E-42B0-9ED8-F0E08EDCBA9E}">
      <dgm:prSet/>
      <dgm:spPr/>
      <dgm:t>
        <a:bodyPr/>
        <a:lstStyle/>
        <a:p>
          <a:endParaRPr lang="es-ES" sz="2000"/>
        </a:p>
      </dgm:t>
    </dgm:pt>
    <dgm:pt modelId="{EDD562AC-6280-4924-81B4-6397BE9BE1B7}">
      <dgm:prSet custT="1"/>
      <dgm:spPr/>
      <dgm:t>
        <a:bodyPr/>
        <a:lstStyle/>
        <a:p>
          <a:r>
            <a:rPr lang="es-ES" sz="1400" dirty="0"/>
            <a:t>12. El candidato del partido en el poder tiene carisma</a:t>
          </a:r>
        </a:p>
      </dgm:t>
    </dgm:pt>
    <dgm:pt modelId="{385E95AF-A1A3-4F9F-BA28-0702EB9618FD}" type="parTrans" cxnId="{9B05B361-C6E6-4CA9-A82C-51BC25527DBB}">
      <dgm:prSet/>
      <dgm:spPr/>
      <dgm:t>
        <a:bodyPr/>
        <a:lstStyle/>
        <a:p>
          <a:endParaRPr lang="es-ES" sz="2000"/>
        </a:p>
      </dgm:t>
    </dgm:pt>
    <dgm:pt modelId="{F3A4D137-59FE-424F-931B-F015D2F7800D}" type="sibTrans" cxnId="{9B05B361-C6E6-4CA9-A82C-51BC25527DBB}">
      <dgm:prSet/>
      <dgm:spPr/>
      <dgm:t>
        <a:bodyPr/>
        <a:lstStyle/>
        <a:p>
          <a:endParaRPr lang="es-ES" sz="2000"/>
        </a:p>
      </dgm:t>
    </dgm:pt>
    <dgm:pt modelId="{AF8CAC5D-D793-4964-A788-09293A92F870}">
      <dgm:prSet custT="1"/>
      <dgm:spPr/>
      <dgm:t>
        <a:bodyPr/>
        <a:lstStyle/>
        <a:p>
          <a:r>
            <a:rPr lang="es-ES" sz="1400" dirty="0"/>
            <a:t>13. El candidato que desafía al presidente no tiene carisma.</a:t>
          </a:r>
        </a:p>
      </dgm:t>
    </dgm:pt>
    <dgm:pt modelId="{06A56A84-8804-4F99-A66B-D2B10A3F338C}" type="parTrans" cxnId="{3CF7E868-9923-487E-8780-5AE6109006E2}">
      <dgm:prSet/>
      <dgm:spPr/>
      <dgm:t>
        <a:bodyPr/>
        <a:lstStyle/>
        <a:p>
          <a:endParaRPr lang="es-ES" sz="2000"/>
        </a:p>
      </dgm:t>
    </dgm:pt>
    <dgm:pt modelId="{B5A5D1B5-B712-47A1-B201-55554FBB6382}" type="sibTrans" cxnId="{3CF7E868-9923-487E-8780-5AE6109006E2}">
      <dgm:prSet/>
      <dgm:spPr/>
      <dgm:t>
        <a:bodyPr/>
        <a:lstStyle/>
        <a:p>
          <a:endParaRPr lang="es-ES" sz="2000"/>
        </a:p>
      </dgm:t>
    </dgm:pt>
    <dgm:pt modelId="{0169B7E9-22A4-486C-B3B8-CBFEA7038C39}">
      <dgm:prSet custT="1"/>
      <dgm:spPr/>
      <dgm:t>
        <a:bodyPr/>
        <a:lstStyle/>
        <a:p>
          <a:r>
            <a:rPr lang="es-ES" sz="1400" b="0" i="0" dirty="0"/>
            <a:t>5. La economía se encuentra en un buen momento.</a:t>
          </a:r>
          <a:endParaRPr lang="es-ES" sz="1400" b="0" dirty="0"/>
        </a:p>
      </dgm:t>
    </dgm:pt>
    <dgm:pt modelId="{D6C04E84-34C0-4DA7-A6A6-152C5EA79B8B}" type="parTrans" cxnId="{8619F207-A4E4-42FA-B933-67529C90D9C6}">
      <dgm:prSet/>
      <dgm:spPr/>
      <dgm:t>
        <a:bodyPr/>
        <a:lstStyle/>
        <a:p>
          <a:endParaRPr lang="es-ES" sz="2000"/>
        </a:p>
      </dgm:t>
    </dgm:pt>
    <dgm:pt modelId="{064BD2AA-29E5-4198-AEA2-2FFC0CFC11C4}" type="sibTrans" cxnId="{8619F207-A4E4-42FA-B933-67529C90D9C6}">
      <dgm:prSet/>
      <dgm:spPr/>
      <dgm:t>
        <a:bodyPr/>
        <a:lstStyle/>
        <a:p>
          <a:endParaRPr lang="es-ES" sz="2000"/>
        </a:p>
      </dgm:t>
    </dgm:pt>
    <dgm:pt modelId="{4470E6D9-738E-4A78-894E-F94D29006F06}" type="pres">
      <dgm:prSet presAssocID="{37DDA90F-3A05-49CE-B6D6-0A5FCD30E0E2}" presName="diagram" presStyleCnt="0">
        <dgm:presLayoutVars>
          <dgm:dir/>
          <dgm:resizeHandles val="exact"/>
        </dgm:presLayoutVars>
      </dgm:prSet>
      <dgm:spPr/>
    </dgm:pt>
    <dgm:pt modelId="{764FEFF6-CFF2-43B1-BC3D-7BB1637893CA}" type="pres">
      <dgm:prSet presAssocID="{4ABDD9E0-FA48-43D3-B202-616E9653FE0C}" presName="node" presStyleLbl="node1" presStyleIdx="0" presStyleCnt="13">
        <dgm:presLayoutVars>
          <dgm:bulletEnabled val="1"/>
        </dgm:presLayoutVars>
      </dgm:prSet>
      <dgm:spPr/>
    </dgm:pt>
    <dgm:pt modelId="{CF9A9FB3-4E3F-4290-8DED-8C361D2DDB38}" type="pres">
      <dgm:prSet presAssocID="{DD7A06CF-7A73-471A-BB73-A361715AEBFF}" presName="sibTrans" presStyleCnt="0"/>
      <dgm:spPr/>
    </dgm:pt>
    <dgm:pt modelId="{ED1C8C6B-64A4-4BC1-8FA2-1DAFCB2F426C}" type="pres">
      <dgm:prSet presAssocID="{6409E3A3-745E-4580-A848-22316CF1C686}" presName="node" presStyleLbl="node1" presStyleIdx="1" presStyleCnt="13">
        <dgm:presLayoutVars>
          <dgm:bulletEnabled val="1"/>
        </dgm:presLayoutVars>
      </dgm:prSet>
      <dgm:spPr/>
    </dgm:pt>
    <dgm:pt modelId="{A4C5F610-07C0-43F5-ABC4-A8A397C3B9E2}" type="pres">
      <dgm:prSet presAssocID="{ABD6C791-1864-4E60-8E56-AB47C259D21E}" presName="sibTrans" presStyleCnt="0"/>
      <dgm:spPr/>
    </dgm:pt>
    <dgm:pt modelId="{E0C6B5B5-3F55-40F2-A136-6576B188FA26}" type="pres">
      <dgm:prSet presAssocID="{AE3B1394-185B-4E3A-8AE1-21F6644A0000}" presName="node" presStyleLbl="node1" presStyleIdx="2" presStyleCnt="13">
        <dgm:presLayoutVars>
          <dgm:bulletEnabled val="1"/>
        </dgm:presLayoutVars>
      </dgm:prSet>
      <dgm:spPr/>
    </dgm:pt>
    <dgm:pt modelId="{5AB7BF2D-B8F3-49FE-8688-2C75EE1E7C09}" type="pres">
      <dgm:prSet presAssocID="{49AE673A-5A75-48BF-BABF-51B5A15BB555}" presName="sibTrans" presStyleCnt="0"/>
      <dgm:spPr/>
    </dgm:pt>
    <dgm:pt modelId="{3AFEFFE0-B48C-4490-8098-5DDA860B1476}" type="pres">
      <dgm:prSet presAssocID="{784B754C-848B-42D0-A24E-4B870C8A4A93}" presName="node" presStyleLbl="node1" presStyleIdx="3" presStyleCnt="13">
        <dgm:presLayoutVars>
          <dgm:bulletEnabled val="1"/>
        </dgm:presLayoutVars>
      </dgm:prSet>
      <dgm:spPr/>
    </dgm:pt>
    <dgm:pt modelId="{C799EA58-0FC2-4E9A-A15E-23E99F2E7B75}" type="pres">
      <dgm:prSet presAssocID="{4A304F01-1C7C-4464-8040-1262AE0432B7}" presName="sibTrans" presStyleCnt="0"/>
      <dgm:spPr/>
    </dgm:pt>
    <dgm:pt modelId="{C0C9C782-C36E-4B44-8DB3-3D661BD44A77}" type="pres">
      <dgm:prSet presAssocID="{0169B7E9-22A4-486C-B3B8-CBFEA7038C39}" presName="node" presStyleLbl="node1" presStyleIdx="4" presStyleCnt="13">
        <dgm:presLayoutVars>
          <dgm:bulletEnabled val="1"/>
        </dgm:presLayoutVars>
      </dgm:prSet>
      <dgm:spPr/>
    </dgm:pt>
    <dgm:pt modelId="{DF2ED4D1-BFA6-4FEA-82C8-CAE7F6CA9901}" type="pres">
      <dgm:prSet presAssocID="{064BD2AA-29E5-4198-AEA2-2FFC0CFC11C4}" presName="sibTrans" presStyleCnt="0"/>
      <dgm:spPr/>
    </dgm:pt>
    <dgm:pt modelId="{7B192A16-62D3-4B5C-AC70-09596CCFA602}" type="pres">
      <dgm:prSet presAssocID="{7AE7E8AE-029D-477D-9B18-5CFD8B7F3339}" presName="node" presStyleLbl="node1" presStyleIdx="5" presStyleCnt="13">
        <dgm:presLayoutVars>
          <dgm:bulletEnabled val="1"/>
        </dgm:presLayoutVars>
      </dgm:prSet>
      <dgm:spPr/>
    </dgm:pt>
    <dgm:pt modelId="{E139B163-17AC-48CD-946E-A5310C6EAA0D}" type="pres">
      <dgm:prSet presAssocID="{A2D0203E-C60A-4793-BED9-E9586CB6AD26}" presName="sibTrans" presStyleCnt="0"/>
      <dgm:spPr/>
    </dgm:pt>
    <dgm:pt modelId="{96B18D99-1694-4041-B992-DA9E7C4B2CEC}" type="pres">
      <dgm:prSet presAssocID="{9E36E7CA-C406-4C85-9789-AE5D284D37A7}" presName="node" presStyleLbl="node1" presStyleIdx="6" presStyleCnt="13">
        <dgm:presLayoutVars>
          <dgm:bulletEnabled val="1"/>
        </dgm:presLayoutVars>
      </dgm:prSet>
      <dgm:spPr/>
    </dgm:pt>
    <dgm:pt modelId="{06E113CA-D1BD-4051-8B20-2787C3FEAD1D}" type="pres">
      <dgm:prSet presAssocID="{7F6ABDA8-4179-4CB4-B907-13006E552F21}" presName="sibTrans" presStyleCnt="0"/>
      <dgm:spPr/>
    </dgm:pt>
    <dgm:pt modelId="{B80B0092-C734-4492-B69A-583D6B8FC94D}" type="pres">
      <dgm:prSet presAssocID="{78A9749A-FC12-4F4C-A932-10305F3B8C35}" presName="node" presStyleLbl="node1" presStyleIdx="7" presStyleCnt="13">
        <dgm:presLayoutVars>
          <dgm:bulletEnabled val="1"/>
        </dgm:presLayoutVars>
      </dgm:prSet>
      <dgm:spPr/>
    </dgm:pt>
    <dgm:pt modelId="{CBC59CF5-FDE8-46DC-8CF7-166FE3DC652E}" type="pres">
      <dgm:prSet presAssocID="{AEA12F66-151A-4266-A955-B427C5676B01}" presName="sibTrans" presStyleCnt="0"/>
      <dgm:spPr/>
    </dgm:pt>
    <dgm:pt modelId="{86B1F931-A8A9-41C6-8837-A9BF3CED3D39}" type="pres">
      <dgm:prSet presAssocID="{276CC2B8-4D7D-4049-A047-DFA933A89F79}" presName="node" presStyleLbl="node1" presStyleIdx="8" presStyleCnt="13">
        <dgm:presLayoutVars>
          <dgm:bulletEnabled val="1"/>
        </dgm:presLayoutVars>
      </dgm:prSet>
      <dgm:spPr/>
    </dgm:pt>
    <dgm:pt modelId="{4DE9248C-F99E-4477-9315-B234CE6E7A8D}" type="pres">
      <dgm:prSet presAssocID="{BD92A2E6-1B49-46E9-9A2E-8E4004D80840}" presName="sibTrans" presStyleCnt="0"/>
      <dgm:spPr/>
    </dgm:pt>
    <dgm:pt modelId="{C283BB00-1E2E-48B2-92C8-A1DB3468DE40}" type="pres">
      <dgm:prSet presAssocID="{C90C9673-FED6-488B-96A6-4C219F3486D8}" presName="node" presStyleLbl="node1" presStyleIdx="9" presStyleCnt="13">
        <dgm:presLayoutVars>
          <dgm:bulletEnabled val="1"/>
        </dgm:presLayoutVars>
      </dgm:prSet>
      <dgm:spPr/>
    </dgm:pt>
    <dgm:pt modelId="{908E24FD-A235-4D48-9093-2D4194414686}" type="pres">
      <dgm:prSet presAssocID="{83361024-E3AB-4FAB-B87F-266C34D19759}" presName="sibTrans" presStyleCnt="0"/>
      <dgm:spPr/>
    </dgm:pt>
    <dgm:pt modelId="{E67AD256-CAFF-4A6C-8B33-A2EBA93D02C0}" type="pres">
      <dgm:prSet presAssocID="{E573E248-A146-4994-81DB-11BC366E6A4C}" presName="node" presStyleLbl="node1" presStyleIdx="10" presStyleCnt="13">
        <dgm:presLayoutVars>
          <dgm:bulletEnabled val="1"/>
        </dgm:presLayoutVars>
      </dgm:prSet>
      <dgm:spPr/>
    </dgm:pt>
    <dgm:pt modelId="{E089B89E-B92E-4624-9FEB-3DA4EE6319B9}" type="pres">
      <dgm:prSet presAssocID="{42949BC9-A9B8-4DC0-B035-86DF5AD32A18}" presName="sibTrans" presStyleCnt="0"/>
      <dgm:spPr/>
    </dgm:pt>
    <dgm:pt modelId="{58B6FB33-0954-4627-8517-DE24801FB0D2}" type="pres">
      <dgm:prSet presAssocID="{EDD562AC-6280-4924-81B4-6397BE9BE1B7}" presName="node" presStyleLbl="node1" presStyleIdx="11" presStyleCnt="13">
        <dgm:presLayoutVars>
          <dgm:bulletEnabled val="1"/>
        </dgm:presLayoutVars>
      </dgm:prSet>
      <dgm:spPr/>
    </dgm:pt>
    <dgm:pt modelId="{D00BC11F-6B1F-44E3-83C2-A06C165D6824}" type="pres">
      <dgm:prSet presAssocID="{F3A4D137-59FE-424F-931B-F015D2F7800D}" presName="sibTrans" presStyleCnt="0"/>
      <dgm:spPr/>
    </dgm:pt>
    <dgm:pt modelId="{46567624-911B-4761-9915-E9B640B9FA9D}" type="pres">
      <dgm:prSet presAssocID="{AF8CAC5D-D793-4964-A788-09293A92F870}" presName="node" presStyleLbl="node1" presStyleIdx="12" presStyleCnt="13">
        <dgm:presLayoutVars>
          <dgm:bulletEnabled val="1"/>
        </dgm:presLayoutVars>
      </dgm:prSet>
      <dgm:spPr/>
    </dgm:pt>
  </dgm:ptLst>
  <dgm:cxnLst>
    <dgm:cxn modelId="{0D12CC00-8BAC-4D9F-A6FD-49CEDB0F0E6C}" srcId="{37DDA90F-3A05-49CE-B6D6-0A5FCD30E0E2}" destId="{9E36E7CA-C406-4C85-9789-AE5D284D37A7}" srcOrd="6" destOrd="0" parTransId="{F200714D-0DD3-4F2B-A17C-783F120A3823}" sibTransId="{7F6ABDA8-4179-4CB4-B907-13006E552F21}"/>
    <dgm:cxn modelId="{8619F207-A4E4-42FA-B933-67529C90D9C6}" srcId="{37DDA90F-3A05-49CE-B6D6-0A5FCD30E0E2}" destId="{0169B7E9-22A4-486C-B3B8-CBFEA7038C39}" srcOrd="4" destOrd="0" parTransId="{D6C04E84-34C0-4DA7-A6A6-152C5EA79B8B}" sibTransId="{064BD2AA-29E5-4198-AEA2-2FFC0CFC11C4}"/>
    <dgm:cxn modelId="{13DAA727-03E8-44C6-AC00-DA663E01CE25}" srcId="{37DDA90F-3A05-49CE-B6D6-0A5FCD30E0E2}" destId="{AE3B1394-185B-4E3A-8AE1-21F6644A0000}" srcOrd="2" destOrd="0" parTransId="{BBD3FAFE-1B11-4403-9032-21CE35835394}" sibTransId="{49AE673A-5A75-48BF-BABF-51B5A15BB555}"/>
    <dgm:cxn modelId="{635A7536-EC5B-4AFE-BD85-75C5DAA121DC}" type="presOf" srcId="{9E36E7CA-C406-4C85-9789-AE5D284D37A7}" destId="{96B18D99-1694-4041-B992-DA9E7C4B2CEC}" srcOrd="0" destOrd="0" presId="urn:microsoft.com/office/officeart/2005/8/layout/default"/>
    <dgm:cxn modelId="{EE45B93F-AFD0-426A-8FA2-20EBBB3CD416}" type="presOf" srcId="{EDD562AC-6280-4924-81B4-6397BE9BE1B7}" destId="{58B6FB33-0954-4627-8517-DE24801FB0D2}" srcOrd="0" destOrd="0" presId="urn:microsoft.com/office/officeart/2005/8/layout/default"/>
    <dgm:cxn modelId="{9B05B361-C6E6-4CA9-A82C-51BC25527DBB}" srcId="{37DDA90F-3A05-49CE-B6D6-0A5FCD30E0E2}" destId="{EDD562AC-6280-4924-81B4-6397BE9BE1B7}" srcOrd="11" destOrd="0" parTransId="{385E95AF-A1A3-4F9F-BA28-0702EB9618FD}" sibTransId="{F3A4D137-59FE-424F-931B-F015D2F7800D}"/>
    <dgm:cxn modelId="{8E5D5443-C517-4AD3-8803-C3C17123FB36}" srcId="{37DDA90F-3A05-49CE-B6D6-0A5FCD30E0E2}" destId="{4ABDD9E0-FA48-43D3-B202-616E9653FE0C}" srcOrd="0" destOrd="0" parTransId="{6BD3BBD4-26A3-4FFB-B821-638E39E7FE21}" sibTransId="{DD7A06CF-7A73-471A-BB73-A361715AEBFF}"/>
    <dgm:cxn modelId="{3CF7E868-9923-487E-8780-5AE6109006E2}" srcId="{37DDA90F-3A05-49CE-B6D6-0A5FCD30E0E2}" destId="{AF8CAC5D-D793-4964-A788-09293A92F870}" srcOrd="12" destOrd="0" parTransId="{06A56A84-8804-4F99-A66B-D2B10A3F338C}" sibTransId="{B5A5D1B5-B712-47A1-B201-55554FBB6382}"/>
    <dgm:cxn modelId="{D0E0E06F-DA07-4B2F-A6F6-AD9E6A69C2D5}" srcId="{37DDA90F-3A05-49CE-B6D6-0A5FCD30E0E2}" destId="{78A9749A-FC12-4F4C-A932-10305F3B8C35}" srcOrd="7" destOrd="0" parTransId="{6716983D-38B2-4EF0-A965-93885F8D151A}" sibTransId="{AEA12F66-151A-4266-A955-B427C5676B01}"/>
    <dgm:cxn modelId="{1B76B571-329E-4598-9C04-C14809152501}" srcId="{37DDA90F-3A05-49CE-B6D6-0A5FCD30E0E2}" destId="{6409E3A3-745E-4580-A848-22316CF1C686}" srcOrd="1" destOrd="0" parTransId="{CD920D45-A690-4CDC-8FC5-4198FA1ECD93}" sibTransId="{ABD6C791-1864-4E60-8E56-AB47C259D21E}"/>
    <dgm:cxn modelId="{F671AD77-595B-4A98-9905-79E5BADC7846}" srcId="{37DDA90F-3A05-49CE-B6D6-0A5FCD30E0E2}" destId="{276CC2B8-4D7D-4049-A047-DFA933A89F79}" srcOrd="8" destOrd="0" parTransId="{00C5EFC3-C19A-42B1-A724-A0590420D9A7}" sibTransId="{BD92A2E6-1B49-46E9-9A2E-8E4004D80840}"/>
    <dgm:cxn modelId="{DAC62D7D-E375-441F-A7D2-28A0C39E459C}" type="presOf" srcId="{7AE7E8AE-029D-477D-9B18-5CFD8B7F3339}" destId="{7B192A16-62D3-4B5C-AC70-09596CCFA602}" srcOrd="0" destOrd="0" presId="urn:microsoft.com/office/officeart/2005/8/layout/default"/>
    <dgm:cxn modelId="{6A69757F-6312-416C-8163-2ED6F2008326}" srcId="{37DDA90F-3A05-49CE-B6D6-0A5FCD30E0E2}" destId="{784B754C-848B-42D0-A24E-4B870C8A4A93}" srcOrd="3" destOrd="0" parTransId="{87C18A42-FFB0-4ED5-864F-39BDB1AA49AF}" sibTransId="{4A304F01-1C7C-4464-8040-1262AE0432B7}"/>
    <dgm:cxn modelId="{0D2CE891-FC4E-46F9-88C7-7B83DCE02D3B}" type="presOf" srcId="{0169B7E9-22A4-486C-B3B8-CBFEA7038C39}" destId="{C0C9C782-C36E-4B44-8DB3-3D661BD44A77}" srcOrd="0" destOrd="0" presId="urn:microsoft.com/office/officeart/2005/8/layout/default"/>
    <dgm:cxn modelId="{A3249E97-E280-409A-B77F-276B200AC645}" type="presOf" srcId="{4ABDD9E0-FA48-43D3-B202-616E9653FE0C}" destId="{764FEFF6-CFF2-43B1-BC3D-7BB1637893CA}" srcOrd="0" destOrd="0" presId="urn:microsoft.com/office/officeart/2005/8/layout/default"/>
    <dgm:cxn modelId="{DA4E93AB-2CE8-46EB-9744-A7A76BCCEFDD}" type="presOf" srcId="{276CC2B8-4D7D-4049-A047-DFA933A89F79}" destId="{86B1F931-A8A9-41C6-8837-A9BF3CED3D39}" srcOrd="0" destOrd="0" presId="urn:microsoft.com/office/officeart/2005/8/layout/default"/>
    <dgm:cxn modelId="{4BE4C0AE-CB48-48D5-BA76-F14F558748CE}" type="presOf" srcId="{AE3B1394-185B-4E3A-8AE1-21F6644A0000}" destId="{E0C6B5B5-3F55-40F2-A136-6576B188FA26}" srcOrd="0" destOrd="0" presId="urn:microsoft.com/office/officeart/2005/8/layout/default"/>
    <dgm:cxn modelId="{1D7A4EB0-C998-49F5-BECD-8F4908860585}" type="presOf" srcId="{6409E3A3-745E-4580-A848-22316CF1C686}" destId="{ED1C8C6B-64A4-4BC1-8FA2-1DAFCB2F426C}" srcOrd="0" destOrd="0" presId="urn:microsoft.com/office/officeart/2005/8/layout/default"/>
    <dgm:cxn modelId="{61DBCAB4-7BF2-4106-AC2A-B0CF422478EF}" type="presOf" srcId="{AF8CAC5D-D793-4964-A788-09293A92F870}" destId="{46567624-911B-4761-9915-E9B640B9FA9D}" srcOrd="0" destOrd="0" presId="urn:microsoft.com/office/officeart/2005/8/layout/default"/>
    <dgm:cxn modelId="{E2101DBD-F3BC-46D6-8F8F-02B9105CC752}" srcId="{37DDA90F-3A05-49CE-B6D6-0A5FCD30E0E2}" destId="{7AE7E8AE-029D-477D-9B18-5CFD8B7F3339}" srcOrd="5" destOrd="0" parTransId="{799C643D-D4BF-4EBC-A355-16824AB3E6A0}" sibTransId="{A2D0203E-C60A-4793-BED9-E9586CB6AD26}"/>
    <dgm:cxn modelId="{0250E8C3-C424-4AA2-944D-6AA5A8FA74F6}" type="presOf" srcId="{37DDA90F-3A05-49CE-B6D6-0A5FCD30E0E2}" destId="{4470E6D9-738E-4A78-894E-F94D29006F06}" srcOrd="0" destOrd="0" presId="urn:microsoft.com/office/officeart/2005/8/layout/default"/>
    <dgm:cxn modelId="{89B49DC4-72DE-4AEC-A2AA-38AE119646F0}" type="presOf" srcId="{E573E248-A146-4994-81DB-11BC366E6A4C}" destId="{E67AD256-CAFF-4A6C-8B33-A2EBA93D02C0}" srcOrd="0" destOrd="0" presId="urn:microsoft.com/office/officeart/2005/8/layout/default"/>
    <dgm:cxn modelId="{BD2932C7-3572-4727-90EA-9BFCF6D8FD77}" type="presOf" srcId="{78A9749A-FC12-4F4C-A932-10305F3B8C35}" destId="{B80B0092-C734-4492-B69A-583D6B8FC94D}" srcOrd="0" destOrd="0" presId="urn:microsoft.com/office/officeart/2005/8/layout/default"/>
    <dgm:cxn modelId="{1AC620CA-A936-43D4-A234-08336F565C7D}" type="presOf" srcId="{C90C9673-FED6-488B-96A6-4C219F3486D8}" destId="{C283BB00-1E2E-48B2-92C8-A1DB3468DE40}" srcOrd="0" destOrd="0" presId="urn:microsoft.com/office/officeart/2005/8/layout/default"/>
    <dgm:cxn modelId="{8C1456D8-087E-42B0-9ED8-F0E08EDCBA9E}" srcId="{37DDA90F-3A05-49CE-B6D6-0A5FCD30E0E2}" destId="{E573E248-A146-4994-81DB-11BC366E6A4C}" srcOrd="10" destOrd="0" parTransId="{EAA48A3C-E8E4-407F-9E06-8C9168191FDE}" sibTransId="{42949BC9-A9B8-4DC0-B035-86DF5AD32A18}"/>
    <dgm:cxn modelId="{161F4FD9-3109-4061-BB9B-082D5B218FE5}" srcId="{37DDA90F-3A05-49CE-B6D6-0A5FCD30E0E2}" destId="{C90C9673-FED6-488B-96A6-4C219F3486D8}" srcOrd="9" destOrd="0" parTransId="{A7ABAF38-DE3E-4133-B200-44A80C2D8EDF}" sibTransId="{83361024-E3AB-4FAB-B87F-266C34D19759}"/>
    <dgm:cxn modelId="{10B5F2E7-5B37-4B52-90EC-26F8E9DBB07B}" type="presOf" srcId="{784B754C-848B-42D0-A24E-4B870C8A4A93}" destId="{3AFEFFE0-B48C-4490-8098-5DDA860B1476}" srcOrd="0" destOrd="0" presId="urn:microsoft.com/office/officeart/2005/8/layout/default"/>
    <dgm:cxn modelId="{6E6F1B69-0564-4008-88E3-0F6A1F5965EA}" type="presParOf" srcId="{4470E6D9-738E-4A78-894E-F94D29006F06}" destId="{764FEFF6-CFF2-43B1-BC3D-7BB1637893CA}" srcOrd="0" destOrd="0" presId="urn:microsoft.com/office/officeart/2005/8/layout/default"/>
    <dgm:cxn modelId="{991EAF51-EBFC-4071-8760-838B78D05DDE}" type="presParOf" srcId="{4470E6D9-738E-4A78-894E-F94D29006F06}" destId="{CF9A9FB3-4E3F-4290-8DED-8C361D2DDB38}" srcOrd="1" destOrd="0" presId="urn:microsoft.com/office/officeart/2005/8/layout/default"/>
    <dgm:cxn modelId="{E42371EA-883C-4099-97DD-D7FFD59E031B}" type="presParOf" srcId="{4470E6D9-738E-4A78-894E-F94D29006F06}" destId="{ED1C8C6B-64A4-4BC1-8FA2-1DAFCB2F426C}" srcOrd="2" destOrd="0" presId="urn:microsoft.com/office/officeart/2005/8/layout/default"/>
    <dgm:cxn modelId="{018B7E97-734F-49F6-ADE5-1194F8414528}" type="presParOf" srcId="{4470E6D9-738E-4A78-894E-F94D29006F06}" destId="{A4C5F610-07C0-43F5-ABC4-A8A397C3B9E2}" srcOrd="3" destOrd="0" presId="urn:microsoft.com/office/officeart/2005/8/layout/default"/>
    <dgm:cxn modelId="{D981D92B-2F62-46FF-B1A4-F4C6C0AFC2C4}" type="presParOf" srcId="{4470E6D9-738E-4A78-894E-F94D29006F06}" destId="{E0C6B5B5-3F55-40F2-A136-6576B188FA26}" srcOrd="4" destOrd="0" presId="urn:microsoft.com/office/officeart/2005/8/layout/default"/>
    <dgm:cxn modelId="{A747F3FC-AFF0-4048-BE0B-FF9010279BD5}" type="presParOf" srcId="{4470E6D9-738E-4A78-894E-F94D29006F06}" destId="{5AB7BF2D-B8F3-49FE-8688-2C75EE1E7C09}" srcOrd="5" destOrd="0" presId="urn:microsoft.com/office/officeart/2005/8/layout/default"/>
    <dgm:cxn modelId="{58032886-2AED-420B-8A91-504817744880}" type="presParOf" srcId="{4470E6D9-738E-4A78-894E-F94D29006F06}" destId="{3AFEFFE0-B48C-4490-8098-5DDA860B1476}" srcOrd="6" destOrd="0" presId="urn:microsoft.com/office/officeart/2005/8/layout/default"/>
    <dgm:cxn modelId="{1AADC4F7-D4D4-4FF7-8741-50EB29E2D2A6}" type="presParOf" srcId="{4470E6D9-738E-4A78-894E-F94D29006F06}" destId="{C799EA58-0FC2-4E9A-A15E-23E99F2E7B75}" srcOrd="7" destOrd="0" presId="urn:microsoft.com/office/officeart/2005/8/layout/default"/>
    <dgm:cxn modelId="{63F64CC7-1DF6-4887-A339-C1AE0AD48E12}" type="presParOf" srcId="{4470E6D9-738E-4A78-894E-F94D29006F06}" destId="{C0C9C782-C36E-4B44-8DB3-3D661BD44A77}" srcOrd="8" destOrd="0" presId="urn:microsoft.com/office/officeart/2005/8/layout/default"/>
    <dgm:cxn modelId="{280E5462-2D19-44CB-8B80-16121F592114}" type="presParOf" srcId="{4470E6D9-738E-4A78-894E-F94D29006F06}" destId="{DF2ED4D1-BFA6-4FEA-82C8-CAE7F6CA9901}" srcOrd="9" destOrd="0" presId="urn:microsoft.com/office/officeart/2005/8/layout/default"/>
    <dgm:cxn modelId="{CE027278-4A46-4FD7-AA21-3A3B6E25CFEF}" type="presParOf" srcId="{4470E6D9-738E-4A78-894E-F94D29006F06}" destId="{7B192A16-62D3-4B5C-AC70-09596CCFA602}" srcOrd="10" destOrd="0" presId="urn:microsoft.com/office/officeart/2005/8/layout/default"/>
    <dgm:cxn modelId="{42C45C1C-E414-444B-8F5D-EB47BED1645E}" type="presParOf" srcId="{4470E6D9-738E-4A78-894E-F94D29006F06}" destId="{E139B163-17AC-48CD-946E-A5310C6EAA0D}" srcOrd="11" destOrd="0" presId="urn:microsoft.com/office/officeart/2005/8/layout/default"/>
    <dgm:cxn modelId="{6D36E2A9-8580-4726-B2C1-87BF44C7445B}" type="presParOf" srcId="{4470E6D9-738E-4A78-894E-F94D29006F06}" destId="{96B18D99-1694-4041-B992-DA9E7C4B2CEC}" srcOrd="12" destOrd="0" presId="urn:microsoft.com/office/officeart/2005/8/layout/default"/>
    <dgm:cxn modelId="{328EE600-B2B6-47D9-ACCE-04CD595B86DB}" type="presParOf" srcId="{4470E6D9-738E-4A78-894E-F94D29006F06}" destId="{06E113CA-D1BD-4051-8B20-2787C3FEAD1D}" srcOrd="13" destOrd="0" presId="urn:microsoft.com/office/officeart/2005/8/layout/default"/>
    <dgm:cxn modelId="{D0F9CD0D-B396-4B86-9AF5-8834CE7B2712}" type="presParOf" srcId="{4470E6D9-738E-4A78-894E-F94D29006F06}" destId="{B80B0092-C734-4492-B69A-583D6B8FC94D}" srcOrd="14" destOrd="0" presId="urn:microsoft.com/office/officeart/2005/8/layout/default"/>
    <dgm:cxn modelId="{DC48CA75-1C84-415E-B037-0636DE2C7A5D}" type="presParOf" srcId="{4470E6D9-738E-4A78-894E-F94D29006F06}" destId="{CBC59CF5-FDE8-46DC-8CF7-166FE3DC652E}" srcOrd="15" destOrd="0" presId="urn:microsoft.com/office/officeart/2005/8/layout/default"/>
    <dgm:cxn modelId="{51CB9660-110F-412F-8091-78BA2859C484}" type="presParOf" srcId="{4470E6D9-738E-4A78-894E-F94D29006F06}" destId="{86B1F931-A8A9-41C6-8837-A9BF3CED3D39}" srcOrd="16" destOrd="0" presId="urn:microsoft.com/office/officeart/2005/8/layout/default"/>
    <dgm:cxn modelId="{2AFE2B9F-C320-43FE-991C-0280C9A8FC33}" type="presParOf" srcId="{4470E6D9-738E-4A78-894E-F94D29006F06}" destId="{4DE9248C-F99E-4477-9315-B234CE6E7A8D}" srcOrd="17" destOrd="0" presId="urn:microsoft.com/office/officeart/2005/8/layout/default"/>
    <dgm:cxn modelId="{51AFA2D0-0525-48DC-B01F-4FBA479520BD}" type="presParOf" srcId="{4470E6D9-738E-4A78-894E-F94D29006F06}" destId="{C283BB00-1E2E-48B2-92C8-A1DB3468DE40}" srcOrd="18" destOrd="0" presId="urn:microsoft.com/office/officeart/2005/8/layout/default"/>
    <dgm:cxn modelId="{710EDF42-5BC4-4D43-B789-804160D00ACD}" type="presParOf" srcId="{4470E6D9-738E-4A78-894E-F94D29006F06}" destId="{908E24FD-A235-4D48-9093-2D4194414686}" srcOrd="19" destOrd="0" presId="urn:microsoft.com/office/officeart/2005/8/layout/default"/>
    <dgm:cxn modelId="{CA7994B2-B557-4FDB-9B8E-A64518239DA3}" type="presParOf" srcId="{4470E6D9-738E-4A78-894E-F94D29006F06}" destId="{E67AD256-CAFF-4A6C-8B33-A2EBA93D02C0}" srcOrd="20" destOrd="0" presId="urn:microsoft.com/office/officeart/2005/8/layout/default"/>
    <dgm:cxn modelId="{658BDB35-CF8F-4F51-B60D-BF3F4A26C640}" type="presParOf" srcId="{4470E6D9-738E-4A78-894E-F94D29006F06}" destId="{E089B89E-B92E-4624-9FEB-3DA4EE6319B9}" srcOrd="21" destOrd="0" presId="urn:microsoft.com/office/officeart/2005/8/layout/default"/>
    <dgm:cxn modelId="{53203BFA-4515-43FE-9199-C60315BEEEEB}" type="presParOf" srcId="{4470E6D9-738E-4A78-894E-F94D29006F06}" destId="{58B6FB33-0954-4627-8517-DE24801FB0D2}" srcOrd="22" destOrd="0" presId="urn:microsoft.com/office/officeart/2005/8/layout/default"/>
    <dgm:cxn modelId="{3E730F5C-4D3B-4C07-B2AB-0BC21FF6B8A2}" type="presParOf" srcId="{4470E6D9-738E-4A78-894E-F94D29006F06}" destId="{D00BC11F-6B1F-44E3-83C2-A06C165D6824}" srcOrd="23" destOrd="0" presId="urn:microsoft.com/office/officeart/2005/8/layout/default"/>
    <dgm:cxn modelId="{461F5735-8497-49EF-9245-867139D5D9E9}" type="presParOf" srcId="{4470E6D9-738E-4A78-894E-F94D29006F06}" destId="{46567624-911B-4761-9915-E9B640B9FA9D}" srcOrd="2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7D083F-39F5-472B-8D5A-0B9274BF691E}" type="doc">
      <dgm:prSet loTypeId="urn:microsoft.com/office/officeart/2008/layout/PictureAccentBlocks" loCatId="picture" qsTypeId="urn:microsoft.com/office/officeart/2005/8/quickstyle/simple1" qsCatId="simple" csTypeId="urn:microsoft.com/office/officeart/2005/8/colors/accent1_2" csCatId="accent1" phldr="1"/>
      <dgm:spPr/>
      <dgm:t>
        <a:bodyPr/>
        <a:lstStyle/>
        <a:p>
          <a:endParaRPr lang="es-ES"/>
        </a:p>
      </dgm:t>
    </dgm:pt>
    <dgm:pt modelId="{0714EBCF-CBA1-449C-BBC3-B69CCCE28D54}">
      <dgm:prSet phldrT="[Texto]"/>
      <dgm:spPr/>
      <dgm:t>
        <a:bodyPr/>
        <a:lstStyle/>
        <a:p>
          <a:r>
            <a:rPr lang="es-ES" dirty="0"/>
            <a:t>Antes</a:t>
          </a:r>
        </a:p>
      </dgm:t>
    </dgm:pt>
    <dgm:pt modelId="{85505662-2D2E-4F14-BB65-12D97D598F06}" type="parTrans" cxnId="{57048B41-932A-4CC6-8F8A-A45ABA615E77}">
      <dgm:prSet/>
      <dgm:spPr/>
      <dgm:t>
        <a:bodyPr/>
        <a:lstStyle/>
        <a:p>
          <a:endParaRPr lang="es-ES"/>
        </a:p>
      </dgm:t>
    </dgm:pt>
    <dgm:pt modelId="{BA52FAD8-D0C1-4B6B-B417-58C8FD0DA577}" type="sibTrans" cxnId="{57048B41-932A-4CC6-8F8A-A45ABA615E77}">
      <dgm:prSet/>
      <dgm:spPr/>
      <dgm:t>
        <a:bodyPr/>
        <a:lstStyle/>
        <a:p>
          <a:endParaRPr lang="es-ES"/>
        </a:p>
      </dgm:t>
    </dgm:pt>
    <dgm:pt modelId="{255DA2F9-89E8-453D-A140-98082A6E2225}">
      <dgm:prSet phldrT="[Texto]"/>
      <dgm:spPr/>
      <dgm:t>
        <a:bodyPr/>
        <a:lstStyle/>
        <a:p>
          <a:r>
            <a:rPr lang="es-ES" dirty="0"/>
            <a:t>Ahora</a:t>
          </a:r>
        </a:p>
      </dgm:t>
    </dgm:pt>
    <dgm:pt modelId="{AC82BA56-3E02-46FE-AEFE-E4A8409E0556}" type="parTrans" cxnId="{F324C783-B386-4030-9F05-87EAD52ED6FE}">
      <dgm:prSet/>
      <dgm:spPr/>
      <dgm:t>
        <a:bodyPr/>
        <a:lstStyle/>
        <a:p>
          <a:endParaRPr lang="es-ES"/>
        </a:p>
      </dgm:t>
    </dgm:pt>
    <dgm:pt modelId="{DE0D4C69-5260-4F1F-9AF5-8BFF2B7CD63E}" type="sibTrans" cxnId="{F324C783-B386-4030-9F05-87EAD52ED6FE}">
      <dgm:prSet/>
      <dgm:spPr/>
      <dgm:t>
        <a:bodyPr/>
        <a:lstStyle/>
        <a:p>
          <a:endParaRPr lang="es-ES"/>
        </a:p>
      </dgm:t>
    </dgm:pt>
    <dgm:pt modelId="{8C40A919-E6B1-4B0C-B6A9-9E580C3157AE}" type="pres">
      <dgm:prSet presAssocID="{E97D083F-39F5-472B-8D5A-0B9274BF691E}" presName="Name0" presStyleCnt="0">
        <dgm:presLayoutVars>
          <dgm:dir/>
        </dgm:presLayoutVars>
      </dgm:prSet>
      <dgm:spPr/>
    </dgm:pt>
    <dgm:pt modelId="{91D62369-4018-475C-86C5-525DC1657942}" type="pres">
      <dgm:prSet presAssocID="{0714EBCF-CBA1-449C-BBC3-B69CCCE28D54}" presName="composite" presStyleCnt="0"/>
      <dgm:spPr/>
    </dgm:pt>
    <dgm:pt modelId="{5B1FFD59-5D75-43C7-9CD7-5659EBC32538}" type="pres">
      <dgm:prSet presAssocID="{0714EBCF-CBA1-449C-BBC3-B69CCCE28D54}" presName="Image" presStyleLbl="alignNode1" presStyleIdx="0" presStyleCnt="2"/>
      <dgm:spPr>
        <a:blipFill rotWithShape="1">
          <a:blip xmlns:r="http://schemas.openxmlformats.org/officeDocument/2006/relationships" r:embed="rId1">
            <a:duotone>
              <a:prstClr val="black"/>
              <a:srgbClr val="D9C3A5">
                <a:tint val="50000"/>
                <a:satMod val="180000"/>
              </a:srgbClr>
            </a:duotone>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l="-6000" r="-6000"/>
          </a:stretch>
        </a:blipFill>
      </dgm:spPr>
    </dgm:pt>
    <dgm:pt modelId="{3D7A8130-D9AD-43F2-B6F8-041A474FE8B2}" type="pres">
      <dgm:prSet presAssocID="{0714EBCF-CBA1-449C-BBC3-B69CCCE28D54}" presName="Parent" presStyleLbl="revTx" presStyleIdx="0" presStyleCnt="2">
        <dgm:presLayoutVars>
          <dgm:bulletEnabled val="1"/>
        </dgm:presLayoutVars>
      </dgm:prSet>
      <dgm:spPr/>
    </dgm:pt>
    <dgm:pt modelId="{FE6FB5A5-DD55-417D-AFAD-0613E94E5095}" type="pres">
      <dgm:prSet presAssocID="{BA52FAD8-D0C1-4B6B-B417-58C8FD0DA577}" presName="sibTrans" presStyleCnt="0"/>
      <dgm:spPr/>
    </dgm:pt>
    <dgm:pt modelId="{B0A92A82-7FA4-40EF-A626-00BC430CC994}" type="pres">
      <dgm:prSet presAssocID="{255DA2F9-89E8-453D-A140-98082A6E2225}" presName="composite" presStyleCnt="0"/>
      <dgm:spPr/>
    </dgm:pt>
    <dgm:pt modelId="{A6368D97-2712-4D62-954F-45CC9FA3A2AD}" type="pres">
      <dgm:prSet presAssocID="{255DA2F9-89E8-453D-A140-98082A6E2225}" presName="Image" presStyleLbl="alignNode1" presStyleIdx="1" presStyleCnt="2"/>
      <dgm:spPr>
        <a:blipFill rotWithShape="1">
          <a:blip xmlns:r="http://schemas.openxmlformats.org/officeDocument/2006/relationships" r:embed="rId3">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rcRect/>
          <a:stretch>
            <a:fillRect l="-25000" r="-25000"/>
          </a:stretch>
        </a:blipFill>
      </dgm:spPr>
    </dgm:pt>
    <dgm:pt modelId="{F3EE71A0-8ACC-464B-828E-021208722A36}" type="pres">
      <dgm:prSet presAssocID="{255DA2F9-89E8-453D-A140-98082A6E2225}" presName="Parent" presStyleLbl="revTx" presStyleIdx="1" presStyleCnt="2">
        <dgm:presLayoutVars>
          <dgm:bulletEnabled val="1"/>
        </dgm:presLayoutVars>
      </dgm:prSet>
      <dgm:spPr/>
    </dgm:pt>
  </dgm:ptLst>
  <dgm:cxnLst>
    <dgm:cxn modelId="{57048B41-932A-4CC6-8F8A-A45ABA615E77}" srcId="{E97D083F-39F5-472B-8D5A-0B9274BF691E}" destId="{0714EBCF-CBA1-449C-BBC3-B69CCCE28D54}" srcOrd="0" destOrd="0" parTransId="{85505662-2D2E-4F14-BB65-12D97D598F06}" sibTransId="{BA52FAD8-D0C1-4B6B-B417-58C8FD0DA577}"/>
    <dgm:cxn modelId="{F324C783-B386-4030-9F05-87EAD52ED6FE}" srcId="{E97D083F-39F5-472B-8D5A-0B9274BF691E}" destId="{255DA2F9-89E8-453D-A140-98082A6E2225}" srcOrd="1" destOrd="0" parTransId="{AC82BA56-3E02-46FE-AEFE-E4A8409E0556}" sibTransId="{DE0D4C69-5260-4F1F-9AF5-8BFF2B7CD63E}"/>
    <dgm:cxn modelId="{44A74489-50B9-411F-B68F-ACD8783E180E}" type="presOf" srcId="{E97D083F-39F5-472B-8D5A-0B9274BF691E}" destId="{8C40A919-E6B1-4B0C-B6A9-9E580C3157AE}" srcOrd="0" destOrd="0" presId="urn:microsoft.com/office/officeart/2008/layout/PictureAccentBlocks"/>
    <dgm:cxn modelId="{E9BC13E7-B6AA-4AC7-A121-CA67D488FAC0}" type="presOf" srcId="{0714EBCF-CBA1-449C-BBC3-B69CCCE28D54}" destId="{3D7A8130-D9AD-43F2-B6F8-041A474FE8B2}" srcOrd="0" destOrd="0" presId="urn:microsoft.com/office/officeart/2008/layout/PictureAccentBlocks"/>
    <dgm:cxn modelId="{3CD9C1F5-9E6E-4E3A-9BBA-CEB9F0119C40}" type="presOf" srcId="{255DA2F9-89E8-453D-A140-98082A6E2225}" destId="{F3EE71A0-8ACC-464B-828E-021208722A36}" srcOrd="0" destOrd="0" presId="urn:microsoft.com/office/officeart/2008/layout/PictureAccentBlocks"/>
    <dgm:cxn modelId="{53F7E093-DB90-47E4-8B3E-5FC5092B73A9}" type="presParOf" srcId="{8C40A919-E6B1-4B0C-B6A9-9E580C3157AE}" destId="{91D62369-4018-475C-86C5-525DC1657942}" srcOrd="0" destOrd="0" presId="urn:microsoft.com/office/officeart/2008/layout/PictureAccentBlocks"/>
    <dgm:cxn modelId="{6596F3DA-CA8D-4B4E-8292-64703227B987}" type="presParOf" srcId="{91D62369-4018-475C-86C5-525DC1657942}" destId="{5B1FFD59-5D75-43C7-9CD7-5659EBC32538}" srcOrd="0" destOrd="0" presId="urn:microsoft.com/office/officeart/2008/layout/PictureAccentBlocks"/>
    <dgm:cxn modelId="{2F8E7242-361B-4E3B-B8C9-B26095EAB717}" type="presParOf" srcId="{91D62369-4018-475C-86C5-525DC1657942}" destId="{3D7A8130-D9AD-43F2-B6F8-041A474FE8B2}" srcOrd="1" destOrd="0" presId="urn:microsoft.com/office/officeart/2008/layout/PictureAccentBlocks"/>
    <dgm:cxn modelId="{D613B811-907B-4F11-AFB4-10C16503114E}" type="presParOf" srcId="{8C40A919-E6B1-4B0C-B6A9-9E580C3157AE}" destId="{FE6FB5A5-DD55-417D-AFAD-0613E94E5095}" srcOrd="1" destOrd="0" presId="urn:microsoft.com/office/officeart/2008/layout/PictureAccentBlocks"/>
    <dgm:cxn modelId="{7A0E4940-84BC-4E5D-9484-52AA2B91B644}" type="presParOf" srcId="{8C40A919-E6B1-4B0C-B6A9-9E580C3157AE}" destId="{B0A92A82-7FA4-40EF-A626-00BC430CC994}" srcOrd="2" destOrd="0" presId="urn:microsoft.com/office/officeart/2008/layout/PictureAccentBlocks"/>
    <dgm:cxn modelId="{64A291E4-0FB1-41C2-943E-EED48AE87F4E}" type="presParOf" srcId="{B0A92A82-7FA4-40EF-A626-00BC430CC994}" destId="{A6368D97-2712-4D62-954F-45CC9FA3A2AD}" srcOrd="0" destOrd="0" presId="urn:microsoft.com/office/officeart/2008/layout/PictureAccentBlocks"/>
    <dgm:cxn modelId="{0949C98A-7EF0-4E4C-AD09-0518248E207B}" type="presParOf" srcId="{B0A92A82-7FA4-40EF-A626-00BC430CC994}" destId="{F3EE71A0-8ACC-464B-828E-021208722A36}" srcOrd="1" destOrd="0" presId="urn:microsoft.com/office/officeart/2008/layout/PictureAccent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43CBA68-EE22-4A02-BF5B-2AD96A0874BE}"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s-ES"/>
        </a:p>
      </dgm:t>
    </dgm:pt>
    <dgm:pt modelId="{23A6AB2B-E9DA-487D-BDD9-CB6A0B7D1B9F}">
      <dgm:prSet custT="1"/>
      <dgm:spPr/>
      <dgm:t>
        <a:bodyPr/>
        <a:lstStyle/>
        <a:p>
          <a:pPr rtl="0"/>
          <a:r>
            <a:rPr lang="es-ES" sz="1800" dirty="0"/>
            <a:t>La herramienta le irá guiando paso a paso durante la llamada.</a:t>
          </a:r>
        </a:p>
      </dgm:t>
    </dgm:pt>
    <dgm:pt modelId="{3EFB378F-1CAF-4104-A6F4-0E4E38EE340F}" type="parTrans" cxnId="{4245B2D5-15A2-40B2-8F92-32944CFF3CF8}">
      <dgm:prSet/>
      <dgm:spPr/>
      <dgm:t>
        <a:bodyPr/>
        <a:lstStyle/>
        <a:p>
          <a:endParaRPr lang="es-ES" sz="1800"/>
        </a:p>
      </dgm:t>
    </dgm:pt>
    <dgm:pt modelId="{634631D0-233B-4BD1-A8E3-08DFDC892F51}" type="sibTrans" cxnId="{4245B2D5-15A2-40B2-8F92-32944CFF3CF8}">
      <dgm:prSet custT="1"/>
      <dgm:spPr/>
      <dgm:t>
        <a:bodyPr/>
        <a:lstStyle/>
        <a:p>
          <a:endParaRPr lang="es-ES" sz="1800" dirty="0"/>
        </a:p>
      </dgm:t>
    </dgm:pt>
    <dgm:pt modelId="{1CA1485C-E46F-4250-9876-C4497CFE8F56}">
      <dgm:prSet custT="1"/>
      <dgm:spPr/>
      <dgm:t>
        <a:bodyPr/>
        <a:lstStyle/>
        <a:p>
          <a:pPr rtl="0"/>
          <a:r>
            <a:rPr lang="es-ES" sz="1800" dirty="0"/>
            <a:t>Ante una llamada del cliente, recogida por el Call center.</a:t>
          </a:r>
        </a:p>
      </dgm:t>
    </dgm:pt>
    <dgm:pt modelId="{E3D494EC-4F46-42D8-B135-32925923777F}" type="parTrans" cxnId="{D3DF527F-0F79-4BD5-9B62-73BC24B6AAAA}">
      <dgm:prSet/>
      <dgm:spPr/>
      <dgm:t>
        <a:bodyPr/>
        <a:lstStyle/>
        <a:p>
          <a:endParaRPr lang="es-ES" sz="1800"/>
        </a:p>
      </dgm:t>
    </dgm:pt>
    <dgm:pt modelId="{910309D4-F399-4AD9-B51B-6554CABBB2B7}" type="sibTrans" cxnId="{D3DF527F-0F79-4BD5-9B62-73BC24B6AAAA}">
      <dgm:prSet custT="1"/>
      <dgm:spPr/>
      <dgm:t>
        <a:bodyPr/>
        <a:lstStyle/>
        <a:p>
          <a:endParaRPr lang="es-ES" sz="1800" dirty="0"/>
        </a:p>
      </dgm:t>
    </dgm:pt>
    <dgm:pt modelId="{483BED03-C6C7-4870-BD2F-5A209AF38941}">
      <dgm:prSet custT="1"/>
      <dgm:spPr/>
      <dgm:t>
        <a:bodyPr/>
        <a:lstStyle/>
        <a:p>
          <a:pPr rtl="0"/>
          <a:r>
            <a:rPr lang="es-ES" sz="1800" dirty="0"/>
            <a:t>La herramienta buscará la mejor solución a la incidencia del cliente.</a:t>
          </a:r>
        </a:p>
        <a:p>
          <a:pPr rtl="0"/>
          <a:r>
            <a:rPr lang="es-ES" sz="1800" dirty="0"/>
            <a:t>Si es un equipo de personas las que tienen que resolver, la Base de Conocimiento propondrá los medios más adecuados.</a:t>
          </a:r>
        </a:p>
      </dgm:t>
    </dgm:pt>
    <dgm:pt modelId="{F25ED3C1-A66E-4DD1-A0F8-967C35439D41}" type="parTrans" cxnId="{A36555AA-6B60-4A9F-84D7-45B1356A1B8C}">
      <dgm:prSet/>
      <dgm:spPr/>
      <dgm:t>
        <a:bodyPr/>
        <a:lstStyle/>
        <a:p>
          <a:endParaRPr lang="es-ES" sz="1800"/>
        </a:p>
      </dgm:t>
    </dgm:pt>
    <dgm:pt modelId="{21967689-38CE-42FC-A480-2F7BC11CC2C3}" type="sibTrans" cxnId="{A36555AA-6B60-4A9F-84D7-45B1356A1B8C}">
      <dgm:prSet custT="1"/>
      <dgm:spPr/>
      <dgm:t>
        <a:bodyPr/>
        <a:lstStyle/>
        <a:p>
          <a:endParaRPr lang="es-ES" sz="1800" dirty="0"/>
        </a:p>
      </dgm:t>
    </dgm:pt>
    <dgm:pt modelId="{531826AB-C24A-4B83-932B-A3BBFE69082A}">
      <dgm:prSet custT="1"/>
      <dgm:spPr/>
      <dgm:t>
        <a:bodyPr/>
        <a:lstStyle/>
        <a:p>
          <a:pPr rtl="0"/>
          <a:r>
            <a:rPr lang="es-ES" sz="1800" dirty="0"/>
            <a:t>La Base de conocimiento, se retroalimentará  mediante machine learning con la solución dada y aprenderá para futuras actuaciones: Flujos óptimos</a:t>
          </a:r>
        </a:p>
      </dgm:t>
    </dgm:pt>
    <dgm:pt modelId="{DBC84F27-B262-4051-B94B-C1AA327FB66F}" type="parTrans" cxnId="{7A695C05-91E9-4678-844B-FDE4F51772B4}">
      <dgm:prSet/>
      <dgm:spPr/>
      <dgm:t>
        <a:bodyPr/>
        <a:lstStyle/>
        <a:p>
          <a:endParaRPr lang="es-ES" sz="1800"/>
        </a:p>
      </dgm:t>
    </dgm:pt>
    <dgm:pt modelId="{0053269F-2589-4871-8DEC-8DB839E145AA}" type="sibTrans" cxnId="{7A695C05-91E9-4678-844B-FDE4F51772B4}">
      <dgm:prSet/>
      <dgm:spPr/>
      <dgm:t>
        <a:bodyPr/>
        <a:lstStyle/>
        <a:p>
          <a:endParaRPr lang="es-ES" sz="1800"/>
        </a:p>
      </dgm:t>
    </dgm:pt>
    <dgm:pt modelId="{BFCB0C2A-7387-417B-97EF-F8DBF5D4C1AF}">
      <dgm:prSet custT="1"/>
      <dgm:spPr/>
      <dgm:t>
        <a:bodyPr vert="horz"/>
        <a:lstStyle/>
        <a:p>
          <a:pPr rtl="0"/>
          <a:r>
            <a:rPr lang="es-ES" sz="1800" dirty="0"/>
            <a:t>El operador del Call Center seleccionará la incidencia tipo entre las opciones.</a:t>
          </a:r>
        </a:p>
      </dgm:t>
    </dgm:pt>
    <dgm:pt modelId="{2714B575-EB9F-4032-9AE4-6FB7CD65AC9C}" type="parTrans" cxnId="{5F3633CD-320C-4FF7-B5F0-632E875656BA}">
      <dgm:prSet/>
      <dgm:spPr/>
      <dgm:t>
        <a:bodyPr/>
        <a:lstStyle/>
        <a:p>
          <a:endParaRPr lang="es-ES" sz="1800"/>
        </a:p>
      </dgm:t>
    </dgm:pt>
    <dgm:pt modelId="{E97BCE52-A550-42D4-96F9-3916AEA99FA4}" type="sibTrans" cxnId="{5F3633CD-320C-4FF7-B5F0-632E875656BA}">
      <dgm:prSet custT="1"/>
      <dgm:spPr/>
      <dgm:t>
        <a:bodyPr/>
        <a:lstStyle/>
        <a:p>
          <a:endParaRPr lang="es-ES" sz="1800" dirty="0"/>
        </a:p>
      </dgm:t>
    </dgm:pt>
    <dgm:pt modelId="{E91DEDB5-2463-4409-8C37-1FF961CD978E}" type="pres">
      <dgm:prSet presAssocID="{C43CBA68-EE22-4A02-BF5B-2AD96A0874BE}" presName="Name0" presStyleCnt="0">
        <dgm:presLayoutVars>
          <dgm:dir/>
          <dgm:resizeHandles val="exact"/>
        </dgm:presLayoutVars>
      </dgm:prSet>
      <dgm:spPr/>
    </dgm:pt>
    <dgm:pt modelId="{8D099B59-640B-400D-9D70-4F8C2A404E9E}" type="pres">
      <dgm:prSet presAssocID="{1CA1485C-E46F-4250-9876-C4497CFE8F56}" presName="node" presStyleLbl="node1" presStyleIdx="0" presStyleCnt="5">
        <dgm:presLayoutVars>
          <dgm:bulletEnabled val="1"/>
        </dgm:presLayoutVars>
      </dgm:prSet>
      <dgm:spPr/>
    </dgm:pt>
    <dgm:pt modelId="{E22ED027-5259-49DA-AE3E-8F1DD7A9E614}" type="pres">
      <dgm:prSet presAssocID="{910309D4-F399-4AD9-B51B-6554CABBB2B7}" presName="sibTrans" presStyleLbl="sibTrans2D1" presStyleIdx="0" presStyleCnt="4"/>
      <dgm:spPr/>
    </dgm:pt>
    <dgm:pt modelId="{F7272CA0-11D7-4C9F-8964-74B036B8BA7F}" type="pres">
      <dgm:prSet presAssocID="{910309D4-F399-4AD9-B51B-6554CABBB2B7}" presName="connectorText" presStyleLbl="sibTrans2D1" presStyleIdx="0" presStyleCnt="4"/>
      <dgm:spPr/>
    </dgm:pt>
    <dgm:pt modelId="{820AC21A-A11C-443F-B149-8DD9B9F9DDE2}" type="pres">
      <dgm:prSet presAssocID="{BFCB0C2A-7387-417B-97EF-F8DBF5D4C1AF}" presName="node" presStyleLbl="node1" presStyleIdx="1" presStyleCnt="5">
        <dgm:presLayoutVars>
          <dgm:bulletEnabled val="1"/>
        </dgm:presLayoutVars>
      </dgm:prSet>
      <dgm:spPr/>
    </dgm:pt>
    <dgm:pt modelId="{1BDD5E05-EA8E-4409-8FAA-9FA5A0171D45}" type="pres">
      <dgm:prSet presAssocID="{E97BCE52-A550-42D4-96F9-3916AEA99FA4}" presName="sibTrans" presStyleLbl="sibTrans2D1" presStyleIdx="1" presStyleCnt="4"/>
      <dgm:spPr/>
    </dgm:pt>
    <dgm:pt modelId="{8615BEAE-6CBA-4BE9-858A-45E6A38FF25B}" type="pres">
      <dgm:prSet presAssocID="{E97BCE52-A550-42D4-96F9-3916AEA99FA4}" presName="connectorText" presStyleLbl="sibTrans2D1" presStyleIdx="1" presStyleCnt="4"/>
      <dgm:spPr/>
    </dgm:pt>
    <dgm:pt modelId="{3C969E22-BBD7-476E-B87F-46284FF29C96}" type="pres">
      <dgm:prSet presAssocID="{23A6AB2B-E9DA-487D-BDD9-CB6A0B7D1B9F}" presName="node" presStyleLbl="node1" presStyleIdx="2" presStyleCnt="5">
        <dgm:presLayoutVars>
          <dgm:bulletEnabled val="1"/>
        </dgm:presLayoutVars>
      </dgm:prSet>
      <dgm:spPr/>
    </dgm:pt>
    <dgm:pt modelId="{A7955764-1EB2-4E0A-AB13-D66673934F83}" type="pres">
      <dgm:prSet presAssocID="{634631D0-233B-4BD1-A8E3-08DFDC892F51}" presName="sibTrans" presStyleLbl="sibTrans2D1" presStyleIdx="2" presStyleCnt="4"/>
      <dgm:spPr/>
    </dgm:pt>
    <dgm:pt modelId="{4FFD732C-9E36-46C6-A07E-6EC4191065C4}" type="pres">
      <dgm:prSet presAssocID="{634631D0-233B-4BD1-A8E3-08DFDC892F51}" presName="connectorText" presStyleLbl="sibTrans2D1" presStyleIdx="2" presStyleCnt="4"/>
      <dgm:spPr/>
    </dgm:pt>
    <dgm:pt modelId="{366AF274-9BF0-4C9B-8FF8-03F73F634CFA}" type="pres">
      <dgm:prSet presAssocID="{483BED03-C6C7-4870-BD2F-5A209AF38941}" presName="node" presStyleLbl="node1" presStyleIdx="3" presStyleCnt="5">
        <dgm:presLayoutVars>
          <dgm:bulletEnabled val="1"/>
        </dgm:presLayoutVars>
      </dgm:prSet>
      <dgm:spPr/>
    </dgm:pt>
    <dgm:pt modelId="{A0CC4397-EE66-4DAA-B6C5-770C5AECD80C}" type="pres">
      <dgm:prSet presAssocID="{21967689-38CE-42FC-A480-2F7BC11CC2C3}" presName="sibTrans" presStyleLbl="sibTrans2D1" presStyleIdx="3" presStyleCnt="4"/>
      <dgm:spPr/>
    </dgm:pt>
    <dgm:pt modelId="{F96D7AC6-F77B-45CB-AA04-7F7D88B3D821}" type="pres">
      <dgm:prSet presAssocID="{21967689-38CE-42FC-A480-2F7BC11CC2C3}" presName="connectorText" presStyleLbl="sibTrans2D1" presStyleIdx="3" presStyleCnt="4"/>
      <dgm:spPr/>
    </dgm:pt>
    <dgm:pt modelId="{8DD3842F-816F-4D92-9D63-D61E1F1F9790}" type="pres">
      <dgm:prSet presAssocID="{531826AB-C24A-4B83-932B-A3BBFE69082A}" presName="node" presStyleLbl="node1" presStyleIdx="4" presStyleCnt="5">
        <dgm:presLayoutVars>
          <dgm:bulletEnabled val="1"/>
        </dgm:presLayoutVars>
      </dgm:prSet>
      <dgm:spPr/>
    </dgm:pt>
  </dgm:ptLst>
  <dgm:cxnLst>
    <dgm:cxn modelId="{7A695C05-91E9-4678-844B-FDE4F51772B4}" srcId="{C43CBA68-EE22-4A02-BF5B-2AD96A0874BE}" destId="{531826AB-C24A-4B83-932B-A3BBFE69082A}" srcOrd="4" destOrd="0" parTransId="{DBC84F27-B262-4051-B94B-C1AA327FB66F}" sibTransId="{0053269F-2589-4871-8DEC-8DB839E145AA}"/>
    <dgm:cxn modelId="{450D1308-CB01-4E8E-B1A2-554AD95545B7}" type="presOf" srcId="{1CA1485C-E46F-4250-9876-C4497CFE8F56}" destId="{8D099B59-640B-400D-9D70-4F8C2A404E9E}" srcOrd="0" destOrd="0" presId="urn:microsoft.com/office/officeart/2005/8/layout/process1"/>
    <dgm:cxn modelId="{2897BF2F-6568-4C1E-AE85-3DC169371DE1}" type="presOf" srcId="{23A6AB2B-E9DA-487D-BDD9-CB6A0B7D1B9F}" destId="{3C969E22-BBD7-476E-B87F-46284FF29C96}" srcOrd="0" destOrd="0" presId="urn:microsoft.com/office/officeart/2005/8/layout/process1"/>
    <dgm:cxn modelId="{12F60E61-55DE-4728-A893-B7C1A8365226}" type="presOf" srcId="{634631D0-233B-4BD1-A8E3-08DFDC892F51}" destId="{A7955764-1EB2-4E0A-AB13-D66673934F83}" srcOrd="0" destOrd="0" presId="urn:microsoft.com/office/officeart/2005/8/layout/process1"/>
    <dgm:cxn modelId="{BB64E647-DB18-4E1B-BDA2-F5AFB45E9084}" type="presOf" srcId="{C43CBA68-EE22-4A02-BF5B-2AD96A0874BE}" destId="{E91DEDB5-2463-4409-8C37-1FF961CD978E}" srcOrd="0" destOrd="0" presId="urn:microsoft.com/office/officeart/2005/8/layout/process1"/>
    <dgm:cxn modelId="{4E1B5168-010C-424B-95E5-606946377519}" type="presOf" srcId="{634631D0-233B-4BD1-A8E3-08DFDC892F51}" destId="{4FFD732C-9E36-46C6-A07E-6EC4191065C4}" srcOrd="1" destOrd="0" presId="urn:microsoft.com/office/officeart/2005/8/layout/process1"/>
    <dgm:cxn modelId="{1124ED49-4C20-4FB6-8199-30090BF04BDD}" type="presOf" srcId="{21967689-38CE-42FC-A480-2F7BC11CC2C3}" destId="{F96D7AC6-F77B-45CB-AA04-7F7D88B3D821}" srcOrd="1" destOrd="0" presId="urn:microsoft.com/office/officeart/2005/8/layout/process1"/>
    <dgm:cxn modelId="{1E26AC70-51FB-4010-916F-6C02EA989A52}" type="presOf" srcId="{910309D4-F399-4AD9-B51B-6554CABBB2B7}" destId="{E22ED027-5259-49DA-AE3E-8F1DD7A9E614}" srcOrd="0" destOrd="0" presId="urn:microsoft.com/office/officeart/2005/8/layout/process1"/>
    <dgm:cxn modelId="{36328276-0E12-46E5-BD6B-1088ECC6DD6C}" type="presOf" srcId="{21967689-38CE-42FC-A480-2F7BC11CC2C3}" destId="{A0CC4397-EE66-4DAA-B6C5-770C5AECD80C}" srcOrd="0" destOrd="0" presId="urn:microsoft.com/office/officeart/2005/8/layout/process1"/>
    <dgm:cxn modelId="{B1734D58-B030-4B08-A846-F3509BFD69AE}" type="presOf" srcId="{BFCB0C2A-7387-417B-97EF-F8DBF5D4C1AF}" destId="{820AC21A-A11C-443F-B149-8DD9B9F9DDE2}" srcOrd="0" destOrd="0" presId="urn:microsoft.com/office/officeart/2005/8/layout/process1"/>
    <dgm:cxn modelId="{D3DF527F-0F79-4BD5-9B62-73BC24B6AAAA}" srcId="{C43CBA68-EE22-4A02-BF5B-2AD96A0874BE}" destId="{1CA1485C-E46F-4250-9876-C4497CFE8F56}" srcOrd="0" destOrd="0" parTransId="{E3D494EC-4F46-42D8-B135-32925923777F}" sibTransId="{910309D4-F399-4AD9-B51B-6554CABBB2B7}"/>
    <dgm:cxn modelId="{A36555AA-6B60-4A9F-84D7-45B1356A1B8C}" srcId="{C43CBA68-EE22-4A02-BF5B-2AD96A0874BE}" destId="{483BED03-C6C7-4870-BD2F-5A209AF38941}" srcOrd="3" destOrd="0" parTransId="{F25ED3C1-A66E-4DD1-A0F8-967C35439D41}" sibTransId="{21967689-38CE-42FC-A480-2F7BC11CC2C3}"/>
    <dgm:cxn modelId="{E9780EBC-8C2D-4D79-A2C8-7E06967FDF14}" type="presOf" srcId="{531826AB-C24A-4B83-932B-A3BBFE69082A}" destId="{8DD3842F-816F-4D92-9D63-D61E1F1F9790}" srcOrd="0" destOrd="0" presId="urn:microsoft.com/office/officeart/2005/8/layout/process1"/>
    <dgm:cxn modelId="{63E3A2C3-20B0-477D-9920-28CB95037F21}" type="presOf" srcId="{483BED03-C6C7-4870-BD2F-5A209AF38941}" destId="{366AF274-9BF0-4C9B-8FF8-03F73F634CFA}" srcOrd="0" destOrd="0" presId="urn:microsoft.com/office/officeart/2005/8/layout/process1"/>
    <dgm:cxn modelId="{5F3633CD-320C-4FF7-B5F0-632E875656BA}" srcId="{C43CBA68-EE22-4A02-BF5B-2AD96A0874BE}" destId="{BFCB0C2A-7387-417B-97EF-F8DBF5D4C1AF}" srcOrd="1" destOrd="0" parTransId="{2714B575-EB9F-4032-9AE4-6FB7CD65AC9C}" sibTransId="{E97BCE52-A550-42D4-96F9-3916AEA99FA4}"/>
    <dgm:cxn modelId="{B2185BCE-0BD9-4EA0-B2E4-FBD09CBAC6E6}" type="presOf" srcId="{910309D4-F399-4AD9-B51B-6554CABBB2B7}" destId="{F7272CA0-11D7-4C9F-8964-74B036B8BA7F}" srcOrd="1" destOrd="0" presId="urn:microsoft.com/office/officeart/2005/8/layout/process1"/>
    <dgm:cxn modelId="{4245B2D5-15A2-40B2-8F92-32944CFF3CF8}" srcId="{C43CBA68-EE22-4A02-BF5B-2AD96A0874BE}" destId="{23A6AB2B-E9DA-487D-BDD9-CB6A0B7D1B9F}" srcOrd="2" destOrd="0" parTransId="{3EFB378F-1CAF-4104-A6F4-0E4E38EE340F}" sibTransId="{634631D0-233B-4BD1-A8E3-08DFDC892F51}"/>
    <dgm:cxn modelId="{CD498EE5-6A01-46A4-B682-C69DCB320AB5}" type="presOf" srcId="{E97BCE52-A550-42D4-96F9-3916AEA99FA4}" destId="{8615BEAE-6CBA-4BE9-858A-45E6A38FF25B}" srcOrd="1" destOrd="0" presId="urn:microsoft.com/office/officeart/2005/8/layout/process1"/>
    <dgm:cxn modelId="{53CE35E9-DE38-4716-A139-C7C4B27EF47C}" type="presOf" srcId="{E97BCE52-A550-42D4-96F9-3916AEA99FA4}" destId="{1BDD5E05-EA8E-4409-8FAA-9FA5A0171D45}" srcOrd="0" destOrd="0" presId="urn:microsoft.com/office/officeart/2005/8/layout/process1"/>
    <dgm:cxn modelId="{EE32047E-AE69-496C-801F-CB6618A3A177}" type="presParOf" srcId="{E91DEDB5-2463-4409-8C37-1FF961CD978E}" destId="{8D099B59-640B-400D-9D70-4F8C2A404E9E}" srcOrd="0" destOrd="0" presId="urn:microsoft.com/office/officeart/2005/8/layout/process1"/>
    <dgm:cxn modelId="{FC4452B4-33ED-444C-B17B-D6601D635A77}" type="presParOf" srcId="{E91DEDB5-2463-4409-8C37-1FF961CD978E}" destId="{E22ED027-5259-49DA-AE3E-8F1DD7A9E614}" srcOrd="1" destOrd="0" presId="urn:microsoft.com/office/officeart/2005/8/layout/process1"/>
    <dgm:cxn modelId="{A881E1A7-AF55-4A0B-A135-910FB2044EC7}" type="presParOf" srcId="{E22ED027-5259-49DA-AE3E-8F1DD7A9E614}" destId="{F7272CA0-11D7-4C9F-8964-74B036B8BA7F}" srcOrd="0" destOrd="0" presId="urn:microsoft.com/office/officeart/2005/8/layout/process1"/>
    <dgm:cxn modelId="{48A6F8CA-AE9F-48F1-8D3D-3378B6768D77}" type="presParOf" srcId="{E91DEDB5-2463-4409-8C37-1FF961CD978E}" destId="{820AC21A-A11C-443F-B149-8DD9B9F9DDE2}" srcOrd="2" destOrd="0" presId="urn:microsoft.com/office/officeart/2005/8/layout/process1"/>
    <dgm:cxn modelId="{DCA8C88E-60C5-4582-A9AC-16BE9D917666}" type="presParOf" srcId="{E91DEDB5-2463-4409-8C37-1FF961CD978E}" destId="{1BDD5E05-EA8E-4409-8FAA-9FA5A0171D45}" srcOrd="3" destOrd="0" presId="urn:microsoft.com/office/officeart/2005/8/layout/process1"/>
    <dgm:cxn modelId="{A191A2D3-CC4F-41ED-8B02-8852B8BE38A6}" type="presParOf" srcId="{1BDD5E05-EA8E-4409-8FAA-9FA5A0171D45}" destId="{8615BEAE-6CBA-4BE9-858A-45E6A38FF25B}" srcOrd="0" destOrd="0" presId="urn:microsoft.com/office/officeart/2005/8/layout/process1"/>
    <dgm:cxn modelId="{167E99C4-9174-4DE0-BACD-C3C87BD97CF7}" type="presParOf" srcId="{E91DEDB5-2463-4409-8C37-1FF961CD978E}" destId="{3C969E22-BBD7-476E-B87F-46284FF29C96}" srcOrd="4" destOrd="0" presId="urn:microsoft.com/office/officeart/2005/8/layout/process1"/>
    <dgm:cxn modelId="{8BC8A3D4-85E8-433B-95AE-0E9CB3B84117}" type="presParOf" srcId="{E91DEDB5-2463-4409-8C37-1FF961CD978E}" destId="{A7955764-1EB2-4E0A-AB13-D66673934F83}" srcOrd="5" destOrd="0" presId="urn:microsoft.com/office/officeart/2005/8/layout/process1"/>
    <dgm:cxn modelId="{DE37D05B-E4E8-4899-ACDA-D9A66A20F876}" type="presParOf" srcId="{A7955764-1EB2-4E0A-AB13-D66673934F83}" destId="{4FFD732C-9E36-46C6-A07E-6EC4191065C4}" srcOrd="0" destOrd="0" presId="urn:microsoft.com/office/officeart/2005/8/layout/process1"/>
    <dgm:cxn modelId="{985492C0-7184-482B-8FFA-DDB6C0B93B37}" type="presParOf" srcId="{E91DEDB5-2463-4409-8C37-1FF961CD978E}" destId="{366AF274-9BF0-4C9B-8FF8-03F73F634CFA}" srcOrd="6" destOrd="0" presId="urn:microsoft.com/office/officeart/2005/8/layout/process1"/>
    <dgm:cxn modelId="{25B2893A-B627-4A88-9DD1-1BE12EEEAE9D}" type="presParOf" srcId="{E91DEDB5-2463-4409-8C37-1FF961CD978E}" destId="{A0CC4397-EE66-4DAA-B6C5-770C5AECD80C}" srcOrd="7" destOrd="0" presId="urn:microsoft.com/office/officeart/2005/8/layout/process1"/>
    <dgm:cxn modelId="{24CFADC4-2F44-406D-A937-23BADB0A8435}" type="presParOf" srcId="{A0CC4397-EE66-4DAA-B6C5-770C5AECD80C}" destId="{F96D7AC6-F77B-45CB-AA04-7F7D88B3D821}" srcOrd="0" destOrd="0" presId="urn:microsoft.com/office/officeart/2005/8/layout/process1"/>
    <dgm:cxn modelId="{CB9BE2D3-6BEE-4230-B5DC-5F39D5379AFE}" type="presParOf" srcId="{E91DEDB5-2463-4409-8C37-1FF961CD978E}" destId="{8DD3842F-816F-4D92-9D63-D61E1F1F9790}"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3693FD8C-D166-4EED-9812-BF841E736705}" type="doc">
      <dgm:prSet loTypeId="urn:microsoft.com/office/officeart/2005/8/layout/vProcess5" loCatId="process" qsTypeId="urn:microsoft.com/office/officeart/2005/8/quickstyle/simple1" qsCatId="simple" csTypeId="urn:microsoft.com/office/officeart/2005/8/colors/accent1_4" csCatId="accent1" phldr="1"/>
      <dgm:spPr/>
      <dgm:t>
        <a:bodyPr/>
        <a:lstStyle/>
        <a:p>
          <a:endParaRPr lang="es-ES"/>
        </a:p>
      </dgm:t>
    </dgm:pt>
    <dgm:pt modelId="{7722A559-8BEB-4E59-9DE8-62227F4CE910}">
      <dgm:prSet phldrT="[Texto]" custT="1"/>
      <dgm:spPr/>
      <dgm:t>
        <a:bodyPr/>
        <a:lstStyle/>
        <a:p>
          <a:r>
            <a:rPr lang="es-ES" sz="1600" dirty="0"/>
            <a:t>Conjunto de </a:t>
          </a:r>
          <a:r>
            <a:rPr lang="es-ES" sz="1600" dirty="0">
              <a:highlight>
                <a:srgbClr val="0000FF"/>
              </a:highlight>
            </a:rPr>
            <a:t>técnicas estadístico-matemáticas ejecutadas por computadoras</a:t>
          </a:r>
          <a:r>
            <a:rPr lang="es-ES" sz="1600" dirty="0"/>
            <a:t>.</a:t>
          </a:r>
        </a:p>
      </dgm:t>
    </dgm:pt>
    <dgm:pt modelId="{CD1FA8DD-14FC-486F-8393-05229782256B}" type="parTrans" cxnId="{F3F99149-E75F-4942-8E27-1F204BF0A533}">
      <dgm:prSet/>
      <dgm:spPr/>
      <dgm:t>
        <a:bodyPr/>
        <a:lstStyle/>
        <a:p>
          <a:endParaRPr lang="es-ES" sz="1600"/>
        </a:p>
      </dgm:t>
    </dgm:pt>
    <dgm:pt modelId="{093566D7-A57F-4835-893B-4A48AC81C7E8}" type="sibTrans" cxnId="{F3F99149-E75F-4942-8E27-1F204BF0A533}">
      <dgm:prSet custT="1"/>
      <dgm:spPr/>
      <dgm:t>
        <a:bodyPr/>
        <a:lstStyle/>
        <a:p>
          <a:endParaRPr lang="es-ES" sz="1600" dirty="0"/>
        </a:p>
      </dgm:t>
    </dgm:pt>
    <dgm:pt modelId="{CB4B73C7-4927-4EAE-8B69-67222408D8DB}">
      <dgm:prSet custT="1"/>
      <dgm:spPr/>
      <dgm:t>
        <a:bodyPr/>
        <a:lstStyle/>
        <a:p>
          <a:r>
            <a:rPr lang="es-ES" sz="1600" dirty="0"/>
            <a:t>Ingesta </a:t>
          </a:r>
          <a:r>
            <a:rPr lang="es-ES" sz="1600" dirty="0">
              <a:highlight>
                <a:srgbClr val="0000FF"/>
              </a:highlight>
            </a:rPr>
            <a:t>datos</a:t>
          </a:r>
          <a:r>
            <a:rPr lang="es-ES" sz="1600" dirty="0"/>
            <a:t> con las características de las personas, procesos, fenómenos etc.… </a:t>
          </a:r>
        </a:p>
      </dgm:t>
    </dgm:pt>
    <dgm:pt modelId="{3C51C617-2C98-486C-949F-F357B40F6900}" type="parTrans" cxnId="{AEA5D96E-5AD5-4CBF-A704-1428A1714B3D}">
      <dgm:prSet/>
      <dgm:spPr/>
      <dgm:t>
        <a:bodyPr/>
        <a:lstStyle/>
        <a:p>
          <a:endParaRPr lang="es-ES" sz="1600"/>
        </a:p>
      </dgm:t>
    </dgm:pt>
    <dgm:pt modelId="{AFE020B9-DECF-4B12-8EE6-9D2E32F52890}" type="sibTrans" cxnId="{AEA5D96E-5AD5-4CBF-A704-1428A1714B3D}">
      <dgm:prSet custT="1"/>
      <dgm:spPr/>
      <dgm:t>
        <a:bodyPr/>
        <a:lstStyle/>
        <a:p>
          <a:endParaRPr lang="es-ES" sz="1600" dirty="0"/>
        </a:p>
      </dgm:t>
    </dgm:pt>
    <dgm:pt modelId="{4837DF9D-5FD1-4396-ADBC-50A1DD796C31}">
      <dgm:prSet custT="1"/>
      <dgm:spPr/>
      <dgm:t>
        <a:bodyPr/>
        <a:lstStyle/>
        <a:p>
          <a:r>
            <a:rPr lang="es-ES" sz="1600" dirty="0">
              <a:highlight>
                <a:srgbClr val="0000FF"/>
              </a:highlight>
            </a:rPr>
            <a:t>Información: </a:t>
          </a:r>
          <a:r>
            <a:rPr lang="es-ES" sz="1600" dirty="0"/>
            <a:t>Se asocian a Sistemas de recomendación para generar sugerencias, presentación de productos, etc. adaptándose automáticamente a requerimientos / necesidades del cliente / ciudadano.</a:t>
          </a:r>
        </a:p>
      </dgm:t>
    </dgm:pt>
    <dgm:pt modelId="{6FDD7EBF-FC7B-4958-8B83-E8B5B6543795}" type="parTrans" cxnId="{DA5F929A-4905-43AC-8840-88DA5459AFD2}">
      <dgm:prSet/>
      <dgm:spPr/>
      <dgm:t>
        <a:bodyPr/>
        <a:lstStyle/>
        <a:p>
          <a:endParaRPr lang="es-ES" sz="1600"/>
        </a:p>
      </dgm:t>
    </dgm:pt>
    <dgm:pt modelId="{1A4C6EE7-255E-41D1-9120-3E5D9C309D9A}" type="sibTrans" cxnId="{DA5F929A-4905-43AC-8840-88DA5459AFD2}">
      <dgm:prSet/>
      <dgm:spPr/>
      <dgm:t>
        <a:bodyPr/>
        <a:lstStyle/>
        <a:p>
          <a:endParaRPr lang="es-ES" sz="1600"/>
        </a:p>
      </dgm:t>
    </dgm:pt>
    <dgm:pt modelId="{18A1BEFB-8A74-469A-B984-425F741385C1}">
      <dgm:prSet custT="1"/>
      <dgm:spPr/>
      <dgm:t>
        <a:bodyPr/>
        <a:lstStyle/>
        <a:p>
          <a:r>
            <a:rPr lang="es-ES" sz="1600" dirty="0"/>
            <a:t>Los algoritmos aprenden continuamente de los datos del pasado para  evaluar situaciones futuras…el proceso se va perfeccionando casi automáticamente a través del </a:t>
          </a:r>
          <a:r>
            <a:rPr lang="es-ES" sz="1600" dirty="0">
              <a:highlight>
                <a:srgbClr val="0000FF"/>
              </a:highlight>
            </a:rPr>
            <a:t>aprendizaje</a:t>
          </a:r>
          <a:r>
            <a:rPr lang="es-ES" sz="1600" dirty="0"/>
            <a:t>.</a:t>
          </a:r>
        </a:p>
      </dgm:t>
    </dgm:pt>
    <dgm:pt modelId="{1312E3C7-E7D7-4EC7-B9D8-161D6B18C2EE}" type="parTrans" cxnId="{B1C49907-C558-452B-90E9-0CEB9215B3AC}">
      <dgm:prSet/>
      <dgm:spPr/>
      <dgm:t>
        <a:bodyPr/>
        <a:lstStyle/>
        <a:p>
          <a:endParaRPr lang="es-ES" sz="1600"/>
        </a:p>
      </dgm:t>
    </dgm:pt>
    <dgm:pt modelId="{D32BFE11-845E-48A9-848F-B6A317564595}" type="sibTrans" cxnId="{B1C49907-C558-452B-90E9-0CEB9215B3AC}">
      <dgm:prSet custT="1"/>
      <dgm:spPr/>
      <dgm:t>
        <a:bodyPr/>
        <a:lstStyle/>
        <a:p>
          <a:endParaRPr lang="es-ES" sz="1600" dirty="0"/>
        </a:p>
      </dgm:t>
    </dgm:pt>
    <dgm:pt modelId="{B6D2C595-CAA9-4F67-B508-456180511A51}">
      <dgm:prSet custT="1"/>
      <dgm:spPr/>
      <dgm:t>
        <a:bodyPr/>
        <a:lstStyle/>
        <a:p>
          <a:r>
            <a:rPr lang="es-ES" sz="1600" dirty="0"/>
            <a:t>Se extraen </a:t>
          </a:r>
          <a:r>
            <a:rPr lang="es-ES" sz="1600" dirty="0">
              <a:highlight>
                <a:srgbClr val="0000FF"/>
              </a:highlight>
            </a:rPr>
            <a:t>patrones</a:t>
          </a:r>
          <a:r>
            <a:rPr lang="es-ES" sz="1600" dirty="0"/>
            <a:t>, relaciones y tendencias de los datos que no son visibles con otras técnicas de datos</a:t>
          </a:r>
        </a:p>
      </dgm:t>
    </dgm:pt>
    <dgm:pt modelId="{2C3B54FD-AA6E-4436-9EBE-BD95F89034B4}" type="parTrans" cxnId="{4821BC61-C18A-49D5-A36A-A85E0961196E}">
      <dgm:prSet/>
      <dgm:spPr/>
      <dgm:t>
        <a:bodyPr/>
        <a:lstStyle/>
        <a:p>
          <a:endParaRPr lang="es-ES" sz="1600"/>
        </a:p>
      </dgm:t>
    </dgm:pt>
    <dgm:pt modelId="{D757AFAE-250C-4D97-9F18-7EE55EC3788C}" type="sibTrans" cxnId="{4821BC61-C18A-49D5-A36A-A85E0961196E}">
      <dgm:prSet custT="1"/>
      <dgm:spPr/>
      <dgm:t>
        <a:bodyPr/>
        <a:lstStyle/>
        <a:p>
          <a:endParaRPr lang="es-ES" sz="1600" dirty="0"/>
        </a:p>
      </dgm:t>
    </dgm:pt>
    <dgm:pt modelId="{E2E8D59F-8A12-4ED4-9CFF-D4489DC5D17C}" type="pres">
      <dgm:prSet presAssocID="{3693FD8C-D166-4EED-9812-BF841E736705}" presName="outerComposite" presStyleCnt="0">
        <dgm:presLayoutVars>
          <dgm:chMax val="5"/>
          <dgm:dir/>
          <dgm:resizeHandles val="exact"/>
        </dgm:presLayoutVars>
      </dgm:prSet>
      <dgm:spPr/>
    </dgm:pt>
    <dgm:pt modelId="{1395D7B1-8EC5-49A1-9220-E84FFB72345D}" type="pres">
      <dgm:prSet presAssocID="{3693FD8C-D166-4EED-9812-BF841E736705}" presName="dummyMaxCanvas" presStyleCnt="0">
        <dgm:presLayoutVars/>
      </dgm:prSet>
      <dgm:spPr/>
    </dgm:pt>
    <dgm:pt modelId="{6B942108-5A32-4C8A-B513-5ADA75CF1004}" type="pres">
      <dgm:prSet presAssocID="{3693FD8C-D166-4EED-9812-BF841E736705}" presName="FiveNodes_1" presStyleLbl="node1" presStyleIdx="0" presStyleCnt="5">
        <dgm:presLayoutVars>
          <dgm:bulletEnabled val="1"/>
        </dgm:presLayoutVars>
      </dgm:prSet>
      <dgm:spPr/>
    </dgm:pt>
    <dgm:pt modelId="{95432E17-67A7-4B21-851F-2C687086D19E}" type="pres">
      <dgm:prSet presAssocID="{3693FD8C-D166-4EED-9812-BF841E736705}" presName="FiveNodes_2" presStyleLbl="node1" presStyleIdx="1" presStyleCnt="5">
        <dgm:presLayoutVars>
          <dgm:bulletEnabled val="1"/>
        </dgm:presLayoutVars>
      </dgm:prSet>
      <dgm:spPr/>
    </dgm:pt>
    <dgm:pt modelId="{2687C358-722C-4385-A57A-0800F8129330}" type="pres">
      <dgm:prSet presAssocID="{3693FD8C-D166-4EED-9812-BF841E736705}" presName="FiveNodes_3" presStyleLbl="node1" presStyleIdx="2" presStyleCnt="5">
        <dgm:presLayoutVars>
          <dgm:bulletEnabled val="1"/>
        </dgm:presLayoutVars>
      </dgm:prSet>
      <dgm:spPr/>
    </dgm:pt>
    <dgm:pt modelId="{D813FBF4-9372-4F0A-9CC5-69B2C4728C47}" type="pres">
      <dgm:prSet presAssocID="{3693FD8C-D166-4EED-9812-BF841E736705}" presName="FiveNodes_4" presStyleLbl="node1" presStyleIdx="3" presStyleCnt="5">
        <dgm:presLayoutVars>
          <dgm:bulletEnabled val="1"/>
        </dgm:presLayoutVars>
      </dgm:prSet>
      <dgm:spPr/>
    </dgm:pt>
    <dgm:pt modelId="{8F2DDB28-2D3F-45E4-8B07-1C898EBCE100}" type="pres">
      <dgm:prSet presAssocID="{3693FD8C-D166-4EED-9812-BF841E736705}" presName="FiveNodes_5" presStyleLbl="node1" presStyleIdx="4" presStyleCnt="5">
        <dgm:presLayoutVars>
          <dgm:bulletEnabled val="1"/>
        </dgm:presLayoutVars>
      </dgm:prSet>
      <dgm:spPr/>
    </dgm:pt>
    <dgm:pt modelId="{A9448FBC-2AAE-4192-B363-57D0F557479B}" type="pres">
      <dgm:prSet presAssocID="{3693FD8C-D166-4EED-9812-BF841E736705}" presName="FiveConn_1-2" presStyleLbl="fgAccFollowNode1" presStyleIdx="0" presStyleCnt="4">
        <dgm:presLayoutVars>
          <dgm:bulletEnabled val="1"/>
        </dgm:presLayoutVars>
      </dgm:prSet>
      <dgm:spPr/>
    </dgm:pt>
    <dgm:pt modelId="{60040D63-7375-481C-AE3B-89FEBC72E053}" type="pres">
      <dgm:prSet presAssocID="{3693FD8C-D166-4EED-9812-BF841E736705}" presName="FiveConn_2-3" presStyleLbl="fgAccFollowNode1" presStyleIdx="1" presStyleCnt="4">
        <dgm:presLayoutVars>
          <dgm:bulletEnabled val="1"/>
        </dgm:presLayoutVars>
      </dgm:prSet>
      <dgm:spPr/>
    </dgm:pt>
    <dgm:pt modelId="{6A2239BE-8EF9-48E6-B8C1-0AC9B6240727}" type="pres">
      <dgm:prSet presAssocID="{3693FD8C-D166-4EED-9812-BF841E736705}" presName="FiveConn_3-4" presStyleLbl="fgAccFollowNode1" presStyleIdx="2" presStyleCnt="4">
        <dgm:presLayoutVars>
          <dgm:bulletEnabled val="1"/>
        </dgm:presLayoutVars>
      </dgm:prSet>
      <dgm:spPr/>
    </dgm:pt>
    <dgm:pt modelId="{76981F0C-D753-4576-BDF1-CE6D68B665C7}" type="pres">
      <dgm:prSet presAssocID="{3693FD8C-D166-4EED-9812-BF841E736705}" presName="FiveConn_4-5" presStyleLbl="fgAccFollowNode1" presStyleIdx="3" presStyleCnt="4">
        <dgm:presLayoutVars>
          <dgm:bulletEnabled val="1"/>
        </dgm:presLayoutVars>
      </dgm:prSet>
      <dgm:spPr/>
    </dgm:pt>
    <dgm:pt modelId="{B236699A-3098-4EAC-8099-35036D1F0579}" type="pres">
      <dgm:prSet presAssocID="{3693FD8C-D166-4EED-9812-BF841E736705}" presName="FiveNodes_1_text" presStyleLbl="node1" presStyleIdx="4" presStyleCnt="5">
        <dgm:presLayoutVars>
          <dgm:bulletEnabled val="1"/>
        </dgm:presLayoutVars>
      </dgm:prSet>
      <dgm:spPr/>
    </dgm:pt>
    <dgm:pt modelId="{9339A977-C2EC-44F9-B280-F204ADF1DB55}" type="pres">
      <dgm:prSet presAssocID="{3693FD8C-D166-4EED-9812-BF841E736705}" presName="FiveNodes_2_text" presStyleLbl="node1" presStyleIdx="4" presStyleCnt="5">
        <dgm:presLayoutVars>
          <dgm:bulletEnabled val="1"/>
        </dgm:presLayoutVars>
      </dgm:prSet>
      <dgm:spPr/>
    </dgm:pt>
    <dgm:pt modelId="{EE996E77-8EA1-4BA8-BA4C-3EFAF333D5C5}" type="pres">
      <dgm:prSet presAssocID="{3693FD8C-D166-4EED-9812-BF841E736705}" presName="FiveNodes_3_text" presStyleLbl="node1" presStyleIdx="4" presStyleCnt="5">
        <dgm:presLayoutVars>
          <dgm:bulletEnabled val="1"/>
        </dgm:presLayoutVars>
      </dgm:prSet>
      <dgm:spPr/>
    </dgm:pt>
    <dgm:pt modelId="{44678F48-D3FB-475C-98D8-EDE9DF547214}" type="pres">
      <dgm:prSet presAssocID="{3693FD8C-D166-4EED-9812-BF841E736705}" presName="FiveNodes_4_text" presStyleLbl="node1" presStyleIdx="4" presStyleCnt="5">
        <dgm:presLayoutVars>
          <dgm:bulletEnabled val="1"/>
        </dgm:presLayoutVars>
      </dgm:prSet>
      <dgm:spPr/>
    </dgm:pt>
    <dgm:pt modelId="{C89EE697-85B1-469F-9CA6-3427857EB5DA}" type="pres">
      <dgm:prSet presAssocID="{3693FD8C-D166-4EED-9812-BF841E736705}" presName="FiveNodes_5_text" presStyleLbl="node1" presStyleIdx="4" presStyleCnt="5">
        <dgm:presLayoutVars>
          <dgm:bulletEnabled val="1"/>
        </dgm:presLayoutVars>
      </dgm:prSet>
      <dgm:spPr/>
    </dgm:pt>
  </dgm:ptLst>
  <dgm:cxnLst>
    <dgm:cxn modelId="{593A2700-C2A3-4404-B080-65D518090AE7}" type="presOf" srcId="{AFE020B9-DECF-4B12-8EE6-9D2E32F52890}" destId="{60040D63-7375-481C-AE3B-89FEBC72E053}" srcOrd="0" destOrd="0" presId="urn:microsoft.com/office/officeart/2005/8/layout/vProcess5"/>
    <dgm:cxn modelId="{B1C49907-C558-452B-90E9-0CEB9215B3AC}" srcId="{3693FD8C-D166-4EED-9812-BF841E736705}" destId="{18A1BEFB-8A74-469A-B984-425F741385C1}" srcOrd="2" destOrd="0" parTransId="{1312E3C7-E7D7-4EC7-B9D8-161D6B18C2EE}" sibTransId="{D32BFE11-845E-48A9-848F-B6A317564595}"/>
    <dgm:cxn modelId="{9D217221-9D01-4624-90D4-844C87C05113}" type="presOf" srcId="{D32BFE11-845E-48A9-848F-B6A317564595}" destId="{6A2239BE-8EF9-48E6-B8C1-0AC9B6240727}" srcOrd="0" destOrd="0" presId="urn:microsoft.com/office/officeart/2005/8/layout/vProcess5"/>
    <dgm:cxn modelId="{5A998D21-B536-42A5-9A6B-3DF240CAAA23}" type="presOf" srcId="{CB4B73C7-4927-4EAE-8B69-67222408D8DB}" destId="{9339A977-C2EC-44F9-B280-F204ADF1DB55}" srcOrd="1" destOrd="0" presId="urn:microsoft.com/office/officeart/2005/8/layout/vProcess5"/>
    <dgm:cxn modelId="{A119B638-F604-4779-8231-15E148E78425}" type="presOf" srcId="{7722A559-8BEB-4E59-9DE8-62227F4CE910}" destId="{B236699A-3098-4EAC-8099-35036D1F0579}" srcOrd="1" destOrd="0" presId="urn:microsoft.com/office/officeart/2005/8/layout/vProcess5"/>
    <dgm:cxn modelId="{4D3B6140-2B53-4ADE-9765-EF81BE35FB09}" type="presOf" srcId="{093566D7-A57F-4835-893B-4A48AC81C7E8}" destId="{A9448FBC-2AAE-4192-B363-57D0F557479B}" srcOrd="0" destOrd="0" presId="urn:microsoft.com/office/officeart/2005/8/layout/vProcess5"/>
    <dgm:cxn modelId="{4821BC61-C18A-49D5-A36A-A85E0961196E}" srcId="{3693FD8C-D166-4EED-9812-BF841E736705}" destId="{B6D2C595-CAA9-4F67-B508-456180511A51}" srcOrd="3" destOrd="0" parTransId="{2C3B54FD-AA6E-4436-9EBE-BD95F89034B4}" sibTransId="{D757AFAE-250C-4D97-9F18-7EE55EC3788C}"/>
    <dgm:cxn modelId="{D3C93266-DA14-4499-829B-63A769E30EC6}" type="presOf" srcId="{4837DF9D-5FD1-4396-ADBC-50A1DD796C31}" destId="{C89EE697-85B1-469F-9CA6-3427857EB5DA}" srcOrd="1" destOrd="0" presId="urn:microsoft.com/office/officeart/2005/8/layout/vProcess5"/>
    <dgm:cxn modelId="{F3F99149-E75F-4942-8E27-1F204BF0A533}" srcId="{3693FD8C-D166-4EED-9812-BF841E736705}" destId="{7722A559-8BEB-4E59-9DE8-62227F4CE910}" srcOrd="0" destOrd="0" parTransId="{CD1FA8DD-14FC-486F-8393-05229782256B}" sibTransId="{093566D7-A57F-4835-893B-4A48AC81C7E8}"/>
    <dgm:cxn modelId="{AEA5D96E-5AD5-4CBF-A704-1428A1714B3D}" srcId="{3693FD8C-D166-4EED-9812-BF841E736705}" destId="{CB4B73C7-4927-4EAE-8B69-67222408D8DB}" srcOrd="1" destOrd="0" parTransId="{3C51C617-2C98-486C-949F-F357B40F6900}" sibTransId="{AFE020B9-DECF-4B12-8EE6-9D2E32F52890}"/>
    <dgm:cxn modelId="{BCA5F98E-9E84-4696-ADFF-0D474400D8EB}" type="presOf" srcId="{4837DF9D-5FD1-4396-ADBC-50A1DD796C31}" destId="{8F2DDB28-2D3F-45E4-8B07-1C898EBCE100}" srcOrd="0" destOrd="0" presId="urn:microsoft.com/office/officeart/2005/8/layout/vProcess5"/>
    <dgm:cxn modelId="{DA5F929A-4905-43AC-8840-88DA5459AFD2}" srcId="{3693FD8C-D166-4EED-9812-BF841E736705}" destId="{4837DF9D-5FD1-4396-ADBC-50A1DD796C31}" srcOrd="4" destOrd="0" parTransId="{6FDD7EBF-FC7B-4958-8B83-E8B5B6543795}" sibTransId="{1A4C6EE7-255E-41D1-9120-3E5D9C309D9A}"/>
    <dgm:cxn modelId="{F40F289B-DED4-46AA-ABA1-A9FC093E18EC}" type="presOf" srcId="{18A1BEFB-8A74-469A-B984-425F741385C1}" destId="{EE996E77-8EA1-4BA8-BA4C-3EFAF333D5C5}" srcOrd="1" destOrd="0" presId="urn:microsoft.com/office/officeart/2005/8/layout/vProcess5"/>
    <dgm:cxn modelId="{A99996B4-3F14-4105-A03D-0577CEA81544}" type="presOf" srcId="{7722A559-8BEB-4E59-9DE8-62227F4CE910}" destId="{6B942108-5A32-4C8A-B513-5ADA75CF1004}" srcOrd="0" destOrd="0" presId="urn:microsoft.com/office/officeart/2005/8/layout/vProcess5"/>
    <dgm:cxn modelId="{2F721EC9-AEA3-4658-96F7-1343F9B7B422}" type="presOf" srcId="{3693FD8C-D166-4EED-9812-BF841E736705}" destId="{E2E8D59F-8A12-4ED4-9CFF-D4489DC5D17C}" srcOrd="0" destOrd="0" presId="urn:microsoft.com/office/officeart/2005/8/layout/vProcess5"/>
    <dgm:cxn modelId="{E6735FCF-38A4-4128-AA94-26D503A242DF}" type="presOf" srcId="{B6D2C595-CAA9-4F67-B508-456180511A51}" destId="{44678F48-D3FB-475C-98D8-EDE9DF547214}" srcOrd="1" destOrd="0" presId="urn:microsoft.com/office/officeart/2005/8/layout/vProcess5"/>
    <dgm:cxn modelId="{E33B84DF-91D3-4F9C-8871-7DCDB9BD1E92}" type="presOf" srcId="{B6D2C595-CAA9-4F67-B508-456180511A51}" destId="{D813FBF4-9372-4F0A-9CC5-69B2C4728C47}" srcOrd="0" destOrd="0" presId="urn:microsoft.com/office/officeart/2005/8/layout/vProcess5"/>
    <dgm:cxn modelId="{863C56ED-6966-437C-BAC3-90420271805A}" type="presOf" srcId="{D757AFAE-250C-4D97-9F18-7EE55EC3788C}" destId="{76981F0C-D753-4576-BDF1-CE6D68B665C7}" srcOrd="0" destOrd="0" presId="urn:microsoft.com/office/officeart/2005/8/layout/vProcess5"/>
    <dgm:cxn modelId="{26FAC3F1-E986-48EB-B651-9E28AA7A9C18}" type="presOf" srcId="{CB4B73C7-4927-4EAE-8B69-67222408D8DB}" destId="{95432E17-67A7-4B21-851F-2C687086D19E}" srcOrd="0" destOrd="0" presId="urn:microsoft.com/office/officeart/2005/8/layout/vProcess5"/>
    <dgm:cxn modelId="{5755D3F3-F6C7-4222-91B3-61DA3E096D67}" type="presOf" srcId="{18A1BEFB-8A74-469A-B984-425F741385C1}" destId="{2687C358-722C-4385-A57A-0800F8129330}" srcOrd="0" destOrd="0" presId="urn:microsoft.com/office/officeart/2005/8/layout/vProcess5"/>
    <dgm:cxn modelId="{EDF5ABFE-BCAC-4593-89E8-6357B2D08A0E}" type="presParOf" srcId="{E2E8D59F-8A12-4ED4-9CFF-D4489DC5D17C}" destId="{1395D7B1-8EC5-49A1-9220-E84FFB72345D}" srcOrd="0" destOrd="0" presId="urn:microsoft.com/office/officeart/2005/8/layout/vProcess5"/>
    <dgm:cxn modelId="{B5CD5272-A911-45F2-B76B-9E50E5D33E3A}" type="presParOf" srcId="{E2E8D59F-8A12-4ED4-9CFF-D4489DC5D17C}" destId="{6B942108-5A32-4C8A-B513-5ADA75CF1004}" srcOrd="1" destOrd="0" presId="urn:microsoft.com/office/officeart/2005/8/layout/vProcess5"/>
    <dgm:cxn modelId="{ECE15728-1376-4CF0-9FC6-4A617D04CAF2}" type="presParOf" srcId="{E2E8D59F-8A12-4ED4-9CFF-D4489DC5D17C}" destId="{95432E17-67A7-4B21-851F-2C687086D19E}" srcOrd="2" destOrd="0" presId="urn:microsoft.com/office/officeart/2005/8/layout/vProcess5"/>
    <dgm:cxn modelId="{F46053AC-ED6C-4976-A463-F53343084C7C}" type="presParOf" srcId="{E2E8D59F-8A12-4ED4-9CFF-D4489DC5D17C}" destId="{2687C358-722C-4385-A57A-0800F8129330}" srcOrd="3" destOrd="0" presId="urn:microsoft.com/office/officeart/2005/8/layout/vProcess5"/>
    <dgm:cxn modelId="{C1CCD1E9-4090-4D35-8068-FB7F424973E5}" type="presParOf" srcId="{E2E8D59F-8A12-4ED4-9CFF-D4489DC5D17C}" destId="{D813FBF4-9372-4F0A-9CC5-69B2C4728C47}" srcOrd="4" destOrd="0" presId="urn:microsoft.com/office/officeart/2005/8/layout/vProcess5"/>
    <dgm:cxn modelId="{BFD1EFF0-BC7A-4231-8767-2D710CF634BB}" type="presParOf" srcId="{E2E8D59F-8A12-4ED4-9CFF-D4489DC5D17C}" destId="{8F2DDB28-2D3F-45E4-8B07-1C898EBCE100}" srcOrd="5" destOrd="0" presId="urn:microsoft.com/office/officeart/2005/8/layout/vProcess5"/>
    <dgm:cxn modelId="{EBC0C7EC-4FDA-4916-B66D-6473376C211A}" type="presParOf" srcId="{E2E8D59F-8A12-4ED4-9CFF-D4489DC5D17C}" destId="{A9448FBC-2AAE-4192-B363-57D0F557479B}" srcOrd="6" destOrd="0" presId="urn:microsoft.com/office/officeart/2005/8/layout/vProcess5"/>
    <dgm:cxn modelId="{E7677BCA-2546-409F-943D-55705D34F550}" type="presParOf" srcId="{E2E8D59F-8A12-4ED4-9CFF-D4489DC5D17C}" destId="{60040D63-7375-481C-AE3B-89FEBC72E053}" srcOrd="7" destOrd="0" presId="urn:microsoft.com/office/officeart/2005/8/layout/vProcess5"/>
    <dgm:cxn modelId="{7D9A2791-F609-441D-A5C2-062907F111CF}" type="presParOf" srcId="{E2E8D59F-8A12-4ED4-9CFF-D4489DC5D17C}" destId="{6A2239BE-8EF9-48E6-B8C1-0AC9B6240727}" srcOrd="8" destOrd="0" presId="urn:microsoft.com/office/officeart/2005/8/layout/vProcess5"/>
    <dgm:cxn modelId="{4D68FCD4-F0F0-4BEA-8C4C-E3AEBC2AE8F9}" type="presParOf" srcId="{E2E8D59F-8A12-4ED4-9CFF-D4489DC5D17C}" destId="{76981F0C-D753-4576-BDF1-CE6D68B665C7}" srcOrd="9" destOrd="0" presId="urn:microsoft.com/office/officeart/2005/8/layout/vProcess5"/>
    <dgm:cxn modelId="{FF066972-53F5-45D2-84C4-AAFB9FCD26D4}" type="presParOf" srcId="{E2E8D59F-8A12-4ED4-9CFF-D4489DC5D17C}" destId="{B236699A-3098-4EAC-8099-35036D1F0579}" srcOrd="10" destOrd="0" presId="urn:microsoft.com/office/officeart/2005/8/layout/vProcess5"/>
    <dgm:cxn modelId="{E7B6595E-FC59-4EC8-B8D5-75E60CDAA368}" type="presParOf" srcId="{E2E8D59F-8A12-4ED4-9CFF-D4489DC5D17C}" destId="{9339A977-C2EC-44F9-B280-F204ADF1DB55}" srcOrd="11" destOrd="0" presId="urn:microsoft.com/office/officeart/2005/8/layout/vProcess5"/>
    <dgm:cxn modelId="{0EE0AD8A-06F2-43F7-9066-DB10ED691E74}" type="presParOf" srcId="{E2E8D59F-8A12-4ED4-9CFF-D4489DC5D17C}" destId="{EE996E77-8EA1-4BA8-BA4C-3EFAF333D5C5}" srcOrd="12" destOrd="0" presId="urn:microsoft.com/office/officeart/2005/8/layout/vProcess5"/>
    <dgm:cxn modelId="{A13B5675-C6A8-4ACA-B665-AA250553E1E2}" type="presParOf" srcId="{E2E8D59F-8A12-4ED4-9CFF-D4489DC5D17C}" destId="{44678F48-D3FB-475C-98D8-EDE9DF547214}" srcOrd="13" destOrd="0" presId="urn:microsoft.com/office/officeart/2005/8/layout/vProcess5"/>
    <dgm:cxn modelId="{1B89F933-AED6-4DDB-8114-EF6DD9D92680}" type="presParOf" srcId="{E2E8D59F-8A12-4ED4-9CFF-D4489DC5D17C}" destId="{C89EE697-85B1-469F-9CA6-3427857EB5DA}"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EA3C28F5-76E1-4307-837A-B7369DC26E3E}" type="doc">
      <dgm:prSet loTypeId="urn:microsoft.com/office/officeart/2005/8/layout/hList1" loCatId="list" qsTypeId="urn:microsoft.com/office/officeart/2005/8/quickstyle/simple1" qsCatId="simple" csTypeId="urn:microsoft.com/office/officeart/2005/8/colors/accent1_3" csCatId="accent1" phldr="1"/>
      <dgm:spPr/>
      <dgm:t>
        <a:bodyPr/>
        <a:lstStyle/>
        <a:p>
          <a:endParaRPr lang="es-ES"/>
        </a:p>
      </dgm:t>
    </dgm:pt>
    <dgm:pt modelId="{59FB7AA7-2DF9-4A15-9032-A2877CB873F3}">
      <dgm:prSet phldrT="[Texto]" custT="1"/>
      <dgm:spPr/>
      <dgm:t>
        <a:bodyPr/>
        <a:lstStyle/>
        <a:p>
          <a:r>
            <a:rPr lang="es-ES" sz="1600" b="1" dirty="0"/>
            <a:t>Clasificar / explicar</a:t>
          </a:r>
        </a:p>
      </dgm:t>
    </dgm:pt>
    <dgm:pt modelId="{EFD40EE5-0312-488A-A203-DACABCB788E7}" type="parTrans" cxnId="{F0A56E31-2503-4040-B582-645D404E8D02}">
      <dgm:prSet/>
      <dgm:spPr/>
      <dgm:t>
        <a:bodyPr/>
        <a:lstStyle/>
        <a:p>
          <a:endParaRPr lang="es-ES" sz="2000"/>
        </a:p>
      </dgm:t>
    </dgm:pt>
    <dgm:pt modelId="{21352D89-9CDC-4008-A12C-3EF77242CDBE}" type="sibTrans" cxnId="{F0A56E31-2503-4040-B582-645D404E8D02}">
      <dgm:prSet/>
      <dgm:spPr/>
      <dgm:t>
        <a:bodyPr/>
        <a:lstStyle/>
        <a:p>
          <a:endParaRPr lang="es-ES" sz="2000"/>
        </a:p>
      </dgm:t>
    </dgm:pt>
    <dgm:pt modelId="{2CEBCE7A-D80F-41A0-A8CE-1AEB9F7CFFC2}">
      <dgm:prSet custT="1"/>
      <dgm:spPr/>
      <dgm:t>
        <a:bodyPr/>
        <a:lstStyle/>
        <a:p>
          <a:r>
            <a:rPr lang="es-ES" sz="1600" dirty="0"/>
            <a:t>Reconocer el grupo/clase de personas, sucesos o cosas para responder/gestionarlos de forma más eficiente</a:t>
          </a:r>
        </a:p>
      </dgm:t>
    </dgm:pt>
    <dgm:pt modelId="{D248E017-ACB0-41A9-BBF2-EF05BE282C20}" type="parTrans" cxnId="{4E2A0968-E240-4311-A976-9A15174F2698}">
      <dgm:prSet/>
      <dgm:spPr/>
      <dgm:t>
        <a:bodyPr/>
        <a:lstStyle/>
        <a:p>
          <a:endParaRPr lang="es-ES" sz="2000"/>
        </a:p>
      </dgm:t>
    </dgm:pt>
    <dgm:pt modelId="{9C5714E4-7B57-409E-A6FB-E14F2CD0B4B2}" type="sibTrans" cxnId="{4E2A0968-E240-4311-A976-9A15174F2698}">
      <dgm:prSet/>
      <dgm:spPr/>
      <dgm:t>
        <a:bodyPr/>
        <a:lstStyle/>
        <a:p>
          <a:endParaRPr lang="es-ES" sz="2000"/>
        </a:p>
      </dgm:t>
    </dgm:pt>
    <dgm:pt modelId="{3B3DFF3A-F3C3-4B50-A72D-47D6FF240403}">
      <dgm:prSet custT="1"/>
      <dgm:spPr/>
      <dgm:t>
        <a:bodyPr/>
        <a:lstStyle/>
        <a:p>
          <a:r>
            <a:rPr lang="es-ES" sz="1600" dirty="0"/>
            <a:t>Eje: Segmentación de usuarios para actividades de marketing/ofertas dirigidas</a:t>
          </a:r>
        </a:p>
      </dgm:t>
    </dgm:pt>
    <dgm:pt modelId="{152E0523-2C94-4BC5-9CC4-AB8D20CD965A}" type="parTrans" cxnId="{64BE39D6-B794-4D05-8883-1D487466DC90}">
      <dgm:prSet/>
      <dgm:spPr/>
      <dgm:t>
        <a:bodyPr/>
        <a:lstStyle/>
        <a:p>
          <a:endParaRPr lang="es-ES" sz="2000"/>
        </a:p>
      </dgm:t>
    </dgm:pt>
    <dgm:pt modelId="{47C85588-C029-4F99-80BB-7AC943F1FCE6}" type="sibTrans" cxnId="{64BE39D6-B794-4D05-8883-1D487466DC90}">
      <dgm:prSet/>
      <dgm:spPr/>
      <dgm:t>
        <a:bodyPr/>
        <a:lstStyle/>
        <a:p>
          <a:endParaRPr lang="es-ES" sz="2000"/>
        </a:p>
      </dgm:t>
    </dgm:pt>
    <dgm:pt modelId="{DD199655-D02E-4035-9790-22A5A5081947}">
      <dgm:prSet custT="1"/>
      <dgm:spPr/>
      <dgm:t>
        <a:bodyPr/>
        <a:lstStyle/>
        <a:p>
          <a:r>
            <a:rPr lang="es-ES" sz="1600" b="1" dirty="0"/>
            <a:t>Predecir</a:t>
          </a:r>
        </a:p>
      </dgm:t>
    </dgm:pt>
    <dgm:pt modelId="{73D7FD53-B932-4CD2-A67E-494961C28062}" type="parTrans" cxnId="{85CD0928-C8F8-4058-B7B5-DA032067BE9B}">
      <dgm:prSet/>
      <dgm:spPr/>
      <dgm:t>
        <a:bodyPr/>
        <a:lstStyle/>
        <a:p>
          <a:endParaRPr lang="es-ES" sz="2000"/>
        </a:p>
      </dgm:t>
    </dgm:pt>
    <dgm:pt modelId="{7792DDAF-130B-4603-BCBE-88219F71C7F3}" type="sibTrans" cxnId="{85CD0928-C8F8-4058-B7B5-DA032067BE9B}">
      <dgm:prSet/>
      <dgm:spPr/>
      <dgm:t>
        <a:bodyPr/>
        <a:lstStyle/>
        <a:p>
          <a:endParaRPr lang="es-ES" sz="2000"/>
        </a:p>
      </dgm:t>
    </dgm:pt>
    <dgm:pt modelId="{81FCBA09-E470-45E3-BCF3-8A6262C4D39F}">
      <dgm:prSet custT="1"/>
      <dgm:spPr/>
      <dgm:t>
        <a:bodyPr/>
        <a:lstStyle/>
        <a:p>
          <a:r>
            <a:rPr lang="es-ES" sz="1600" dirty="0"/>
            <a:t>Anticiparse a tendencias, decisiones o demandas de la sociedad a partir de un modelo o patrón y unas entradas predefinidas</a:t>
          </a:r>
        </a:p>
      </dgm:t>
    </dgm:pt>
    <dgm:pt modelId="{63A4E022-059E-43D5-A645-9CB8C6D71743}" type="parTrans" cxnId="{01B02B1A-4A1D-4F82-AF15-3BFF6C28888F}">
      <dgm:prSet/>
      <dgm:spPr/>
      <dgm:t>
        <a:bodyPr/>
        <a:lstStyle/>
        <a:p>
          <a:endParaRPr lang="es-ES" sz="2000"/>
        </a:p>
      </dgm:t>
    </dgm:pt>
    <dgm:pt modelId="{31ADC9D8-2D87-4B11-BABB-FF66E7F65CBF}" type="sibTrans" cxnId="{01B02B1A-4A1D-4F82-AF15-3BFF6C28888F}">
      <dgm:prSet/>
      <dgm:spPr/>
      <dgm:t>
        <a:bodyPr/>
        <a:lstStyle/>
        <a:p>
          <a:endParaRPr lang="es-ES" sz="2000"/>
        </a:p>
      </dgm:t>
    </dgm:pt>
    <dgm:pt modelId="{014F46AE-2A83-4A95-9552-262E83CD390E}">
      <dgm:prSet custT="1"/>
      <dgm:spPr/>
      <dgm:t>
        <a:bodyPr/>
        <a:lstStyle/>
        <a:p>
          <a:r>
            <a:rPr lang="es-ES" sz="1600" b="1" dirty="0">
              <a:solidFill>
                <a:schemeClr val="accent3">
                  <a:lumMod val="50000"/>
                </a:schemeClr>
              </a:solidFill>
            </a:rPr>
            <a:t>Prescribir / recomendar</a:t>
          </a:r>
        </a:p>
      </dgm:t>
    </dgm:pt>
    <dgm:pt modelId="{A37E45B9-5789-47A6-AC9A-E0D367BF55F1}" type="parTrans" cxnId="{BB8D43AC-A5DB-41A4-83C0-2072F78A31D2}">
      <dgm:prSet/>
      <dgm:spPr/>
      <dgm:t>
        <a:bodyPr/>
        <a:lstStyle/>
        <a:p>
          <a:endParaRPr lang="es-ES" sz="2000"/>
        </a:p>
      </dgm:t>
    </dgm:pt>
    <dgm:pt modelId="{613A599E-A2FB-4620-B0A5-C590A2A7A7AC}" type="sibTrans" cxnId="{BB8D43AC-A5DB-41A4-83C0-2072F78A31D2}">
      <dgm:prSet/>
      <dgm:spPr/>
      <dgm:t>
        <a:bodyPr/>
        <a:lstStyle/>
        <a:p>
          <a:endParaRPr lang="es-ES" sz="2000"/>
        </a:p>
      </dgm:t>
    </dgm:pt>
    <dgm:pt modelId="{E02593AD-5BD1-481A-9C33-9D0C57DFF93B}">
      <dgm:prSet custT="1"/>
      <dgm:spPr/>
      <dgm:t>
        <a:bodyPr/>
        <a:lstStyle/>
        <a:p>
          <a:r>
            <a:rPr lang="es-ES" sz="1600" dirty="0"/>
            <a:t>Obtener las reglas que optimizan los beneficios o casuísticas en futuras situaciones</a:t>
          </a:r>
        </a:p>
      </dgm:t>
    </dgm:pt>
    <dgm:pt modelId="{33FAF137-608B-4D07-A121-2B33AE5D5A80}" type="parTrans" cxnId="{94605D1D-0C22-4E46-8DBA-67FA62AE9D7B}">
      <dgm:prSet/>
      <dgm:spPr/>
      <dgm:t>
        <a:bodyPr/>
        <a:lstStyle/>
        <a:p>
          <a:endParaRPr lang="es-ES" sz="2000"/>
        </a:p>
      </dgm:t>
    </dgm:pt>
    <dgm:pt modelId="{B846F478-7557-441C-8BB4-EB4D8F1626FE}" type="sibTrans" cxnId="{94605D1D-0C22-4E46-8DBA-67FA62AE9D7B}">
      <dgm:prSet/>
      <dgm:spPr/>
      <dgm:t>
        <a:bodyPr/>
        <a:lstStyle/>
        <a:p>
          <a:endParaRPr lang="es-ES" sz="2000"/>
        </a:p>
      </dgm:t>
    </dgm:pt>
    <dgm:pt modelId="{D0019705-1C80-42A9-8FAB-CA5E676F305B}">
      <dgm:prSet custT="1"/>
      <dgm:spPr/>
      <dgm:t>
        <a:bodyPr/>
        <a:lstStyle/>
        <a:p>
          <a:r>
            <a:rPr lang="es-ES" sz="1600" b="1" dirty="0">
              <a:solidFill>
                <a:schemeClr val="tx1"/>
              </a:solidFill>
            </a:rPr>
            <a:t>Tratar </a:t>
          </a:r>
        </a:p>
      </dgm:t>
    </dgm:pt>
    <dgm:pt modelId="{C7E7B7CB-97DC-4B4C-BE06-BBDDF4F86B19}" type="parTrans" cxnId="{138A4EBB-EF03-4543-9673-E19B9FC152DF}">
      <dgm:prSet/>
      <dgm:spPr/>
      <dgm:t>
        <a:bodyPr/>
        <a:lstStyle/>
        <a:p>
          <a:endParaRPr lang="es-ES" sz="2000"/>
        </a:p>
      </dgm:t>
    </dgm:pt>
    <dgm:pt modelId="{3551295F-5363-43B9-BBFB-5C912E4B7DB4}" type="sibTrans" cxnId="{138A4EBB-EF03-4543-9673-E19B9FC152DF}">
      <dgm:prSet/>
      <dgm:spPr/>
      <dgm:t>
        <a:bodyPr/>
        <a:lstStyle/>
        <a:p>
          <a:endParaRPr lang="es-ES" sz="2000"/>
        </a:p>
      </dgm:t>
    </dgm:pt>
    <dgm:pt modelId="{B0F29E6E-9A3D-4179-98CE-44C1A14C5F3C}">
      <dgm:prSet custT="1"/>
      <dgm:spPr/>
      <dgm:t>
        <a:bodyPr/>
        <a:lstStyle/>
        <a:p>
          <a:r>
            <a:rPr lang="es-ES" sz="1600" dirty="0"/>
            <a:t>Texto</a:t>
          </a:r>
        </a:p>
      </dgm:t>
    </dgm:pt>
    <dgm:pt modelId="{C890D760-987B-4330-8659-3CE7E3BEFE18}" type="parTrans" cxnId="{48388ACF-4A74-4129-8BC3-D5DD3901EFA1}">
      <dgm:prSet/>
      <dgm:spPr/>
      <dgm:t>
        <a:bodyPr/>
        <a:lstStyle/>
        <a:p>
          <a:endParaRPr lang="es-ES" sz="2000"/>
        </a:p>
      </dgm:t>
    </dgm:pt>
    <dgm:pt modelId="{8BA1508E-3DD2-40D9-BA71-8CEBA88C3C5F}" type="sibTrans" cxnId="{48388ACF-4A74-4129-8BC3-D5DD3901EFA1}">
      <dgm:prSet/>
      <dgm:spPr/>
      <dgm:t>
        <a:bodyPr/>
        <a:lstStyle/>
        <a:p>
          <a:endParaRPr lang="es-ES" sz="2000"/>
        </a:p>
      </dgm:t>
    </dgm:pt>
    <dgm:pt modelId="{0A206716-B082-4CA5-96F1-A7D5B46AAFA8}">
      <dgm:prSet custT="1"/>
      <dgm:spPr/>
      <dgm:t>
        <a:bodyPr/>
        <a:lstStyle/>
        <a:p>
          <a:r>
            <a:rPr lang="es-ES" sz="1600" dirty="0"/>
            <a:t>Imágenes</a:t>
          </a:r>
        </a:p>
      </dgm:t>
    </dgm:pt>
    <dgm:pt modelId="{275152A5-D023-42AA-88D0-E1BB7B31808D}" type="parTrans" cxnId="{8EE0FE27-3A0A-4D30-931C-B5A19FA2100E}">
      <dgm:prSet/>
      <dgm:spPr/>
      <dgm:t>
        <a:bodyPr/>
        <a:lstStyle/>
        <a:p>
          <a:endParaRPr lang="es-ES" sz="2000"/>
        </a:p>
      </dgm:t>
    </dgm:pt>
    <dgm:pt modelId="{90CFD464-48E6-4A68-8821-1744A5222021}" type="sibTrans" cxnId="{8EE0FE27-3A0A-4D30-931C-B5A19FA2100E}">
      <dgm:prSet/>
      <dgm:spPr/>
      <dgm:t>
        <a:bodyPr/>
        <a:lstStyle/>
        <a:p>
          <a:endParaRPr lang="es-ES" sz="2000"/>
        </a:p>
      </dgm:t>
    </dgm:pt>
    <dgm:pt modelId="{D2834AD8-51F6-4C4F-8F41-70AD23150120}">
      <dgm:prSet custT="1"/>
      <dgm:spPr/>
      <dgm:t>
        <a:bodyPr/>
        <a:lstStyle/>
        <a:p>
          <a:r>
            <a:rPr lang="es-ES" sz="1600" dirty="0"/>
            <a:t>Películas</a:t>
          </a:r>
        </a:p>
      </dgm:t>
    </dgm:pt>
    <dgm:pt modelId="{96140472-28BF-4033-A1A9-B380F3337591}" type="parTrans" cxnId="{DA5C52CA-D3DE-4728-9E1E-1D775E4A1418}">
      <dgm:prSet/>
      <dgm:spPr/>
      <dgm:t>
        <a:bodyPr/>
        <a:lstStyle/>
        <a:p>
          <a:endParaRPr lang="es-ES" sz="2000"/>
        </a:p>
      </dgm:t>
    </dgm:pt>
    <dgm:pt modelId="{188DB964-0908-454C-91B7-C0A8B7EA89E9}" type="sibTrans" cxnId="{DA5C52CA-D3DE-4728-9E1E-1D775E4A1418}">
      <dgm:prSet/>
      <dgm:spPr/>
      <dgm:t>
        <a:bodyPr/>
        <a:lstStyle/>
        <a:p>
          <a:endParaRPr lang="es-ES" sz="2000"/>
        </a:p>
      </dgm:t>
    </dgm:pt>
    <dgm:pt modelId="{6EBFBFC9-38E7-4062-946E-6257CDB38CC8}">
      <dgm:prSet custT="1"/>
      <dgm:spPr/>
      <dgm:t>
        <a:bodyPr/>
        <a:lstStyle/>
        <a:p>
          <a:r>
            <a:rPr lang="es-ES" sz="1600" dirty="0"/>
            <a:t>Y otros formatos / orígenes</a:t>
          </a:r>
        </a:p>
      </dgm:t>
    </dgm:pt>
    <dgm:pt modelId="{C97E7B5C-1311-44CE-8CB3-F705C230886D}" type="parTrans" cxnId="{2ACF8367-2C28-4680-8BAA-FB12921960E4}">
      <dgm:prSet/>
      <dgm:spPr/>
      <dgm:t>
        <a:bodyPr/>
        <a:lstStyle/>
        <a:p>
          <a:endParaRPr lang="es-ES" sz="2000"/>
        </a:p>
      </dgm:t>
    </dgm:pt>
    <dgm:pt modelId="{83BFF8CC-961D-412D-BC2A-8F3BBAA2DF01}" type="sibTrans" cxnId="{2ACF8367-2C28-4680-8BAA-FB12921960E4}">
      <dgm:prSet/>
      <dgm:spPr/>
      <dgm:t>
        <a:bodyPr/>
        <a:lstStyle/>
        <a:p>
          <a:endParaRPr lang="es-ES" sz="2000"/>
        </a:p>
      </dgm:t>
    </dgm:pt>
    <dgm:pt modelId="{F0B05AD3-FDCC-44A0-B005-036FA6568C33}" type="pres">
      <dgm:prSet presAssocID="{EA3C28F5-76E1-4307-837A-B7369DC26E3E}" presName="Name0" presStyleCnt="0">
        <dgm:presLayoutVars>
          <dgm:dir/>
          <dgm:animLvl val="lvl"/>
          <dgm:resizeHandles val="exact"/>
        </dgm:presLayoutVars>
      </dgm:prSet>
      <dgm:spPr/>
    </dgm:pt>
    <dgm:pt modelId="{D211BFD3-B934-421F-8FE3-4803E40A1A85}" type="pres">
      <dgm:prSet presAssocID="{59FB7AA7-2DF9-4A15-9032-A2877CB873F3}" presName="composite" presStyleCnt="0"/>
      <dgm:spPr/>
    </dgm:pt>
    <dgm:pt modelId="{740DB9A1-8D64-4E1C-A010-FA3C86F346D5}" type="pres">
      <dgm:prSet presAssocID="{59FB7AA7-2DF9-4A15-9032-A2877CB873F3}" presName="parTx" presStyleLbl="alignNode1" presStyleIdx="0" presStyleCnt="4">
        <dgm:presLayoutVars>
          <dgm:chMax val="0"/>
          <dgm:chPref val="0"/>
          <dgm:bulletEnabled val="1"/>
        </dgm:presLayoutVars>
      </dgm:prSet>
      <dgm:spPr/>
    </dgm:pt>
    <dgm:pt modelId="{378A83F2-452F-4A68-B361-71A26F67C5FE}" type="pres">
      <dgm:prSet presAssocID="{59FB7AA7-2DF9-4A15-9032-A2877CB873F3}" presName="desTx" presStyleLbl="alignAccFollowNode1" presStyleIdx="0" presStyleCnt="4">
        <dgm:presLayoutVars>
          <dgm:bulletEnabled val="1"/>
        </dgm:presLayoutVars>
      </dgm:prSet>
      <dgm:spPr/>
    </dgm:pt>
    <dgm:pt modelId="{B884F541-E8BD-4990-8F63-F5EC338A94C4}" type="pres">
      <dgm:prSet presAssocID="{21352D89-9CDC-4008-A12C-3EF77242CDBE}" presName="space" presStyleCnt="0"/>
      <dgm:spPr/>
    </dgm:pt>
    <dgm:pt modelId="{530D5873-2689-4A38-8EBA-D5132BCD3B14}" type="pres">
      <dgm:prSet presAssocID="{DD199655-D02E-4035-9790-22A5A5081947}" presName="composite" presStyleCnt="0"/>
      <dgm:spPr/>
    </dgm:pt>
    <dgm:pt modelId="{BD68D058-A270-4D0E-8288-F0CFCA8313A3}" type="pres">
      <dgm:prSet presAssocID="{DD199655-D02E-4035-9790-22A5A5081947}" presName="parTx" presStyleLbl="alignNode1" presStyleIdx="1" presStyleCnt="4">
        <dgm:presLayoutVars>
          <dgm:chMax val="0"/>
          <dgm:chPref val="0"/>
          <dgm:bulletEnabled val="1"/>
        </dgm:presLayoutVars>
      </dgm:prSet>
      <dgm:spPr/>
    </dgm:pt>
    <dgm:pt modelId="{88F905CC-3BEC-4437-ABF5-B90CA8594AF7}" type="pres">
      <dgm:prSet presAssocID="{DD199655-D02E-4035-9790-22A5A5081947}" presName="desTx" presStyleLbl="alignAccFollowNode1" presStyleIdx="1" presStyleCnt="4">
        <dgm:presLayoutVars>
          <dgm:bulletEnabled val="1"/>
        </dgm:presLayoutVars>
      </dgm:prSet>
      <dgm:spPr/>
    </dgm:pt>
    <dgm:pt modelId="{FB59EF66-F6F3-4BD6-8A3E-455D09DB700A}" type="pres">
      <dgm:prSet presAssocID="{7792DDAF-130B-4603-BCBE-88219F71C7F3}" presName="space" presStyleCnt="0"/>
      <dgm:spPr/>
    </dgm:pt>
    <dgm:pt modelId="{0C82D397-DB1B-41AB-937F-404EC831C1E2}" type="pres">
      <dgm:prSet presAssocID="{014F46AE-2A83-4A95-9552-262E83CD390E}" presName="composite" presStyleCnt="0"/>
      <dgm:spPr/>
    </dgm:pt>
    <dgm:pt modelId="{E8EED50E-FA01-41F6-9519-9BE6C518AEC3}" type="pres">
      <dgm:prSet presAssocID="{014F46AE-2A83-4A95-9552-262E83CD390E}" presName="parTx" presStyleLbl="alignNode1" presStyleIdx="2" presStyleCnt="4">
        <dgm:presLayoutVars>
          <dgm:chMax val="0"/>
          <dgm:chPref val="0"/>
          <dgm:bulletEnabled val="1"/>
        </dgm:presLayoutVars>
      </dgm:prSet>
      <dgm:spPr/>
    </dgm:pt>
    <dgm:pt modelId="{4052698B-C5D8-4C39-8DA2-1E4A3E93505C}" type="pres">
      <dgm:prSet presAssocID="{014F46AE-2A83-4A95-9552-262E83CD390E}" presName="desTx" presStyleLbl="alignAccFollowNode1" presStyleIdx="2" presStyleCnt="4">
        <dgm:presLayoutVars>
          <dgm:bulletEnabled val="1"/>
        </dgm:presLayoutVars>
      </dgm:prSet>
      <dgm:spPr/>
    </dgm:pt>
    <dgm:pt modelId="{88C50C35-99C7-436D-842A-E8713CDD0F2B}" type="pres">
      <dgm:prSet presAssocID="{613A599E-A2FB-4620-B0A5-C590A2A7A7AC}" presName="space" presStyleCnt="0"/>
      <dgm:spPr/>
    </dgm:pt>
    <dgm:pt modelId="{9C36575F-6C5C-42C3-B5FF-358B861E1D73}" type="pres">
      <dgm:prSet presAssocID="{D0019705-1C80-42A9-8FAB-CA5E676F305B}" presName="composite" presStyleCnt="0"/>
      <dgm:spPr/>
    </dgm:pt>
    <dgm:pt modelId="{E4B14477-F791-49DF-B4CE-971F3242B53E}" type="pres">
      <dgm:prSet presAssocID="{D0019705-1C80-42A9-8FAB-CA5E676F305B}" presName="parTx" presStyleLbl="alignNode1" presStyleIdx="3" presStyleCnt="4">
        <dgm:presLayoutVars>
          <dgm:chMax val="0"/>
          <dgm:chPref val="0"/>
          <dgm:bulletEnabled val="1"/>
        </dgm:presLayoutVars>
      </dgm:prSet>
      <dgm:spPr/>
    </dgm:pt>
    <dgm:pt modelId="{498370B6-FEE5-4567-A76C-817279B36E49}" type="pres">
      <dgm:prSet presAssocID="{D0019705-1C80-42A9-8FAB-CA5E676F305B}" presName="desTx" presStyleLbl="alignAccFollowNode1" presStyleIdx="3" presStyleCnt="4">
        <dgm:presLayoutVars>
          <dgm:bulletEnabled val="1"/>
        </dgm:presLayoutVars>
      </dgm:prSet>
      <dgm:spPr/>
    </dgm:pt>
  </dgm:ptLst>
  <dgm:cxnLst>
    <dgm:cxn modelId="{146D1E08-88C0-43AF-8E8F-B6A2FAB8DD28}" type="presOf" srcId="{81FCBA09-E470-45E3-BCF3-8A6262C4D39F}" destId="{88F905CC-3BEC-4437-ABF5-B90CA8594AF7}" srcOrd="0" destOrd="0" presId="urn:microsoft.com/office/officeart/2005/8/layout/hList1"/>
    <dgm:cxn modelId="{01B02B1A-4A1D-4F82-AF15-3BFF6C28888F}" srcId="{DD199655-D02E-4035-9790-22A5A5081947}" destId="{81FCBA09-E470-45E3-BCF3-8A6262C4D39F}" srcOrd="0" destOrd="0" parTransId="{63A4E022-059E-43D5-A645-9CB8C6D71743}" sibTransId="{31ADC9D8-2D87-4B11-BABB-FF66E7F65CBF}"/>
    <dgm:cxn modelId="{94605D1D-0C22-4E46-8DBA-67FA62AE9D7B}" srcId="{014F46AE-2A83-4A95-9552-262E83CD390E}" destId="{E02593AD-5BD1-481A-9C33-9D0C57DFF93B}" srcOrd="0" destOrd="0" parTransId="{33FAF137-608B-4D07-A121-2B33AE5D5A80}" sibTransId="{B846F478-7557-441C-8BB4-EB4D8F1626FE}"/>
    <dgm:cxn modelId="{CDBE7323-FED7-4A98-98DB-2023BBE598DB}" type="presOf" srcId="{0A206716-B082-4CA5-96F1-A7D5B46AAFA8}" destId="{498370B6-FEE5-4567-A76C-817279B36E49}" srcOrd="0" destOrd="1" presId="urn:microsoft.com/office/officeart/2005/8/layout/hList1"/>
    <dgm:cxn modelId="{8EE0FE27-3A0A-4D30-931C-B5A19FA2100E}" srcId="{D0019705-1C80-42A9-8FAB-CA5E676F305B}" destId="{0A206716-B082-4CA5-96F1-A7D5B46AAFA8}" srcOrd="1" destOrd="0" parTransId="{275152A5-D023-42AA-88D0-E1BB7B31808D}" sibTransId="{90CFD464-48E6-4A68-8821-1744A5222021}"/>
    <dgm:cxn modelId="{85CD0928-C8F8-4058-B7B5-DA032067BE9B}" srcId="{EA3C28F5-76E1-4307-837A-B7369DC26E3E}" destId="{DD199655-D02E-4035-9790-22A5A5081947}" srcOrd="1" destOrd="0" parTransId="{73D7FD53-B932-4CD2-A67E-494961C28062}" sibTransId="{7792DDAF-130B-4603-BCBE-88219F71C7F3}"/>
    <dgm:cxn modelId="{F0A56E31-2503-4040-B582-645D404E8D02}" srcId="{EA3C28F5-76E1-4307-837A-B7369DC26E3E}" destId="{59FB7AA7-2DF9-4A15-9032-A2877CB873F3}" srcOrd="0" destOrd="0" parTransId="{EFD40EE5-0312-488A-A203-DACABCB788E7}" sibTransId="{21352D89-9CDC-4008-A12C-3EF77242CDBE}"/>
    <dgm:cxn modelId="{25F4F932-1E6E-4E44-8AD6-D0004D48AFB4}" type="presOf" srcId="{EA3C28F5-76E1-4307-837A-B7369DC26E3E}" destId="{F0B05AD3-FDCC-44A0-B005-036FA6568C33}" srcOrd="0" destOrd="0" presId="urn:microsoft.com/office/officeart/2005/8/layout/hList1"/>
    <dgm:cxn modelId="{2ACF8367-2C28-4680-8BAA-FB12921960E4}" srcId="{D0019705-1C80-42A9-8FAB-CA5E676F305B}" destId="{6EBFBFC9-38E7-4062-946E-6257CDB38CC8}" srcOrd="3" destOrd="0" parTransId="{C97E7B5C-1311-44CE-8CB3-F705C230886D}" sibTransId="{83BFF8CC-961D-412D-BC2A-8F3BBAA2DF01}"/>
    <dgm:cxn modelId="{4E2A0968-E240-4311-A976-9A15174F2698}" srcId="{59FB7AA7-2DF9-4A15-9032-A2877CB873F3}" destId="{2CEBCE7A-D80F-41A0-A8CE-1AEB9F7CFFC2}" srcOrd="0" destOrd="0" parTransId="{D248E017-ACB0-41A9-BBF2-EF05BE282C20}" sibTransId="{9C5714E4-7B57-409E-A6FB-E14F2CD0B4B2}"/>
    <dgm:cxn modelId="{8F2A5F49-F46A-4C13-859B-2458DFD9F3AD}" type="presOf" srcId="{3B3DFF3A-F3C3-4B50-A72D-47D6FF240403}" destId="{378A83F2-452F-4A68-B361-71A26F67C5FE}" srcOrd="0" destOrd="1" presId="urn:microsoft.com/office/officeart/2005/8/layout/hList1"/>
    <dgm:cxn modelId="{9AFEF14D-11A6-4E95-B348-A2ABB33B32C5}" type="presOf" srcId="{2CEBCE7A-D80F-41A0-A8CE-1AEB9F7CFFC2}" destId="{378A83F2-452F-4A68-B361-71A26F67C5FE}" srcOrd="0" destOrd="0" presId="urn:microsoft.com/office/officeart/2005/8/layout/hList1"/>
    <dgm:cxn modelId="{15AC0652-B85E-435A-AD90-79BED12A9C81}" type="presOf" srcId="{59FB7AA7-2DF9-4A15-9032-A2877CB873F3}" destId="{740DB9A1-8D64-4E1C-A010-FA3C86F346D5}" srcOrd="0" destOrd="0" presId="urn:microsoft.com/office/officeart/2005/8/layout/hList1"/>
    <dgm:cxn modelId="{16E6A198-2B4A-4591-B7B6-0EECE55D8FF0}" type="presOf" srcId="{B0F29E6E-9A3D-4179-98CE-44C1A14C5F3C}" destId="{498370B6-FEE5-4567-A76C-817279B36E49}" srcOrd="0" destOrd="0" presId="urn:microsoft.com/office/officeart/2005/8/layout/hList1"/>
    <dgm:cxn modelId="{5986EAA4-A219-4D35-9974-2AB31B44453E}" type="presOf" srcId="{DD199655-D02E-4035-9790-22A5A5081947}" destId="{BD68D058-A270-4D0E-8288-F0CFCA8313A3}" srcOrd="0" destOrd="0" presId="urn:microsoft.com/office/officeart/2005/8/layout/hList1"/>
    <dgm:cxn modelId="{BB8D43AC-A5DB-41A4-83C0-2072F78A31D2}" srcId="{EA3C28F5-76E1-4307-837A-B7369DC26E3E}" destId="{014F46AE-2A83-4A95-9552-262E83CD390E}" srcOrd="2" destOrd="0" parTransId="{A37E45B9-5789-47A6-AC9A-E0D367BF55F1}" sibTransId="{613A599E-A2FB-4620-B0A5-C590A2A7A7AC}"/>
    <dgm:cxn modelId="{27427AAD-5322-440D-898C-9E2CDE852A33}" type="presOf" srcId="{6EBFBFC9-38E7-4062-946E-6257CDB38CC8}" destId="{498370B6-FEE5-4567-A76C-817279B36E49}" srcOrd="0" destOrd="3" presId="urn:microsoft.com/office/officeart/2005/8/layout/hList1"/>
    <dgm:cxn modelId="{5944DAB6-3B71-423B-A516-EC5CB5A7AEEA}" type="presOf" srcId="{E02593AD-5BD1-481A-9C33-9D0C57DFF93B}" destId="{4052698B-C5D8-4C39-8DA2-1E4A3E93505C}" srcOrd="0" destOrd="0" presId="urn:microsoft.com/office/officeart/2005/8/layout/hList1"/>
    <dgm:cxn modelId="{138A4EBB-EF03-4543-9673-E19B9FC152DF}" srcId="{EA3C28F5-76E1-4307-837A-B7369DC26E3E}" destId="{D0019705-1C80-42A9-8FAB-CA5E676F305B}" srcOrd="3" destOrd="0" parTransId="{C7E7B7CB-97DC-4B4C-BE06-BBDDF4F86B19}" sibTransId="{3551295F-5363-43B9-BBFB-5C912E4B7DB4}"/>
    <dgm:cxn modelId="{36FC49C5-5CF4-4180-958C-F22F999561DE}" type="presOf" srcId="{D2834AD8-51F6-4C4F-8F41-70AD23150120}" destId="{498370B6-FEE5-4567-A76C-817279B36E49}" srcOrd="0" destOrd="2" presId="urn:microsoft.com/office/officeart/2005/8/layout/hList1"/>
    <dgm:cxn modelId="{DA5C52CA-D3DE-4728-9E1E-1D775E4A1418}" srcId="{D0019705-1C80-42A9-8FAB-CA5E676F305B}" destId="{D2834AD8-51F6-4C4F-8F41-70AD23150120}" srcOrd="2" destOrd="0" parTransId="{96140472-28BF-4033-A1A9-B380F3337591}" sibTransId="{188DB964-0908-454C-91B7-C0A8B7EA89E9}"/>
    <dgm:cxn modelId="{48388ACF-4A74-4129-8BC3-D5DD3901EFA1}" srcId="{D0019705-1C80-42A9-8FAB-CA5E676F305B}" destId="{B0F29E6E-9A3D-4179-98CE-44C1A14C5F3C}" srcOrd="0" destOrd="0" parTransId="{C890D760-987B-4330-8659-3CE7E3BEFE18}" sibTransId="{8BA1508E-3DD2-40D9-BA71-8CEBA88C3C5F}"/>
    <dgm:cxn modelId="{64BE39D6-B794-4D05-8883-1D487466DC90}" srcId="{2CEBCE7A-D80F-41A0-A8CE-1AEB9F7CFFC2}" destId="{3B3DFF3A-F3C3-4B50-A72D-47D6FF240403}" srcOrd="0" destOrd="0" parTransId="{152E0523-2C94-4BC5-9CC4-AB8D20CD965A}" sibTransId="{47C85588-C029-4F99-80BB-7AC943F1FCE6}"/>
    <dgm:cxn modelId="{0E4BB1F3-2513-49A7-AFED-2C4B3283D1BD}" type="presOf" srcId="{D0019705-1C80-42A9-8FAB-CA5E676F305B}" destId="{E4B14477-F791-49DF-B4CE-971F3242B53E}" srcOrd="0" destOrd="0" presId="urn:microsoft.com/office/officeart/2005/8/layout/hList1"/>
    <dgm:cxn modelId="{C182D0FA-8931-48AD-A5E0-8104FC90A090}" type="presOf" srcId="{014F46AE-2A83-4A95-9552-262E83CD390E}" destId="{E8EED50E-FA01-41F6-9519-9BE6C518AEC3}" srcOrd="0" destOrd="0" presId="urn:microsoft.com/office/officeart/2005/8/layout/hList1"/>
    <dgm:cxn modelId="{168F2690-42E2-486E-98E0-30D5FA886CAF}" type="presParOf" srcId="{F0B05AD3-FDCC-44A0-B005-036FA6568C33}" destId="{D211BFD3-B934-421F-8FE3-4803E40A1A85}" srcOrd="0" destOrd="0" presId="urn:microsoft.com/office/officeart/2005/8/layout/hList1"/>
    <dgm:cxn modelId="{A3117C20-65C5-45C8-8FB7-E1BE61E7E41E}" type="presParOf" srcId="{D211BFD3-B934-421F-8FE3-4803E40A1A85}" destId="{740DB9A1-8D64-4E1C-A010-FA3C86F346D5}" srcOrd="0" destOrd="0" presId="urn:microsoft.com/office/officeart/2005/8/layout/hList1"/>
    <dgm:cxn modelId="{10427341-FDD6-47DA-94AA-E8FC686965EB}" type="presParOf" srcId="{D211BFD3-B934-421F-8FE3-4803E40A1A85}" destId="{378A83F2-452F-4A68-B361-71A26F67C5FE}" srcOrd="1" destOrd="0" presId="urn:microsoft.com/office/officeart/2005/8/layout/hList1"/>
    <dgm:cxn modelId="{B1412441-40E9-4EC1-8DBF-FB78190EF63D}" type="presParOf" srcId="{F0B05AD3-FDCC-44A0-B005-036FA6568C33}" destId="{B884F541-E8BD-4990-8F63-F5EC338A94C4}" srcOrd="1" destOrd="0" presId="urn:microsoft.com/office/officeart/2005/8/layout/hList1"/>
    <dgm:cxn modelId="{E5A9BC3A-5260-48FE-8F65-02617D63DBD8}" type="presParOf" srcId="{F0B05AD3-FDCC-44A0-B005-036FA6568C33}" destId="{530D5873-2689-4A38-8EBA-D5132BCD3B14}" srcOrd="2" destOrd="0" presId="urn:microsoft.com/office/officeart/2005/8/layout/hList1"/>
    <dgm:cxn modelId="{4FD4F691-432B-4796-B2EC-8D2053093165}" type="presParOf" srcId="{530D5873-2689-4A38-8EBA-D5132BCD3B14}" destId="{BD68D058-A270-4D0E-8288-F0CFCA8313A3}" srcOrd="0" destOrd="0" presId="urn:microsoft.com/office/officeart/2005/8/layout/hList1"/>
    <dgm:cxn modelId="{85C07906-D218-4605-896B-E72C1A9ED252}" type="presParOf" srcId="{530D5873-2689-4A38-8EBA-D5132BCD3B14}" destId="{88F905CC-3BEC-4437-ABF5-B90CA8594AF7}" srcOrd="1" destOrd="0" presId="urn:microsoft.com/office/officeart/2005/8/layout/hList1"/>
    <dgm:cxn modelId="{0277C4B8-EEEC-45E5-BE11-2FEF9D75B4E9}" type="presParOf" srcId="{F0B05AD3-FDCC-44A0-B005-036FA6568C33}" destId="{FB59EF66-F6F3-4BD6-8A3E-455D09DB700A}" srcOrd="3" destOrd="0" presId="urn:microsoft.com/office/officeart/2005/8/layout/hList1"/>
    <dgm:cxn modelId="{45BEE074-A008-4F3C-BC94-E044150B861C}" type="presParOf" srcId="{F0B05AD3-FDCC-44A0-B005-036FA6568C33}" destId="{0C82D397-DB1B-41AB-937F-404EC831C1E2}" srcOrd="4" destOrd="0" presId="urn:microsoft.com/office/officeart/2005/8/layout/hList1"/>
    <dgm:cxn modelId="{2FAA71AE-E80D-42F7-8926-5968114B5266}" type="presParOf" srcId="{0C82D397-DB1B-41AB-937F-404EC831C1E2}" destId="{E8EED50E-FA01-41F6-9519-9BE6C518AEC3}" srcOrd="0" destOrd="0" presId="urn:microsoft.com/office/officeart/2005/8/layout/hList1"/>
    <dgm:cxn modelId="{2D5785C3-DA9E-40D0-9C90-78D3791CF2A4}" type="presParOf" srcId="{0C82D397-DB1B-41AB-937F-404EC831C1E2}" destId="{4052698B-C5D8-4C39-8DA2-1E4A3E93505C}" srcOrd="1" destOrd="0" presId="urn:microsoft.com/office/officeart/2005/8/layout/hList1"/>
    <dgm:cxn modelId="{42A292BC-22C4-4BE4-A1F8-17C42C0B50F7}" type="presParOf" srcId="{F0B05AD3-FDCC-44A0-B005-036FA6568C33}" destId="{88C50C35-99C7-436D-842A-E8713CDD0F2B}" srcOrd="5" destOrd="0" presId="urn:microsoft.com/office/officeart/2005/8/layout/hList1"/>
    <dgm:cxn modelId="{63BFCF29-6256-44A2-893C-B4F9513C9699}" type="presParOf" srcId="{F0B05AD3-FDCC-44A0-B005-036FA6568C33}" destId="{9C36575F-6C5C-42C3-B5FF-358B861E1D73}" srcOrd="6" destOrd="0" presId="urn:microsoft.com/office/officeart/2005/8/layout/hList1"/>
    <dgm:cxn modelId="{52662957-F9AF-4656-8CE6-2EA277450FCD}" type="presParOf" srcId="{9C36575F-6C5C-42C3-B5FF-358B861E1D73}" destId="{E4B14477-F791-49DF-B4CE-971F3242B53E}" srcOrd="0" destOrd="0" presId="urn:microsoft.com/office/officeart/2005/8/layout/hList1"/>
    <dgm:cxn modelId="{0D3FDA80-6FCA-40D2-8C53-FB7F48209DB0}" type="presParOf" srcId="{9C36575F-6C5C-42C3-B5FF-358B861E1D73}" destId="{498370B6-FEE5-4567-A76C-817279B36E49}"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602BD974-8FAC-4FC9-B415-5AA4EF6CA368}"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92107CC9-69B6-43AC-BD48-5D9E46D11819}">
      <dgm:prSet phldrT="[Texto]"/>
      <dgm:spPr/>
      <dgm:t>
        <a:bodyPr/>
        <a:lstStyle/>
        <a:p>
          <a:r>
            <a:rPr lang="es-ES" dirty="0"/>
            <a:t>Si A entonces r=a</a:t>
          </a:r>
        </a:p>
      </dgm:t>
    </dgm:pt>
    <dgm:pt modelId="{3C40F5F3-E794-464D-B717-918EEF8D43CC}" type="parTrans" cxnId="{1B6D79F1-5AF4-4E1A-8BA3-C87FF618C01F}">
      <dgm:prSet/>
      <dgm:spPr/>
      <dgm:t>
        <a:bodyPr/>
        <a:lstStyle/>
        <a:p>
          <a:endParaRPr lang="es-ES">
            <a:solidFill>
              <a:schemeClr val="bg1"/>
            </a:solidFill>
          </a:endParaRPr>
        </a:p>
      </dgm:t>
    </dgm:pt>
    <dgm:pt modelId="{D4726730-0521-4066-A09B-F121F7E07134}" type="sibTrans" cxnId="{1B6D79F1-5AF4-4E1A-8BA3-C87FF618C01F}">
      <dgm:prSet/>
      <dgm:spPr/>
      <dgm:t>
        <a:bodyPr/>
        <a:lstStyle/>
        <a:p>
          <a:endParaRPr lang="es-ES">
            <a:solidFill>
              <a:schemeClr val="bg1"/>
            </a:solidFill>
          </a:endParaRPr>
        </a:p>
      </dgm:t>
    </dgm:pt>
    <dgm:pt modelId="{3EB7F663-902B-4F8A-8220-C4EAB171F93D}">
      <dgm:prSet/>
      <dgm:spPr/>
      <dgm:t>
        <a:bodyPr/>
        <a:lstStyle/>
        <a:p>
          <a:r>
            <a:rPr lang="es-ES" dirty="0"/>
            <a:t>Si B entonces r=b</a:t>
          </a:r>
        </a:p>
      </dgm:t>
    </dgm:pt>
    <dgm:pt modelId="{CA510A89-5B1F-4190-BECB-D76AAD34090C}" type="parTrans" cxnId="{BDB78E1D-6743-4266-BA47-1D9013464B1D}">
      <dgm:prSet/>
      <dgm:spPr/>
      <dgm:t>
        <a:bodyPr/>
        <a:lstStyle/>
        <a:p>
          <a:endParaRPr lang="es-ES">
            <a:solidFill>
              <a:schemeClr val="bg1"/>
            </a:solidFill>
          </a:endParaRPr>
        </a:p>
      </dgm:t>
    </dgm:pt>
    <dgm:pt modelId="{F97896E5-7106-46F1-9001-68FBF97E859F}" type="sibTrans" cxnId="{BDB78E1D-6743-4266-BA47-1D9013464B1D}">
      <dgm:prSet/>
      <dgm:spPr/>
      <dgm:t>
        <a:bodyPr/>
        <a:lstStyle/>
        <a:p>
          <a:endParaRPr lang="es-ES">
            <a:solidFill>
              <a:schemeClr val="bg1"/>
            </a:solidFill>
          </a:endParaRPr>
        </a:p>
      </dgm:t>
    </dgm:pt>
    <dgm:pt modelId="{083729D3-3D0D-4DEA-93A7-634F1D41D143}">
      <dgm:prSet/>
      <dgm:spPr/>
      <dgm:t>
        <a:bodyPr/>
        <a:lstStyle/>
        <a:p>
          <a:r>
            <a:rPr lang="es-ES" dirty="0"/>
            <a:t>Si C entonces r=c</a:t>
          </a:r>
        </a:p>
      </dgm:t>
    </dgm:pt>
    <dgm:pt modelId="{1F02F4BC-F56A-4881-9B39-BFF651C45E61}" type="parTrans" cxnId="{8B57C80C-DFCE-4742-84B6-8819B3E93479}">
      <dgm:prSet/>
      <dgm:spPr/>
      <dgm:t>
        <a:bodyPr/>
        <a:lstStyle/>
        <a:p>
          <a:endParaRPr lang="es-ES">
            <a:solidFill>
              <a:schemeClr val="bg1"/>
            </a:solidFill>
          </a:endParaRPr>
        </a:p>
      </dgm:t>
    </dgm:pt>
    <dgm:pt modelId="{6C7F1642-29F7-4B0C-BBFF-40608ADB88B2}" type="sibTrans" cxnId="{8B57C80C-DFCE-4742-84B6-8819B3E93479}">
      <dgm:prSet/>
      <dgm:spPr/>
      <dgm:t>
        <a:bodyPr/>
        <a:lstStyle/>
        <a:p>
          <a:endParaRPr lang="es-ES">
            <a:solidFill>
              <a:schemeClr val="bg1"/>
            </a:solidFill>
          </a:endParaRPr>
        </a:p>
      </dgm:t>
    </dgm:pt>
    <dgm:pt modelId="{F0D996BC-146B-41B1-B8EE-7FD561882F85}">
      <dgm:prSet/>
      <dgm:spPr/>
      <dgm:t>
        <a:bodyPr/>
        <a:lstStyle/>
        <a:p>
          <a:r>
            <a:rPr lang="es-ES" dirty="0"/>
            <a:t>…. Si Z entonces r=z</a:t>
          </a:r>
        </a:p>
      </dgm:t>
    </dgm:pt>
    <dgm:pt modelId="{6D8E3319-08F1-4DC6-B07A-5179047F778F}" type="parTrans" cxnId="{C666DA04-344A-4117-BC22-62D3AD8EFB88}">
      <dgm:prSet/>
      <dgm:spPr/>
      <dgm:t>
        <a:bodyPr/>
        <a:lstStyle/>
        <a:p>
          <a:endParaRPr lang="es-ES">
            <a:solidFill>
              <a:schemeClr val="bg1"/>
            </a:solidFill>
          </a:endParaRPr>
        </a:p>
      </dgm:t>
    </dgm:pt>
    <dgm:pt modelId="{EB2C1B34-351F-488A-B1CA-3FE0936A6B57}" type="sibTrans" cxnId="{C666DA04-344A-4117-BC22-62D3AD8EFB88}">
      <dgm:prSet/>
      <dgm:spPr/>
      <dgm:t>
        <a:bodyPr/>
        <a:lstStyle/>
        <a:p>
          <a:endParaRPr lang="es-ES">
            <a:solidFill>
              <a:schemeClr val="bg1"/>
            </a:solidFill>
          </a:endParaRPr>
        </a:p>
      </dgm:t>
    </dgm:pt>
    <dgm:pt modelId="{4F6E915D-5AD7-43DE-9DEB-50AB0546F680}">
      <dgm:prSet/>
      <dgm:spPr>
        <a:solidFill>
          <a:schemeClr val="accent2"/>
        </a:solidFill>
      </dgm:spPr>
      <dgm:t>
        <a:bodyPr/>
        <a:lstStyle/>
        <a:p>
          <a:r>
            <a:rPr lang="es-ES" dirty="0"/>
            <a:t>Si la realidad cambia las reglas no valen.</a:t>
          </a:r>
        </a:p>
      </dgm:t>
    </dgm:pt>
    <dgm:pt modelId="{6F00F1E8-CFDB-4DEB-9376-9196B9A3F454}" type="parTrans" cxnId="{37E22C3D-1FCB-4B08-B6A0-98034385AC27}">
      <dgm:prSet/>
      <dgm:spPr/>
      <dgm:t>
        <a:bodyPr/>
        <a:lstStyle/>
        <a:p>
          <a:endParaRPr lang="es-ES">
            <a:solidFill>
              <a:schemeClr val="bg1"/>
            </a:solidFill>
          </a:endParaRPr>
        </a:p>
      </dgm:t>
    </dgm:pt>
    <dgm:pt modelId="{CAA69B91-ABC4-48FB-8AF0-7FBEB44E398F}" type="sibTrans" cxnId="{37E22C3D-1FCB-4B08-B6A0-98034385AC27}">
      <dgm:prSet/>
      <dgm:spPr/>
      <dgm:t>
        <a:bodyPr/>
        <a:lstStyle/>
        <a:p>
          <a:endParaRPr lang="es-ES">
            <a:solidFill>
              <a:schemeClr val="bg1"/>
            </a:solidFill>
          </a:endParaRPr>
        </a:p>
      </dgm:t>
    </dgm:pt>
    <dgm:pt modelId="{58B15F38-0DAA-4874-926F-4F9524C7F3F7}">
      <dgm:prSet/>
      <dgm:spPr/>
      <dgm:t>
        <a:bodyPr/>
        <a:lstStyle/>
        <a:p>
          <a:r>
            <a:rPr lang="es-ES" dirty="0"/>
            <a:t>Basado en conocimiento de negocio</a:t>
          </a:r>
        </a:p>
      </dgm:t>
    </dgm:pt>
    <dgm:pt modelId="{03F214E7-7D91-492A-AD2E-0F6D6D211AE1}" type="parTrans" cxnId="{7B3D111A-E59D-4FED-85DF-F73016762769}">
      <dgm:prSet/>
      <dgm:spPr/>
      <dgm:t>
        <a:bodyPr/>
        <a:lstStyle/>
        <a:p>
          <a:endParaRPr lang="es-ES">
            <a:solidFill>
              <a:schemeClr val="bg1"/>
            </a:solidFill>
          </a:endParaRPr>
        </a:p>
      </dgm:t>
    </dgm:pt>
    <dgm:pt modelId="{25317341-8944-4846-A57A-F561CEAD7556}" type="sibTrans" cxnId="{7B3D111A-E59D-4FED-85DF-F73016762769}">
      <dgm:prSet/>
      <dgm:spPr/>
      <dgm:t>
        <a:bodyPr/>
        <a:lstStyle/>
        <a:p>
          <a:endParaRPr lang="es-ES">
            <a:solidFill>
              <a:schemeClr val="bg1"/>
            </a:solidFill>
          </a:endParaRPr>
        </a:p>
      </dgm:t>
    </dgm:pt>
    <dgm:pt modelId="{281D9C6C-C76E-42A8-BE47-83D9217E5B48}">
      <dgm:prSet/>
      <dgm:spPr/>
      <dgm:t>
        <a:bodyPr/>
        <a:lstStyle/>
        <a:p>
          <a:r>
            <a:rPr lang="es-ES" dirty="0"/>
            <a:t>Intuición</a:t>
          </a:r>
        </a:p>
      </dgm:t>
    </dgm:pt>
    <dgm:pt modelId="{EF220450-5B15-49CD-8FCE-CC12F4F82371}" type="parTrans" cxnId="{871AAD35-2525-439A-8D40-C75AB5485DC6}">
      <dgm:prSet/>
      <dgm:spPr/>
      <dgm:t>
        <a:bodyPr/>
        <a:lstStyle/>
        <a:p>
          <a:endParaRPr lang="es-ES">
            <a:solidFill>
              <a:schemeClr val="bg1"/>
            </a:solidFill>
          </a:endParaRPr>
        </a:p>
      </dgm:t>
    </dgm:pt>
    <dgm:pt modelId="{0F471AB3-4D62-49F7-B8C0-447C74452D2A}" type="sibTrans" cxnId="{871AAD35-2525-439A-8D40-C75AB5485DC6}">
      <dgm:prSet/>
      <dgm:spPr/>
      <dgm:t>
        <a:bodyPr/>
        <a:lstStyle/>
        <a:p>
          <a:endParaRPr lang="es-ES">
            <a:solidFill>
              <a:schemeClr val="bg1"/>
            </a:solidFill>
          </a:endParaRPr>
        </a:p>
      </dgm:t>
    </dgm:pt>
    <dgm:pt modelId="{3434672C-7DA1-4E9B-A46A-0D0DD43DAF8E}">
      <dgm:prSet/>
      <dgm:spPr/>
      <dgm:t>
        <a:bodyPr/>
        <a:lstStyle/>
        <a:p>
          <a:r>
            <a:rPr lang="es-ES" dirty="0"/>
            <a:t>Modelado de Datos</a:t>
          </a:r>
        </a:p>
      </dgm:t>
    </dgm:pt>
    <dgm:pt modelId="{201EFE5B-7471-4A1D-BD64-2D099F233D51}" type="parTrans" cxnId="{F1531520-0E9B-4A36-A1B4-D97FA41BD0D1}">
      <dgm:prSet/>
      <dgm:spPr/>
      <dgm:t>
        <a:bodyPr/>
        <a:lstStyle/>
        <a:p>
          <a:endParaRPr lang="es-ES">
            <a:solidFill>
              <a:schemeClr val="bg1"/>
            </a:solidFill>
          </a:endParaRPr>
        </a:p>
      </dgm:t>
    </dgm:pt>
    <dgm:pt modelId="{15A3C9B0-4A40-4462-8A16-A535254EBD00}" type="sibTrans" cxnId="{F1531520-0E9B-4A36-A1B4-D97FA41BD0D1}">
      <dgm:prSet/>
      <dgm:spPr/>
      <dgm:t>
        <a:bodyPr/>
        <a:lstStyle/>
        <a:p>
          <a:endParaRPr lang="es-ES">
            <a:solidFill>
              <a:schemeClr val="bg1"/>
            </a:solidFill>
          </a:endParaRPr>
        </a:p>
      </dgm:t>
    </dgm:pt>
    <dgm:pt modelId="{7F35CB0A-36EF-4C93-A0D0-2995F8B813C6}">
      <dgm:prSet/>
      <dgm:spPr/>
      <dgm:t>
        <a:bodyPr/>
        <a:lstStyle/>
        <a:p>
          <a:r>
            <a:rPr lang="es-ES" dirty="0"/>
            <a:t>Experiencias de Prueba/Error</a:t>
          </a:r>
        </a:p>
      </dgm:t>
    </dgm:pt>
    <dgm:pt modelId="{0BB3F2C8-85A7-4D76-8227-A826AB2A45ED}" type="parTrans" cxnId="{E01E0C68-3D18-4E06-B0D1-465CD3EC8CB6}">
      <dgm:prSet/>
      <dgm:spPr/>
      <dgm:t>
        <a:bodyPr/>
        <a:lstStyle/>
        <a:p>
          <a:endParaRPr lang="es-ES">
            <a:solidFill>
              <a:schemeClr val="bg1"/>
            </a:solidFill>
          </a:endParaRPr>
        </a:p>
      </dgm:t>
    </dgm:pt>
    <dgm:pt modelId="{5FBD2A77-F1E6-40AC-9C7D-45053AFD3A69}" type="sibTrans" cxnId="{E01E0C68-3D18-4E06-B0D1-465CD3EC8CB6}">
      <dgm:prSet/>
      <dgm:spPr/>
      <dgm:t>
        <a:bodyPr/>
        <a:lstStyle/>
        <a:p>
          <a:endParaRPr lang="es-ES">
            <a:solidFill>
              <a:schemeClr val="bg1"/>
            </a:solidFill>
          </a:endParaRPr>
        </a:p>
      </dgm:t>
    </dgm:pt>
    <dgm:pt modelId="{91A7D276-DF7F-4AD0-827C-F9817E419922}">
      <dgm:prSet phldrT="[Texto]"/>
      <dgm:spPr/>
      <dgm:t>
        <a:bodyPr/>
        <a:lstStyle/>
        <a:p>
          <a:r>
            <a:rPr lang="es-ES" dirty="0"/>
            <a:t>Caracterización de los datos</a:t>
          </a:r>
        </a:p>
      </dgm:t>
    </dgm:pt>
    <dgm:pt modelId="{82B53510-5ABB-420C-B157-F5C18DDEAD93}" type="parTrans" cxnId="{B256E079-A423-4230-9BF0-7E39F01A5768}">
      <dgm:prSet/>
      <dgm:spPr/>
      <dgm:t>
        <a:bodyPr/>
        <a:lstStyle/>
        <a:p>
          <a:endParaRPr lang="es-ES"/>
        </a:p>
      </dgm:t>
    </dgm:pt>
    <dgm:pt modelId="{84BA8CDA-A98E-4C79-9A7C-258DEFB87BBC}" type="sibTrans" cxnId="{B256E079-A423-4230-9BF0-7E39F01A5768}">
      <dgm:prSet/>
      <dgm:spPr/>
      <dgm:t>
        <a:bodyPr/>
        <a:lstStyle/>
        <a:p>
          <a:endParaRPr lang="es-ES"/>
        </a:p>
      </dgm:t>
    </dgm:pt>
    <dgm:pt modelId="{2A081E57-1639-472C-A6C7-196A8C4A49C0}" type="pres">
      <dgm:prSet presAssocID="{602BD974-8FAC-4FC9-B415-5AA4EF6CA368}" presName="linear" presStyleCnt="0">
        <dgm:presLayoutVars>
          <dgm:animLvl val="lvl"/>
          <dgm:resizeHandles val="exact"/>
        </dgm:presLayoutVars>
      </dgm:prSet>
      <dgm:spPr/>
    </dgm:pt>
    <dgm:pt modelId="{B4C111AA-19C1-440C-8C63-7D5EB9F79BB5}" type="pres">
      <dgm:prSet presAssocID="{91A7D276-DF7F-4AD0-827C-F9817E419922}" presName="parentText" presStyleLbl="node1" presStyleIdx="0" presStyleCnt="3">
        <dgm:presLayoutVars>
          <dgm:chMax val="0"/>
          <dgm:bulletEnabled val="1"/>
        </dgm:presLayoutVars>
      </dgm:prSet>
      <dgm:spPr/>
    </dgm:pt>
    <dgm:pt modelId="{2854503D-425C-498D-812F-B0E69F6EAC79}" type="pres">
      <dgm:prSet presAssocID="{91A7D276-DF7F-4AD0-827C-F9817E419922}" presName="childText" presStyleLbl="revTx" presStyleIdx="0" presStyleCnt="2">
        <dgm:presLayoutVars>
          <dgm:bulletEnabled val="1"/>
        </dgm:presLayoutVars>
      </dgm:prSet>
      <dgm:spPr/>
    </dgm:pt>
    <dgm:pt modelId="{523D5B6C-A9DA-4715-9F8F-DE557A3F0AA1}" type="pres">
      <dgm:prSet presAssocID="{3434672C-7DA1-4E9B-A46A-0D0DD43DAF8E}" presName="parentText" presStyleLbl="node1" presStyleIdx="1" presStyleCnt="3">
        <dgm:presLayoutVars>
          <dgm:chMax val="0"/>
          <dgm:bulletEnabled val="1"/>
        </dgm:presLayoutVars>
      </dgm:prSet>
      <dgm:spPr/>
    </dgm:pt>
    <dgm:pt modelId="{D4E68584-F36F-4E61-8EC1-0325EB75C0DA}" type="pres">
      <dgm:prSet presAssocID="{3434672C-7DA1-4E9B-A46A-0D0DD43DAF8E}" presName="childText" presStyleLbl="revTx" presStyleIdx="1" presStyleCnt="2">
        <dgm:presLayoutVars>
          <dgm:bulletEnabled val="1"/>
        </dgm:presLayoutVars>
      </dgm:prSet>
      <dgm:spPr/>
    </dgm:pt>
    <dgm:pt modelId="{694B3A3F-C1D8-4039-8685-BDC179A279B2}" type="pres">
      <dgm:prSet presAssocID="{4F6E915D-5AD7-43DE-9DEB-50AB0546F680}" presName="parentText" presStyleLbl="node1" presStyleIdx="2" presStyleCnt="3">
        <dgm:presLayoutVars>
          <dgm:chMax val="0"/>
          <dgm:bulletEnabled val="1"/>
        </dgm:presLayoutVars>
      </dgm:prSet>
      <dgm:spPr/>
    </dgm:pt>
  </dgm:ptLst>
  <dgm:cxnLst>
    <dgm:cxn modelId="{C666DA04-344A-4117-BC22-62D3AD8EFB88}" srcId="{3434672C-7DA1-4E9B-A46A-0D0DD43DAF8E}" destId="{F0D996BC-146B-41B1-B8EE-7FD561882F85}" srcOrd="4" destOrd="0" parTransId="{6D8E3319-08F1-4DC6-B07A-5179047F778F}" sibTransId="{EB2C1B34-351F-488A-B1CA-3FE0936A6B57}"/>
    <dgm:cxn modelId="{F0D84508-F8D1-4783-B030-C84030366807}" type="presOf" srcId="{281D9C6C-C76E-42A8-BE47-83D9217E5B48}" destId="{2854503D-425C-498D-812F-B0E69F6EAC79}" srcOrd="0" destOrd="1" presId="urn:microsoft.com/office/officeart/2005/8/layout/vList2"/>
    <dgm:cxn modelId="{8B57C80C-DFCE-4742-84B6-8819B3E93479}" srcId="{3434672C-7DA1-4E9B-A46A-0D0DD43DAF8E}" destId="{083729D3-3D0D-4DEA-93A7-634F1D41D143}" srcOrd="3" destOrd="0" parTransId="{1F02F4BC-F56A-4881-9B39-BFF651C45E61}" sibTransId="{6C7F1642-29F7-4B0C-BBFF-40608ADB88B2}"/>
    <dgm:cxn modelId="{7B3D111A-E59D-4FED-85DF-F73016762769}" srcId="{91A7D276-DF7F-4AD0-827C-F9817E419922}" destId="{58B15F38-0DAA-4874-926F-4F9524C7F3F7}" srcOrd="0" destOrd="0" parTransId="{03F214E7-7D91-492A-AD2E-0F6D6D211AE1}" sibTransId="{25317341-8944-4846-A57A-F561CEAD7556}"/>
    <dgm:cxn modelId="{BDB78E1D-6743-4266-BA47-1D9013464B1D}" srcId="{3434672C-7DA1-4E9B-A46A-0D0DD43DAF8E}" destId="{3EB7F663-902B-4F8A-8220-C4EAB171F93D}" srcOrd="2" destOrd="0" parTransId="{CA510A89-5B1F-4190-BECB-D76AAD34090C}" sibTransId="{F97896E5-7106-46F1-9001-68FBF97E859F}"/>
    <dgm:cxn modelId="{F1531520-0E9B-4A36-A1B4-D97FA41BD0D1}" srcId="{602BD974-8FAC-4FC9-B415-5AA4EF6CA368}" destId="{3434672C-7DA1-4E9B-A46A-0D0DD43DAF8E}" srcOrd="1" destOrd="0" parTransId="{201EFE5B-7471-4A1D-BD64-2D099F233D51}" sibTransId="{15A3C9B0-4A40-4462-8A16-A535254EBD00}"/>
    <dgm:cxn modelId="{871AAD35-2525-439A-8D40-C75AB5485DC6}" srcId="{91A7D276-DF7F-4AD0-827C-F9817E419922}" destId="{281D9C6C-C76E-42A8-BE47-83D9217E5B48}" srcOrd="1" destOrd="0" parTransId="{EF220450-5B15-49CD-8FCE-CC12F4F82371}" sibTransId="{0F471AB3-4D62-49F7-B8C0-447C74452D2A}"/>
    <dgm:cxn modelId="{37E22C3D-1FCB-4B08-B6A0-98034385AC27}" srcId="{602BD974-8FAC-4FC9-B415-5AA4EF6CA368}" destId="{4F6E915D-5AD7-43DE-9DEB-50AB0546F680}" srcOrd="2" destOrd="0" parTransId="{6F00F1E8-CFDB-4DEB-9376-9196B9A3F454}" sibTransId="{CAA69B91-ABC4-48FB-8AF0-7FBEB44E398F}"/>
    <dgm:cxn modelId="{E01E0C68-3D18-4E06-B0D1-465CD3EC8CB6}" srcId="{3434672C-7DA1-4E9B-A46A-0D0DD43DAF8E}" destId="{7F35CB0A-36EF-4C93-A0D0-2995F8B813C6}" srcOrd="0" destOrd="0" parTransId="{0BB3F2C8-85A7-4D76-8227-A826AB2A45ED}" sibTransId="{5FBD2A77-F1E6-40AC-9C7D-45053AFD3A69}"/>
    <dgm:cxn modelId="{61E4B473-8C7D-4C20-9BA3-2EE6B406DFC3}" type="presOf" srcId="{3EB7F663-902B-4F8A-8220-C4EAB171F93D}" destId="{D4E68584-F36F-4E61-8EC1-0325EB75C0DA}" srcOrd="0" destOrd="2" presId="urn:microsoft.com/office/officeart/2005/8/layout/vList2"/>
    <dgm:cxn modelId="{B256E079-A423-4230-9BF0-7E39F01A5768}" srcId="{602BD974-8FAC-4FC9-B415-5AA4EF6CA368}" destId="{91A7D276-DF7F-4AD0-827C-F9817E419922}" srcOrd="0" destOrd="0" parTransId="{82B53510-5ABB-420C-B157-F5C18DDEAD93}" sibTransId="{84BA8CDA-A98E-4C79-9A7C-258DEFB87BBC}"/>
    <dgm:cxn modelId="{78CFC07B-4391-48FD-83CC-10119FC73803}" type="presOf" srcId="{7F35CB0A-36EF-4C93-A0D0-2995F8B813C6}" destId="{D4E68584-F36F-4E61-8EC1-0325EB75C0DA}" srcOrd="0" destOrd="0" presId="urn:microsoft.com/office/officeart/2005/8/layout/vList2"/>
    <dgm:cxn modelId="{96B62681-EC92-46CE-B449-2C9424C1BCA2}" type="presOf" srcId="{602BD974-8FAC-4FC9-B415-5AA4EF6CA368}" destId="{2A081E57-1639-472C-A6C7-196A8C4A49C0}" srcOrd="0" destOrd="0" presId="urn:microsoft.com/office/officeart/2005/8/layout/vList2"/>
    <dgm:cxn modelId="{21439A89-5C29-4127-8CBD-31D1C5591246}" type="presOf" srcId="{92107CC9-69B6-43AC-BD48-5D9E46D11819}" destId="{D4E68584-F36F-4E61-8EC1-0325EB75C0DA}" srcOrd="0" destOrd="1" presId="urn:microsoft.com/office/officeart/2005/8/layout/vList2"/>
    <dgm:cxn modelId="{3606CA9A-6656-43F4-A045-5526EE48B653}" type="presOf" srcId="{91A7D276-DF7F-4AD0-827C-F9817E419922}" destId="{B4C111AA-19C1-440C-8C63-7D5EB9F79BB5}" srcOrd="0" destOrd="0" presId="urn:microsoft.com/office/officeart/2005/8/layout/vList2"/>
    <dgm:cxn modelId="{CCA9FDA7-8BA1-49D5-8E2E-4D497A840D0C}" type="presOf" srcId="{3434672C-7DA1-4E9B-A46A-0D0DD43DAF8E}" destId="{523D5B6C-A9DA-4715-9F8F-DE557A3F0AA1}" srcOrd="0" destOrd="0" presId="urn:microsoft.com/office/officeart/2005/8/layout/vList2"/>
    <dgm:cxn modelId="{C98D3CC0-006D-4A7B-A301-943074AF8333}" type="presOf" srcId="{58B15F38-0DAA-4874-926F-4F9524C7F3F7}" destId="{2854503D-425C-498D-812F-B0E69F6EAC79}" srcOrd="0" destOrd="0" presId="urn:microsoft.com/office/officeart/2005/8/layout/vList2"/>
    <dgm:cxn modelId="{3D9565D0-6AC2-4CD5-BEB5-F6D7E7ED6EB2}" type="presOf" srcId="{F0D996BC-146B-41B1-B8EE-7FD561882F85}" destId="{D4E68584-F36F-4E61-8EC1-0325EB75C0DA}" srcOrd="0" destOrd="4" presId="urn:microsoft.com/office/officeart/2005/8/layout/vList2"/>
    <dgm:cxn modelId="{E974F0DE-2F69-44DF-936F-C9F010A6E2DE}" type="presOf" srcId="{083729D3-3D0D-4DEA-93A7-634F1D41D143}" destId="{D4E68584-F36F-4E61-8EC1-0325EB75C0DA}" srcOrd="0" destOrd="3" presId="urn:microsoft.com/office/officeart/2005/8/layout/vList2"/>
    <dgm:cxn modelId="{E73626E9-7F55-4D81-A00E-6E7A467C7A86}" type="presOf" srcId="{4F6E915D-5AD7-43DE-9DEB-50AB0546F680}" destId="{694B3A3F-C1D8-4039-8685-BDC179A279B2}" srcOrd="0" destOrd="0" presId="urn:microsoft.com/office/officeart/2005/8/layout/vList2"/>
    <dgm:cxn modelId="{1B6D79F1-5AF4-4E1A-8BA3-C87FF618C01F}" srcId="{3434672C-7DA1-4E9B-A46A-0D0DD43DAF8E}" destId="{92107CC9-69B6-43AC-BD48-5D9E46D11819}" srcOrd="1" destOrd="0" parTransId="{3C40F5F3-E794-464D-B717-918EEF8D43CC}" sibTransId="{D4726730-0521-4066-A09B-F121F7E07134}"/>
    <dgm:cxn modelId="{AE6D46C6-5BAD-4EFE-ACF5-EB8B498FD903}" type="presParOf" srcId="{2A081E57-1639-472C-A6C7-196A8C4A49C0}" destId="{B4C111AA-19C1-440C-8C63-7D5EB9F79BB5}" srcOrd="0" destOrd="0" presId="urn:microsoft.com/office/officeart/2005/8/layout/vList2"/>
    <dgm:cxn modelId="{D883528A-30E6-4918-A143-652E94578D7C}" type="presParOf" srcId="{2A081E57-1639-472C-A6C7-196A8C4A49C0}" destId="{2854503D-425C-498D-812F-B0E69F6EAC79}" srcOrd="1" destOrd="0" presId="urn:microsoft.com/office/officeart/2005/8/layout/vList2"/>
    <dgm:cxn modelId="{E6A96E44-6BD0-4908-8E76-486536BDB80D}" type="presParOf" srcId="{2A081E57-1639-472C-A6C7-196A8C4A49C0}" destId="{523D5B6C-A9DA-4715-9F8F-DE557A3F0AA1}" srcOrd="2" destOrd="0" presId="urn:microsoft.com/office/officeart/2005/8/layout/vList2"/>
    <dgm:cxn modelId="{3158FE25-768A-4529-B0F8-2EB321A81525}" type="presParOf" srcId="{2A081E57-1639-472C-A6C7-196A8C4A49C0}" destId="{D4E68584-F36F-4E61-8EC1-0325EB75C0DA}" srcOrd="3" destOrd="0" presId="urn:microsoft.com/office/officeart/2005/8/layout/vList2"/>
    <dgm:cxn modelId="{39B9996C-1F0F-436D-A795-75F1C95C0AB2}" type="presParOf" srcId="{2A081E57-1639-472C-A6C7-196A8C4A49C0}" destId="{694B3A3F-C1D8-4039-8685-BDC179A279B2}"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4EB3ED77-64CD-42FE-A3F2-E32DE522B145}"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s-ES"/>
        </a:p>
      </dgm:t>
    </dgm:pt>
    <dgm:pt modelId="{3E145AE4-5312-486B-90FD-DFFB40091821}">
      <dgm:prSet phldrT="[Texto]"/>
      <dgm:spPr/>
      <dgm:t>
        <a:bodyPr/>
        <a:lstStyle/>
        <a:p>
          <a:r>
            <a:rPr lang="es-ES" dirty="0"/>
            <a:t>Caracterización de los datos</a:t>
          </a:r>
        </a:p>
      </dgm:t>
    </dgm:pt>
    <dgm:pt modelId="{2FE37695-E6CE-4309-AE57-246FE5D94FC0}" type="parTrans" cxnId="{D032B0A5-AFD9-4DDC-96FE-FD02CC795BAA}">
      <dgm:prSet/>
      <dgm:spPr/>
      <dgm:t>
        <a:bodyPr/>
        <a:lstStyle/>
        <a:p>
          <a:endParaRPr lang="es-ES">
            <a:solidFill>
              <a:schemeClr val="bg1"/>
            </a:solidFill>
          </a:endParaRPr>
        </a:p>
      </dgm:t>
    </dgm:pt>
    <dgm:pt modelId="{8F032E1E-3C9E-4C93-9327-27D5D6037C9D}" type="sibTrans" cxnId="{D032B0A5-AFD9-4DDC-96FE-FD02CC795BAA}">
      <dgm:prSet/>
      <dgm:spPr/>
      <dgm:t>
        <a:bodyPr/>
        <a:lstStyle/>
        <a:p>
          <a:endParaRPr lang="es-ES">
            <a:solidFill>
              <a:schemeClr val="bg1"/>
            </a:solidFill>
          </a:endParaRPr>
        </a:p>
      </dgm:t>
    </dgm:pt>
    <dgm:pt modelId="{A410B96E-C796-4A68-8327-9386D69DF72E}">
      <dgm:prSet/>
      <dgm:spPr/>
      <dgm:t>
        <a:bodyPr/>
        <a:lstStyle/>
        <a:p>
          <a:r>
            <a:rPr lang="es-ES" dirty="0"/>
            <a:t>Distribución de los datos (rango, valores más frecuentes…)</a:t>
          </a:r>
        </a:p>
      </dgm:t>
    </dgm:pt>
    <dgm:pt modelId="{6D8F8928-B115-4606-972B-9BB814E2797B}" type="parTrans" cxnId="{7448075D-B317-4E71-A5E7-FDBFC324B6B6}">
      <dgm:prSet/>
      <dgm:spPr/>
      <dgm:t>
        <a:bodyPr/>
        <a:lstStyle/>
        <a:p>
          <a:endParaRPr lang="es-ES">
            <a:solidFill>
              <a:schemeClr val="bg1"/>
            </a:solidFill>
          </a:endParaRPr>
        </a:p>
      </dgm:t>
    </dgm:pt>
    <dgm:pt modelId="{8A86E98A-9A6B-4AC0-BE50-77A95A7C185B}" type="sibTrans" cxnId="{7448075D-B317-4E71-A5E7-FDBFC324B6B6}">
      <dgm:prSet/>
      <dgm:spPr/>
      <dgm:t>
        <a:bodyPr/>
        <a:lstStyle/>
        <a:p>
          <a:endParaRPr lang="es-ES">
            <a:solidFill>
              <a:schemeClr val="bg1"/>
            </a:solidFill>
          </a:endParaRPr>
        </a:p>
      </dgm:t>
    </dgm:pt>
    <dgm:pt modelId="{D46F7AD3-EFCB-49BE-BEAC-361EB114A692}">
      <dgm:prSet/>
      <dgm:spPr/>
      <dgm:t>
        <a:bodyPr/>
        <a:lstStyle/>
        <a:p>
          <a:r>
            <a:rPr lang="es-ES" dirty="0"/>
            <a:t>Modelo genérico de comportamiento</a:t>
          </a:r>
        </a:p>
      </dgm:t>
    </dgm:pt>
    <dgm:pt modelId="{C2280D8C-9B2D-4D0E-82E8-C7913AEB8810}" type="parTrans" cxnId="{4C29BDB0-45A3-4EE4-AB0A-693C4613CF38}">
      <dgm:prSet/>
      <dgm:spPr/>
      <dgm:t>
        <a:bodyPr/>
        <a:lstStyle/>
        <a:p>
          <a:endParaRPr lang="es-ES">
            <a:solidFill>
              <a:schemeClr val="bg1"/>
            </a:solidFill>
          </a:endParaRPr>
        </a:p>
      </dgm:t>
    </dgm:pt>
    <dgm:pt modelId="{0D089F0E-2E5B-4A7C-A887-7B6D403BC7C7}" type="sibTrans" cxnId="{4C29BDB0-45A3-4EE4-AB0A-693C4613CF38}">
      <dgm:prSet/>
      <dgm:spPr/>
      <dgm:t>
        <a:bodyPr/>
        <a:lstStyle/>
        <a:p>
          <a:endParaRPr lang="es-ES">
            <a:solidFill>
              <a:schemeClr val="bg1"/>
            </a:solidFill>
          </a:endParaRPr>
        </a:p>
      </dgm:t>
    </dgm:pt>
    <dgm:pt modelId="{5AD15207-DE13-4C6E-87AB-237D7E890C38}">
      <dgm:prSet/>
      <dgm:spPr/>
      <dgm:t>
        <a:bodyPr/>
        <a:lstStyle/>
        <a:p>
          <a:r>
            <a:rPr lang="es-ES" dirty="0"/>
            <a:t>Lo que hay en los datos describe la realidad</a:t>
          </a:r>
        </a:p>
      </dgm:t>
    </dgm:pt>
    <dgm:pt modelId="{BFB0AF8A-2D96-444D-B1AC-5EA5AF2322FB}" type="parTrans" cxnId="{06244DC8-5FB7-45E9-843B-24322E6C6D91}">
      <dgm:prSet/>
      <dgm:spPr/>
      <dgm:t>
        <a:bodyPr/>
        <a:lstStyle/>
        <a:p>
          <a:endParaRPr lang="es-ES">
            <a:solidFill>
              <a:schemeClr val="bg1"/>
            </a:solidFill>
          </a:endParaRPr>
        </a:p>
      </dgm:t>
    </dgm:pt>
    <dgm:pt modelId="{080D0816-C007-4656-8337-0F644516B6B7}" type="sibTrans" cxnId="{06244DC8-5FB7-45E9-843B-24322E6C6D91}">
      <dgm:prSet/>
      <dgm:spPr/>
      <dgm:t>
        <a:bodyPr/>
        <a:lstStyle/>
        <a:p>
          <a:endParaRPr lang="es-ES">
            <a:solidFill>
              <a:schemeClr val="bg1"/>
            </a:solidFill>
          </a:endParaRPr>
        </a:p>
      </dgm:t>
    </dgm:pt>
    <dgm:pt modelId="{57ECF447-E5EA-4F3E-AB96-4F8409D6BBF5}">
      <dgm:prSet/>
      <dgm:spPr/>
      <dgm:t>
        <a:bodyPr/>
        <a:lstStyle/>
        <a:p>
          <a:r>
            <a:rPr lang="es-ES" dirty="0"/>
            <a:t>Modelado de los datos</a:t>
          </a:r>
        </a:p>
      </dgm:t>
    </dgm:pt>
    <dgm:pt modelId="{D957F9D1-5B9D-469E-9F70-00D89D6926D0}" type="parTrans" cxnId="{8A3B3C78-0AAA-424D-92CF-78A8D3E5BC0E}">
      <dgm:prSet/>
      <dgm:spPr/>
      <dgm:t>
        <a:bodyPr/>
        <a:lstStyle/>
        <a:p>
          <a:endParaRPr lang="es-ES">
            <a:solidFill>
              <a:schemeClr val="bg1"/>
            </a:solidFill>
          </a:endParaRPr>
        </a:p>
      </dgm:t>
    </dgm:pt>
    <dgm:pt modelId="{33325749-90E5-4EDA-9E60-0EFAF48A6B37}" type="sibTrans" cxnId="{8A3B3C78-0AAA-424D-92CF-78A8D3E5BC0E}">
      <dgm:prSet/>
      <dgm:spPr/>
      <dgm:t>
        <a:bodyPr/>
        <a:lstStyle/>
        <a:p>
          <a:endParaRPr lang="es-ES">
            <a:solidFill>
              <a:schemeClr val="bg1"/>
            </a:solidFill>
          </a:endParaRPr>
        </a:p>
      </dgm:t>
    </dgm:pt>
    <dgm:pt modelId="{058D582C-FC24-49CD-98A9-A9C5EBEBAA89}">
      <dgm:prSet/>
      <dgm:spPr/>
      <dgm:t>
        <a:bodyPr/>
        <a:lstStyle/>
        <a:p>
          <a:r>
            <a:rPr lang="es-ES" dirty="0"/>
            <a:t>Aprendizaje automático mediante datos históricos.</a:t>
          </a:r>
        </a:p>
      </dgm:t>
    </dgm:pt>
    <dgm:pt modelId="{6AACA201-19F7-4254-AF0D-6CCBDA5A57CB}" type="parTrans" cxnId="{C2D9DA2B-BE99-4C41-93C5-2CB89C7538C5}">
      <dgm:prSet/>
      <dgm:spPr/>
      <dgm:t>
        <a:bodyPr/>
        <a:lstStyle/>
        <a:p>
          <a:endParaRPr lang="es-ES">
            <a:solidFill>
              <a:schemeClr val="bg1"/>
            </a:solidFill>
          </a:endParaRPr>
        </a:p>
      </dgm:t>
    </dgm:pt>
    <dgm:pt modelId="{C89CDC74-100D-44D4-A4E8-6F58CDCA5C02}" type="sibTrans" cxnId="{C2D9DA2B-BE99-4C41-93C5-2CB89C7538C5}">
      <dgm:prSet/>
      <dgm:spPr/>
      <dgm:t>
        <a:bodyPr/>
        <a:lstStyle/>
        <a:p>
          <a:endParaRPr lang="es-ES">
            <a:solidFill>
              <a:schemeClr val="bg1"/>
            </a:solidFill>
          </a:endParaRPr>
        </a:p>
      </dgm:t>
    </dgm:pt>
    <dgm:pt modelId="{27B44857-4DD9-4D2C-8560-39E524019E1C}">
      <dgm:prSet/>
      <dgm:spPr/>
      <dgm:t>
        <a:bodyPr/>
        <a:lstStyle/>
        <a:p>
          <a:r>
            <a:rPr lang="es-ES" dirty="0"/>
            <a:t>Se aprende de los datos para construir el algoritmo que “aprende” de ellos</a:t>
          </a:r>
        </a:p>
      </dgm:t>
    </dgm:pt>
    <dgm:pt modelId="{3750B001-8708-4477-91F5-ED2EC599DB3F}" type="parTrans" cxnId="{CD9FFE22-D185-416D-A977-2BC300AC64A0}">
      <dgm:prSet/>
      <dgm:spPr/>
      <dgm:t>
        <a:bodyPr/>
        <a:lstStyle/>
        <a:p>
          <a:endParaRPr lang="es-ES">
            <a:solidFill>
              <a:schemeClr val="bg1"/>
            </a:solidFill>
          </a:endParaRPr>
        </a:p>
      </dgm:t>
    </dgm:pt>
    <dgm:pt modelId="{0FEF363A-906B-42CF-B18D-F59182B01A2F}" type="sibTrans" cxnId="{CD9FFE22-D185-416D-A977-2BC300AC64A0}">
      <dgm:prSet/>
      <dgm:spPr/>
      <dgm:t>
        <a:bodyPr/>
        <a:lstStyle/>
        <a:p>
          <a:endParaRPr lang="es-ES">
            <a:solidFill>
              <a:schemeClr val="bg1"/>
            </a:solidFill>
          </a:endParaRPr>
        </a:p>
      </dgm:t>
    </dgm:pt>
    <dgm:pt modelId="{33059D6C-30A0-4523-AA1C-F171701661DF}">
      <dgm:prSet/>
      <dgm:spPr>
        <a:solidFill>
          <a:srgbClr val="ED7D31"/>
        </a:solidFill>
        <a:ln w="12700" cap="flat" cmpd="sng" algn="ctr">
          <a:solidFill>
            <a:prstClr val="white">
              <a:hueOff val="0"/>
              <a:satOff val="0"/>
              <a:lumOff val="0"/>
              <a:alphaOff val="0"/>
            </a:prstClr>
          </a:solidFill>
          <a:prstDash val="solid"/>
          <a:miter lim="800000"/>
        </a:ln>
        <a:effectLst/>
      </dgm:spPr>
      <dgm:t>
        <a:bodyPr spcFirstLastPara="0" vert="horz" wrap="square" lIns="83820" tIns="83820" rIns="83820" bIns="83820" numCol="1" spcCol="1270" anchor="ctr" anchorCtr="0"/>
        <a:lstStyle/>
        <a:p>
          <a:r>
            <a:rPr lang="es-ES" dirty="0"/>
            <a:t>Si la realidad cambia el algoritmo “aprende” de nuevo y se adapta.</a:t>
          </a:r>
        </a:p>
      </dgm:t>
    </dgm:pt>
    <dgm:pt modelId="{E8B7C36C-D453-41A6-85D0-B7FB85468E15}" type="parTrans" cxnId="{E9C43847-6C38-452A-B9E3-91060DB08D42}">
      <dgm:prSet/>
      <dgm:spPr/>
      <dgm:t>
        <a:bodyPr/>
        <a:lstStyle/>
        <a:p>
          <a:endParaRPr lang="es-ES">
            <a:solidFill>
              <a:schemeClr val="bg1"/>
            </a:solidFill>
          </a:endParaRPr>
        </a:p>
      </dgm:t>
    </dgm:pt>
    <dgm:pt modelId="{4AC317A2-90B0-4F1F-B061-5D89DCC47982}" type="sibTrans" cxnId="{E9C43847-6C38-452A-B9E3-91060DB08D42}">
      <dgm:prSet/>
      <dgm:spPr/>
      <dgm:t>
        <a:bodyPr/>
        <a:lstStyle/>
        <a:p>
          <a:endParaRPr lang="es-ES">
            <a:solidFill>
              <a:schemeClr val="bg1"/>
            </a:solidFill>
          </a:endParaRPr>
        </a:p>
      </dgm:t>
    </dgm:pt>
    <dgm:pt modelId="{E4C65A1F-79EB-4EB5-9490-388B38D9A228}" type="pres">
      <dgm:prSet presAssocID="{4EB3ED77-64CD-42FE-A3F2-E32DE522B145}" presName="linear" presStyleCnt="0">
        <dgm:presLayoutVars>
          <dgm:animLvl val="lvl"/>
          <dgm:resizeHandles val="exact"/>
        </dgm:presLayoutVars>
      </dgm:prSet>
      <dgm:spPr/>
    </dgm:pt>
    <dgm:pt modelId="{6F3F9D95-0799-4B5B-BB71-B4DCE39D6229}" type="pres">
      <dgm:prSet presAssocID="{3E145AE4-5312-486B-90FD-DFFB40091821}" presName="parentText" presStyleLbl="node1" presStyleIdx="0" presStyleCnt="3">
        <dgm:presLayoutVars>
          <dgm:chMax val="0"/>
          <dgm:bulletEnabled val="1"/>
        </dgm:presLayoutVars>
      </dgm:prSet>
      <dgm:spPr/>
    </dgm:pt>
    <dgm:pt modelId="{47F993B2-5E2F-44CB-9654-A679746F9CAC}" type="pres">
      <dgm:prSet presAssocID="{3E145AE4-5312-486B-90FD-DFFB40091821}" presName="childText" presStyleLbl="revTx" presStyleIdx="0" presStyleCnt="2">
        <dgm:presLayoutVars>
          <dgm:bulletEnabled val="1"/>
        </dgm:presLayoutVars>
      </dgm:prSet>
      <dgm:spPr/>
    </dgm:pt>
    <dgm:pt modelId="{E06EC1BF-152B-4EDE-88A6-E7F61867B557}" type="pres">
      <dgm:prSet presAssocID="{57ECF447-E5EA-4F3E-AB96-4F8409D6BBF5}" presName="parentText" presStyleLbl="node1" presStyleIdx="1" presStyleCnt="3">
        <dgm:presLayoutVars>
          <dgm:chMax val="0"/>
          <dgm:bulletEnabled val="1"/>
        </dgm:presLayoutVars>
      </dgm:prSet>
      <dgm:spPr/>
    </dgm:pt>
    <dgm:pt modelId="{003E9C84-83C2-4035-9ADB-867A7E2A2814}" type="pres">
      <dgm:prSet presAssocID="{57ECF447-E5EA-4F3E-AB96-4F8409D6BBF5}" presName="childText" presStyleLbl="revTx" presStyleIdx="1" presStyleCnt="2">
        <dgm:presLayoutVars>
          <dgm:bulletEnabled val="1"/>
        </dgm:presLayoutVars>
      </dgm:prSet>
      <dgm:spPr/>
    </dgm:pt>
    <dgm:pt modelId="{592D7F8F-1C2D-4E4A-9A31-42196D873FB4}" type="pres">
      <dgm:prSet presAssocID="{33059D6C-30A0-4523-AA1C-F171701661DF}" presName="parentText" presStyleLbl="node1" presStyleIdx="2" presStyleCnt="3">
        <dgm:presLayoutVars>
          <dgm:chMax val="0"/>
          <dgm:bulletEnabled val="1"/>
        </dgm:presLayoutVars>
      </dgm:prSet>
      <dgm:spPr>
        <a:xfrm>
          <a:off x="0" y="2922841"/>
          <a:ext cx="5183188" cy="715052"/>
        </a:xfrm>
        <a:prstGeom prst="roundRect">
          <a:avLst/>
        </a:prstGeom>
      </dgm:spPr>
    </dgm:pt>
  </dgm:ptLst>
  <dgm:cxnLst>
    <dgm:cxn modelId="{BE44F703-A3F8-4620-8FF6-E0F87E9276F9}" type="presOf" srcId="{33059D6C-30A0-4523-AA1C-F171701661DF}" destId="{592D7F8F-1C2D-4E4A-9A31-42196D873FB4}" srcOrd="0" destOrd="0" presId="urn:microsoft.com/office/officeart/2005/8/layout/vList2"/>
    <dgm:cxn modelId="{CD9FFE22-D185-416D-A977-2BC300AC64A0}" srcId="{57ECF447-E5EA-4F3E-AB96-4F8409D6BBF5}" destId="{27B44857-4DD9-4D2C-8560-39E524019E1C}" srcOrd="1" destOrd="0" parTransId="{3750B001-8708-4477-91F5-ED2EC599DB3F}" sibTransId="{0FEF363A-906B-42CF-B18D-F59182B01A2F}"/>
    <dgm:cxn modelId="{6CFDB526-FFF1-4906-B335-222E0C9536E5}" type="presOf" srcId="{57ECF447-E5EA-4F3E-AB96-4F8409D6BBF5}" destId="{E06EC1BF-152B-4EDE-88A6-E7F61867B557}" srcOrd="0" destOrd="0" presId="urn:microsoft.com/office/officeart/2005/8/layout/vList2"/>
    <dgm:cxn modelId="{C2D9DA2B-BE99-4C41-93C5-2CB89C7538C5}" srcId="{57ECF447-E5EA-4F3E-AB96-4F8409D6BBF5}" destId="{058D582C-FC24-49CD-98A9-A9C5EBEBAA89}" srcOrd="0" destOrd="0" parTransId="{6AACA201-19F7-4254-AF0D-6CCBDA5A57CB}" sibTransId="{C89CDC74-100D-44D4-A4E8-6F58CDCA5C02}"/>
    <dgm:cxn modelId="{0A5E662C-5173-4D98-A8BA-2D200A8F5CAB}" type="presOf" srcId="{4EB3ED77-64CD-42FE-A3F2-E32DE522B145}" destId="{E4C65A1F-79EB-4EB5-9490-388B38D9A228}" srcOrd="0" destOrd="0" presId="urn:microsoft.com/office/officeart/2005/8/layout/vList2"/>
    <dgm:cxn modelId="{7448075D-B317-4E71-A5E7-FDBFC324B6B6}" srcId="{3E145AE4-5312-486B-90FD-DFFB40091821}" destId="{A410B96E-C796-4A68-8327-9386D69DF72E}" srcOrd="0" destOrd="0" parTransId="{6D8F8928-B115-4606-972B-9BB814E2797B}" sibTransId="{8A86E98A-9A6B-4AC0-BE50-77A95A7C185B}"/>
    <dgm:cxn modelId="{E9C43847-6C38-452A-B9E3-91060DB08D42}" srcId="{4EB3ED77-64CD-42FE-A3F2-E32DE522B145}" destId="{33059D6C-30A0-4523-AA1C-F171701661DF}" srcOrd="2" destOrd="0" parTransId="{E8B7C36C-D453-41A6-85D0-B7FB85468E15}" sibTransId="{4AC317A2-90B0-4F1F-B061-5D89DCC47982}"/>
    <dgm:cxn modelId="{8A3B3C78-0AAA-424D-92CF-78A8D3E5BC0E}" srcId="{4EB3ED77-64CD-42FE-A3F2-E32DE522B145}" destId="{57ECF447-E5EA-4F3E-AB96-4F8409D6BBF5}" srcOrd="1" destOrd="0" parTransId="{D957F9D1-5B9D-469E-9F70-00D89D6926D0}" sibTransId="{33325749-90E5-4EDA-9E60-0EFAF48A6B37}"/>
    <dgm:cxn modelId="{D032B0A5-AFD9-4DDC-96FE-FD02CC795BAA}" srcId="{4EB3ED77-64CD-42FE-A3F2-E32DE522B145}" destId="{3E145AE4-5312-486B-90FD-DFFB40091821}" srcOrd="0" destOrd="0" parTransId="{2FE37695-E6CE-4309-AE57-246FE5D94FC0}" sibTransId="{8F032E1E-3C9E-4C93-9327-27D5D6037C9D}"/>
    <dgm:cxn modelId="{4C29BDB0-45A3-4EE4-AB0A-693C4613CF38}" srcId="{3E145AE4-5312-486B-90FD-DFFB40091821}" destId="{D46F7AD3-EFCB-49BE-BEAC-361EB114A692}" srcOrd="1" destOrd="0" parTransId="{C2280D8C-9B2D-4D0E-82E8-C7913AEB8810}" sibTransId="{0D089F0E-2E5B-4A7C-A887-7B6D403BC7C7}"/>
    <dgm:cxn modelId="{ECB506C6-15AC-4042-A76A-03FF34E16E95}" type="presOf" srcId="{27B44857-4DD9-4D2C-8560-39E524019E1C}" destId="{003E9C84-83C2-4035-9ADB-867A7E2A2814}" srcOrd="0" destOrd="1" presId="urn:microsoft.com/office/officeart/2005/8/layout/vList2"/>
    <dgm:cxn modelId="{06244DC8-5FB7-45E9-843B-24322E6C6D91}" srcId="{3E145AE4-5312-486B-90FD-DFFB40091821}" destId="{5AD15207-DE13-4C6E-87AB-237D7E890C38}" srcOrd="2" destOrd="0" parTransId="{BFB0AF8A-2D96-444D-B1AC-5EA5AF2322FB}" sibTransId="{080D0816-C007-4656-8337-0F644516B6B7}"/>
    <dgm:cxn modelId="{EA3229CB-BF96-4E6E-AD25-130A5CFC6DF9}" type="presOf" srcId="{3E145AE4-5312-486B-90FD-DFFB40091821}" destId="{6F3F9D95-0799-4B5B-BB71-B4DCE39D6229}" srcOrd="0" destOrd="0" presId="urn:microsoft.com/office/officeart/2005/8/layout/vList2"/>
    <dgm:cxn modelId="{FC736DCF-1997-4370-BCCF-482E2CAF197A}" type="presOf" srcId="{A410B96E-C796-4A68-8327-9386D69DF72E}" destId="{47F993B2-5E2F-44CB-9654-A679746F9CAC}" srcOrd="0" destOrd="0" presId="urn:microsoft.com/office/officeart/2005/8/layout/vList2"/>
    <dgm:cxn modelId="{869048EE-793D-496E-81ED-000E85C14D4D}" type="presOf" srcId="{058D582C-FC24-49CD-98A9-A9C5EBEBAA89}" destId="{003E9C84-83C2-4035-9ADB-867A7E2A2814}" srcOrd="0" destOrd="0" presId="urn:microsoft.com/office/officeart/2005/8/layout/vList2"/>
    <dgm:cxn modelId="{7FEA4CEE-B5FE-4FA7-95F7-F910E3A17B6C}" type="presOf" srcId="{D46F7AD3-EFCB-49BE-BEAC-361EB114A692}" destId="{47F993B2-5E2F-44CB-9654-A679746F9CAC}" srcOrd="0" destOrd="1" presId="urn:microsoft.com/office/officeart/2005/8/layout/vList2"/>
    <dgm:cxn modelId="{8BD40FF2-D77B-46BC-B2C5-91474C75D8D9}" type="presOf" srcId="{5AD15207-DE13-4C6E-87AB-237D7E890C38}" destId="{47F993B2-5E2F-44CB-9654-A679746F9CAC}" srcOrd="0" destOrd="2" presId="urn:microsoft.com/office/officeart/2005/8/layout/vList2"/>
    <dgm:cxn modelId="{F335C93D-DC9A-4638-AFB8-BE0158F661FA}" type="presParOf" srcId="{E4C65A1F-79EB-4EB5-9490-388B38D9A228}" destId="{6F3F9D95-0799-4B5B-BB71-B4DCE39D6229}" srcOrd="0" destOrd="0" presId="urn:microsoft.com/office/officeart/2005/8/layout/vList2"/>
    <dgm:cxn modelId="{E29BDB2F-324A-40D9-9D15-F4FAE79C6C4F}" type="presParOf" srcId="{E4C65A1F-79EB-4EB5-9490-388B38D9A228}" destId="{47F993B2-5E2F-44CB-9654-A679746F9CAC}" srcOrd="1" destOrd="0" presId="urn:microsoft.com/office/officeart/2005/8/layout/vList2"/>
    <dgm:cxn modelId="{C858E4F2-330D-4B43-A276-21E6E8852CEE}" type="presParOf" srcId="{E4C65A1F-79EB-4EB5-9490-388B38D9A228}" destId="{E06EC1BF-152B-4EDE-88A6-E7F61867B557}" srcOrd="2" destOrd="0" presId="urn:microsoft.com/office/officeart/2005/8/layout/vList2"/>
    <dgm:cxn modelId="{AAB01BD9-8C21-4EEC-A30B-DD1748FF8CBC}" type="presParOf" srcId="{E4C65A1F-79EB-4EB5-9490-388B38D9A228}" destId="{003E9C84-83C2-4035-9ADB-867A7E2A2814}" srcOrd="3" destOrd="0" presId="urn:microsoft.com/office/officeart/2005/8/layout/vList2"/>
    <dgm:cxn modelId="{6C814347-00B8-4170-8684-52AD61728340}" type="presParOf" srcId="{E4C65A1F-79EB-4EB5-9490-388B38D9A228}" destId="{592D7F8F-1C2D-4E4A-9A31-42196D873FB4}"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B4CA105D-C0CD-4CAA-A0BB-4CABA5B31A3E}" type="doc">
      <dgm:prSet loTypeId="urn:microsoft.com/office/officeart/2005/8/layout/hList2" loCatId="picture" qsTypeId="urn:microsoft.com/office/officeart/2005/8/quickstyle/simple1" qsCatId="simple" csTypeId="urn:microsoft.com/office/officeart/2005/8/colors/accent1_2" csCatId="accent1" phldr="1"/>
      <dgm:spPr/>
      <dgm:t>
        <a:bodyPr/>
        <a:lstStyle/>
        <a:p>
          <a:endParaRPr lang="es-ES"/>
        </a:p>
      </dgm:t>
    </dgm:pt>
    <dgm:pt modelId="{AB4BA171-0B20-4D11-A97A-15B50F92AE0D}">
      <dgm:prSet phldrT="[Texto]"/>
      <dgm:spPr/>
      <dgm:t>
        <a:bodyPr/>
        <a:lstStyle/>
        <a:p>
          <a:r>
            <a:rPr lang="es-ES" dirty="0">
              <a:highlight>
                <a:srgbClr val="FFCDCC"/>
              </a:highlight>
            </a:rPr>
            <a:t>Alucinaciones</a:t>
          </a:r>
        </a:p>
      </dgm:t>
    </dgm:pt>
    <dgm:pt modelId="{627F6767-7BC4-4C36-A71C-D93AA6952500}" type="parTrans" cxnId="{B057D8A1-B947-4AD1-A545-B2834448DC49}">
      <dgm:prSet/>
      <dgm:spPr/>
      <dgm:t>
        <a:bodyPr/>
        <a:lstStyle/>
        <a:p>
          <a:endParaRPr lang="es-ES"/>
        </a:p>
      </dgm:t>
    </dgm:pt>
    <dgm:pt modelId="{48FC857E-1DA4-4CEB-81BA-18B07E603F4A}" type="sibTrans" cxnId="{B057D8A1-B947-4AD1-A545-B2834448DC49}">
      <dgm:prSet/>
      <dgm:spPr/>
      <dgm:t>
        <a:bodyPr/>
        <a:lstStyle/>
        <a:p>
          <a:endParaRPr lang="es-ES"/>
        </a:p>
      </dgm:t>
    </dgm:pt>
    <dgm:pt modelId="{214A2668-EDDD-4A4C-8783-38566A6336B9}">
      <dgm:prSet phldrT="[Texto]"/>
      <dgm:spPr/>
      <dgm:t>
        <a:bodyPr/>
        <a:lstStyle/>
        <a:p>
          <a:r>
            <a:rPr lang="es-ES" dirty="0">
              <a:highlight>
                <a:srgbClr val="FFCDCC"/>
              </a:highlight>
            </a:rPr>
            <a:t>Sesgos</a:t>
          </a:r>
        </a:p>
      </dgm:t>
    </dgm:pt>
    <dgm:pt modelId="{7D6A6876-6F04-4C3D-8EC2-B5FAC01E8A18}" type="parTrans" cxnId="{64F08BE3-0788-475E-AD20-27ADA47AB5A9}">
      <dgm:prSet/>
      <dgm:spPr/>
      <dgm:t>
        <a:bodyPr/>
        <a:lstStyle/>
        <a:p>
          <a:endParaRPr lang="es-ES"/>
        </a:p>
      </dgm:t>
    </dgm:pt>
    <dgm:pt modelId="{C607F689-A426-4776-A580-1DD50A5405A1}" type="sibTrans" cxnId="{64F08BE3-0788-475E-AD20-27ADA47AB5A9}">
      <dgm:prSet/>
      <dgm:spPr/>
      <dgm:t>
        <a:bodyPr/>
        <a:lstStyle/>
        <a:p>
          <a:endParaRPr lang="es-ES"/>
        </a:p>
      </dgm:t>
    </dgm:pt>
    <dgm:pt modelId="{A4683E8B-57AA-452B-8390-39C15FA7E170}">
      <dgm:prSet phldrT="[Texto]"/>
      <dgm:spPr/>
      <dgm:t>
        <a:bodyPr/>
        <a:lstStyle/>
        <a:p>
          <a:r>
            <a:rPr lang="es-ES" dirty="0"/>
            <a:t>Respuesta segura de una IA que no se justifica por sus datos de entrenamiento. Es decir, la IA genera información que no se basa en la realidad, sino que es producto de su propia imaginación.</a:t>
          </a:r>
        </a:p>
      </dgm:t>
    </dgm:pt>
    <dgm:pt modelId="{B920D0F7-944D-4069-8BF0-EB7239031382}" type="parTrans" cxnId="{21CFCE04-152C-4336-8C6D-D4563A8E7974}">
      <dgm:prSet/>
      <dgm:spPr/>
      <dgm:t>
        <a:bodyPr/>
        <a:lstStyle/>
        <a:p>
          <a:endParaRPr lang="es-ES"/>
        </a:p>
      </dgm:t>
    </dgm:pt>
    <dgm:pt modelId="{4EA8F3F4-B8CD-443B-8F36-043E42B6410F}" type="sibTrans" cxnId="{21CFCE04-152C-4336-8C6D-D4563A8E7974}">
      <dgm:prSet/>
      <dgm:spPr/>
      <dgm:t>
        <a:bodyPr/>
        <a:lstStyle/>
        <a:p>
          <a:endParaRPr lang="es-ES"/>
        </a:p>
      </dgm:t>
    </dgm:pt>
    <dgm:pt modelId="{4DC0F6C3-894C-4FD9-B822-0D2EEB979789}">
      <dgm:prSet phldrT="[Texto]"/>
      <dgm:spPr/>
      <dgm:t>
        <a:bodyPr/>
        <a:lstStyle/>
        <a:p>
          <a:r>
            <a:rPr lang="es-ES" sz="1600" kern="1200" dirty="0"/>
            <a:t>Prejuicios involuntarios que se introducen en los sistemas de IA durante su desarrollo o uso. </a:t>
          </a:r>
        </a:p>
      </dgm:t>
    </dgm:pt>
    <dgm:pt modelId="{4576388A-7407-4BE4-A697-B2BAF25A998B}" type="parTrans" cxnId="{12948058-987D-46A5-B89A-5F7027D66EAC}">
      <dgm:prSet/>
      <dgm:spPr/>
      <dgm:t>
        <a:bodyPr/>
        <a:lstStyle/>
        <a:p>
          <a:endParaRPr lang="es-ES"/>
        </a:p>
      </dgm:t>
    </dgm:pt>
    <dgm:pt modelId="{85C1FCC9-FAF5-46DE-8719-193684AB17D6}" type="sibTrans" cxnId="{12948058-987D-46A5-B89A-5F7027D66EAC}">
      <dgm:prSet/>
      <dgm:spPr/>
      <dgm:t>
        <a:bodyPr/>
        <a:lstStyle/>
        <a:p>
          <a:endParaRPr lang="es-ES"/>
        </a:p>
      </dgm:t>
    </dgm:pt>
    <dgm:pt modelId="{CF474932-8F2D-45BB-B9FD-1DC1D54643E3}">
      <dgm:prSet phldrT="[Texto]"/>
      <dgm:spPr/>
      <dgm:t>
        <a:bodyPr/>
        <a:lstStyle/>
        <a:p>
          <a:r>
            <a:rPr lang="es-ES" sz="1600" kern="1200" dirty="0"/>
            <a:t>Estos sesgos pueden tener un impacto negativo en la precisión, la equidad y la seguridad de la IA.</a:t>
          </a:r>
        </a:p>
      </dgm:t>
    </dgm:pt>
    <dgm:pt modelId="{A03EA52D-DC64-4CEB-83BB-5421A9A34FB0}" type="parTrans" cxnId="{8804BAC5-91BF-46A5-8836-A986F5458BF0}">
      <dgm:prSet/>
      <dgm:spPr/>
      <dgm:t>
        <a:bodyPr/>
        <a:lstStyle/>
        <a:p>
          <a:endParaRPr lang="es-ES"/>
        </a:p>
      </dgm:t>
    </dgm:pt>
    <dgm:pt modelId="{A5C21B9D-4F16-42B4-866F-A9DAEE700DFA}" type="sibTrans" cxnId="{8804BAC5-91BF-46A5-8836-A986F5458BF0}">
      <dgm:prSet/>
      <dgm:spPr/>
      <dgm:t>
        <a:bodyPr/>
        <a:lstStyle/>
        <a:p>
          <a:endParaRPr lang="es-ES"/>
        </a:p>
      </dgm:t>
    </dgm:pt>
    <dgm:pt modelId="{1431415C-FCFE-4FF4-8535-B26D21B31723}">
      <dgm:prSet phldrT="[Texto]" custT="1"/>
      <dgm:spPr/>
      <dgm:t>
        <a:bodyPr/>
        <a:lstStyle/>
        <a:p>
          <a:r>
            <a:rPr lang="es-ES" sz="1600" b="1" kern="1200" dirty="0">
              <a:solidFill>
                <a:prstClr val="white"/>
              </a:solidFill>
              <a:highlight>
                <a:srgbClr val="000080"/>
              </a:highlight>
              <a:latin typeface="Avenir LT Std 35 Light" panose="020B0402020203020204" pitchFamily="34" charset="0"/>
              <a:ea typeface="+mn-ea"/>
              <a:cs typeface="+mn-cs"/>
            </a:rPr>
            <a:t>Causas:</a:t>
          </a:r>
        </a:p>
      </dgm:t>
    </dgm:pt>
    <dgm:pt modelId="{FF298AB6-6ED6-4B90-9169-7788CDFFF1E3}" type="parTrans" cxnId="{D7FA0CAC-843A-4051-A614-208B79EC2534}">
      <dgm:prSet/>
      <dgm:spPr/>
      <dgm:t>
        <a:bodyPr/>
        <a:lstStyle/>
        <a:p>
          <a:endParaRPr lang="es-ES"/>
        </a:p>
      </dgm:t>
    </dgm:pt>
    <dgm:pt modelId="{916FD6AE-9D52-49D4-B1C6-0CE8D1AC2DAB}" type="sibTrans" cxnId="{D7FA0CAC-843A-4051-A614-208B79EC2534}">
      <dgm:prSet/>
      <dgm:spPr/>
      <dgm:t>
        <a:bodyPr/>
        <a:lstStyle/>
        <a:p>
          <a:endParaRPr lang="es-ES"/>
        </a:p>
      </dgm:t>
    </dgm:pt>
    <dgm:pt modelId="{A6D0285E-98B7-4F17-9D0D-DCC618F11ADF}">
      <dgm:prSet phldrT="[Texto]"/>
      <dgm:spPr/>
      <dgm:t>
        <a:bodyPr/>
        <a:lstStyle/>
        <a:p>
          <a:r>
            <a:rPr lang="es-ES" sz="1600" kern="1200" dirty="0"/>
            <a:t>Sesgos en los datos de entrenamiento</a:t>
          </a:r>
        </a:p>
      </dgm:t>
    </dgm:pt>
    <dgm:pt modelId="{3AF5B192-5854-4DBD-ACA9-7DF72A650B02}" type="parTrans" cxnId="{C397B252-02D5-42F0-BE66-10C4FE88D91E}">
      <dgm:prSet/>
      <dgm:spPr/>
      <dgm:t>
        <a:bodyPr/>
        <a:lstStyle/>
        <a:p>
          <a:endParaRPr lang="es-ES"/>
        </a:p>
      </dgm:t>
    </dgm:pt>
    <dgm:pt modelId="{D6B49455-A367-4E33-B6AF-084E6266C515}" type="sibTrans" cxnId="{C397B252-02D5-42F0-BE66-10C4FE88D91E}">
      <dgm:prSet/>
      <dgm:spPr/>
      <dgm:t>
        <a:bodyPr/>
        <a:lstStyle/>
        <a:p>
          <a:endParaRPr lang="es-ES"/>
        </a:p>
      </dgm:t>
    </dgm:pt>
    <dgm:pt modelId="{0B7ED6D1-172B-450F-A69E-9B0F7E9C861C}">
      <dgm:prSet/>
      <dgm:spPr/>
      <dgm:t>
        <a:bodyPr/>
        <a:lstStyle/>
        <a:p>
          <a:r>
            <a:rPr lang="es-ES" sz="1600" kern="1200" dirty="0"/>
            <a:t>Sesgos en los algoritmos</a:t>
          </a:r>
        </a:p>
      </dgm:t>
    </dgm:pt>
    <dgm:pt modelId="{DAC6F171-B52C-4FDA-87FF-95F1B057CC5C}" type="parTrans" cxnId="{0EDF2A2D-6EB8-4EA9-B4D0-9AF9AA6C8903}">
      <dgm:prSet/>
      <dgm:spPr/>
      <dgm:t>
        <a:bodyPr/>
        <a:lstStyle/>
        <a:p>
          <a:endParaRPr lang="es-ES"/>
        </a:p>
      </dgm:t>
    </dgm:pt>
    <dgm:pt modelId="{5C97D595-65F1-4C41-B8DE-171EA432E76A}" type="sibTrans" cxnId="{0EDF2A2D-6EB8-4EA9-B4D0-9AF9AA6C8903}">
      <dgm:prSet/>
      <dgm:spPr/>
      <dgm:t>
        <a:bodyPr/>
        <a:lstStyle/>
        <a:p>
          <a:endParaRPr lang="es-ES"/>
        </a:p>
      </dgm:t>
    </dgm:pt>
    <dgm:pt modelId="{FE00DB00-BE6F-4F8A-83D0-E1F246DAC2D7}">
      <dgm:prSet/>
      <dgm:spPr/>
      <dgm:t>
        <a:bodyPr/>
        <a:lstStyle/>
        <a:p>
          <a:r>
            <a:rPr lang="es-ES" sz="1600" kern="1200" dirty="0"/>
            <a:t>Sesgos en el uso de la IA</a:t>
          </a:r>
        </a:p>
      </dgm:t>
    </dgm:pt>
    <dgm:pt modelId="{41F8B1B9-364E-4839-AE7E-0D33E3680E4F}" type="parTrans" cxnId="{C8553D81-81EF-4E7F-BA6F-AD1767AA39C1}">
      <dgm:prSet/>
      <dgm:spPr/>
      <dgm:t>
        <a:bodyPr/>
        <a:lstStyle/>
        <a:p>
          <a:endParaRPr lang="es-ES"/>
        </a:p>
      </dgm:t>
    </dgm:pt>
    <dgm:pt modelId="{9F9587FA-5154-4989-9EA6-374188E98022}" type="sibTrans" cxnId="{C8553D81-81EF-4E7F-BA6F-AD1767AA39C1}">
      <dgm:prSet/>
      <dgm:spPr/>
      <dgm:t>
        <a:bodyPr/>
        <a:lstStyle/>
        <a:p>
          <a:endParaRPr lang="es-ES"/>
        </a:p>
      </dgm:t>
    </dgm:pt>
    <dgm:pt modelId="{885BAE02-48BC-4973-90C2-4533B8E872AE}">
      <dgm:prSet phldrT="[Texto]"/>
      <dgm:spPr/>
      <dgm:t>
        <a:bodyPr/>
        <a:lstStyle/>
        <a:p>
          <a:r>
            <a:rPr lang="es-ES" dirty="0"/>
            <a:t>Sesgos en los datos de entrenamiento.</a:t>
          </a:r>
        </a:p>
      </dgm:t>
    </dgm:pt>
    <dgm:pt modelId="{89E69873-33DE-4FD7-B75D-EE6561C77DA9}" type="parTrans" cxnId="{28AE4B7D-AE2D-4800-870C-DDBEEF2831C9}">
      <dgm:prSet/>
      <dgm:spPr/>
      <dgm:t>
        <a:bodyPr/>
        <a:lstStyle/>
        <a:p>
          <a:endParaRPr lang="es-ES"/>
        </a:p>
      </dgm:t>
    </dgm:pt>
    <dgm:pt modelId="{A330A026-5574-4AF8-BA59-E83012CDCE73}" type="sibTrans" cxnId="{28AE4B7D-AE2D-4800-870C-DDBEEF2831C9}">
      <dgm:prSet/>
      <dgm:spPr/>
      <dgm:t>
        <a:bodyPr/>
        <a:lstStyle/>
        <a:p>
          <a:endParaRPr lang="es-ES"/>
        </a:p>
      </dgm:t>
    </dgm:pt>
    <dgm:pt modelId="{855291DF-A6C4-490F-9BF7-451E4B759534}">
      <dgm:prSet phldrT="[Texto]"/>
      <dgm:spPr/>
      <dgm:t>
        <a:bodyPr/>
        <a:lstStyle/>
        <a:p>
          <a:r>
            <a:rPr lang="es-ES" dirty="0"/>
            <a:t>Falta de datos.</a:t>
          </a:r>
        </a:p>
      </dgm:t>
    </dgm:pt>
    <dgm:pt modelId="{60BEE6AB-7DE7-4401-8065-CF6B6364B172}" type="parTrans" cxnId="{35A19FC2-D35F-426B-82EB-745CA0D38A0D}">
      <dgm:prSet/>
      <dgm:spPr/>
      <dgm:t>
        <a:bodyPr/>
        <a:lstStyle/>
        <a:p>
          <a:endParaRPr lang="es-ES"/>
        </a:p>
      </dgm:t>
    </dgm:pt>
    <dgm:pt modelId="{AB6A0622-3DA7-4B76-BA1D-08BAA22DD53A}" type="sibTrans" cxnId="{35A19FC2-D35F-426B-82EB-745CA0D38A0D}">
      <dgm:prSet/>
      <dgm:spPr/>
      <dgm:t>
        <a:bodyPr/>
        <a:lstStyle/>
        <a:p>
          <a:endParaRPr lang="es-ES"/>
        </a:p>
      </dgm:t>
    </dgm:pt>
    <dgm:pt modelId="{04592986-D70B-489B-B134-EA79655DEEC2}">
      <dgm:prSet phldrT="[Texto]"/>
      <dgm:spPr/>
      <dgm:t>
        <a:bodyPr/>
        <a:lstStyle/>
        <a:p>
          <a:r>
            <a:rPr lang="es-ES" dirty="0"/>
            <a:t>Complejidad de los modelos.</a:t>
          </a:r>
        </a:p>
      </dgm:t>
    </dgm:pt>
    <dgm:pt modelId="{7943B429-869B-4216-B5B4-58C813A8E728}" type="parTrans" cxnId="{24194E25-3860-4EDA-A2FC-7F14E4445577}">
      <dgm:prSet/>
      <dgm:spPr/>
      <dgm:t>
        <a:bodyPr/>
        <a:lstStyle/>
        <a:p>
          <a:endParaRPr lang="es-ES"/>
        </a:p>
      </dgm:t>
    </dgm:pt>
    <dgm:pt modelId="{F5D62FBD-52DB-4805-B2F1-0924FAF0EB1B}" type="sibTrans" cxnId="{24194E25-3860-4EDA-A2FC-7F14E4445577}">
      <dgm:prSet/>
      <dgm:spPr/>
      <dgm:t>
        <a:bodyPr/>
        <a:lstStyle/>
        <a:p>
          <a:endParaRPr lang="es-ES"/>
        </a:p>
      </dgm:t>
    </dgm:pt>
    <dgm:pt modelId="{C1EC559B-08A8-4D7D-9FCC-13CC8DB05B12}">
      <dgm:prSet phldrT="[Texto]"/>
      <dgm:spPr/>
      <dgm:t>
        <a:bodyPr/>
        <a:lstStyle/>
        <a:p>
          <a:r>
            <a:rPr lang="es-ES" b="1" dirty="0">
              <a:highlight>
                <a:srgbClr val="000080"/>
              </a:highlight>
            </a:rPr>
            <a:t>Causas:</a:t>
          </a:r>
        </a:p>
      </dgm:t>
    </dgm:pt>
    <dgm:pt modelId="{4CD75727-A810-4A74-A0CF-50933DB23B10}" type="parTrans" cxnId="{5F6AF307-7F6F-4E06-864E-8BE37A1614C1}">
      <dgm:prSet/>
      <dgm:spPr/>
    </dgm:pt>
    <dgm:pt modelId="{25D676EE-D6C9-40A8-B3B3-32F06F70390A}" type="sibTrans" cxnId="{5F6AF307-7F6F-4E06-864E-8BE37A1614C1}">
      <dgm:prSet/>
      <dgm:spPr/>
    </dgm:pt>
    <dgm:pt modelId="{EA3EBFF2-5BCA-4904-AE19-024EC7426AC0}" type="pres">
      <dgm:prSet presAssocID="{B4CA105D-C0CD-4CAA-A0BB-4CABA5B31A3E}" presName="linearFlow" presStyleCnt="0">
        <dgm:presLayoutVars>
          <dgm:dir/>
          <dgm:animLvl val="lvl"/>
          <dgm:resizeHandles/>
        </dgm:presLayoutVars>
      </dgm:prSet>
      <dgm:spPr/>
    </dgm:pt>
    <dgm:pt modelId="{77873DFF-3727-4A3A-9012-B75A90CCDCD3}" type="pres">
      <dgm:prSet presAssocID="{AB4BA171-0B20-4D11-A97A-15B50F92AE0D}" presName="compositeNode" presStyleCnt="0">
        <dgm:presLayoutVars>
          <dgm:bulletEnabled val="1"/>
        </dgm:presLayoutVars>
      </dgm:prSet>
      <dgm:spPr/>
    </dgm:pt>
    <dgm:pt modelId="{20EE4719-84BB-45D0-84CF-6F83DC18DD04}" type="pres">
      <dgm:prSet presAssocID="{AB4BA171-0B20-4D11-A97A-15B50F92AE0D}" presName="image"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45000" r="-45000"/>
          </a:stretch>
        </a:blipFill>
      </dgm:spPr>
    </dgm:pt>
    <dgm:pt modelId="{122CAD2A-7EF6-4530-91A8-4810529C4DCD}" type="pres">
      <dgm:prSet presAssocID="{AB4BA171-0B20-4D11-A97A-15B50F92AE0D}" presName="childNode" presStyleLbl="node1" presStyleIdx="0" presStyleCnt="2">
        <dgm:presLayoutVars>
          <dgm:bulletEnabled val="1"/>
        </dgm:presLayoutVars>
      </dgm:prSet>
      <dgm:spPr/>
    </dgm:pt>
    <dgm:pt modelId="{C005EBB3-468E-4892-A8B6-EEF8E2231ECD}" type="pres">
      <dgm:prSet presAssocID="{AB4BA171-0B20-4D11-A97A-15B50F92AE0D}" presName="parentNode" presStyleLbl="revTx" presStyleIdx="0" presStyleCnt="2">
        <dgm:presLayoutVars>
          <dgm:chMax val="0"/>
          <dgm:bulletEnabled val="1"/>
        </dgm:presLayoutVars>
      </dgm:prSet>
      <dgm:spPr/>
    </dgm:pt>
    <dgm:pt modelId="{B8143E02-984D-4E90-AA26-816D58A43FBE}" type="pres">
      <dgm:prSet presAssocID="{48FC857E-1DA4-4CEB-81BA-18B07E603F4A}" presName="sibTrans" presStyleCnt="0"/>
      <dgm:spPr/>
    </dgm:pt>
    <dgm:pt modelId="{ABB079C5-7A1C-4C5C-86D8-5DC0E39E86CE}" type="pres">
      <dgm:prSet presAssocID="{214A2668-EDDD-4A4C-8783-38566A6336B9}" presName="compositeNode" presStyleCnt="0">
        <dgm:presLayoutVars>
          <dgm:bulletEnabled val="1"/>
        </dgm:presLayoutVars>
      </dgm:prSet>
      <dgm:spPr/>
    </dgm:pt>
    <dgm:pt modelId="{2D0E9687-AD06-4A42-A5DF-664E1ACEF4F3}" type="pres">
      <dgm:prSet presAssocID="{214A2668-EDDD-4A4C-8783-38566A6336B9}" presName="image" presStyleLbl="fgImgPlace1" presStyleIdx="1" presStyleCnt="2"/>
      <dgm:spPr>
        <a:blipFill dpi="0" rotWithShape="1">
          <a:blip xmlns:r="http://schemas.openxmlformats.org/officeDocument/2006/relationships" r:embed="rId2"/>
          <a:srcRect/>
          <a:stretch>
            <a:fillRect t="16675" b="16675"/>
          </a:stretch>
        </a:blipFill>
      </dgm:spPr>
    </dgm:pt>
    <dgm:pt modelId="{7DC58D7C-12CA-4679-8AE4-5F572CA38077}" type="pres">
      <dgm:prSet presAssocID="{214A2668-EDDD-4A4C-8783-38566A6336B9}" presName="childNode" presStyleLbl="node1" presStyleIdx="1" presStyleCnt="2">
        <dgm:presLayoutVars>
          <dgm:bulletEnabled val="1"/>
        </dgm:presLayoutVars>
      </dgm:prSet>
      <dgm:spPr/>
    </dgm:pt>
    <dgm:pt modelId="{7E2DBABF-9963-416B-BD4B-BCC9F1B30FBE}" type="pres">
      <dgm:prSet presAssocID="{214A2668-EDDD-4A4C-8783-38566A6336B9}" presName="parentNode" presStyleLbl="revTx" presStyleIdx="1" presStyleCnt="2">
        <dgm:presLayoutVars>
          <dgm:chMax val="0"/>
          <dgm:bulletEnabled val="1"/>
        </dgm:presLayoutVars>
      </dgm:prSet>
      <dgm:spPr/>
    </dgm:pt>
  </dgm:ptLst>
  <dgm:cxnLst>
    <dgm:cxn modelId="{21CFCE04-152C-4336-8C6D-D4563A8E7974}" srcId="{AB4BA171-0B20-4D11-A97A-15B50F92AE0D}" destId="{A4683E8B-57AA-452B-8390-39C15FA7E170}" srcOrd="0" destOrd="0" parTransId="{B920D0F7-944D-4069-8BF0-EB7239031382}" sibTransId="{4EA8F3F4-B8CD-443B-8F36-043E42B6410F}"/>
    <dgm:cxn modelId="{5F6AF307-7F6F-4E06-864E-8BE37A1614C1}" srcId="{AB4BA171-0B20-4D11-A97A-15B50F92AE0D}" destId="{C1EC559B-08A8-4D7D-9FCC-13CC8DB05B12}" srcOrd="1" destOrd="0" parTransId="{4CD75727-A810-4A74-A0CF-50933DB23B10}" sibTransId="{25D676EE-D6C9-40A8-B3B3-32F06F70390A}"/>
    <dgm:cxn modelId="{CD64C71C-55A3-47B5-A01E-828C8669EBB5}" type="presOf" srcId="{0B7ED6D1-172B-450F-A69E-9B0F7E9C861C}" destId="{7DC58D7C-12CA-4679-8AE4-5F572CA38077}" srcOrd="0" destOrd="4" presId="urn:microsoft.com/office/officeart/2005/8/layout/hList2"/>
    <dgm:cxn modelId="{24194E25-3860-4EDA-A2FC-7F14E4445577}" srcId="{C1EC559B-08A8-4D7D-9FCC-13CC8DB05B12}" destId="{04592986-D70B-489B-B134-EA79655DEEC2}" srcOrd="2" destOrd="0" parTransId="{7943B429-869B-4216-B5B4-58C813A8E728}" sibTransId="{F5D62FBD-52DB-4805-B2F1-0924FAF0EB1B}"/>
    <dgm:cxn modelId="{0EDF2A2D-6EB8-4EA9-B4D0-9AF9AA6C8903}" srcId="{1431415C-FCFE-4FF4-8535-B26D21B31723}" destId="{0B7ED6D1-172B-450F-A69E-9B0F7E9C861C}" srcOrd="1" destOrd="0" parTransId="{DAC6F171-B52C-4FDA-87FF-95F1B057CC5C}" sibTransId="{5C97D595-65F1-4C41-B8DE-171EA432E76A}"/>
    <dgm:cxn modelId="{00336231-6F01-41CE-8B9E-69A514AA377E}" type="presOf" srcId="{855291DF-A6C4-490F-9BF7-451E4B759534}" destId="{122CAD2A-7EF6-4530-91A8-4810529C4DCD}" srcOrd="0" destOrd="3" presId="urn:microsoft.com/office/officeart/2005/8/layout/hList2"/>
    <dgm:cxn modelId="{B780B13C-BB16-4478-BEE0-8632D0A58D60}" type="presOf" srcId="{214A2668-EDDD-4A4C-8783-38566A6336B9}" destId="{7E2DBABF-9963-416B-BD4B-BCC9F1B30FBE}" srcOrd="0" destOrd="0" presId="urn:microsoft.com/office/officeart/2005/8/layout/hList2"/>
    <dgm:cxn modelId="{5C66AF64-FFD3-4E58-BF4B-8A74BCBA7442}" type="presOf" srcId="{AB4BA171-0B20-4D11-A97A-15B50F92AE0D}" destId="{C005EBB3-468E-4892-A8B6-EEF8E2231ECD}" srcOrd="0" destOrd="0" presId="urn:microsoft.com/office/officeart/2005/8/layout/hList2"/>
    <dgm:cxn modelId="{C72A136D-21EC-4015-B5EC-7D45A5FA6554}" type="presOf" srcId="{CF474932-8F2D-45BB-B9FD-1DC1D54643E3}" destId="{7DC58D7C-12CA-4679-8AE4-5F572CA38077}" srcOrd="0" destOrd="1" presId="urn:microsoft.com/office/officeart/2005/8/layout/hList2"/>
    <dgm:cxn modelId="{C397B252-02D5-42F0-BE66-10C4FE88D91E}" srcId="{1431415C-FCFE-4FF4-8535-B26D21B31723}" destId="{A6D0285E-98B7-4F17-9D0D-DCC618F11ADF}" srcOrd="0" destOrd="0" parTransId="{3AF5B192-5854-4DBD-ACA9-7DF72A650B02}" sibTransId="{D6B49455-A367-4E33-B6AF-084E6266C515}"/>
    <dgm:cxn modelId="{12948058-987D-46A5-B89A-5F7027D66EAC}" srcId="{214A2668-EDDD-4A4C-8783-38566A6336B9}" destId="{4DC0F6C3-894C-4FD9-B822-0D2EEB979789}" srcOrd="0" destOrd="0" parTransId="{4576388A-7407-4BE4-A697-B2BAF25A998B}" sibTransId="{85C1FCC9-FAF5-46DE-8719-193684AB17D6}"/>
    <dgm:cxn modelId="{28AE4B7D-AE2D-4800-870C-DDBEEF2831C9}" srcId="{C1EC559B-08A8-4D7D-9FCC-13CC8DB05B12}" destId="{885BAE02-48BC-4973-90C2-4533B8E872AE}" srcOrd="0" destOrd="0" parTransId="{89E69873-33DE-4FD7-B75D-EE6561C77DA9}" sibTransId="{A330A026-5574-4AF8-BA59-E83012CDCE73}"/>
    <dgm:cxn modelId="{C8553D81-81EF-4E7F-BA6F-AD1767AA39C1}" srcId="{1431415C-FCFE-4FF4-8535-B26D21B31723}" destId="{FE00DB00-BE6F-4F8A-83D0-E1F246DAC2D7}" srcOrd="2" destOrd="0" parTransId="{41F8B1B9-364E-4839-AE7E-0D33E3680E4F}" sibTransId="{9F9587FA-5154-4989-9EA6-374188E98022}"/>
    <dgm:cxn modelId="{F7F1DA87-3F87-4443-8B26-C3D6CF33A9AF}" type="presOf" srcId="{885BAE02-48BC-4973-90C2-4533B8E872AE}" destId="{122CAD2A-7EF6-4530-91A8-4810529C4DCD}" srcOrd="0" destOrd="2" presId="urn:microsoft.com/office/officeart/2005/8/layout/hList2"/>
    <dgm:cxn modelId="{D5505F96-F968-4CFC-944E-D755C8ED25DC}" type="presOf" srcId="{04592986-D70B-489B-B134-EA79655DEEC2}" destId="{122CAD2A-7EF6-4530-91A8-4810529C4DCD}" srcOrd="0" destOrd="4" presId="urn:microsoft.com/office/officeart/2005/8/layout/hList2"/>
    <dgm:cxn modelId="{41D0B49C-9126-4B0F-9BEF-DB9F521091F4}" type="presOf" srcId="{A6D0285E-98B7-4F17-9D0D-DCC618F11ADF}" destId="{7DC58D7C-12CA-4679-8AE4-5F572CA38077}" srcOrd="0" destOrd="3" presId="urn:microsoft.com/office/officeart/2005/8/layout/hList2"/>
    <dgm:cxn modelId="{B057D8A1-B947-4AD1-A545-B2834448DC49}" srcId="{B4CA105D-C0CD-4CAA-A0BB-4CABA5B31A3E}" destId="{AB4BA171-0B20-4D11-A97A-15B50F92AE0D}" srcOrd="0" destOrd="0" parTransId="{627F6767-7BC4-4C36-A71C-D93AA6952500}" sibTransId="{48FC857E-1DA4-4CEB-81BA-18B07E603F4A}"/>
    <dgm:cxn modelId="{9DE79FA4-552E-4170-B846-35870E9887A6}" type="presOf" srcId="{FE00DB00-BE6F-4F8A-83D0-E1F246DAC2D7}" destId="{7DC58D7C-12CA-4679-8AE4-5F572CA38077}" srcOrd="0" destOrd="5" presId="urn:microsoft.com/office/officeart/2005/8/layout/hList2"/>
    <dgm:cxn modelId="{6A1169A9-2FC5-44CA-A9A6-0910B89A17C7}" type="presOf" srcId="{1431415C-FCFE-4FF4-8535-B26D21B31723}" destId="{7DC58D7C-12CA-4679-8AE4-5F572CA38077}" srcOrd="0" destOrd="2" presId="urn:microsoft.com/office/officeart/2005/8/layout/hList2"/>
    <dgm:cxn modelId="{D7FA0CAC-843A-4051-A614-208B79EC2534}" srcId="{214A2668-EDDD-4A4C-8783-38566A6336B9}" destId="{1431415C-FCFE-4FF4-8535-B26D21B31723}" srcOrd="2" destOrd="0" parTransId="{FF298AB6-6ED6-4B90-9169-7788CDFFF1E3}" sibTransId="{916FD6AE-9D52-49D4-B1C6-0CE8D1AC2DAB}"/>
    <dgm:cxn modelId="{35A19FC2-D35F-426B-82EB-745CA0D38A0D}" srcId="{C1EC559B-08A8-4D7D-9FCC-13CC8DB05B12}" destId="{855291DF-A6C4-490F-9BF7-451E4B759534}" srcOrd="1" destOrd="0" parTransId="{60BEE6AB-7DE7-4401-8065-CF6B6364B172}" sibTransId="{AB6A0622-3DA7-4B76-BA1D-08BAA22DD53A}"/>
    <dgm:cxn modelId="{8804BAC5-91BF-46A5-8836-A986F5458BF0}" srcId="{214A2668-EDDD-4A4C-8783-38566A6336B9}" destId="{CF474932-8F2D-45BB-B9FD-1DC1D54643E3}" srcOrd="1" destOrd="0" parTransId="{A03EA52D-DC64-4CEB-83BB-5421A9A34FB0}" sibTransId="{A5C21B9D-4F16-42B4-866F-A9DAEE700DFA}"/>
    <dgm:cxn modelId="{4FB22BD1-0885-41D9-84E9-F14451C7931A}" type="presOf" srcId="{A4683E8B-57AA-452B-8390-39C15FA7E170}" destId="{122CAD2A-7EF6-4530-91A8-4810529C4DCD}" srcOrd="0" destOrd="0" presId="urn:microsoft.com/office/officeart/2005/8/layout/hList2"/>
    <dgm:cxn modelId="{64F08BE3-0788-475E-AD20-27ADA47AB5A9}" srcId="{B4CA105D-C0CD-4CAA-A0BB-4CABA5B31A3E}" destId="{214A2668-EDDD-4A4C-8783-38566A6336B9}" srcOrd="1" destOrd="0" parTransId="{7D6A6876-6F04-4C3D-8EC2-B5FAC01E8A18}" sibTransId="{C607F689-A426-4776-A580-1DD50A5405A1}"/>
    <dgm:cxn modelId="{520798E9-8112-4100-A336-A717FC4766A6}" type="presOf" srcId="{4DC0F6C3-894C-4FD9-B822-0D2EEB979789}" destId="{7DC58D7C-12CA-4679-8AE4-5F572CA38077}" srcOrd="0" destOrd="0" presId="urn:microsoft.com/office/officeart/2005/8/layout/hList2"/>
    <dgm:cxn modelId="{BCBF64EB-AE7A-46CF-9B7C-F3873019E141}" type="presOf" srcId="{B4CA105D-C0CD-4CAA-A0BB-4CABA5B31A3E}" destId="{EA3EBFF2-5BCA-4904-AE19-024EC7426AC0}" srcOrd="0" destOrd="0" presId="urn:microsoft.com/office/officeart/2005/8/layout/hList2"/>
    <dgm:cxn modelId="{8034B1F4-3C89-4A3C-A9C6-F33DD67FA81F}" type="presOf" srcId="{C1EC559B-08A8-4D7D-9FCC-13CC8DB05B12}" destId="{122CAD2A-7EF6-4530-91A8-4810529C4DCD}" srcOrd="0" destOrd="1" presId="urn:microsoft.com/office/officeart/2005/8/layout/hList2"/>
    <dgm:cxn modelId="{560A6C4C-F67B-43EF-B537-253F50169586}" type="presParOf" srcId="{EA3EBFF2-5BCA-4904-AE19-024EC7426AC0}" destId="{77873DFF-3727-4A3A-9012-B75A90CCDCD3}" srcOrd="0" destOrd="0" presId="urn:microsoft.com/office/officeart/2005/8/layout/hList2"/>
    <dgm:cxn modelId="{628ECC0A-E87A-464A-B76A-E9436680B1A7}" type="presParOf" srcId="{77873DFF-3727-4A3A-9012-B75A90CCDCD3}" destId="{20EE4719-84BB-45D0-84CF-6F83DC18DD04}" srcOrd="0" destOrd="0" presId="urn:microsoft.com/office/officeart/2005/8/layout/hList2"/>
    <dgm:cxn modelId="{9D147D8B-6C72-48E9-881C-E2E935F2BFC5}" type="presParOf" srcId="{77873DFF-3727-4A3A-9012-B75A90CCDCD3}" destId="{122CAD2A-7EF6-4530-91A8-4810529C4DCD}" srcOrd="1" destOrd="0" presId="urn:microsoft.com/office/officeart/2005/8/layout/hList2"/>
    <dgm:cxn modelId="{7AFA66CF-E101-48BE-8585-8B00619531B6}" type="presParOf" srcId="{77873DFF-3727-4A3A-9012-B75A90CCDCD3}" destId="{C005EBB3-468E-4892-A8B6-EEF8E2231ECD}" srcOrd="2" destOrd="0" presId="urn:microsoft.com/office/officeart/2005/8/layout/hList2"/>
    <dgm:cxn modelId="{391E27C9-AF9C-4E17-9674-6A659DBF76A5}" type="presParOf" srcId="{EA3EBFF2-5BCA-4904-AE19-024EC7426AC0}" destId="{B8143E02-984D-4E90-AA26-816D58A43FBE}" srcOrd="1" destOrd="0" presId="urn:microsoft.com/office/officeart/2005/8/layout/hList2"/>
    <dgm:cxn modelId="{6772B8DF-B47E-4216-823B-B6EF88401E50}" type="presParOf" srcId="{EA3EBFF2-5BCA-4904-AE19-024EC7426AC0}" destId="{ABB079C5-7A1C-4C5C-86D8-5DC0E39E86CE}" srcOrd="2" destOrd="0" presId="urn:microsoft.com/office/officeart/2005/8/layout/hList2"/>
    <dgm:cxn modelId="{03E6CBFC-3CAC-4E42-AF47-0CC99715F4E8}" type="presParOf" srcId="{ABB079C5-7A1C-4C5C-86D8-5DC0E39E86CE}" destId="{2D0E9687-AD06-4A42-A5DF-664E1ACEF4F3}" srcOrd="0" destOrd="0" presId="urn:microsoft.com/office/officeart/2005/8/layout/hList2"/>
    <dgm:cxn modelId="{352ADE55-36BB-48F5-B2DC-2AC336794FE9}" type="presParOf" srcId="{ABB079C5-7A1C-4C5C-86D8-5DC0E39E86CE}" destId="{7DC58D7C-12CA-4679-8AE4-5F572CA38077}" srcOrd="1" destOrd="0" presId="urn:microsoft.com/office/officeart/2005/8/layout/hList2"/>
    <dgm:cxn modelId="{4138487F-B47F-4F66-AE36-F73B5F179F17}" type="presParOf" srcId="{ABB079C5-7A1C-4C5C-86D8-5DC0E39E86CE}" destId="{7E2DBABF-9963-416B-BD4B-BCC9F1B30FBE}"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BFE8275F-A825-4569-BD0E-ED22B038C6C4}" type="doc">
      <dgm:prSet loTypeId="urn:microsoft.com/office/officeart/2005/8/layout/bProcess3" loCatId="process" qsTypeId="urn:microsoft.com/office/officeart/2005/8/quickstyle/simple3" qsCatId="simple" csTypeId="urn:microsoft.com/office/officeart/2005/8/colors/accent1_3" csCatId="accent1" phldr="1"/>
      <dgm:spPr/>
    </dgm:pt>
    <dgm:pt modelId="{7B48EB03-A599-4FB0-9E91-FB7F817C537D}">
      <dgm:prSet phldrT="[Texto]"/>
      <dgm:spPr/>
      <dgm:t>
        <a:bodyPr/>
        <a:lstStyle/>
        <a:p>
          <a:r>
            <a:rPr lang="es-ES" dirty="0"/>
            <a:t>Ingesta de datos</a:t>
          </a:r>
        </a:p>
      </dgm:t>
    </dgm:pt>
    <dgm:pt modelId="{80FE16B5-BB3B-4848-9D1C-82907E17665A}" type="parTrans" cxnId="{37F64CD9-5BA2-4BB2-983B-EEDF414C3A80}">
      <dgm:prSet/>
      <dgm:spPr/>
      <dgm:t>
        <a:bodyPr/>
        <a:lstStyle/>
        <a:p>
          <a:endParaRPr lang="es-ES"/>
        </a:p>
      </dgm:t>
    </dgm:pt>
    <dgm:pt modelId="{12464487-8A96-4FAD-9BF5-E4888A3A05B7}" type="sibTrans" cxnId="{37F64CD9-5BA2-4BB2-983B-EEDF414C3A80}">
      <dgm:prSet/>
      <dgm:spPr/>
      <dgm:t>
        <a:bodyPr/>
        <a:lstStyle/>
        <a:p>
          <a:endParaRPr lang="es-ES" dirty="0"/>
        </a:p>
      </dgm:t>
    </dgm:pt>
    <dgm:pt modelId="{3722615F-B0FB-49C5-A15D-10DDCD0B27A1}">
      <dgm:prSet phldrT="[Texto]"/>
      <dgm:spPr/>
      <dgm:t>
        <a:bodyPr/>
        <a:lstStyle/>
        <a:p>
          <a:r>
            <a:rPr lang="es-ES" dirty="0"/>
            <a:t>Limpieza de los datos</a:t>
          </a:r>
        </a:p>
      </dgm:t>
    </dgm:pt>
    <dgm:pt modelId="{21F7B24A-5C40-46C1-9168-22EAAB40DF61}" type="parTrans" cxnId="{B4717878-8C59-44E3-AE17-8675BCB76415}">
      <dgm:prSet/>
      <dgm:spPr/>
      <dgm:t>
        <a:bodyPr/>
        <a:lstStyle/>
        <a:p>
          <a:endParaRPr lang="es-ES"/>
        </a:p>
      </dgm:t>
    </dgm:pt>
    <dgm:pt modelId="{BFD0341D-A6B5-4A9F-B5AE-9A7CF4DDC0F4}" type="sibTrans" cxnId="{B4717878-8C59-44E3-AE17-8675BCB76415}">
      <dgm:prSet/>
      <dgm:spPr/>
      <dgm:t>
        <a:bodyPr/>
        <a:lstStyle/>
        <a:p>
          <a:endParaRPr lang="es-ES" dirty="0"/>
        </a:p>
      </dgm:t>
    </dgm:pt>
    <dgm:pt modelId="{4C4172DC-7469-4BC0-A6C4-349785AF9993}">
      <dgm:prSet phldrT="[Texto]"/>
      <dgm:spPr>
        <a:solidFill>
          <a:schemeClr val="accent2"/>
        </a:solidFill>
      </dgm:spPr>
      <dgm:t>
        <a:bodyPr/>
        <a:lstStyle/>
        <a:p>
          <a:r>
            <a:rPr lang="es-ES" dirty="0"/>
            <a:t>Algoritmos</a:t>
          </a:r>
        </a:p>
      </dgm:t>
    </dgm:pt>
    <dgm:pt modelId="{F3F57DEF-2517-48D5-B739-0CD594A58ECB}" type="parTrans" cxnId="{7121081D-39B9-4BAF-9070-6DBBFD94EF7C}">
      <dgm:prSet/>
      <dgm:spPr/>
      <dgm:t>
        <a:bodyPr/>
        <a:lstStyle/>
        <a:p>
          <a:endParaRPr lang="es-ES"/>
        </a:p>
      </dgm:t>
    </dgm:pt>
    <dgm:pt modelId="{A021B7FA-DCE1-402E-97BD-9450D84D8281}" type="sibTrans" cxnId="{7121081D-39B9-4BAF-9070-6DBBFD94EF7C}">
      <dgm:prSet/>
      <dgm:spPr/>
      <dgm:t>
        <a:bodyPr/>
        <a:lstStyle/>
        <a:p>
          <a:endParaRPr lang="es-ES" dirty="0"/>
        </a:p>
      </dgm:t>
    </dgm:pt>
    <dgm:pt modelId="{431CCD13-906B-4BC6-A99F-85C7CD035A91}">
      <dgm:prSet phldrT="[Texto]"/>
      <dgm:spPr/>
      <dgm:t>
        <a:bodyPr/>
        <a:lstStyle/>
        <a:p>
          <a:r>
            <a:rPr lang="es-ES" dirty="0"/>
            <a:t>Conclusiones y resultados</a:t>
          </a:r>
        </a:p>
      </dgm:t>
    </dgm:pt>
    <dgm:pt modelId="{1FD99CC3-2089-4F5C-AD0E-9658A6F2402D}" type="parTrans" cxnId="{8132F600-D84D-4374-8DF1-CD15481C977A}">
      <dgm:prSet/>
      <dgm:spPr/>
      <dgm:t>
        <a:bodyPr/>
        <a:lstStyle/>
        <a:p>
          <a:endParaRPr lang="es-ES"/>
        </a:p>
      </dgm:t>
    </dgm:pt>
    <dgm:pt modelId="{4244008C-D981-4CED-8739-8C2FF5B42683}" type="sibTrans" cxnId="{8132F600-D84D-4374-8DF1-CD15481C977A}">
      <dgm:prSet/>
      <dgm:spPr/>
      <dgm:t>
        <a:bodyPr/>
        <a:lstStyle/>
        <a:p>
          <a:endParaRPr lang="es-ES"/>
        </a:p>
      </dgm:t>
    </dgm:pt>
    <dgm:pt modelId="{55840ED3-98B9-4890-97F7-47FF3B62EB4A}">
      <dgm:prSet phldrT="[Texto]"/>
      <dgm:spPr/>
      <dgm:t>
        <a:bodyPr/>
        <a:lstStyle/>
        <a:p>
          <a:r>
            <a:rPr lang="es-ES" dirty="0"/>
            <a:t>Definir el caso / los datos</a:t>
          </a:r>
        </a:p>
      </dgm:t>
    </dgm:pt>
    <dgm:pt modelId="{9BA9669B-BF76-45BB-ABD5-84B6A98BE4D3}" type="parTrans" cxnId="{981C424B-1CC9-4C69-9C7A-DC3590642921}">
      <dgm:prSet/>
      <dgm:spPr/>
      <dgm:t>
        <a:bodyPr/>
        <a:lstStyle/>
        <a:p>
          <a:endParaRPr lang="es-ES"/>
        </a:p>
      </dgm:t>
    </dgm:pt>
    <dgm:pt modelId="{F1459A09-7D40-4385-837C-CB7D27335AFD}" type="sibTrans" cxnId="{981C424B-1CC9-4C69-9C7A-DC3590642921}">
      <dgm:prSet/>
      <dgm:spPr/>
      <dgm:t>
        <a:bodyPr/>
        <a:lstStyle/>
        <a:p>
          <a:endParaRPr lang="es-ES" dirty="0"/>
        </a:p>
      </dgm:t>
    </dgm:pt>
    <dgm:pt modelId="{7E91CD4E-4E01-4D1F-B259-01DCD602FAE3}">
      <dgm:prSet phldrT="[Texto]"/>
      <dgm:spPr/>
      <dgm:t>
        <a:bodyPr/>
        <a:lstStyle/>
        <a:p>
          <a:r>
            <a:rPr lang="es-ES" dirty="0"/>
            <a:t>Lago de datos</a:t>
          </a:r>
        </a:p>
      </dgm:t>
    </dgm:pt>
    <dgm:pt modelId="{EAFF6C24-5832-4E22-8B55-BEEDA4E5C62E}" type="parTrans" cxnId="{F30BE7A8-5808-452F-BF4F-1A74A47805E8}">
      <dgm:prSet/>
      <dgm:spPr/>
      <dgm:t>
        <a:bodyPr/>
        <a:lstStyle/>
        <a:p>
          <a:endParaRPr lang="es-ES"/>
        </a:p>
      </dgm:t>
    </dgm:pt>
    <dgm:pt modelId="{D66857D6-523D-47AB-8FA5-7311C184C4D6}" type="sibTrans" cxnId="{F30BE7A8-5808-452F-BF4F-1A74A47805E8}">
      <dgm:prSet/>
      <dgm:spPr/>
      <dgm:t>
        <a:bodyPr/>
        <a:lstStyle/>
        <a:p>
          <a:endParaRPr lang="es-ES" dirty="0"/>
        </a:p>
      </dgm:t>
    </dgm:pt>
    <dgm:pt modelId="{71A3C9B3-99CE-43DA-B835-4FE18036437F}">
      <dgm:prSet phldrT="[Texto]"/>
      <dgm:spPr>
        <a:solidFill>
          <a:schemeClr val="accent2"/>
        </a:solidFill>
      </dgm:spPr>
      <dgm:t>
        <a:bodyPr/>
        <a:lstStyle/>
        <a:p>
          <a:r>
            <a:rPr lang="es-ES" dirty="0"/>
            <a:t>IA - Entrenamiento</a:t>
          </a:r>
        </a:p>
        <a:p>
          <a:r>
            <a:rPr lang="es-ES" dirty="0"/>
            <a:t>Vs</a:t>
          </a:r>
          <a:br>
            <a:rPr lang="es-ES" dirty="0"/>
          </a:br>
          <a:r>
            <a:rPr lang="es-ES" dirty="0"/>
            <a:t>IAG - Grounding Finetuning</a:t>
          </a:r>
        </a:p>
      </dgm:t>
    </dgm:pt>
    <dgm:pt modelId="{B62CEED4-29C3-4394-8DE9-BF2A18759F69}" type="parTrans" cxnId="{087E8FD3-61FE-447C-A00A-B1C0463DB564}">
      <dgm:prSet/>
      <dgm:spPr/>
      <dgm:t>
        <a:bodyPr/>
        <a:lstStyle/>
        <a:p>
          <a:endParaRPr lang="es-ES"/>
        </a:p>
      </dgm:t>
    </dgm:pt>
    <dgm:pt modelId="{FD7C7977-51DE-4ABA-B1C8-93D4ACD28533}" type="sibTrans" cxnId="{087E8FD3-61FE-447C-A00A-B1C0463DB564}">
      <dgm:prSet/>
      <dgm:spPr/>
      <dgm:t>
        <a:bodyPr/>
        <a:lstStyle/>
        <a:p>
          <a:endParaRPr lang="es-ES" dirty="0"/>
        </a:p>
      </dgm:t>
    </dgm:pt>
    <dgm:pt modelId="{954B545A-DAFC-4620-A925-FF1F90FBEB04}">
      <dgm:prSet phldrT="[Texto]"/>
      <dgm:spPr/>
      <dgm:t>
        <a:bodyPr/>
        <a:lstStyle/>
        <a:p>
          <a:r>
            <a:rPr lang="es-ES" dirty="0"/>
            <a:t>Business case?</a:t>
          </a:r>
        </a:p>
      </dgm:t>
    </dgm:pt>
    <dgm:pt modelId="{8443C846-2EDF-4E1B-A1C1-17C34A5125BF}" type="parTrans" cxnId="{2BD450EE-03FC-442C-BDB5-04800EF705B1}">
      <dgm:prSet/>
      <dgm:spPr/>
      <dgm:t>
        <a:bodyPr/>
        <a:lstStyle/>
        <a:p>
          <a:endParaRPr lang="es-ES"/>
        </a:p>
      </dgm:t>
    </dgm:pt>
    <dgm:pt modelId="{FB151291-F18E-435D-AA07-A1DDFA2B9932}" type="sibTrans" cxnId="{2BD450EE-03FC-442C-BDB5-04800EF705B1}">
      <dgm:prSet/>
      <dgm:spPr/>
      <dgm:t>
        <a:bodyPr/>
        <a:lstStyle/>
        <a:p>
          <a:endParaRPr lang="es-ES" dirty="0"/>
        </a:p>
      </dgm:t>
    </dgm:pt>
    <dgm:pt modelId="{843E86B0-55A3-4E3C-88CC-E0CA33F5CF82}" type="pres">
      <dgm:prSet presAssocID="{BFE8275F-A825-4569-BD0E-ED22B038C6C4}" presName="Name0" presStyleCnt="0">
        <dgm:presLayoutVars>
          <dgm:dir/>
          <dgm:resizeHandles val="exact"/>
        </dgm:presLayoutVars>
      </dgm:prSet>
      <dgm:spPr/>
    </dgm:pt>
    <dgm:pt modelId="{4851F5A9-DB68-4DA2-9D02-4BC5E7A09997}" type="pres">
      <dgm:prSet presAssocID="{55840ED3-98B9-4890-97F7-47FF3B62EB4A}" presName="node" presStyleLbl="node1" presStyleIdx="0" presStyleCnt="8">
        <dgm:presLayoutVars>
          <dgm:bulletEnabled val="1"/>
        </dgm:presLayoutVars>
      </dgm:prSet>
      <dgm:spPr/>
    </dgm:pt>
    <dgm:pt modelId="{AF5F05D4-0A6F-47FE-90B2-F921CD36DD32}" type="pres">
      <dgm:prSet presAssocID="{F1459A09-7D40-4385-837C-CB7D27335AFD}" presName="sibTrans" presStyleLbl="sibTrans1D1" presStyleIdx="0" presStyleCnt="7"/>
      <dgm:spPr/>
    </dgm:pt>
    <dgm:pt modelId="{9880EBAF-1546-4435-A1C5-E294E0070E5B}" type="pres">
      <dgm:prSet presAssocID="{F1459A09-7D40-4385-837C-CB7D27335AFD}" presName="connectorText" presStyleLbl="sibTrans1D1" presStyleIdx="0" presStyleCnt="7"/>
      <dgm:spPr/>
    </dgm:pt>
    <dgm:pt modelId="{AB0168F5-FA36-40B4-98DE-39F2234777E4}" type="pres">
      <dgm:prSet presAssocID="{954B545A-DAFC-4620-A925-FF1F90FBEB04}" presName="node" presStyleLbl="node1" presStyleIdx="1" presStyleCnt="8">
        <dgm:presLayoutVars>
          <dgm:bulletEnabled val="1"/>
        </dgm:presLayoutVars>
      </dgm:prSet>
      <dgm:spPr/>
    </dgm:pt>
    <dgm:pt modelId="{D4FADD8F-3981-4FE1-98AF-A1BE6E46C8D7}" type="pres">
      <dgm:prSet presAssocID="{FB151291-F18E-435D-AA07-A1DDFA2B9932}" presName="sibTrans" presStyleLbl="sibTrans1D1" presStyleIdx="1" presStyleCnt="7"/>
      <dgm:spPr/>
    </dgm:pt>
    <dgm:pt modelId="{B51A1B31-A3EB-48CF-BAFD-412B3147EE59}" type="pres">
      <dgm:prSet presAssocID="{FB151291-F18E-435D-AA07-A1DDFA2B9932}" presName="connectorText" presStyleLbl="sibTrans1D1" presStyleIdx="1" presStyleCnt="7"/>
      <dgm:spPr/>
    </dgm:pt>
    <dgm:pt modelId="{DA609FC1-D778-456B-93B0-11353652BE55}" type="pres">
      <dgm:prSet presAssocID="{7B48EB03-A599-4FB0-9E91-FB7F817C537D}" presName="node" presStyleLbl="node1" presStyleIdx="2" presStyleCnt="8">
        <dgm:presLayoutVars>
          <dgm:bulletEnabled val="1"/>
        </dgm:presLayoutVars>
      </dgm:prSet>
      <dgm:spPr/>
    </dgm:pt>
    <dgm:pt modelId="{E6242BCA-020A-4284-A6FA-4F514D32A8DD}" type="pres">
      <dgm:prSet presAssocID="{12464487-8A96-4FAD-9BF5-E4888A3A05B7}" presName="sibTrans" presStyleLbl="sibTrans1D1" presStyleIdx="2" presStyleCnt="7"/>
      <dgm:spPr/>
    </dgm:pt>
    <dgm:pt modelId="{C9BD2910-1561-4A74-A180-63C595FD0976}" type="pres">
      <dgm:prSet presAssocID="{12464487-8A96-4FAD-9BF5-E4888A3A05B7}" presName="connectorText" presStyleLbl="sibTrans1D1" presStyleIdx="2" presStyleCnt="7"/>
      <dgm:spPr/>
    </dgm:pt>
    <dgm:pt modelId="{1DA6E9FB-CCEF-4363-B89D-644A64E3F69A}" type="pres">
      <dgm:prSet presAssocID="{3722615F-B0FB-49C5-A15D-10DDCD0B27A1}" presName="node" presStyleLbl="node1" presStyleIdx="3" presStyleCnt="8">
        <dgm:presLayoutVars>
          <dgm:bulletEnabled val="1"/>
        </dgm:presLayoutVars>
      </dgm:prSet>
      <dgm:spPr/>
    </dgm:pt>
    <dgm:pt modelId="{24B12BB4-6564-43A2-9E48-C3750B291C81}" type="pres">
      <dgm:prSet presAssocID="{BFD0341D-A6B5-4A9F-B5AE-9A7CF4DDC0F4}" presName="sibTrans" presStyleLbl="sibTrans1D1" presStyleIdx="3" presStyleCnt="7"/>
      <dgm:spPr/>
    </dgm:pt>
    <dgm:pt modelId="{4F766CF2-CD69-4F15-9D41-FE696E6814DC}" type="pres">
      <dgm:prSet presAssocID="{BFD0341D-A6B5-4A9F-B5AE-9A7CF4DDC0F4}" presName="connectorText" presStyleLbl="sibTrans1D1" presStyleIdx="3" presStyleCnt="7"/>
      <dgm:spPr/>
    </dgm:pt>
    <dgm:pt modelId="{6B399F7A-D056-4F37-BF96-3C57BF597F32}" type="pres">
      <dgm:prSet presAssocID="{7E91CD4E-4E01-4D1F-B259-01DCD602FAE3}" presName="node" presStyleLbl="node1" presStyleIdx="4" presStyleCnt="8">
        <dgm:presLayoutVars>
          <dgm:bulletEnabled val="1"/>
        </dgm:presLayoutVars>
      </dgm:prSet>
      <dgm:spPr/>
    </dgm:pt>
    <dgm:pt modelId="{20455616-B5FF-446B-B742-BB4DC84404AE}" type="pres">
      <dgm:prSet presAssocID="{D66857D6-523D-47AB-8FA5-7311C184C4D6}" presName="sibTrans" presStyleLbl="sibTrans1D1" presStyleIdx="4" presStyleCnt="7"/>
      <dgm:spPr/>
    </dgm:pt>
    <dgm:pt modelId="{BCBEFEAF-3248-4155-8F6E-4F9D1B761019}" type="pres">
      <dgm:prSet presAssocID="{D66857D6-523D-47AB-8FA5-7311C184C4D6}" presName="connectorText" presStyleLbl="sibTrans1D1" presStyleIdx="4" presStyleCnt="7"/>
      <dgm:spPr/>
    </dgm:pt>
    <dgm:pt modelId="{CEB7DDB8-4FCA-447B-873F-6EA9C50B3714}" type="pres">
      <dgm:prSet presAssocID="{4C4172DC-7469-4BC0-A6C4-349785AF9993}" presName="node" presStyleLbl="node1" presStyleIdx="5" presStyleCnt="8">
        <dgm:presLayoutVars>
          <dgm:bulletEnabled val="1"/>
        </dgm:presLayoutVars>
      </dgm:prSet>
      <dgm:spPr/>
    </dgm:pt>
    <dgm:pt modelId="{F8C943FE-B189-41B0-8D52-661DC21B047E}" type="pres">
      <dgm:prSet presAssocID="{A021B7FA-DCE1-402E-97BD-9450D84D8281}" presName="sibTrans" presStyleLbl="sibTrans1D1" presStyleIdx="5" presStyleCnt="7"/>
      <dgm:spPr/>
    </dgm:pt>
    <dgm:pt modelId="{7023B641-38BD-4369-A2A6-7ED9CC344308}" type="pres">
      <dgm:prSet presAssocID="{A021B7FA-DCE1-402E-97BD-9450D84D8281}" presName="connectorText" presStyleLbl="sibTrans1D1" presStyleIdx="5" presStyleCnt="7"/>
      <dgm:spPr/>
    </dgm:pt>
    <dgm:pt modelId="{EF47211A-5361-4107-B1C1-F06A58917039}" type="pres">
      <dgm:prSet presAssocID="{71A3C9B3-99CE-43DA-B835-4FE18036437F}" presName="node" presStyleLbl="node1" presStyleIdx="6" presStyleCnt="8">
        <dgm:presLayoutVars>
          <dgm:bulletEnabled val="1"/>
        </dgm:presLayoutVars>
      </dgm:prSet>
      <dgm:spPr/>
    </dgm:pt>
    <dgm:pt modelId="{790B7DAB-9F73-4B58-B91C-9B2D69D20D17}" type="pres">
      <dgm:prSet presAssocID="{FD7C7977-51DE-4ABA-B1C8-93D4ACD28533}" presName="sibTrans" presStyleLbl="sibTrans1D1" presStyleIdx="6" presStyleCnt="7"/>
      <dgm:spPr/>
    </dgm:pt>
    <dgm:pt modelId="{508F379D-8D8C-40C3-B297-9FBBCD203427}" type="pres">
      <dgm:prSet presAssocID="{FD7C7977-51DE-4ABA-B1C8-93D4ACD28533}" presName="connectorText" presStyleLbl="sibTrans1D1" presStyleIdx="6" presStyleCnt="7"/>
      <dgm:spPr/>
    </dgm:pt>
    <dgm:pt modelId="{38FCFFC6-A49F-4B2B-81B1-B92120E9E3D2}" type="pres">
      <dgm:prSet presAssocID="{431CCD13-906B-4BC6-A99F-85C7CD035A91}" presName="node" presStyleLbl="node1" presStyleIdx="7" presStyleCnt="8">
        <dgm:presLayoutVars>
          <dgm:bulletEnabled val="1"/>
        </dgm:presLayoutVars>
      </dgm:prSet>
      <dgm:spPr/>
    </dgm:pt>
  </dgm:ptLst>
  <dgm:cxnLst>
    <dgm:cxn modelId="{8132F600-D84D-4374-8DF1-CD15481C977A}" srcId="{BFE8275F-A825-4569-BD0E-ED22B038C6C4}" destId="{431CCD13-906B-4BC6-A99F-85C7CD035A91}" srcOrd="7" destOrd="0" parTransId="{1FD99CC3-2089-4F5C-AD0E-9658A6F2402D}" sibTransId="{4244008C-D981-4CED-8739-8C2FF5B42683}"/>
    <dgm:cxn modelId="{FE19EE06-FA6D-4F74-BE9B-957F2EE996BC}" type="presOf" srcId="{D66857D6-523D-47AB-8FA5-7311C184C4D6}" destId="{20455616-B5FF-446B-B742-BB4DC84404AE}" srcOrd="0" destOrd="0" presId="urn:microsoft.com/office/officeart/2005/8/layout/bProcess3"/>
    <dgm:cxn modelId="{85942B0C-7C87-49B8-AC9A-32143FE077AF}" type="presOf" srcId="{F1459A09-7D40-4385-837C-CB7D27335AFD}" destId="{AF5F05D4-0A6F-47FE-90B2-F921CD36DD32}" srcOrd="0" destOrd="0" presId="urn:microsoft.com/office/officeart/2005/8/layout/bProcess3"/>
    <dgm:cxn modelId="{6BA99913-82AB-4429-85D2-8A4868D19C97}" type="presOf" srcId="{3722615F-B0FB-49C5-A15D-10DDCD0B27A1}" destId="{1DA6E9FB-CCEF-4363-B89D-644A64E3F69A}" srcOrd="0" destOrd="0" presId="urn:microsoft.com/office/officeart/2005/8/layout/bProcess3"/>
    <dgm:cxn modelId="{7121081D-39B9-4BAF-9070-6DBBFD94EF7C}" srcId="{BFE8275F-A825-4569-BD0E-ED22B038C6C4}" destId="{4C4172DC-7469-4BC0-A6C4-349785AF9993}" srcOrd="5" destOrd="0" parTransId="{F3F57DEF-2517-48D5-B739-0CD594A58ECB}" sibTransId="{A021B7FA-DCE1-402E-97BD-9450D84D8281}"/>
    <dgm:cxn modelId="{13CE611F-D4EB-4CBE-8173-926B75081FF3}" type="presOf" srcId="{BFE8275F-A825-4569-BD0E-ED22B038C6C4}" destId="{843E86B0-55A3-4E3C-88CC-E0CA33F5CF82}" srcOrd="0" destOrd="0" presId="urn:microsoft.com/office/officeart/2005/8/layout/bProcess3"/>
    <dgm:cxn modelId="{FA90AC21-A45E-44F6-A795-DDB270AE92B2}" type="presOf" srcId="{FD7C7977-51DE-4ABA-B1C8-93D4ACD28533}" destId="{790B7DAB-9F73-4B58-B91C-9B2D69D20D17}" srcOrd="0" destOrd="0" presId="urn:microsoft.com/office/officeart/2005/8/layout/bProcess3"/>
    <dgm:cxn modelId="{F9F3A13B-A7C8-4536-950D-51CF28AC8D6F}" type="presOf" srcId="{FD7C7977-51DE-4ABA-B1C8-93D4ACD28533}" destId="{508F379D-8D8C-40C3-B297-9FBBCD203427}" srcOrd="1" destOrd="0" presId="urn:microsoft.com/office/officeart/2005/8/layout/bProcess3"/>
    <dgm:cxn modelId="{2592445C-76A8-4B33-9A50-8984423F8302}" type="presOf" srcId="{7E91CD4E-4E01-4D1F-B259-01DCD602FAE3}" destId="{6B399F7A-D056-4F37-BF96-3C57BF597F32}" srcOrd="0" destOrd="0" presId="urn:microsoft.com/office/officeart/2005/8/layout/bProcess3"/>
    <dgm:cxn modelId="{981C424B-1CC9-4C69-9C7A-DC3590642921}" srcId="{BFE8275F-A825-4569-BD0E-ED22B038C6C4}" destId="{55840ED3-98B9-4890-97F7-47FF3B62EB4A}" srcOrd="0" destOrd="0" parTransId="{9BA9669B-BF76-45BB-ABD5-84B6A98BE4D3}" sibTransId="{F1459A09-7D40-4385-837C-CB7D27335AFD}"/>
    <dgm:cxn modelId="{095A946B-956B-4BA2-8874-809203E9D712}" type="presOf" srcId="{431CCD13-906B-4BC6-A99F-85C7CD035A91}" destId="{38FCFFC6-A49F-4B2B-81B1-B92120E9E3D2}" srcOrd="0" destOrd="0" presId="urn:microsoft.com/office/officeart/2005/8/layout/bProcess3"/>
    <dgm:cxn modelId="{68323B56-5AF7-4987-983D-27E55DA4140B}" type="presOf" srcId="{4C4172DC-7469-4BC0-A6C4-349785AF9993}" destId="{CEB7DDB8-4FCA-447B-873F-6EA9C50B3714}" srcOrd="0" destOrd="0" presId="urn:microsoft.com/office/officeart/2005/8/layout/bProcess3"/>
    <dgm:cxn modelId="{B4717878-8C59-44E3-AE17-8675BCB76415}" srcId="{BFE8275F-A825-4569-BD0E-ED22B038C6C4}" destId="{3722615F-B0FB-49C5-A15D-10DDCD0B27A1}" srcOrd="3" destOrd="0" parTransId="{21F7B24A-5C40-46C1-9168-22EAAB40DF61}" sibTransId="{BFD0341D-A6B5-4A9F-B5AE-9A7CF4DDC0F4}"/>
    <dgm:cxn modelId="{93915E79-B709-44C7-8B7D-9941FBA3860A}" type="presOf" srcId="{954B545A-DAFC-4620-A925-FF1F90FBEB04}" destId="{AB0168F5-FA36-40B4-98DE-39F2234777E4}" srcOrd="0" destOrd="0" presId="urn:microsoft.com/office/officeart/2005/8/layout/bProcess3"/>
    <dgm:cxn modelId="{C1E3E57C-4310-4C37-85CC-BB8F9368752D}" type="presOf" srcId="{12464487-8A96-4FAD-9BF5-E4888A3A05B7}" destId="{C9BD2910-1561-4A74-A180-63C595FD0976}" srcOrd="1" destOrd="0" presId="urn:microsoft.com/office/officeart/2005/8/layout/bProcess3"/>
    <dgm:cxn modelId="{D42C058A-C7C6-446A-81F2-DF754BC32603}" type="presOf" srcId="{BFD0341D-A6B5-4A9F-B5AE-9A7CF4DDC0F4}" destId="{4F766CF2-CD69-4F15-9D41-FE696E6814DC}" srcOrd="1" destOrd="0" presId="urn:microsoft.com/office/officeart/2005/8/layout/bProcess3"/>
    <dgm:cxn modelId="{D959F98B-4C4E-47A7-B688-26064F7300ED}" type="presOf" srcId="{A021B7FA-DCE1-402E-97BD-9450D84D8281}" destId="{7023B641-38BD-4369-A2A6-7ED9CC344308}" srcOrd="1" destOrd="0" presId="urn:microsoft.com/office/officeart/2005/8/layout/bProcess3"/>
    <dgm:cxn modelId="{19ECF195-41F6-438E-B761-BEB9DDDD5423}" type="presOf" srcId="{71A3C9B3-99CE-43DA-B835-4FE18036437F}" destId="{EF47211A-5361-4107-B1C1-F06A58917039}" srcOrd="0" destOrd="0" presId="urn:microsoft.com/office/officeart/2005/8/layout/bProcess3"/>
    <dgm:cxn modelId="{AFC5F495-CBCC-49E5-B6A8-98E0AB9755AB}" type="presOf" srcId="{FB151291-F18E-435D-AA07-A1DDFA2B9932}" destId="{D4FADD8F-3981-4FE1-98AF-A1BE6E46C8D7}" srcOrd="0" destOrd="0" presId="urn:microsoft.com/office/officeart/2005/8/layout/bProcess3"/>
    <dgm:cxn modelId="{FEE30C99-3F97-4D43-B93D-BC42FCC8F107}" type="presOf" srcId="{55840ED3-98B9-4890-97F7-47FF3B62EB4A}" destId="{4851F5A9-DB68-4DA2-9D02-4BC5E7A09997}" srcOrd="0" destOrd="0" presId="urn:microsoft.com/office/officeart/2005/8/layout/bProcess3"/>
    <dgm:cxn modelId="{F30BE7A8-5808-452F-BF4F-1A74A47805E8}" srcId="{BFE8275F-A825-4569-BD0E-ED22B038C6C4}" destId="{7E91CD4E-4E01-4D1F-B259-01DCD602FAE3}" srcOrd="4" destOrd="0" parTransId="{EAFF6C24-5832-4E22-8B55-BEEDA4E5C62E}" sibTransId="{D66857D6-523D-47AB-8FA5-7311C184C4D6}"/>
    <dgm:cxn modelId="{702CCBAF-E37A-4DB8-872E-F1FFA61C7546}" type="presOf" srcId="{F1459A09-7D40-4385-837C-CB7D27335AFD}" destId="{9880EBAF-1546-4435-A1C5-E294E0070E5B}" srcOrd="1" destOrd="0" presId="urn:microsoft.com/office/officeart/2005/8/layout/bProcess3"/>
    <dgm:cxn modelId="{47E637B2-4CC1-41B9-BA8C-6386820EDDFE}" type="presOf" srcId="{12464487-8A96-4FAD-9BF5-E4888A3A05B7}" destId="{E6242BCA-020A-4284-A6FA-4F514D32A8DD}" srcOrd="0" destOrd="0" presId="urn:microsoft.com/office/officeart/2005/8/layout/bProcess3"/>
    <dgm:cxn modelId="{516693C1-DF5C-43CE-BA62-2E81924351EE}" type="presOf" srcId="{D66857D6-523D-47AB-8FA5-7311C184C4D6}" destId="{BCBEFEAF-3248-4155-8F6E-4F9D1B761019}" srcOrd="1" destOrd="0" presId="urn:microsoft.com/office/officeart/2005/8/layout/bProcess3"/>
    <dgm:cxn modelId="{0A5935D2-BA6C-45EB-AC23-2D90A4B5B91D}" type="presOf" srcId="{BFD0341D-A6B5-4A9F-B5AE-9A7CF4DDC0F4}" destId="{24B12BB4-6564-43A2-9E48-C3750B291C81}" srcOrd="0" destOrd="0" presId="urn:microsoft.com/office/officeart/2005/8/layout/bProcess3"/>
    <dgm:cxn modelId="{087E8FD3-61FE-447C-A00A-B1C0463DB564}" srcId="{BFE8275F-A825-4569-BD0E-ED22B038C6C4}" destId="{71A3C9B3-99CE-43DA-B835-4FE18036437F}" srcOrd="6" destOrd="0" parTransId="{B62CEED4-29C3-4394-8DE9-BF2A18759F69}" sibTransId="{FD7C7977-51DE-4ABA-B1C8-93D4ACD28533}"/>
    <dgm:cxn modelId="{37F64CD9-5BA2-4BB2-983B-EEDF414C3A80}" srcId="{BFE8275F-A825-4569-BD0E-ED22B038C6C4}" destId="{7B48EB03-A599-4FB0-9E91-FB7F817C537D}" srcOrd="2" destOrd="0" parTransId="{80FE16B5-BB3B-4848-9D1C-82907E17665A}" sibTransId="{12464487-8A96-4FAD-9BF5-E4888A3A05B7}"/>
    <dgm:cxn modelId="{2BD450EE-03FC-442C-BDB5-04800EF705B1}" srcId="{BFE8275F-A825-4569-BD0E-ED22B038C6C4}" destId="{954B545A-DAFC-4620-A925-FF1F90FBEB04}" srcOrd="1" destOrd="0" parTransId="{8443C846-2EDF-4E1B-A1C1-17C34A5125BF}" sibTransId="{FB151291-F18E-435D-AA07-A1DDFA2B9932}"/>
    <dgm:cxn modelId="{140ECDEE-C3E4-4B5B-859B-19CFBE22A8C8}" type="presOf" srcId="{7B48EB03-A599-4FB0-9E91-FB7F817C537D}" destId="{DA609FC1-D778-456B-93B0-11353652BE55}" srcOrd="0" destOrd="0" presId="urn:microsoft.com/office/officeart/2005/8/layout/bProcess3"/>
    <dgm:cxn modelId="{5ECAF1EE-58DC-4A52-99A3-A8F9652D7A00}" type="presOf" srcId="{FB151291-F18E-435D-AA07-A1DDFA2B9932}" destId="{B51A1B31-A3EB-48CF-BAFD-412B3147EE59}" srcOrd="1" destOrd="0" presId="urn:microsoft.com/office/officeart/2005/8/layout/bProcess3"/>
    <dgm:cxn modelId="{43CFDCFE-3CA9-422E-96CF-0B63D909E148}" type="presOf" srcId="{A021B7FA-DCE1-402E-97BD-9450D84D8281}" destId="{F8C943FE-B189-41B0-8D52-661DC21B047E}" srcOrd="0" destOrd="0" presId="urn:microsoft.com/office/officeart/2005/8/layout/bProcess3"/>
    <dgm:cxn modelId="{ED404337-39BB-4724-A1DD-0B051D4801A6}" type="presParOf" srcId="{843E86B0-55A3-4E3C-88CC-E0CA33F5CF82}" destId="{4851F5A9-DB68-4DA2-9D02-4BC5E7A09997}" srcOrd="0" destOrd="0" presId="urn:microsoft.com/office/officeart/2005/8/layout/bProcess3"/>
    <dgm:cxn modelId="{83DF9066-C263-40B1-88BA-701A4BBE75D4}" type="presParOf" srcId="{843E86B0-55A3-4E3C-88CC-E0CA33F5CF82}" destId="{AF5F05D4-0A6F-47FE-90B2-F921CD36DD32}" srcOrd="1" destOrd="0" presId="urn:microsoft.com/office/officeart/2005/8/layout/bProcess3"/>
    <dgm:cxn modelId="{50803929-C027-4AAF-AD40-B8A4ACDEEBFD}" type="presParOf" srcId="{AF5F05D4-0A6F-47FE-90B2-F921CD36DD32}" destId="{9880EBAF-1546-4435-A1C5-E294E0070E5B}" srcOrd="0" destOrd="0" presId="urn:microsoft.com/office/officeart/2005/8/layout/bProcess3"/>
    <dgm:cxn modelId="{8FE23CA2-4D09-49FA-AE17-5BFDAB097FDA}" type="presParOf" srcId="{843E86B0-55A3-4E3C-88CC-E0CA33F5CF82}" destId="{AB0168F5-FA36-40B4-98DE-39F2234777E4}" srcOrd="2" destOrd="0" presId="urn:microsoft.com/office/officeart/2005/8/layout/bProcess3"/>
    <dgm:cxn modelId="{A5DAADCC-1DB5-4367-A1B2-E02EEE3FFF73}" type="presParOf" srcId="{843E86B0-55A3-4E3C-88CC-E0CA33F5CF82}" destId="{D4FADD8F-3981-4FE1-98AF-A1BE6E46C8D7}" srcOrd="3" destOrd="0" presId="urn:microsoft.com/office/officeart/2005/8/layout/bProcess3"/>
    <dgm:cxn modelId="{A837DA56-D130-4022-A9CF-31C67DD0186E}" type="presParOf" srcId="{D4FADD8F-3981-4FE1-98AF-A1BE6E46C8D7}" destId="{B51A1B31-A3EB-48CF-BAFD-412B3147EE59}" srcOrd="0" destOrd="0" presId="urn:microsoft.com/office/officeart/2005/8/layout/bProcess3"/>
    <dgm:cxn modelId="{0BA1E814-B27E-4F29-A610-C8F0652EF5AE}" type="presParOf" srcId="{843E86B0-55A3-4E3C-88CC-E0CA33F5CF82}" destId="{DA609FC1-D778-456B-93B0-11353652BE55}" srcOrd="4" destOrd="0" presId="urn:microsoft.com/office/officeart/2005/8/layout/bProcess3"/>
    <dgm:cxn modelId="{8437D1F0-DF01-44C6-9C01-2AB1A1FA8A71}" type="presParOf" srcId="{843E86B0-55A3-4E3C-88CC-E0CA33F5CF82}" destId="{E6242BCA-020A-4284-A6FA-4F514D32A8DD}" srcOrd="5" destOrd="0" presId="urn:microsoft.com/office/officeart/2005/8/layout/bProcess3"/>
    <dgm:cxn modelId="{A7EAD5A5-E465-45A2-A431-23577BEE812C}" type="presParOf" srcId="{E6242BCA-020A-4284-A6FA-4F514D32A8DD}" destId="{C9BD2910-1561-4A74-A180-63C595FD0976}" srcOrd="0" destOrd="0" presId="urn:microsoft.com/office/officeart/2005/8/layout/bProcess3"/>
    <dgm:cxn modelId="{85E7397E-F35B-4EE8-8706-D9DA1A7CFA15}" type="presParOf" srcId="{843E86B0-55A3-4E3C-88CC-E0CA33F5CF82}" destId="{1DA6E9FB-CCEF-4363-B89D-644A64E3F69A}" srcOrd="6" destOrd="0" presId="urn:microsoft.com/office/officeart/2005/8/layout/bProcess3"/>
    <dgm:cxn modelId="{E391455C-C08C-4DC3-A509-37FE552B5678}" type="presParOf" srcId="{843E86B0-55A3-4E3C-88CC-E0CA33F5CF82}" destId="{24B12BB4-6564-43A2-9E48-C3750B291C81}" srcOrd="7" destOrd="0" presId="urn:microsoft.com/office/officeart/2005/8/layout/bProcess3"/>
    <dgm:cxn modelId="{C8D863CE-62B4-42EC-9F41-E17353CC342B}" type="presParOf" srcId="{24B12BB4-6564-43A2-9E48-C3750B291C81}" destId="{4F766CF2-CD69-4F15-9D41-FE696E6814DC}" srcOrd="0" destOrd="0" presId="urn:microsoft.com/office/officeart/2005/8/layout/bProcess3"/>
    <dgm:cxn modelId="{BB00BFC7-39A9-4C85-B9C9-67DD27791053}" type="presParOf" srcId="{843E86B0-55A3-4E3C-88CC-E0CA33F5CF82}" destId="{6B399F7A-D056-4F37-BF96-3C57BF597F32}" srcOrd="8" destOrd="0" presId="urn:microsoft.com/office/officeart/2005/8/layout/bProcess3"/>
    <dgm:cxn modelId="{185CCC25-8BF4-47D4-8777-BBA0562C2B08}" type="presParOf" srcId="{843E86B0-55A3-4E3C-88CC-E0CA33F5CF82}" destId="{20455616-B5FF-446B-B742-BB4DC84404AE}" srcOrd="9" destOrd="0" presId="urn:microsoft.com/office/officeart/2005/8/layout/bProcess3"/>
    <dgm:cxn modelId="{D8C9558B-81B9-4D4E-83BE-BA8416EDAF25}" type="presParOf" srcId="{20455616-B5FF-446B-B742-BB4DC84404AE}" destId="{BCBEFEAF-3248-4155-8F6E-4F9D1B761019}" srcOrd="0" destOrd="0" presId="urn:microsoft.com/office/officeart/2005/8/layout/bProcess3"/>
    <dgm:cxn modelId="{52E32ED0-48C4-4406-A34F-8E8BD554740E}" type="presParOf" srcId="{843E86B0-55A3-4E3C-88CC-E0CA33F5CF82}" destId="{CEB7DDB8-4FCA-447B-873F-6EA9C50B3714}" srcOrd="10" destOrd="0" presId="urn:microsoft.com/office/officeart/2005/8/layout/bProcess3"/>
    <dgm:cxn modelId="{1F2768C0-2EAE-48AC-BAF9-8F2671CB25E9}" type="presParOf" srcId="{843E86B0-55A3-4E3C-88CC-E0CA33F5CF82}" destId="{F8C943FE-B189-41B0-8D52-661DC21B047E}" srcOrd="11" destOrd="0" presId="urn:microsoft.com/office/officeart/2005/8/layout/bProcess3"/>
    <dgm:cxn modelId="{6BBD6572-384A-4C40-8659-321E74ECD353}" type="presParOf" srcId="{F8C943FE-B189-41B0-8D52-661DC21B047E}" destId="{7023B641-38BD-4369-A2A6-7ED9CC344308}" srcOrd="0" destOrd="0" presId="urn:microsoft.com/office/officeart/2005/8/layout/bProcess3"/>
    <dgm:cxn modelId="{BA933A70-3EF1-4C87-9F82-4D6869486187}" type="presParOf" srcId="{843E86B0-55A3-4E3C-88CC-E0CA33F5CF82}" destId="{EF47211A-5361-4107-B1C1-F06A58917039}" srcOrd="12" destOrd="0" presId="urn:microsoft.com/office/officeart/2005/8/layout/bProcess3"/>
    <dgm:cxn modelId="{D9BEC948-E8C7-4509-9BA3-C6640B24F5A4}" type="presParOf" srcId="{843E86B0-55A3-4E3C-88CC-E0CA33F5CF82}" destId="{790B7DAB-9F73-4B58-B91C-9B2D69D20D17}" srcOrd="13" destOrd="0" presId="urn:microsoft.com/office/officeart/2005/8/layout/bProcess3"/>
    <dgm:cxn modelId="{C380FFF4-9A83-4DC7-B821-6B95247C922A}" type="presParOf" srcId="{790B7DAB-9F73-4B58-B91C-9B2D69D20D17}" destId="{508F379D-8D8C-40C3-B297-9FBBCD203427}" srcOrd="0" destOrd="0" presId="urn:microsoft.com/office/officeart/2005/8/layout/bProcess3"/>
    <dgm:cxn modelId="{66E95F7A-3BA0-4B74-A397-22F569829F1F}" type="presParOf" srcId="{843E86B0-55A3-4E3C-88CC-E0CA33F5CF82}" destId="{38FCFFC6-A49F-4B2B-81B1-B92120E9E3D2}"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823E7292-A036-4ACF-8BBB-7E78E5A20625}"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s-ES"/>
        </a:p>
      </dgm:t>
    </dgm:pt>
    <dgm:pt modelId="{DF704AD6-BA6B-4ACA-A9F7-2E053E5FABD2}">
      <dgm:prSet phldrT="[Texto]"/>
      <dgm:spPr/>
      <dgm:t>
        <a:bodyPr/>
        <a:lstStyle/>
        <a:p>
          <a:r>
            <a:rPr lang="es-ES" dirty="0"/>
            <a:t>Entendimiento del caso de negocio</a:t>
          </a:r>
        </a:p>
      </dgm:t>
    </dgm:pt>
    <dgm:pt modelId="{CFA8A40C-C747-454D-B853-AF4466A7E6CA}" type="parTrans" cxnId="{70E70BE9-E766-4DC2-86E1-7DE41A73C631}">
      <dgm:prSet/>
      <dgm:spPr/>
      <dgm:t>
        <a:bodyPr/>
        <a:lstStyle/>
        <a:p>
          <a:endParaRPr lang="es-ES"/>
        </a:p>
      </dgm:t>
    </dgm:pt>
    <dgm:pt modelId="{86DDF109-78D0-4974-BDB5-190465A70198}" type="sibTrans" cxnId="{70E70BE9-E766-4DC2-86E1-7DE41A73C631}">
      <dgm:prSet/>
      <dgm:spPr/>
      <dgm:t>
        <a:bodyPr/>
        <a:lstStyle/>
        <a:p>
          <a:endParaRPr lang="es-ES"/>
        </a:p>
      </dgm:t>
    </dgm:pt>
    <dgm:pt modelId="{805EF062-97C9-4BD3-829B-39FBE38BC928}">
      <dgm:prSet/>
      <dgm:spPr/>
      <dgm:t>
        <a:bodyPr/>
        <a:lstStyle/>
        <a:p>
          <a:r>
            <a:rPr lang="es-ES" dirty="0"/>
            <a:t>Entendimiento de los datos</a:t>
          </a:r>
        </a:p>
      </dgm:t>
    </dgm:pt>
    <dgm:pt modelId="{F02A7C36-920C-4EE2-85CD-4D903BCD0646}" type="parTrans" cxnId="{087EB3D4-F568-499A-8CA8-6D582E00D53D}">
      <dgm:prSet/>
      <dgm:spPr/>
      <dgm:t>
        <a:bodyPr/>
        <a:lstStyle/>
        <a:p>
          <a:endParaRPr lang="es-ES"/>
        </a:p>
      </dgm:t>
    </dgm:pt>
    <dgm:pt modelId="{0A36C5F7-D760-49C4-9F78-83797895271E}" type="sibTrans" cxnId="{087EB3D4-F568-499A-8CA8-6D582E00D53D}">
      <dgm:prSet/>
      <dgm:spPr/>
      <dgm:t>
        <a:bodyPr/>
        <a:lstStyle/>
        <a:p>
          <a:endParaRPr lang="es-ES"/>
        </a:p>
      </dgm:t>
    </dgm:pt>
    <dgm:pt modelId="{083C96A4-236F-4BA4-9BF9-BDCDE1C7D627}">
      <dgm:prSet/>
      <dgm:spPr/>
      <dgm:t>
        <a:bodyPr/>
        <a:lstStyle/>
        <a:p>
          <a:r>
            <a:rPr lang="es-ES" dirty="0"/>
            <a:t>Preparación de los datos</a:t>
          </a:r>
        </a:p>
      </dgm:t>
    </dgm:pt>
    <dgm:pt modelId="{DB0A4D55-A6EB-478E-A20B-F5743A89EBAD}" type="parTrans" cxnId="{48D650E1-B14C-4E5C-8520-3555C35F474F}">
      <dgm:prSet/>
      <dgm:spPr/>
      <dgm:t>
        <a:bodyPr/>
        <a:lstStyle/>
        <a:p>
          <a:endParaRPr lang="es-ES"/>
        </a:p>
      </dgm:t>
    </dgm:pt>
    <dgm:pt modelId="{6B82723A-5153-4CE0-AAF6-C991E581AE7F}" type="sibTrans" cxnId="{48D650E1-B14C-4E5C-8520-3555C35F474F}">
      <dgm:prSet/>
      <dgm:spPr/>
      <dgm:t>
        <a:bodyPr/>
        <a:lstStyle/>
        <a:p>
          <a:endParaRPr lang="es-ES"/>
        </a:p>
      </dgm:t>
    </dgm:pt>
    <dgm:pt modelId="{9C860DF7-6289-4F2E-BE5A-1661E4DC10E4}">
      <dgm:prSet/>
      <dgm:spPr/>
      <dgm:t>
        <a:bodyPr/>
        <a:lstStyle/>
        <a:p>
          <a:r>
            <a:rPr lang="es-ES" dirty="0"/>
            <a:t>Modelado y algoritmo</a:t>
          </a:r>
        </a:p>
      </dgm:t>
    </dgm:pt>
    <dgm:pt modelId="{1202E2DA-8A97-4AE6-8F41-4848FD4A88D5}" type="parTrans" cxnId="{ED5AF77E-A7E0-4ECD-B559-31835250DEFC}">
      <dgm:prSet/>
      <dgm:spPr/>
      <dgm:t>
        <a:bodyPr/>
        <a:lstStyle/>
        <a:p>
          <a:endParaRPr lang="es-ES"/>
        </a:p>
      </dgm:t>
    </dgm:pt>
    <dgm:pt modelId="{E7D923B9-EEB5-4AE7-8274-8FB7569CB434}" type="sibTrans" cxnId="{ED5AF77E-A7E0-4ECD-B559-31835250DEFC}">
      <dgm:prSet/>
      <dgm:spPr/>
      <dgm:t>
        <a:bodyPr/>
        <a:lstStyle/>
        <a:p>
          <a:endParaRPr lang="es-ES"/>
        </a:p>
      </dgm:t>
    </dgm:pt>
    <dgm:pt modelId="{B26F927C-8488-456B-966C-294DB162152B}">
      <dgm:prSet/>
      <dgm:spPr/>
      <dgm:t>
        <a:bodyPr/>
        <a:lstStyle/>
        <a:p>
          <a:r>
            <a:rPr lang="es-ES" dirty="0"/>
            <a:t>Evaluación</a:t>
          </a:r>
        </a:p>
      </dgm:t>
    </dgm:pt>
    <dgm:pt modelId="{04B926C8-2B9A-4F7C-B935-3DE4235F42FC}" type="parTrans" cxnId="{1C999FA3-F37F-45A4-BE8A-A6F3C3300225}">
      <dgm:prSet/>
      <dgm:spPr/>
      <dgm:t>
        <a:bodyPr/>
        <a:lstStyle/>
        <a:p>
          <a:endParaRPr lang="es-ES"/>
        </a:p>
      </dgm:t>
    </dgm:pt>
    <dgm:pt modelId="{4E7CB2CC-E8D5-4E28-98D2-8D04A9A99518}" type="sibTrans" cxnId="{1C999FA3-F37F-45A4-BE8A-A6F3C3300225}">
      <dgm:prSet/>
      <dgm:spPr/>
      <dgm:t>
        <a:bodyPr/>
        <a:lstStyle/>
        <a:p>
          <a:endParaRPr lang="es-ES"/>
        </a:p>
      </dgm:t>
    </dgm:pt>
    <dgm:pt modelId="{55CCCD6B-3479-4693-877F-F832B3E42AFE}">
      <dgm:prSet/>
      <dgm:spPr/>
      <dgm:t>
        <a:bodyPr/>
        <a:lstStyle/>
        <a:p>
          <a:r>
            <a:rPr lang="es-ES" dirty="0"/>
            <a:t>Despliegue</a:t>
          </a:r>
        </a:p>
      </dgm:t>
    </dgm:pt>
    <dgm:pt modelId="{4E9A0A8C-B6B4-4B5D-A5C9-4B11283F2800}" type="parTrans" cxnId="{F5EAB620-FD93-42B5-83BF-CA3C50020BAD}">
      <dgm:prSet/>
      <dgm:spPr/>
      <dgm:t>
        <a:bodyPr/>
        <a:lstStyle/>
        <a:p>
          <a:endParaRPr lang="es-ES"/>
        </a:p>
      </dgm:t>
    </dgm:pt>
    <dgm:pt modelId="{3635453B-D36E-48FA-B0EF-572134C72784}" type="sibTrans" cxnId="{F5EAB620-FD93-42B5-83BF-CA3C50020BAD}">
      <dgm:prSet/>
      <dgm:spPr/>
      <dgm:t>
        <a:bodyPr/>
        <a:lstStyle/>
        <a:p>
          <a:endParaRPr lang="es-ES"/>
        </a:p>
      </dgm:t>
    </dgm:pt>
    <dgm:pt modelId="{4DA69987-A477-44B5-8911-865AAD96AD36}" type="pres">
      <dgm:prSet presAssocID="{823E7292-A036-4ACF-8BBB-7E78E5A20625}" presName="Name0" presStyleCnt="0">
        <dgm:presLayoutVars>
          <dgm:dir/>
          <dgm:resizeHandles val="exact"/>
        </dgm:presLayoutVars>
      </dgm:prSet>
      <dgm:spPr/>
    </dgm:pt>
    <dgm:pt modelId="{239772EF-0009-4B1A-B571-7917656F4EA4}" type="pres">
      <dgm:prSet presAssocID="{823E7292-A036-4ACF-8BBB-7E78E5A20625}" presName="cycle" presStyleCnt="0"/>
      <dgm:spPr/>
    </dgm:pt>
    <dgm:pt modelId="{3335DF23-7792-4D06-8BD5-D2BAE8D4C447}" type="pres">
      <dgm:prSet presAssocID="{DF704AD6-BA6B-4ACA-A9F7-2E053E5FABD2}" presName="nodeFirstNode" presStyleLbl="node1" presStyleIdx="0" presStyleCnt="6">
        <dgm:presLayoutVars>
          <dgm:bulletEnabled val="1"/>
        </dgm:presLayoutVars>
      </dgm:prSet>
      <dgm:spPr/>
    </dgm:pt>
    <dgm:pt modelId="{B1847AEC-760C-4D87-A64D-78C3164BAFD5}" type="pres">
      <dgm:prSet presAssocID="{86DDF109-78D0-4974-BDB5-190465A70198}" presName="sibTransFirstNode" presStyleLbl="bgShp" presStyleIdx="0" presStyleCnt="1"/>
      <dgm:spPr/>
    </dgm:pt>
    <dgm:pt modelId="{213C509B-973A-4E41-BA2A-DA6D1F3D2ADE}" type="pres">
      <dgm:prSet presAssocID="{805EF062-97C9-4BD3-829B-39FBE38BC928}" presName="nodeFollowingNodes" presStyleLbl="node1" presStyleIdx="1" presStyleCnt="6">
        <dgm:presLayoutVars>
          <dgm:bulletEnabled val="1"/>
        </dgm:presLayoutVars>
      </dgm:prSet>
      <dgm:spPr/>
    </dgm:pt>
    <dgm:pt modelId="{9DF2B110-725F-40BA-9868-2AA7772FE429}" type="pres">
      <dgm:prSet presAssocID="{083C96A4-236F-4BA4-9BF9-BDCDE1C7D627}" presName="nodeFollowingNodes" presStyleLbl="node1" presStyleIdx="2" presStyleCnt="6">
        <dgm:presLayoutVars>
          <dgm:bulletEnabled val="1"/>
        </dgm:presLayoutVars>
      </dgm:prSet>
      <dgm:spPr/>
    </dgm:pt>
    <dgm:pt modelId="{BF0A7631-1D32-4BB5-B5E8-04B167BE5102}" type="pres">
      <dgm:prSet presAssocID="{9C860DF7-6289-4F2E-BE5A-1661E4DC10E4}" presName="nodeFollowingNodes" presStyleLbl="node1" presStyleIdx="3" presStyleCnt="6">
        <dgm:presLayoutVars>
          <dgm:bulletEnabled val="1"/>
        </dgm:presLayoutVars>
      </dgm:prSet>
      <dgm:spPr/>
    </dgm:pt>
    <dgm:pt modelId="{1EA64458-AF99-4675-A8E1-74FB5D74DC5A}" type="pres">
      <dgm:prSet presAssocID="{B26F927C-8488-456B-966C-294DB162152B}" presName="nodeFollowingNodes" presStyleLbl="node1" presStyleIdx="4" presStyleCnt="6">
        <dgm:presLayoutVars>
          <dgm:bulletEnabled val="1"/>
        </dgm:presLayoutVars>
      </dgm:prSet>
      <dgm:spPr/>
    </dgm:pt>
    <dgm:pt modelId="{5ABC2BBA-7D3B-4EDE-AAB2-DFD09BD1CB95}" type="pres">
      <dgm:prSet presAssocID="{55CCCD6B-3479-4693-877F-F832B3E42AFE}" presName="nodeFollowingNodes" presStyleLbl="node1" presStyleIdx="5" presStyleCnt="6">
        <dgm:presLayoutVars>
          <dgm:bulletEnabled val="1"/>
        </dgm:presLayoutVars>
      </dgm:prSet>
      <dgm:spPr/>
    </dgm:pt>
  </dgm:ptLst>
  <dgm:cxnLst>
    <dgm:cxn modelId="{5E9AF702-7EA7-4DE7-93CF-072C7A55EC69}" type="presOf" srcId="{55CCCD6B-3479-4693-877F-F832B3E42AFE}" destId="{5ABC2BBA-7D3B-4EDE-AAB2-DFD09BD1CB95}" srcOrd="0" destOrd="0" presId="urn:microsoft.com/office/officeart/2005/8/layout/cycle3"/>
    <dgm:cxn modelId="{F5EAB620-FD93-42B5-83BF-CA3C50020BAD}" srcId="{823E7292-A036-4ACF-8BBB-7E78E5A20625}" destId="{55CCCD6B-3479-4693-877F-F832B3E42AFE}" srcOrd="5" destOrd="0" parTransId="{4E9A0A8C-B6B4-4B5D-A5C9-4B11283F2800}" sibTransId="{3635453B-D36E-48FA-B0EF-572134C72784}"/>
    <dgm:cxn modelId="{772D8E38-0B99-43ED-90A9-1D1AC0952D1B}" type="presOf" srcId="{DF704AD6-BA6B-4ACA-A9F7-2E053E5FABD2}" destId="{3335DF23-7792-4D06-8BD5-D2BAE8D4C447}" srcOrd="0" destOrd="0" presId="urn:microsoft.com/office/officeart/2005/8/layout/cycle3"/>
    <dgm:cxn modelId="{63A78339-66A9-4C79-B103-FDE11EB8469F}" type="presOf" srcId="{9C860DF7-6289-4F2E-BE5A-1661E4DC10E4}" destId="{BF0A7631-1D32-4BB5-B5E8-04B167BE5102}" srcOrd="0" destOrd="0" presId="urn:microsoft.com/office/officeart/2005/8/layout/cycle3"/>
    <dgm:cxn modelId="{FE502D6A-0E4F-44E4-A309-7BF50B98A8EA}" type="presOf" srcId="{86DDF109-78D0-4974-BDB5-190465A70198}" destId="{B1847AEC-760C-4D87-A64D-78C3164BAFD5}" srcOrd="0" destOrd="0" presId="urn:microsoft.com/office/officeart/2005/8/layout/cycle3"/>
    <dgm:cxn modelId="{6EA31A7B-81CB-452B-80FC-0B10284C495A}" type="presOf" srcId="{B26F927C-8488-456B-966C-294DB162152B}" destId="{1EA64458-AF99-4675-A8E1-74FB5D74DC5A}" srcOrd="0" destOrd="0" presId="urn:microsoft.com/office/officeart/2005/8/layout/cycle3"/>
    <dgm:cxn modelId="{ED5AF77E-A7E0-4ECD-B559-31835250DEFC}" srcId="{823E7292-A036-4ACF-8BBB-7E78E5A20625}" destId="{9C860DF7-6289-4F2E-BE5A-1661E4DC10E4}" srcOrd="3" destOrd="0" parTransId="{1202E2DA-8A97-4AE6-8F41-4848FD4A88D5}" sibTransId="{E7D923B9-EEB5-4AE7-8274-8FB7569CB434}"/>
    <dgm:cxn modelId="{1C999FA3-F37F-45A4-BE8A-A6F3C3300225}" srcId="{823E7292-A036-4ACF-8BBB-7E78E5A20625}" destId="{B26F927C-8488-456B-966C-294DB162152B}" srcOrd="4" destOrd="0" parTransId="{04B926C8-2B9A-4F7C-B935-3DE4235F42FC}" sibTransId="{4E7CB2CC-E8D5-4E28-98D2-8D04A9A99518}"/>
    <dgm:cxn modelId="{95FE8EA6-F068-47B1-9F8A-6ABAD393D7B3}" type="presOf" srcId="{805EF062-97C9-4BD3-829B-39FBE38BC928}" destId="{213C509B-973A-4E41-BA2A-DA6D1F3D2ADE}" srcOrd="0" destOrd="0" presId="urn:microsoft.com/office/officeart/2005/8/layout/cycle3"/>
    <dgm:cxn modelId="{285753C2-AA97-4D93-AFA6-0E2821C1EDFC}" type="presOf" srcId="{083C96A4-236F-4BA4-9BF9-BDCDE1C7D627}" destId="{9DF2B110-725F-40BA-9868-2AA7772FE429}" srcOrd="0" destOrd="0" presId="urn:microsoft.com/office/officeart/2005/8/layout/cycle3"/>
    <dgm:cxn modelId="{CE7F98C4-4DD0-49DC-A623-EBDB1F4B89FF}" type="presOf" srcId="{823E7292-A036-4ACF-8BBB-7E78E5A20625}" destId="{4DA69987-A477-44B5-8911-865AAD96AD36}" srcOrd="0" destOrd="0" presId="urn:microsoft.com/office/officeart/2005/8/layout/cycle3"/>
    <dgm:cxn modelId="{087EB3D4-F568-499A-8CA8-6D582E00D53D}" srcId="{823E7292-A036-4ACF-8BBB-7E78E5A20625}" destId="{805EF062-97C9-4BD3-829B-39FBE38BC928}" srcOrd="1" destOrd="0" parTransId="{F02A7C36-920C-4EE2-85CD-4D903BCD0646}" sibTransId="{0A36C5F7-D760-49C4-9F78-83797895271E}"/>
    <dgm:cxn modelId="{48D650E1-B14C-4E5C-8520-3555C35F474F}" srcId="{823E7292-A036-4ACF-8BBB-7E78E5A20625}" destId="{083C96A4-236F-4BA4-9BF9-BDCDE1C7D627}" srcOrd="2" destOrd="0" parTransId="{DB0A4D55-A6EB-478E-A20B-F5743A89EBAD}" sibTransId="{6B82723A-5153-4CE0-AAF6-C991E581AE7F}"/>
    <dgm:cxn modelId="{70E70BE9-E766-4DC2-86E1-7DE41A73C631}" srcId="{823E7292-A036-4ACF-8BBB-7E78E5A20625}" destId="{DF704AD6-BA6B-4ACA-A9F7-2E053E5FABD2}" srcOrd="0" destOrd="0" parTransId="{CFA8A40C-C747-454D-B853-AF4466A7E6CA}" sibTransId="{86DDF109-78D0-4974-BDB5-190465A70198}"/>
    <dgm:cxn modelId="{1757A3A1-CAA2-4FCB-BEEF-5748D171F13E}" type="presParOf" srcId="{4DA69987-A477-44B5-8911-865AAD96AD36}" destId="{239772EF-0009-4B1A-B571-7917656F4EA4}" srcOrd="0" destOrd="0" presId="urn:microsoft.com/office/officeart/2005/8/layout/cycle3"/>
    <dgm:cxn modelId="{8CB747D6-6B7D-48B0-A484-4DA56FA592F0}" type="presParOf" srcId="{239772EF-0009-4B1A-B571-7917656F4EA4}" destId="{3335DF23-7792-4D06-8BD5-D2BAE8D4C447}" srcOrd="0" destOrd="0" presId="urn:microsoft.com/office/officeart/2005/8/layout/cycle3"/>
    <dgm:cxn modelId="{7A6D352D-55D6-4D9D-A48C-86085537F4EE}" type="presParOf" srcId="{239772EF-0009-4B1A-B571-7917656F4EA4}" destId="{B1847AEC-760C-4D87-A64D-78C3164BAFD5}" srcOrd="1" destOrd="0" presId="urn:microsoft.com/office/officeart/2005/8/layout/cycle3"/>
    <dgm:cxn modelId="{1B64867C-BA5B-40AC-9BDB-1FC2FDF95873}" type="presParOf" srcId="{239772EF-0009-4B1A-B571-7917656F4EA4}" destId="{213C509B-973A-4E41-BA2A-DA6D1F3D2ADE}" srcOrd="2" destOrd="0" presId="urn:microsoft.com/office/officeart/2005/8/layout/cycle3"/>
    <dgm:cxn modelId="{8A06128A-0987-4CF3-851B-36E9587C5AC0}" type="presParOf" srcId="{239772EF-0009-4B1A-B571-7917656F4EA4}" destId="{9DF2B110-725F-40BA-9868-2AA7772FE429}" srcOrd="3" destOrd="0" presId="urn:microsoft.com/office/officeart/2005/8/layout/cycle3"/>
    <dgm:cxn modelId="{2C76DC5F-BC19-4875-AD87-E5FE58E53E51}" type="presParOf" srcId="{239772EF-0009-4B1A-B571-7917656F4EA4}" destId="{BF0A7631-1D32-4BB5-B5E8-04B167BE5102}" srcOrd="4" destOrd="0" presId="urn:microsoft.com/office/officeart/2005/8/layout/cycle3"/>
    <dgm:cxn modelId="{F4627B41-639C-4722-A28F-0C731483BF1C}" type="presParOf" srcId="{239772EF-0009-4B1A-B571-7917656F4EA4}" destId="{1EA64458-AF99-4675-A8E1-74FB5D74DC5A}" srcOrd="5" destOrd="0" presId="urn:microsoft.com/office/officeart/2005/8/layout/cycle3"/>
    <dgm:cxn modelId="{9FB24869-E1CA-4AF1-9C8B-48860AAAB2E5}" type="presParOf" srcId="{239772EF-0009-4B1A-B571-7917656F4EA4}" destId="{5ABC2BBA-7D3B-4EDE-AAB2-DFD09BD1CB95}" srcOrd="6"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2657BA48-BD47-4BE1-858B-072D4CDBD2EB}" type="pres">
      <dgm:prSet presAssocID="{9BB0138D-F3BE-4720-A04C-838F97396951}" presName="node" presStyleLbl="node1" presStyleIdx="2" presStyleCnt="8">
        <dgm:presLayoutVars>
          <dgm:bulletEnabled val="1"/>
        </dgm:presLayoutVars>
      </dgm:prSet>
      <dgm:spPr/>
    </dgm:pt>
    <dgm:pt modelId="{8202FED3-7CF9-4D9C-8DB9-D33AE18C03DD}" type="pres">
      <dgm:prSet presAssocID="{36DBC555-AECC-4B36-B4AF-45EC42E4489D}" presName="sibTrans" presStyleLbl="sibTrans1D1" presStyleIdx="2" presStyleCnt="7"/>
      <dgm:spPr/>
    </dgm:pt>
    <dgm:pt modelId="{949FEAE1-6B8E-4E49-9846-51C8ADAB5736}" type="pres">
      <dgm:prSet presAssocID="{36DBC555-AECC-4B36-B4AF-45EC42E4489D}"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F393F410-F746-434F-AC7D-679C0E30025E}" type="pres">
      <dgm:prSet presAssocID="{8A8D6F37-49AC-4E06-93AD-FE41F1A5FC8F}" presName="node" presStyleLbl="node1" presStyleIdx="4" presStyleCnt="8">
        <dgm:presLayoutVars>
          <dgm:bulletEnabled val="1"/>
        </dgm:presLayoutVars>
      </dgm:prSet>
      <dgm:spPr/>
    </dgm:pt>
    <dgm:pt modelId="{08D88CB0-60AD-46C9-BC66-01E230BE336C}" type="pres">
      <dgm:prSet presAssocID="{4FA1F2E1-A09C-44E2-8E85-2CCBB1CCBFE0}" presName="sibTrans" presStyleLbl="sibTrans1D1" presStyleIdx="4" presStyleCnt="7"/>
      <dgm:spPr/>
    </dgm:pt>
    <dgm:pt modelId="{2A2B2ED0-09BD-451C-BC31-FF960DE87806}" type="pres">
      <dgm:prSet presAssocID="{4FA1F2E1-A09C-44E2-8E85-2CCBB1CCBFE0}"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2EEA6D04-4F59-4AF3-A060-6CE798A07A96}" type="presOf" srcId="{F6704F76-85E4-48ED-9DE6-CF2AE64037FA}" destId="{3C3B7CC8-0F1A-41E6-85D5-B0FD5AD60985}" srcOrd="1" destOrd="0" presId="urn:microsoft.com/office/officeart/2005/8/layout/bProcess3"/>
    <dgm:cxn modelId="{2213F506-F483-4E50-8809-40B450D74299}" type="presOf" srcId="{56DC33F5-FBEC-498D-BA7A-29DFCB9AA1F1}" destId="{7C430775-AF8D-4D57-8FDB-FB8CBE6A7BF1}" srcOrd="1"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B4219210-B736-421D-85B4-4AADEA7DB35C}" type="presOf" srcId="{E0BAB958-40A7-4BB7-BFBA-3478B87F3DA1}" destId="{335C5C5F-FDCF-427E-A197-92575D120A5C}" srcOrd="0" destOrd="0" presId="urn:microsoft.com/office/officeart/2005/8/layout/bProcess3"/>
    <dgm:cxn modelId="{C6835E11-3F73-4FA7-89D7-DA3AA712E85E}" srcId="{8A8D6F37-49AC-4E06-93AD-FE41F1A5FC8F}" destId="{A9B3B3AF-502B-4C35-B753-60713E20BDCE}" srcOrd="2" destOrd="0" parTransId="{417756B4-D7C9-46D7-A09D-A9EF1297654B}" sibTransId="{17333C71-421B-4B95-A147-58111892EE78}"/>
    <dgm:cxn modelId="{723FA712-5265-4B75-8F93-C254BB0F0AFB}" type="presOf" srcId="{8B682B72-C684-496F-A34A-A9C6694BB9ED}" destId="{335C5C5F-FDCF-427E-A197-92575D120A5C}" srcOrd="0" destOrd="2"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ACB7701A-D8A4-4F20-ACB4-F502CF568D52}" type="presOf" srcId="{9BB0138D-F3BE-4720-A04C-838F97396951}" destId="{2657BA48-BD47-4BE1-858B-072D4CDBD2EB}" srcOrd="0" destOrd="0" presId="urn:microsoft.com/office/officeart/2005/8/layout/bProcess3"/>
    <dgm:cxn modelId="{5D235F1E-E4DC-40E0-9880-D62A77C76232}" type="presOf" srcId="{7D660CDE-E901-4730-99A7-98E3CDD51D2D}" destId="{BC841A12-76DD-4881-BCFC-87324C87DFF4}" srcOrd="0" destOrd="0" presId="urn:microsoft.com/office/officeart/2005/8/layout/bProcess3"/>
    <dgm:cxn modelId="{18CE5430-9EEB-4BD0-9279-A00C18DC5E08}" srcId="{1C05035A-58A3-4D77-8108-2D01F519782F}" destId="{93FA9806-8290-4C0E-8F3B-DD4061BDE197}" srcOrd="5" destOrd="0" parTransId="{C7C98F96-4708-461C-B15A-66DB2E6656A4}" sibTransId="{F6704F76-85E4-48ED-9DE6-CF2AE64037FA}"/>
    <dgm:cxn modelId="{BF893C5F-5F87-4000-B51C-493D36D007DF}" type="presOf" srcId="{4FA1F2E1-A09C-44E2-8E85-2CCBB1CCBFE0}" destId="{2A2B2ED0-09BD-451C-BC31-FF960DE87806}" srcOrd="1" destOrd="0" presId="urn:microsoft.com/office/officeart/2005/8/layout/bProcess3"/>
    <dgm:cxn modelId="{7CAA6960-DDCC-441D-82D0-E64735B6718F}" srcId="{1C05035A-58A3-4D77-8108-2D01F519782F}" destId="{8A8D6F37-49AC-4E06-93AD-FE41F1A5FC8F}" srcOrd="4" destOrd="0" parTransId="{FC37648F-0106-490C-9551-8540F69B7276}" sibTransId="{4FA1F2E1-A09C-44E2-8E85-2CCBB1CCBFE0}"/>
    <dgm:cxn modelId="{9D182A41-75AF-4B76-9295-9AAB7E9B58B9}" type="presOf" srcId="{63D4F358-B5F7-4989-8719-A380EF79791B}" destId="{1DD016A1-6F87-4EBE-A0E8-25D68F51531F}" srcOrd="1" destOrd="0" presId="urn:microsoft.com/office/officeart/2005/8/layout/bProcess3"/>
    <dgm:cxn modelId="{5545C944-A1E9-49F0-B916-EA121CD5599B}" type="presOf" srcId="{68E3830A-D040-4437-A664-ED689B730331}" destId="{4D47CEDA-E50B-4818-8FEE-8561B2EF3E17}" srcOrd="0" destOrd="0" presId="urn:microsoft.com/office/officeart/2005/8/layout/bProcess3"/>
    <dgm:cxn modelId="{5139CC65-3C18-4E02-A966-799F0A4A785F}" type="presOf" srcId="{81A71E17-0351-4253-88FF-A15907E4AB56}" destId="{4B7699E1-03BB-44A3-BBB0-351096F4838D}" srcOrd="0" destOrd="1" presId="urn:microsoft.com/office/officeart/2005/8/layout/bProcess3"/>
    <dgm:cxn modelId="{56246247-EA00-4CE9-BED3-67C5D2C85122}" type="presOf" srcId="{E456B2A4-137B-4419-8A9C-E13EFF181355}" destId="{335C5C5F-FDCF-427E-A197-92575D120A5C}" srcOrd="0" destOrd="1" presId="urn:microsoft.com/office/officeart/2005/8/layout/bProcess3"/>
    <dgm:cxn modelId="{44F6C049-1BE7-4720-AA58-F942A7806F5D}" type="presOf" srcId="{5D2CEAD6-F409-4BD8-8345-5499421AB792}" destId="{17AAEB00-218F-479E-B87D-D1AE9970CD6B}"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A8A0396F-4A9F-4191-A91D-8B554CE13E45}" type="presOf" srcId="{56DC33F5-FBEC-498D-BA7A-29DFCB9AA1F1}" destId="{04233DCC-F3F4-4F09-9FDC-06FC568CC460}" srcOrd="0" destOrd="0"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F2E9B282-0ED1-4552-87A8-6882A43000E5}" type="presOf" srcId="{F6704F76-85E4-48ED-9DE6-CF2AE64037FA}" destId="{41359306-62C6-42FB-A79A-EF0E25A4E3B3}" srcOrd="0" destOrd="0" presId="urn:microsoft.com/office/officeart/2005/8/layout/bProcess3"/>
    <dgm:cxn modelId="{FA621084-BA75-468F-B3E9-9742B133DA50}" type="presOf" srcId="{63D4F358-B5F7-4989-8719-A380EF79791B}" destId="{B0CCCB34-D60A-44E1-A44A-EB47EA3AB751}" srcOrd="0" destOrd="0" presId="urn:microsoft.com/office/officeart/2005/8/layout/bProcess3"/>
    <dgm:cxn modelId="{40E91B87-B494-428A-9AF7-974A689E15CD}" type="presOf" srcId="{6E614D4C-7548-4CCD-AFA8-3F7F02844704}" destId="{4B7699E1-03BB-44A3-BBB0-351096F4838D}" srcOrd="0" destOrd="2"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6CF0978F-B075-44DC-AFCA-B95406F50A51}" type="presOf" srcId="{3812DF9A-CFAA-4DA7-B308-093053EC3CF3}" destId="{F83C5CE1-9D1F-4C4E-82F2-CEDDC13FE395}" srcOrd="1" destOrd="0" presId="urn:microsoft.com/office/officeart/2005/8/layout/bProcess3"/>
    <dgm:cxn modelId="{0FAA7395-D2C2-4B4D-A49B-1178952990E7}" srcId="{1C05035A-58A3-4D77-8108-2D01F519782F}" destId="{9BB0138D-F3BE-4720-A04C-838F97396951}" srcOrd="2" destOrd="0" parTransId="{6900AAF1-3694-4857-B79A-3EDA584794D7}" sibTransId="{36DBC555-AECC-4B36-B4AF-45EC42E4489D}"/>
    <dgm:cxn modelId="{4B47FBA2-400C-461D-9802-931C6F1E93A2}" type="presOf" srcId="{36DBC555-AECC-4B36-B4AF-45EC42E4489D}" destId="{8202FED3-7CF9-4D9C-8DB9-D33AE18C03DD}" srcOrd="0" destOrd="0" presId="urn:microsoft.com/office/officeart/2005/8/layout/bProcess3"/>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C7F8DAB6-7F32-4219-9616-DD94F472E148}" type="presOf" srcId="{36DBC555-AECC-4B36-B4AF-45EC42E4489D}" destId="{949FEAE1-6B8E-4E49-9846-51C8ADAB5736}" srcOrd="1" destOrd="0" presId="urn:microsoft.com/office/officeart/2005/8/layout/bProcess3"/>
    <dgm:cxn modelId="{D8C525C1-9529-4222-A8B6-256EA896D697}" type="presOf" srcId="{D3BEFF40-4EB0-443D-AE54-07D627537D7D}" destId="{12031CAE-653E-444D-B94F-C48EC568733D}" srcOrd="0" destOrd="0" presId="urn:microsoft.com/office/officeart/2005/8/layout/bProcess3"/>
    <dgm:cxn modelId="{E2C1A5C8-B7EB-49C1-BBC2-12FF46E613FD}" type="presOf" srcId="{80C0D042-C0D4-4936-BA64-5845DD4EA926}" destId="{15FD8E3B-D945-4456-940B-71661610C00C}" srcOrd="1"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E0CE60CA-0295-4233-87EA-D7D1ED568658}" type="presOf" srcId="{80C0D042-C0D4-4936-BA64-5845DD4EA926}" destId="{01A68787-5999-4120-83FB-42567CD4C527}" srcOrd="0" destOrd="0" presId="urn:microsoft.com/office/officeart/2005/8/layout/bProcess3"/>
    <dgm:cxn modelId="{06F0C1CA-493A-4F8F-86D4-80A272AEE4F6}" type="presOf" srcId="{A01ECBA6-CD50-423B-9617-78C46577CC06}" destId="{2657BA48-BD47-4BE1-858B-072D4CDBD2EB}" srcOrd="0" destOrd="1" presId="urn:microsoft.com/office/officeart/2005/8/layout/bProcess3"/>
    <dgm:cxn modelId="{802BEFCB-3AEC-462F-8726-68B3E2DD2B5F}" type="presOf" srcId="{99ECE200-A889-4A0C-9FA5-64790AB6FDB0}" destId="{F393F410-F746-434F-AC7D-679C0E30025E}" srcOrd="0" destOrd="2" presId="urn:microsoft.com/office/officeart/2005/8/layout/bProcess3"/>
    <dgm:cxn modelId="{ED8F06D7-7023-4255-8A4B-2CAD8258B84A}" type="presOf" srcId="{4FA1F2E1-A09C-44E2-8E85-2CCBB1CCBFE0}" destId="{08D88CB0-60AD-46C9-BC66-01E230BE336C}"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CD4587DE-7D84-48E7-989C-D3DE8FCAC24F}" type="presOf" srcId="{81163E10-FA1B-4546-AE24-1CCF4A55551F}" destId="{F393F410-F746-434F-AC7D-679C0E30025E}" srcOrd="0" destOrd="1" presId="urn:microsoft.com/office/officeart/2005/8/layout/bProcess3"/>
    <dgm:cxn modelId="{DB968EE3-3594-4F04-AADD-893F723F51C1}" type="presOf" srcId="{3812DF9A-CFAA-4DA7-B308-093053EC3CF3}" destId="{3AA65DD2-5546-4C52-B82E-A52514E48654}" srcOrd="0" destOrd="0" presId="urn:microsoft.com/office/officeart/2005/8/layout/bProcess3"/>
    <dgm:cxn modelId="{1756F4E6-7692-4CE5-B434-FF32F3E8E328}" type="presOf" srcId="{93FA9806-8290-4C0E-8F3B-DD4061BDE197}" destId="{4B7699E1-03BB-44A3-BBB0-351096F4838D}"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FB1DC3F7-86F7-4358-B193-2E1F1C9AD9B4}" type="presOf" srcId="{8A8D6F37-49AC-4E06-93AD-FE41F1A5FC8F}" destId="{F393F410-F746-434F-AC7D-679C0E30025E}" srcOrd="0" destOrd="0" presId="urn:microsoft.com/office/officeart/2005/8/layout/bProcess3"/>
    <dgm:cxn modelId="{40CD63F8-59F7-4E3A-8344-2DCB190C1B96}" type="presOf" srcId="{A9B3B3AF-502B-4C35-B753-60713E20BDCE}" destId="{F393F410-F746-434F-AC7D-679C0E30025E}" srcOrd="0" destOrd="3" presId="urn:microsoft.com/office/officeart/2005/8/layout/bProcess3"/>
    <dgm:cxn modelId="{216396D1-4EC9-42F7-8E57-4109A9B285F9}" type="presParOf" srcId="{4C478888-813E-41FB-AB45-6CDA8F592901}" destId="{12031CAE-653E-444D-B94F-C48EC568733D}" srcOrd="0" destOrd="0" presId="urn:microsoft.com/office/officeart/2005/8/layout/bProcess3"/>
    <dgm:cxn modelId="{C59E6E01-EEC9-437F-9B64-B345327638CE}" type="presParOf" srcId="{4C478888-813E-41FB-AB45-6CDA8F592901}" destId="{B0CCCB34-D60A-44E1-A44A-EB47EA3AB751}" srcOrd="1" destOrd="0" presId="urn:microsoft.com/office/officeart/2005/8/layout/bProcess3"/>
    <dgm:cxn modelId="{8C749324-7F63-4401-8EB5-152156F0A71F}" type="presParOf" srcId="{B0CCCB34-D60A-44E1-A44A-EB47EA3AB751}" destId="{1DD016A1-6F87-4EBE-A0E8-25D68F51531F}" srcOrd="0" destOrd="0" presId="urn:microsoft.com/office/officeart/2005/8/layout/bProcess3"/>
    <dgm:cxn modelId="{F3FED183-9CA7-4AEE-A3B6-B703C751CF9D}" type="presParOf" srcId="{4C478888-813E-41FB-AB45-6CDA8F592901}" destId="{BC841A12-76DD-4881-BCFC-87324C87DFF4}" srcOrd="2" destOrd="0" presId="urn:microsoft.com/office/officeart/2005/8/layout/bProcess3"/>
    <dgm:cxn modelId="{76D73FE7-6F46-470E-8AF8-7193473B755C}" type="presParOf" srcId="{4C478888-813E-41FB-AB45-6CDA8F592901}" destId="{3AA65DD2-5546-4C52-B82E-A52514E48654}" srcOrd="3" destOrd="0" presId="urn:microsoft.com/office/officeart/2005/8/layout/bProcess3"/>
    <dgm:cxn modelId="{DAF4F011-D0C8-4FA2-A4C8-70D4D4276DCD}" type="presParOf" srcId="{3AA65DD2-5546-4C52-B82E-A52514E48654}" destId="{F83C5CE1-9D1F-4C4E-82F2-CEDDC13FE395}" srcOrd="0" destOrd="0" presId="urn:microsoft.com/office/officeart/2005/8/layout/bProcess3"/>
    <dgm:cxn modelId="{7D161FA9-5311-479D-9527-94C23CF3ABF5}" type="presParOf" srcId="{4C478888-813E-41FB-AB45-6CDA8F592901}" destId="{2657BA48-BD47-4BE1-858B-072D4CDBD2EB}" srcOrd="4" destOrd="0" presId="urn:microsoft.com/office/officeart/2005/8/layout/bProcess3"/>
    <dgm:cxn modelId="{90D51643-2D1F-4B25-9F5C-E671801E06F8}" type="presParOf" srcId="{4C478888-813E-41FB-AB45-6CDA8F592901}" destId="{8202FED3-7CF9-4D9C-8DB9-D33AE18C03DD}" srcOrd="5" destOrd="0" presId="urn:microsoft.com/office/officeart/2005/8/layout/bProcess3"/>
    <dgm:cxn modelId="{2BA88C55-3B74-424B-9E1D-BD3207FCE006}" type="presParOf" srcId="{8202FED3-7CF9-4D9C-8DB9-D33AE18C03DD}" destId="{949FEAE1-6B8E-4E49-9846-51C8ADAB5736}" srcOrd="0" destOrd="0" presId="urn:microsoft.com/office/officeart/2005/8/layout/bProcess3"/>
    <dgm:cxn modelId="{E68341D7-A8E5-4F53-8702-0F0FA82E2844}" type="presParOf" srcId="{4C478888-813E-41FB-AB45-6CDA8F592901}" destId="{4D47CEDA-E50B-4818-8FEE-8561B2EF3E17}" srcOrd="6" destOrd="0" presId="urn:microsoft.com/office/officeart/2005/8/layout/bProcess3"/>
    <dgm:cxn modelId="{7D29871C-058F-4496-A54C-18C835EA0F09}" type="presParOf" srcId="{4C478888-813E-41FB-AB45-6CDA8F592901}" destId="{01A68787-5999-4120-83FB-42567CD4C527}" srcOrd="7" destOrd="0" presId="urn:microsoft.com/office/officeart/2005/8/layout/bProcess3"/>
    <dgm:cxn modelId="{B412AA7F-3BA5-46CD-8832-0C431370A852}" type="presParOf" srcId="{01A68787-5999-4120-83FB-42567CD4C527}" destId="{15FD8E3B-D945-4456-940B-71661610C00C}" srcOrd="0" destOrd="0" presId="urn:microsoft.com/office/officeart/2005/8/layout/bProcess3"/>
    <dgm:cxn modelId="{8EC190D7-944F-45ED-A90B-ABD8CA6D616C}" type="presParOf" srcId="{4C478888-813E-41FB-AB45-6CDA8F592901}" destId="{F393F410-F746-434F-AC7D-679C0E30025E}" srcOrd="8" destOrd="0" presId="urn:microsoft.com/office/officeart/2005/8/layout/bProcess3"/>
    <dgm:cxn modelId="{8CD08B80-B239-4BC3-B7A9-C7206C571EF5}" type="presParOf" srcId="{4C478888-813E-41FB-AB45-6CDA8F592901}" destId="{08D88CB0-60AD-46C9-BC66-01E230BE336C}" srcOrd="9" destOrd="0" presId="urn:microsoft.com/office/officeart/2005/8/layout/bProcess3"/>
    <dgm:cxn modelId="{7BC7995C-DEA4-4473-831D-7AB39C79AF6D}" type="presParOf" srcId="{08D88CB0-60AD-46C9-BC66-01E230BE336C}" destId="{2A2B2ED0-09BD-451C-BC31-FF960DE87806}" srcOrd="0" destOrd="0" presId="urn:microsoft.com/office/officeart/2005/8/layout/bProcess3"/>
    <dgm:cxn modelId="{BBE095AD-EB01-47B1-9F2F-06D11F381066}" type="presParOf" srcId="{4C478888-813E-41FB-AB45-6CDA8F592901}" destId="{4B7699E1-03BB-44A3-BBB0-351096F4838D}" srcOrd="10" destOrd="0" presId="urn:microsoft.com/office/officeart/2005/8/layout/bProcess3"/>
    <dgm:cxn modelId="{ED5BCE70-FBEB-4D50-87BC-638CA7D6EDC3}" type="presParOf" srcId="{4C478888-813E-41FB-AB45-6CDA8F592901}" destId="{41359306-62C6-42FB-A79A-EF0E25A4E3B3}" srcOrd="11" destOrd="0" presId="urn:microsoft.com/office/officeart/2005/8/layout/bProcess3"/>
    <dgm:cxn modelId="{3F044EC5-3933-4B5E-91E6-460881A38E29}" type="presParOf" srcId="{41359306-62C6-42FB-A79A-EF0E25A4E3B3}" destId="{3C3B7CC8-0F1A-41E6-85D5-B0FD5AD60985}" srcOrd="0" destOrd="0" presId="urn:microsoft.com/office/officeart/2005/8/layout/bProcess3"/>
    <dgm:cxn modelId="{737567AB-0FC0-4E12-8D65-C8D96A2CCB16}" type="presParOf" srcId="{4C478888-813E-41FB-AB45-6CDA8F592901}" destId="{335C5C5F-FDCF-427E-A197-92575D120A5C}" srcOrd="12" destOrd="0" presId="urn:microsoft.com/office/officeart/2005/8/layout/bProcess3"/>
    <dgm:cxn modelId="{8D8F58DA-F3DD-4257-9C05-62CB1A9E6252}" type="presParOf" srcId="{4C478888-813E-41FB-AB45-6CDA8F592901}" destId="{04233DCC-F3F4-4F09-9FDC-06FC568CC460}" srcOrd="13" destOrd="0" presId="urn:microsoft.com/office/officeart/2005/8/layout/bProcess3"/>
    <dgm:cxn modelId="{CB49B0E0-E2F4-4532-88DC-035CDEE8E59F}" type="presParOf" srcId="{04233DCC-F3F4-4F09-9FDC-06FC568CC460}" destId="{7C430775-AF8D-4D57-8FDB-FB8CBE6A7BF1}" srcOrd="0" destOrd="0" presId="urn:microsoft.com/office/officeart/2005/8/layout/bProcess3"/>
    <dgm:cxn modelId="{2886ECB3-F877-4060-8984-94E44F7312E0}"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D9C0D0F7-5A9F-4692-A9BD-901A8BE92464}"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s-ES"/>
        </a:p>
      </dgm:t>
    </dgm:pt>
    <dgm:pt modelId="{2D32C9C8-607C-414F-869C-AEB239C87B8A}">
      <dgm:prSet phldrT="[Texto]"/>
      <dgm:spPr/>
      <dgm:t>
        <a:bodyPr/>
        <a:lstStyle/>
        <a:p>
          <a:r>
            <a:rPr lang="es-ES" dirty="0"/>
            <a:t>Doug Cutting junto con Mike Cafarella crean Hadoop</a:t>
          </a:r>
        </a:p>
      </dgm:t>
    </dgm:pt>
    <dgm:pt modelId="{ADBD5EA8-AED4-4DAE-90EE-233A08ED5583}" type="parTrans" cxnId="{F882BCBA-B0F6-4B83-8EF0-F95A8E62162D}">
      <dgm:prSet/>
      <dgm:spPr/>
      <dgm:t>
        <a:bodyPr/>
        <a:lstStyle/>
        <a:p>
          <a:endParaRPr lang="es-ES"/>
        </a:p>
      </dgm:t>
    </dgm:pt>
    <dgm:pt modelId="{51F79176-856A-453A-BED5-225E1376E59B}" type="sibTrans" cxnId="{F882BCBA-B0F6-4B83-8EF0-F95A8E62162D}">
      <dgm:prSet/>
      <dgm:spPr/>
      <dgm:t>
        <a:bodyPr/>
        <a:lstStyle/>
        <a:p>
          <a:endParaRPr lang="es-ES"/>
        </a:p>
      </dgm:t>
    </dgm:pt>
    <dgm:pt modelId="{F1F647D2-F514-4740-A3F7-E6ED1E19958E}">
      <dgm:prSet phldrT="[Texto]"/>
      <dgm:spPr/>
      <dgm:t>
        <a:bodyPr/>
        <a:lstStyle/>
        <a:p>
          <a:r>
            <a:rPr lang="es-ES" dirty="0"/>
            <a:t>Hadoop, el elefante era el juguete de su hijo.</a:t>
          </a:r>
        </a:p>
      </dgm:t>
    </dgm:pt>
    <dgm:pt modelId="{C3F2869B-D2D4-4DD1-B5D6-708D550C834C}" type="parTrans" cxnId="{57534A35-6C14-4D8F-B5FB-696A56138A11}">
      <dgm:prSet/>
      <dgm:spPr/>
      <dgm:t>
        <a:bodyPr/>
        <a:lstStyle/>
        <a:p>
          <a:endParaRPr lang="es-ES"/>
        </a:p>
      </dgm:t>
    </dgm:pt>
    <dgm:pt modelId="{804EE668-2A69-4CC7-BCE5-558F191D407E}" type="sibTrans" cxnId="{57534A35-6C14-4D8F-B5FB-696A56138A11}">
      <dgm:prSet/>
      <dgm:spPr/>
      <dgm:t>
        <a:bodyPr/>
        <a:lstStyle/>
        <a:p>
          <a:endParaRPr lang="es-ES"/>
        </a:p>
      </dgm:t>
    </dgm:pt>
    <dgm:pt modelId="{89D0D342-BA25-4003-B004-A084D7A73955}">
      <dgm:prSet phldrT="[Texto]"/>
      <dgm:spPr/>
      <dgm:t>
        <a:bodyPr/>
        <a:lstStyle/>
        <a:p>
          <a:r>
            <a:rPr lang="es-ES" b="1" dirty="0"/>
            <a:t>HDFS</a:t>
          </a:r>
        </a:p>
        <a:p>
          <a:r>
            <a:rPr lang="es-ES" dirty="0"/>
            <a:t>Almacenamiento</a:t>
          </a:r>
        </a:p>
      </dgm:t>
    </dgm:pt>
    <dgm:pt modelId="{D4505C63-2945-4910-B768-8E0CFEA7E5CE}" type="parTrans" cxnId="{49EBBD08-9EBD-4CEB-92D8-68F982204D91}">
      <dgm:prSet/>
      <dgm:spPr/>
      <dgm:t>
        <a:bodyPr/>
        <a:lstStyle/>
        <a:p>
          <a:endParaRPr lang="es-ES"/>
        </a:p>
      </dgm:t>
    </dgm:pt>
    <dgm:pt modelId="{DE3E443E-5574-4041-863A-A028A9077399}" type="sibTrans" cxnId="{49EBBD08-9EBD-4CEB-92D8-68F982204D91}">
      <dgm:prSet/>
      <dgm:spPr/>
      <dgm:t>
        <a:bodyPr/>
        <a:lstStyle/>
        <a:p>
          <a:endParaRPr lang="es-ES"/>
        </a:p>
      </dgm:t>
    </dgm:pt>
    <dgm:pt modelId="{F276C2FB-7978-4D0D-8DCE-A0110CE81AB2}">
      <dgm:prSet phldrT="[Texto]"/>
      <dgm:spPr/>
      <dgm:t>
        <a:bodyPr/>
        <a:lstStyle/>
        <a:p>
          <a:r>
            <a:rPr lang="es-ES" b="1" dirty="0"/>
            <a:t>Map Reduce</a:t>
          </a:r>
        </a:p>
        <a:p>
          <a:r>
            <a:rPr lang="es-ES" dirty="0"/>
            <a:t>Orquestador de procesos</a:t>
          </a:r>
        </a:p>
      </dgm:t>
    </dgm:pt>
    <dgm:pt modelId="{64E02A6B-68D1-4620-8EAF-5525D6EA3526}" type="parTrans" cxnId="{093FDDBB-D512-42FC-8B09-17E150B16EEB}">
      <dgm:prSet/>
      <dgm:spPr/>
      <dgm:t>
        <a:bodyPr/>
        <a:lstStyle/>
        <a:p>
          <a:endParaRPr lang="es-ES"/>
        </a:p>
      </dgm:t>
    </dgm:pt>
    <dgm:pt modelId="{1AB82096-16F5-41F3-91B9-A821FC35BA5F}" type="sibTrans" cxnId="{093FDDBB-D512-42FC-8B09-17E150B16EEB}">
      <dgm:prSet/>
      <dgm:spPr/>
      <dgm:t>
        <a:bodyPr/>
        <a:lstStyle/>
        <a:p>
          <a:endParaRPr lang="es-ES"/>
        </a:p>
      </dgm:t>
    </dgm:pt>
    <dgm:pt modelId="{659BACDE-3616-4557-AB24-940998C225F4}" type="pres">
      <dgm:prSet presAssocID="{D9C0D0F7-5A9F-4692-A9BD-901A8BE92464}" presName="Name0" presStyleCnt="0">
        <dgm:presLayoutVars>
          <dgm:dir/>
          <dgm:resizeHandles val="exact"/>
        </dgm:presLayoutVars>
      </dgm:prSet>
      <dgm:spPr/>
    </dgm:pt>
    <dgm:pt modelId="{4AD04EC5-8967-4C1E-B844-0C304EFF8FBD}" type="pres">
      <dgm:prSet presAssocID="{2D32C9C8-607C-414F-869C-AEB239C87B8A}" presName="compNode" presStyleCnt="0"/>
      <dgm:spPr/>
    </dgm:pt>
    <dgm:pt modelId="{32E5DE45-E5C7-4022-B9AB-F082BFAE3BAD}" type="pres">
      <dgm:prSet presAssocID="{2D32C9C8-607C-414F-869C-AEB239C87B8A}" presName="pictRect" presStyleLbl="node1" presStyleIdx="0" presStyleCnt="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C7E490EA-399C-4A08-BE48-B38A88767BD2}" type="pres">
      <dgm:prSet presAssocID="{2D32C9C8-607C-414F-869C-AEB239C87B8A}" presName="textRect" presStyleLbl="revTx" presStyleIdx="0" presStyleCnt="4">
        <dgm:presLayoutVars>
          <dgm:bulletEnabled val="1"/>
        </dgm:presLayoutVars>
      </dgm:prSet>
      <dgm:spPr/>
    </dgm:pt>
    <dgm:pt modelId="{B51F0C78-395C-4D42-85E7-785FA067C865}" type="pres">
      <dgm:prSet presAssocID="{51F79176-856A-453A-BED5-225E1376E59B}" presName="sibTrans" presStyleLbl="sibTrans2D1" presStyleIdx="0" presStyleCnt="0"/>
      <dgm:spPr/>
    </dgm:pt>
    <dgm:pt modelId="{FB4EDE47-907D-4F31-B60F-285EB1A21D93}" type="pres">
      <dgm:prSet presAssocID="{F1F647D2-F514-4740-A3F7-E6ED1E19958E}" presName="compNode" presStyleCnt="0"/>
      <dgm:spPr/>
    </dgm:pt>
    <dgm:pt modelId="{BDBF0EDB-7409-4855-B321-562160D411B8}" type="pres">
      <dgm:prSet presAssocID="{F1F647D2-F514-4740-A3F7-E6ED1E19958E}" presName="pictRect" presStyleLbl="node1" presStyleIdx="1" presStyleCnt="4"/>
      <dgm:spPr>
        <a:blipFill rotWithShape="1">
          <a:blip xmlns:r="http://schemas.openxmlformats.org/officeDocument/2006/relationships" r:embed="rId2" cstate="screen">
            <a:extLst>
              <a:ext uri="{28A0092B-C50C-407E-A947-70E740481C1C}">
                <a14:useLocalDpi xmlns:a14="http://schemas.microsoft.com/office/drawing/2010/main" val="0"/>
              </a:ext>
            </a:extLst>
          </a:blip>
          <a:srcRect/>
          <a:stretch>
            <a:fillRect/>
          </a:stretch>
        </a:blipFill>
      </dgm:spPr>
    </dgm:pt>
    <dgm:pt modelId="{280AED2B-B2AA-486F-9A37-5A828AB339F8}" type="pres">
      <dgm:prSet presAssocID="{F1F647D2-F514-4740-A3F7-E6ED1E19958E}" presName="textRect" presStyleLbl="revTx" presStyleIdx="1" presStyleCnt="4">
        <dgm:presLayoutVars>
          <dgm:bulletEnabled val="1"/>
        </dgm:presLayoutVars>
      </dgm:prSet>
      <dgm:spPr/>
    </dgm:pt>
    <dgm:pt modelId="{4576A2D6-B08E-420C-8C63-E3B464393967}" type="pres">
      <dgm:prSet presAssocID="{804EE668-2A69-4CC7-BCE5-558F191D407E}" presName="sibTrans" presStyleLbl="sibTrans2D1" presStyleIdx="0" presStyleCnt="0"/>
      <dgm:spPr/>
    </dgm:pt>
    <dgm:pt modelId="{7F347063-8A35-43EB-90A4-D37AD7BD1A08}" type="pres">
      <dgm:prSet presAssocID="{89D0D342-BA25-4003-B004-A084D7A73955}" presName="compNode" presStyleCnt="0"/>
      <dgm:spPr/>
    </dgm:pt>
    <dgm:pt modelId="{E9538196-935B-45FB-8B99-BA3509DB58FD}" type="pres">
      <dgm:prSet presAssocID="{89D0D342-BA25-4003-B004-A084D7A73955}" presName="pictRect" presStyleLbl="node1" presStyleIdx="2" presStyleCnt="4"/>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97745238-98C3-4A40-9676-2492B5385883}" type="pres">
      <dgm:prSet presAssocID="{89D0D342-BA25-4003-B004-A084D7A73955}" presName="textRect" presStyleLbl="revTx" presStyleIdx="2" presStyleCnt="4">
        <dgm:presLayoutVars>
          <dgm:bulletEnabled val="1"/>
        </dgm:presLayoutVars>
      </dgm:prSet>
      <dgm:spPr/>
    </dgm:pt>
    <dgm:pt modelId="{44311986-48F4-421D-B69A-FAFA2061CF0E}" type="pres">
      <dgm:prSet presAssocID="{DE3E443E-5574-4041-863A-A028A9077399}" presName="sibTrans" presStyleLbl="sibTrans2D1" presStyleIdx="0" presStyleCnt="0"/>
      <dgm:spPr/>
    </dgm:pt>
    <dgm:pt modelId="{FC2C0EF7-E756-4A84-A7D5-FBB0C03F1359}" type="pres">
      <dgm:prSet presAssocID="{F276C2FB-7978-4D0D-8DCE-A0110CE81AB2}" presName="compNode" presStyleCnt="0"/>
      <dgm:spPr/>
    </dgm:pt>
    <dgm:pt modelId="{0875336A-8217-46F8-9020-96188A3C849E}" type="pres">
      <dgm:prSet presAssocID="{F276C2FB-7978-4D0D-8DCE-A0110CE81AB2}" presName="pictRect" presStyleLbl="node1" presStyleIdx="3" presStyleCnt="4"/>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3A5FABEB-9F29-4E36-8FE4-265C1D0DDAEE}" type="pres">
      <dgm:prSet presAssocID="{F276C2FB-7978-4D0D-8DCE-A0110CE81AB2}" presName="textRect" presStyleLbl="revTx" presStyleIdx="3" presStyleCnt="4">
        <dgm:presLayoutVars>
          <dgm:bulletEnabled val="1"/>
        </dgm:presLayoutVars>
      </dgm:prSet>
      <dgm:spPr/>
    </dgm:pt>
  </dgm:ptLst>
  <dgm:cxnLst>
    <dgm:cxn modelId="{49EBBD08-9EBD-4CEB-92D8-68F982204D91}" srcId="{D9C0D0F7-5A9F-4692-A9BD-901A8BE92464}" destId="{89D0D342-BA25-4003-B004-A084D7A73955}" srcOrd="2" destOrd="0" parTransId="{D4505C63-2945-4910-B768-8E0CFEA7E5CE}" sibTransId="{DE3E443E-5574-4041-863A-A028A9077399}"/>
    <dgm:cxn modelId="{8362E613-59FF-440B-A4F7-14F6DF0F2964}" type="presOf" srcId="{89D0D342-BA25-4003-B004-A084D7A73955}" destId="{97745238-98C3-4A40-9676-2492B5385883}" srcOrd="0" destOrd="0" presId="urn:microsoft.com/office/officeart/2005/8/layout/pList1"/>
    <dgm:cxn modelId="{DB112618-169A-4BD9-A0DD-5003D7EAB367}" type="presOf" srcId="{DE3E443E-5574-4041-863A-A028A9077399}" destId="{44311986-48F4-421D-B69A-FAFA2061CF0E}" srcOrd="0" destOrd="0" presId="urn:microsoft.com/office/officeart/2005/8/layout/pList1"/>
    <dgm:cxn modelId="{0579692F-679F-4491-9FDF-C40D71225CBD}" type="presOf" srcId="{51F79176-856A-453A-BED5-225E1376E59B}" destId="{B51F0C78-395C-4D42-85E7-785FA067C865}" srcOrd="0" destOrd="0" presId="urn:microsoft.com/office/officeart/2005/8/layout/pList1"/>
    <dgm:cxn modelId="{57534A35-6C14-4D8F-B5FB-696A56138A11}" srcId="{D9C0D0F7-5A9F-4692-A9BD-901A8BE92464}" destId="{F1F647D2-F514-4740-A3F7-E6ED1E19958E}" srcOrd="1" destOrd="0" parTransId="{C3F2869B-D2D4-4DD1-B5D6-708D550C834C}" sibTransId="{804EE668-2A69-4CC7-BCE5-558F191D407E}"/>
    <dgm:cxn modelId="{7C84B447-3EA7-4784-923B-AFD81E651F09}" type="presOf" srcId="{D9C0D0F7-5A9F-4692-A9BD-901A8BE92464}" destId="{659BACDE-3616-4557-AB24-940998C225F4}" srcOrd="0" destOrd="0" presId="urn:microsoft.com/office/officeart/2005/8/layout/pList1"/>
    <dgm:cxn modelId="{46852170-38B9-4524-A474-17BF854ADDE5}" type="presOf" srcId="{F276C2FB-7978-4D0D-8DCE-A0110CE81AB2}" destId="{3A5FABEB-9F29-4E36-8FE4-265C1D0DDAEE}" srcOrd="0" destOrd="0" presId="urn:microsoft.com/office/officeart/2005/8/layout/pList1"/>
    <dgm:cxn modelId="{C8ADD37F-CB62-4B27-83C6-88AA75D50196}" type="presOf" srcId="{2D32C9C8-607C-414F-869C-AEB239C87B8A}" destId="{C7E490EA-399C-4A08-BE48-B38A88767BD2}" srcOrd="0" destOrd="0" presId="urn:microsoft.com/office/officeart/2005/8/layout/pList1"/>
    <dgm:cxn modelId="{1B537A81-2863-4FA5-A775-CF26150F4F3F}" type="presOf" srcId="{804EE668-2A69-4CC7-BCE5-558F191D407E}" destId="{4576A2D6-B08E-420C-8C63-E3B464393967}" srcOrd="0" destOrd="0" presId="urn:microsoft.com/office/officeart/2005/8/layout/pList1"/>
    <dgm:cxn modelId="{F882BCBA-B0F6-4B83-8EF0-F95A8E62162D}" srcId="{D9C0D0F7-5A9F-4692-A9BD-901A8BE92464}" destId="{2D32C9C8-607C-414F-869C-AEB239C87B8A}" srcOrd="0" destOrd="0" parTransId="{ADBD5EA8-AED4-4DAE-90EE-233A08ED5583}" sibTransId="{51F79176-856A-453A-BED5-225E1376E59B}"/>
    <dgm:cxn modelId="{093FDDBB-D512-42FC-8B09-17E150B16EEB}" srcId="{D9C0D0F7-5A9F-4692-A9BD-901A8BE92464}" destId="{F276C2FB-7978-4D0D-8DCE-A0110CE81AB2}" srcOrd="3" destOrd="0" parTransId="{64E02A6B-68D1-4620-8EAF-5525D6EA3526}" sibTransId="{1AB82096-16F5-41F3-91B9-A821FC35BA5F}"/>
    <dgm:cxn modelId="{26FAF5D8-027D-4FA1-8A15-C841E72C6A18}" type="presOf" srcId="{F1F647D2-F514-4740-A3F7-E6ED1E19958E}" destId="{280AED2B-B2AA-486F-9A37-5A828AB339F8}" srcOrd="0" destOrd="0" presId="urn:microsoft.com/office/officeart/2005/8/layout/pList1"/>
    <dgm:cxn modelId="{3B45D9A3-10FB-4161-BF5A-12175EE3E155}" type="presParOf" srcId="{659BACDE-3616-4557-AB24-940998C225F4}" destId="{4AD04EC5-8967-4C1E-B844-0C304EFF8FBD}" srcOrd="0" destOrd="0" presId="urn:microsoft.com/office/officeart/2005/8/layout/pList1"/>
    <dgm:cxn modelId="{87D4CF95-5CC9-4187-92A4-7206581A3BF0}" type="presParOf" srcId="{4AD04EC5-8967-4C1E-B844-0C304EFF8FBD}" destId="{32E5DE45-E5C7-4022-B9AB-F082BFAE3BAD}" srcOrd="0" destOrd="0" presId="urn:microsoft.com/office/officeart/2005/8/layout/pList1"/>
    <dgm:cxn modelId="{D9F785AF-6D41-489B-BEB7-1EBFB751DD70}" type="presParOf" srcId="{4AD04EC5-8967-4C1E-B844-0C304EFF8FBD}" destId="{C7E490EA-399C-4A08-BE48-B38A88767BD2}" srcOrd="1" destOrd="0" presId="urn:microsoft.com/office/officeart/2005/8/layout/pList1"/>
    <dgm:cxn modelId="{8EF11A44-7C3A-47FE-A210-66AFD6A5CC69}" type="presParOf" srcId="{659BACDE-3616-4557-AB24-940998C225F4}" destId="{B51F0C78-395C-4D42-85E7-785FA067C865}" srcOrd="1" destOrd="0" presId="urn:microsoft.com/office/officeart/2005/8/layout/pList1"/>
    <dgm:cxn modelId="{76F58F34-2956-469D-B762-618F55486C44}" type="presParOf" srcId="{659BACDE-3616-4557-AB24-940998C225F4}" destId="{FB4EDE47-907D-4F31-B60F-285EB1A21D93}" srcOrd="2" destOrd="0" presId="urn:microsoft.com/office/officeart/2005/8/layout/pList1"/>
    <dgm:cxn modelId="{FB1D6543-2D56-4EE3-85DA-3E3B2001B73C}" type="presParOf" srcId="{FB4EDE47-907D-4F31-B60F-285EB1A21D93}" destId="{BDBF0EDB-7409-4855-B321-562160D411B8}" srcOrd="0" destOrd="0" presId="urn:microsoft.com/office/officeart/2005/8/layout/pList1"/>
    <dgm:cxn modelId="{F71ECA30-C220-4AF8-904E-F8DE4093A2E2}" type="presParOf" srcId="{FB4EDE47-907D-4F31-B60F-285EB1A21D93}" destId="{280AED2B-B2AA-486F-9A37-5A828AB339F8}" srcOrd="1" destOrd="0" presId="urn:microsoft.com/office/officeart/2005/8/layout/pList1"/>
    <dgm:cxn modelId="{B7119FC7-B5DF-46CC-949C-2E331F3F2D8C}" type="presParOf" srcId="{659BACDE-3616-4557-AB24-940998C225F4}" destId="{4576A2D6-B08E-420C-8C63-E3B464393967}" srcOrd="3" destOrd="0" presId="urn:microsoft.com/office/officeart/2005/8/layout/pList1"/>
    <dgm:cxn modelId="{3AD4695B-697A-4D73-BAA8-95A9DCCA1F77}" type="presParOf" srcId="{659BACDE-3616-4557-AB24-940998C225F4}" destId="{7F347063-8A35-43EB-90A4-D37AD7BD1A08}" srcOrd="4" destOrd="0" presId="urn:microsoft.com/office/officeart/2005/8/layout/pList1"/>
    <dgm:cxn modelId="{D935616C-2022-408D-8ACA-53A8FCF2CA90}" type="presParOf" srcId="{7F347063-8A35-43EB-90A4-D37AD7BD1A08}" destId="{E9538196-935B-45FB-8B99-BA3509DB58FD}" srcOrd="0" destOrd="0" presId="urn:microsoft.com/office/officeart/2005/8/layout/pList1"/>
    <dgm:cxn modelId="{4A4B3621-EF5B-479C-89F5-27226ABE20E1}" type="presParOf" srcId="{7F347063-8A35-43EB-90A4-D37AD7BD1A08}" destId="{97745238-98C3-4A40-9676-2492B5385883}" srcOrd="1" destOrd="0" presId="urn:microsoft.com/office/officeart/2005/8/layout/pList1"/>
    <dgm:cxn modelId="{01D83267-48CD-44EB-90F1-6BC038FAB22C}" type="presParOf" srcId="{659BACDE-3616-4557-AB24-940998C225F4}" destId="{44311986-48F4-421D-B69A-FAFA2061CF0E}" srcOrd="5" destOrd="0" presId="urn:microsoft.com/office/officeart/2005/8/layout/pList1"/>
    <dgm:cxn modelId="{2168AA0F-AE92-40B2-9B3A-5980456CF617}" type="presParOf" srcId="{659BACDE-3616-4557-AB24-940998C225F4}" destId="{FC2C0EF7-E756-4A84-A7D5-FBB0C03F1359}" srcOrd="6" destOrd="0" presId="urn:microsoft.com/office/officeart/2005/8/layout/pList1"/>
    <dgm:cxn modelId="{8668FFEA-E885-4541-BE0E-352BDCA0A547}" type="presParOf" srcId="{FC2C0EF7-E756-4A84-A7D5-FBB0C03F1359}" destId="{0875336A-8217-46F8-9020-96188A3C849E}" srcOrd="0" destOrd="0" presId="urn:microsoft.com/office/officeart/2005/8/layout/pList1"/>
    <dgm:cxn modelId="{6301A285-4B37-4428-893F-6C093F274E3E}" type="presParOf" srcId="{FC2C0EF7-E756-4A84-A7D5-FBB0C03F1359}" destId="{3A5FABEB-9F29-4E36-8FE4-265C1D0DDAEE}"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97D083F-39F5-472B-8D5A-0B9274BF691E}" type="doc">
      <dgm:prSet loTypeId="urn:microsoft.com/office/officeart/2008/layout/PictureAccentBlocks" loCatId="picture" qsTypeId="urn:microsoft.com/office/officeart/2005/8/quickstyle/simple1" qsCatId="simple" csTypeId="urn:microsoft.com/office/officeart/2005/8/colors/accent1_2" csCatId="accent1" phldr="1"/>
      <dgm:spPr/>
      <dgm:t>
        <a:bodyPr/>
        <a:lstStyle/>
        <a:p>
          <a:endParaRPr lang="es-ES"/>
        </a:p>
      </dgm:t>
    </dgm:pt>
    <dgm:pt modelId="{0714EBCF-CBA1-449C-BBC3-B69CCCE28D54}">
      <dgm:prSet phldrT="[Texto]"/>
      <dgm:spPr/>
      <dgm:t>
        <a:bodyPr/>
        <a:lstStyle/>
        <a:p>
          <a:r>
            <a:rPr lang="es-ES" dirty="0"/>
            <a:t>Antes</a:t>
          </a:r>
        </a:p>
      </dgm:t>
    </dgm:pt>
    <dgm:pt modelId="{85505662-2D2E-4F14-BB65-12D97D598F06}" type="parTrans" cxnId="{57048B41-932A-4CC6-8F8A-A45ABA615E77}">
      <dgm:prSet/>
      <dgm:spPr/>
      <dgm:t>
        <a:bodyPr/>
        <a:lstStyle/>
        <a:p>
          <a:endParaRPr lang="es-ES"/>
        </a:p>
      </dgm:t>
    </dgm:pt>
    <dgm:pt modelId="{BA52FAD8-D0C1-4B6B-B417-58C8FD0DA577}" type="sibTrans" cxnId="{57048B41-932A-4CC6-8F8A-A45ABA615E77}">
      <dgm:prSet/>
      <dgm:spPr/>
      <dgm:t>
        <a:bodyPr/>
        <a:lstStyle/>
        <a:p>
          <a:endParaRPr lang="es-ES"/>
        </a:p>
      </dgm:t>
    </dgm:pt>
    <dgm:pt modelId="{255DA2F9-89E8-453D-A140-98082A6E2225}">
      <dgm:prSet phldrT="[Texto]"/>
      <dgm:spPr/>
      <dgm:t>
        <a:bodyPr/>
        <a:lstStyle/>
        <a:p>
          <a:r>
            <a:rPr lang="es-ES" dirty="0"/>
            <a:t>Ahora</a:t>
          </a:r>
        </a:p>
      </dgm:t>
    </dgm:pt>
    <dgm:pt modelId="{AC82BA56-3E02-46FE-AEFE-E4A8409E0556}" type="parTrans" cxnId="{F324C783-B386-4030-9F05-87EAD52ED6FE}">
      <dgm:prSet/>
      <dgm:spPr/>
      <dgm:t>
        <a:bodyPr/>
        <a:lstStyle/>
        <a:p>
          <a:endParaRPr lang="es-ES"/>
        </a:p>
      </dgm:t>
    </dgm:pt>
    <dgm:pt modelId="{DE0D4C69-5260-4F1F-9AF5-8BFF2B7CD63E}" type="sibTrans" cxnId="{F324C783-B386-4030-9F05-87EAD52ED6FE}">
      <dgm:prSet/>
      <dgm:spPr/>
      <dgm:t>
        <a:bodyPr/>
        <a:lstStyle/>
        <a:p>
          <a:endParaRPr lang="es-ES"/>
        </a:p>
      </dgm:t>
    </dgm:pt>
    <dgm:pt modelId="{D69A086C-FA59-402E-9959-E44A9372F470}" type="pres">
      <dgm:prSet presAssocID="{E97D083F-39F5-472B-8D5A-0B9274BF691E}" presName="Name0" presStyleCnt="0">
        <dgm:presLayoutVars>
          <dgm:dir/>
        </dgm:presLayoutVars>
      </dgm:prSet>
      <dgm:spPr/>
    </dgm:pt>
    <dgm:pt modelId="{FAF9E060-18EF-4BA3-A08A-A1ADE581DFC5}" type="pres">
      <dgm:prSet presAssocID="{0714EBCF-CBA1-449C-BBC3-B69CCCE28D54}" presName="composite" presStyleCnt="0"/>
      <dgm:spPr/>
    </dgm:pt>
    <dgm:pt modelId="{E613F974-0C05-4DB4-80AA-FF87C24F9641}" type="pres">
      <dgm:prSet presAssocID="{0714EBCF-CBA1-449C-BBC3-B69CCCE28D54}" presName="Image" presStyleLbl="alignNode1" presStyleIdx="0" presStyleCnt="2"/>
      <dgm:spPr>
        <a:blipFill rotWithShape="1">
          <a:blip xmlns:r="http://schemas.openxmlformats.org/officeDocument/2006/relationships" r:embed="rId1">
            <a:duotone>
              <a:prstClr val="black"/>
              <a:srgbClr val="D9C3A5">
                <a:tint val="50000"/>
                <a:satMod val="180000"/>
              </a:srgbClr>
            </a:duotone>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l="-25000" r="-25000"/>
          </a:stretch>
        </a:blipFill>
      </dgm:spPr>
    </dgm:pt>
    <dgm:pt modelId="{B16BFAFB-B418-4784-9A6C-5D4D9744C64E}" type="pres">
      <dgm:prSet presAssocID="{0714EBCF-CBA1-449C-BBC3-B69CCCE28D54}" presName="Parent" presStyleLbl="revTx" presStyleIdx="0" presStyleCnt="2">
        <dgm:presLayoutVars>
          <dgm:bulletEnabled val="1"/>
        </dgm:presLayoutVars>
      </dgm:prSet>
      <dgm:spPr/>
    </dgm:pt>
    <dgm:pt modelId="{A9411FB9-13DC-49F5-AC6E-BD9F41FD8F99}" type="pres">
      <dgm:prSet presAssocID="{BA52FAD8-D0C1-4B6B-B417-58C8FD0DA577}" presName="sibTrans" presStyleCnt="0"/>
      <dgm:spPr/>
    </dgm:pt>
    <dgm:pt modelId="{13F093C9-7D4F-4987-8F94-9F9E09A2D3D7}" type="pres">
      <dgm:prSet presAssocID="{255DA2F9-89E8-453D-A140-98082A6E2225}" presName="composite" presStyleCnt="0"/>
      <dgm:spPr/>
    </dgm:pt>
    <dgm:pt modelId="{1B7587F5-0920-4468-A48D-A832A8370225}" type="pres">
      <dgm:prSet presAssocID="{255DA2F9-89E8-453D-A140-98082A6E2225}" presName="Image" presStyleLbl="alignNode1" presStyleIdx="1" presStyleCnt="2"/>
      <dgm:spPr>
        <a:blipFill rotWithShape="1">
          <a:blip xmlns:r="http://schemas.openxmlformats.org/officeDocument/2006/relationships" r:embed="rId3">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rcRect/>
          <a:stretch>
            <a:fillRect l="-39000" r="-39000"/>
          </a:stretch>
        </a:blipFill>
      </dgm:spPr>
    </dgm:pt>
    <dgm:pt modelId="{8195C83A-58C4-41C2-8215-081CE579FEC9}" type="pres">
      <dgm:prSet presAssocID="{255DA2F9-89E8-453D-A140-98082A6E2225}" presName="Parent" presStyleLbl="revTx" presStyleIdx="1" presStyleCnt="2">
        <dgm:presLayoutVars>
          <dgm:bulletEnabled val="1"/>
        </dgm:presLayoutVars>
      </dgm:prSet>
      <dgm:spPr/>
    </dgm:pt>
  </dgm:ptLst>
  <dgm:cxnLst>
    <dgm:cxn modelId="{57048B41-932A-4CC6-8F8A-A45ABA615E77}" srcId="{E97D083F-39F5-472B-8D5A-0B9274BF691E}" destId="{0714EBCF-CBA1-449C-BBC3-B69CCCE28D54}" srcOrd="0" destOrd="0" parTransId="{85505662-2D2E-4F14-BB65-12D97D598F06}" sibTransId="{BA52FAD8-D0C1-4B6B-B417-58C8FD0DA577}"/>
    <dgm:cxn modelId="{F324C783-B386-4030-9F05-87EAD52ED6FE}" srcId="{E97D083F-39F5-472B-8D5A-0B9274BF691E}" destId="{255DA2F9-89E8-453D-A140-98082A6E2225}" srcOrd="1" destOrd="0" parTransId="{AC82BA56-3E02-46FE-AEFE-E4A8409E0556}" sibTransId="{DE0D4C69-5260-4F1F-9AF5-8BFF2B7CD63E}"/>
    <dgm:cxn modelId="{111F55C3-CB94-4846-B229-AB865ECF31F0}" type="presOf" srcId="{0714EBCF-CBA1-449C-BBC3-B69CCCE28D54}" destId="{B16BFAFB-B418-4784-9A6C-5D4D9744C64E}" srcOrd="0" destOrd="0" presId="urn:microsoft.com/office/officeart/2008/layout/PictureAccentBlocks"/>
    <dgm:cxn modelId="{76DCE4C4-A4A9-4A49-9708-6A4B42764D67}" type="presOf" srcId="{255DA2F9-89E8-453D-A140-98082A6E2225}" destId="{8195C83A-58C4-41C2-8215-081CE579FEC9}" srcOrd="0" destOrd="0" presId="urn:microsoft.com/office/officeart/2008/layout/PictureAccentBlocks"/>
    <dgm:cxn modelId="{186F59FC-30CF-472F-A1DC-74DB5CEE05CF}" type="presOf" srcId="{E97D083F-39F5-472B-8D5A-0B9274BF691E}" destId="{D69A086C-FA59-402E-9959-E44A9372F470}" srcOrd="0" destOrd="0" presId="urn:microsoft.com/office/officeart/2008/layout/PictureAccentBlocks"/>
    <dgm:cxn modelId="{AD3740A8-C51E-449B-A00A-4A24A9A8A010}" type="presParOf" srcId="{D69A086C-FA59-402E-9959-E44A9372F470}" destId="{FAF9E060-18EF-4BA3-A08A-A1ADE581DFC5}" srcOrd="0" destOrd="0" presId="urn:microsoft.com/office/officeart/2008/layout/PictureAccentBlocks"/>
    <dgm:cxn modelId="{7A09F5E2-87C1-4470-AFCF-FA9AAA5C5C7C}" type="presParOf" srcId="{FAF9E060-18EF-4BA3-A08A-A1ADE581DFC5}" destId="{E613F974-0C05-4DB4-80AA-FF87C24F9641}" srcOrd="0" destOrd="0" presId="urn:microsoft.com/office/officeart/2008/layout/PictureAccentBlocks"/>
    <dgm:cxn modelId="{710F1901-6B12-4038-9D5B-31E80693E819}" type="presParOf" srcId="{FAF9E060-18EF-4BA3-A08A-A1ADE581DFC5}" destId="{B16BFAFB-B418-4784-9A6C-5D4D9744C64E}" srcOrd="1" destOrd="0" presId="urn:microsoft.com/office/officeart/2008/layout/PictureAccentBlocks"/>
    <dgm:cxn modelId="{19B93971-B8CD-4F92-9B6C-6898DFA389D3}" type="presParOf" srcId="{D69A086C-FA59-402E-9959-E44A9372F470}" destId="{A9411FB9-13DC-49F5-AC6E-BD9F41FD8F99}" srcOrd="1" destOrd="0" presId="urn:microsoft.com/office/officeart/2008/layout/PictureAccentBlocks"/>
    <dgm:cxn modelId="{049CF984-DBFB-48F4-9272-EDB29C27857F}" type="presParOf" srcId="{D69A086C-FA59-402E-9959-E44A9372F470}" destId="{13F093C9-7D4F-4987-8F94-9F9E09A2D3D7}" srcOrd="2" destOrd="0" presId="urn:microsoft.com/office/officeart/2008/layout/PictureAccentBlocks"/>
    <dgm:cxn modelId="{B1BCFB53-3F4D-4994-95A1-606692388D5E}" type="presParOf" srcId="{13F093C9-7D4F-4987-8F94-9F9E09A2D3D7}" destId="{1B7587F5-0920-4468-A48D-A832A8370225}" srcOrd="0" destOrd="0" presId="urn:microsoft.com/office/officeart/2008/layout/PictureAccentBlocks"/>
    <dgm:cxn modelId="{BAEE5AF7-5262-4F35-8793-9E59C0CD74BA}" type="presParOf" srcId="{13F093C9-7D4F-4987-8F94-9F9E09A2D3D7}" destId="{8195C83A-58C4-41C2-8215-081CE579FEC9}" srcOrd="1" destOrd="0" presId="urn:microsoft.com/office/officeart/2008/layout/PictureAccent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8127FA25-84D1-4690-86BD-4C7A924B2F89}" type="doc">
      <dgm:prSet loTypeId="urn:microsoft.com/office/officeart/2005/8/layout/process4" loCatId="process" qsTypeId="urn:microsoft.com/office/officeart/2005/8/quickstyle/simple1" qsCatId="simple" csTypeId="urn:microsoft.com/office/officeart/2005/8/colors/colorful3" csCatId="colorful" phldr="1"/>
      <dgm:spPr/>
      <dgm:t>
        <a:bodyPr/>
        <a:lstStyle/>
        <a:p>
          <a:endParaRPr lang="es-ES"/>
        </a:p>
      </dgm:t>
    </dgm:pt>
    <dgm:pt modelId="{70899A92-959D-431F-ACB2-EE405EB9FDCF}">
      <dgm:prSet phldrT="[Texto]"/>
      <dgm:spPr/>
      <dgm:t>
        <a:bodyPr/>
        <a:lstStyle/>
        <a:p>
          <a:r>
            <a:rPr lang="es-ES" dirty="0"/>
            <a:t>Almacenamiento. RAW Data (Datos en crudo, sin tratar) habitualmente: HDFS</a:t>
          </a:r>
        </a:p>
      </dgm:t>
    </dgm:pt>
    <dgm:pt modelId="{72BB98D5-20F0-437D-9E58-BB7637E28BC8}" type="parTrans" cxnId="{8378E323-8CE6-41B3-8BAE-D603FE120482}">
      <dgm:prSet/>
      <dgm:spPr/>
      <dgm:t>
        <a:bodyPr/>
        <a:lstStyle/>
        <a:p>
          <a:endParaRPr lang="es-ES"/>
        </a:p>
      </dgm:t>
    </dgm:pt>
    <dgm:pt modelId="{0689F8CF-095B-4BFB-A90F-D4865A9AA716}" type="sibTrans" cxnId="{8378E323-8CE6-41B3-8BAE-D603FE120482}">
      <dgm:prSet/>
      <dgm:spPr/>
      <dgm:t>
        <a:bodyPr/>
        <a:lstStyle/>
        <a:p>
          <a:endParaRPr lang="es-ES"/>
        </a:p>
      </dgm:t>
    </dgm:pt>
    <dgm:pt modelId="{86855C03-FC14-4DD0-BCEE-E7591064DB06}">
      <dgm:prSet phldrT="[Texto]"/>
      <dgm:spPr/>
      <dgm:t>
        <a:bodyPr/>
        <a:lstStyle/>
        <a:p>
          <a:r>
            <a:rPr lang="es-ES" dirty="0"/>
            <a:t>Redefinición de los datos: Limpieza de datos, redefinición, agregaciones </a:t>
          </a:r>
        </a:p>
      </dgm:t>
    </dgm:pt>
    <dgm:pt modelId="{5D919AD9-3E2C-4F81-85D8-83FE843A22A5}" type="parTrans" cxnId="{C9125ED6-A423-4104-8380-E23899D2F18D}">
      <dgm:prSet/>
      <dgm:spPr/>
      <dgm:t>
        <a:bodyPr/>
        <a:lstStyle/>
        <a:p>
          <a:endParaRPr lang="es-ES"/>
        </a:p>
      </dgm:t>
    </dgm:pt>
    <dgm:pt modelId="{D9F35D3F-B7C8-415E-93CE-C2F33E005546}" type="sibTrans" cxnId="{C9125ED6-A423-4104-8380-E23899D2F18D}">
      <dgm:prSet/>
      <dgm:spPr/>
      <dgm:t>
        <a:bodyPr/>
        <a:lstStyle/>
        <a:p>
          <a:endParaRPr lang="es-ES"/>
        </a:p>
      </dgm:t>
    </dgm:pt>
    <dgm:pt modelId="{41299C83-CE99-46A0-94EE-00E5F45C40FE}">
      <dgm:prSet phldrT="[Texto]"/>
      <dgm:spPr/>
      <dgm:t>
        <a:bodyPr/>
        <a:lstStyle/>
        <a:p>
          <a:r>
            <a:rPr lang="es-ES" dirty="0"/>
            <a:t>BBDD NoSQL. Almacenamiento de los datos</a:t>
          </a:r>
        </a:p>
      </dgm:t>
    </dgm:pt>
    <dgm:pt modelId="{FD773145-6AB5-4E93-9730-5181BD8C9D3C}" type="parTrans" cxnId="{26C4F453-E944-419F-A27D-1FB48CB78E0B}">
      <dgm:prSet/>
      <dgm:spPr/>
      <dgm:t>
        <a:bodyPr/>
        <a:lstStyle/>
        <a:p>
          <a:endParaRPr lang="es-ES"/>
        </a:p>
      </dgm:t>
    </dgm:pt>
    <dgm:pt modelId="{FC0066D8-5C15-4264-AC00-BB9A82FF59E6}" type="sibTrans" cxnId="{26C4F453-E944-419F-A27D-1FB48CB78E0B}">
      <dgm:prSet/>
      <dgm:spPr/>
      <dgm:t>
        <a:bodyPr/>
        <a:lstStyle/>
        <a:p>
          <a:endParaRPr lang="es-ES"/>
        </a:p>
      </dgm:t>
    </dgm:pt>
    <dgm:pt modelId="{F1E5A541-17B5-4918-9340-6BF322386226}">
      <dgm:prSet phldrT="[Texto]"/>
      <dgm:spPr/>
      <dgm:t>
        <a:bodyPr/>
        <a:lstStyle/>
        <a:p>
          <a:r>
            <a:rPr lang="es-ES" dirty="0"/>
            <a:t>Tratamiento / computación de los datos. Batch, Tiempo Real, Streaming.</a:t>
          </a:r>
        </a:p>
      </dgm:t>
    </dgm:pt>
    <dgm:pt modelId="{1AC901A7-E2B6-425D-9EE9-376E768B0B8A}" type="parTrans" cxnId="{CED29B14-8AC7-4A54-9922-9072C98BFF83}">
      <dgm:prSet/>
      <dgm:spPr/>
      <dgm:t>
        <a:bodyPr/>
        <a:lstStyle/>
        <a:p>
          <a:endParaRPr lang="es-ES"/>
        </a:p>
      </dgm:t>
    </dgm:pt>
    <dgm:pt modelId="{A7FA9A4F-CA1A-4305-8203-4453C5B15164}" type="sibTrans" cxnId="{CED29B14-8AC7-4A54-9922-9072C98BFF83}">
      <dgm:prSet/>
      <dgm:spPr/>
      <dgm:t>
        <a:bodyPr/>
        <a:lstStyle/>
        <a:p>
          <a:endParaRPr lang="es-ES"/>
        </a:p>
      </dgm:t>
    </dgm:pt>
    <dgm:pt modelId="{22309B44-341F-416F-8206-93D3C8508FDC}">
      <dgm:prSet/>
      <dgm:spPr/>
      <dgm:t>
        <a:bodyPr/>
        <a:lstStyle/>
        <a:p>
          <a:r>
            <a:rPr lang="es-ES" dirty="0"/>
            <a:t>Machine Learning y Artificial Intelligence</a:t>
          </a:r>
        </a:p>
      </dgm:t>
    </dgm:pt>
    <dgm:pt modelId="{68C1D7D9-525E-4503-9304-DF5D8EB50A9C}" type="parTrans" cxnId="{A264D69D-7C29-4B7A-903D-3F685D398BFA}">
      <dgm:prSet/>
      <dgm:spPr/>
      <dgm:t>
        <a:bodyPr/>
        <a:lstStyle/>
        <a:p>
          <a:endParaRPr lang="es-ES"/>
        </a:p>
      </dgm:t>
    </dgm:pt>
    <dgm:pt modelId="{B798BD96-9D04-40B3-8D4B-B1D4D046E2CE}" type="sibTrans" cxnId="{A264D69D-7C29-4B7A-903D-3F685D398BFA}">
      <dgm:prSet/>
      <dgm:spPr/>
      <dgm:t>
        <a:bodyPr/>
        <a:lstStyle/>
        <a:p>
          <a:endParaRPr lang="es-ES"/>
        </a:p>
      </dgm:t>
    </dgm:pt>
    <dgm:pt modelId="{A53A9C8F-DA41-4EE8-8409-CA586C89FDA8}" type="pres">
      <dgm:prSet presAssocID="{8127FA25-84D1-4690-86BD-4C7A924B2F89}" presName="Name0" presStyleCnt="0">
        <dgm:presLayoutVars>
          <dgm:dir/>
          <dgm:animLvl val="lvl"/>
          <dgm:resizeHandles val="exact"/>
        </dgm:presLayoutVars>
      </dgm:prSet>
      <dgm:spPr/>
    </dgm:pt>
    <dgm:pt modelId="{FE2D566A-E435-464F-BFEB-C7541C58A6E3}" type="pres">
      <dgm:prSet presAssocID="{22309B44-341F-416F-8206-93D3C8508FDC}" presName="boxAndChildren" presStyleCnt="0"/>
      <dgm:spPr/>
    </dgm:pt>
    <dgm:pt modelId="{0B7707A2-54BD-40CC-ABBE-FA5B0A59DBDA}" type="pres">
      <dgm:prSet presAssocID="{22309B44-341F-416F-8206-93D3C8508FDC}" presName="parentTextBox" presStyleLbl="node1" presStyleIdx="0" presStyleCnt="5"/>
      <dgm:spPr/>
    </dgm:pt>
    <dgm:pt modelId="{84145367-0208-40BE-A4B1-564D0EE6D2F4}" type="pres">
      <dgm:prSet presAssocID="{A7FA9A4F-CA1A-4305-8203-4453C5B15164}" presName="sp" presStyleCnt="0"/>
      <dgm:spPr/>
    </dgm:pt>
    <dgm:pt modelId="{94A965A0-D063-4B79-8076-E9F2D68A5176}" type="pres">
      <dgm:prSet presAssocID="{F1E5A541-17B5-4918-9340-6BF322386226}" presName="arrowAndChildren" presStyleCnt="0"/>
      <dgm:spPr/>
    </dgm:pt>
    <dgm:pt modelId="{E75254D6-DF8C-4B1B-AE19-2CFA87023C24}" type="pres">
      <dgm:prSet presAssocID="{F1E5A541-17B5-4918-9340-6BF322386226}" presName="parentTextArrow" presStyleLbl="node1" presStyleIdx="1" presStyleCnt="5"/>
      <dgm:spPr/>
    </dgm:pt>
    <dgm:pt modelId="{0C37759F-D0F9-4898-821B-CB0B5B78D654}" type="pres">
      <dgm:prSet presAssocID="{FC0066D8-5C15-4264-AC00-BB9A82FF59E6}" presName="sp" presStyleCnt="0"/>
      <dgm:spPr/>
    </dgm:pt>
    <dgm:pt modelId="{EB9DA136-97E4-4810-B218-4DD052D8CD7C}" type="pres">
      <dgm:prSet presAssocID="{41299C83-CE99-46A0-94EE-00E5F45C40FE}" presName="arrowAndChildren" presStyleCnt="0"/>
      <dgm:spPr/>
    </dgm:pt>
    <dgm:pt modelId="{4CBEC877-62E5-431C-BA63-E2F34899C180}" type="pres">
      <dgm:prSet presAssocID="{41299C83-CE99-46A0-94EE-00E5F45C40FE}" presName="parentTextArrow" presStyleLbl="node1" presStyleIdx="2" presStyleCnt="5"/>
      <dgm:spPr/>
    </dgm:pt>
    <dgm:pt modelId="{430ACCFF-7EE1-4212-AD63-BF212AEFD604}" type="pres">
      <dgm:prSet presAssocID="{D9F35D3F-B7C8-415E-93CE-C2F33E005546}" presName="sp" presStyleCnt="0"/>
      <dgm:spPr/>
    </dgm:pt>
    <dgm:pt modelId="{934ABF11-696D-46B3-B463-DE16D13E4159}" type="pres">
      <dgm:prSet presAssocID="{86855C03-FC14-4DD0-BCEE-E7591064DB06}" presName="arrowAndChildren" presStyleCnt="0"/>
      <dgm:spPr/>
    </dgm:pt>
    <dgm:pt modelId="{D8E5C10C-D0B9-4EB2-8489-5B15A6DDE64A}" type="pres">
      <dgm:prSet presAssocID="{86855C03-FC14-4DD0-BCEE-E7591064DB06}" presName="parentTextArrow" presStyleLbl="node1" presStyleIdx="3" presStyleCnt="5"/>
      <dgm:spPr/>
    </dgm:pt>
    <dgm:pt modelId="{749756FD-6715-4566-ADCC-8420F868C7FA}" type="pres">
      <dgm:prSet presAssocID="{0689F8CF-095B-4BFB-A90F-D4865A9AA716}" presName="sp" presStyleCnt="0"/>
      <dgm:spPr/>
    </dgm:pt>
    <dgm:pt modelId="{CF8F554A-FE63-4A42-BBF2-BBA192ABC9E6}" type="pres">
      <dgm:prSet presAssocID="{70899A92-959D-431F-ACB2-EE405EB9FDCF}" presName="arrowAndChildren" presStyleCnt="0"/>
      <dgm:spPr/>
    </dgm:pt>
    <dgm:pt modelId="{13927F08-15BE-4415-9CC9-4C31E27E14A2}" type="pres">
      <dgm:prSet presAssocID="{70899A92-959D-431F-ACB2-EE405EB9FDCF}" presName="parentTextArrow" presStyleLbl="node1" presStyleIdx="4" presStyleCnt="5"/>
      <dgm:spPr/>
    </dgm:pt>
  </dgm:ptLst>
  <dgm:cxnLst>
    <dgm:cxn modelId="{743DBA10-8F76-4DE0-82BA-C190160CC056}" type="presOf" srcId="{41299C83-CE99-46A0-94EE-00E5F45C40FE}" destId="{4CBEC877-62E5-431C-BA63-E2F34899C180}" srcOrd="0" destOrd="0" presId="urn:microsoft.com/office/officeart/2005/8/layout/process4"/>
    <dgm:cxn modelId="{CED29B14-8AC7-4A54-9922-9072C98BFF83}" srcId="{8127FA25-84D1-4690-86BD-4C7A924B2F89}" destId="{F1E5A541-17B5-4918-9340-6BF322386226}" srcOrd="3" destOrd="0" parTransId="{1AC901A7-E2B6-425D-9EE9-376E768B0B8A}" sibTransId="{A7FA9A4F-CA1A-4305-8203-4453C5B15164}"/>
    <dgm:cxn modelId="{8378E323-8CE6-41B3-8BAE-D603FE120482}" srcId="{8127FA25-84D1-4690-86BD-4C7A924B2F89}" destId="{70899A92-959D-431F-ACB2-EE405EB9FDCF}" srcOrd="0" destOrd="0" parTransId="{72BB98D5-20F0-437D-9E58-BB7637E28BC8}" sibTransId="{0689F8CF-095B-4BFB-A90F-D4865A9AA716}"/>
    <dgm:cxn modelId="{1936F940-5D1E-418C-BD9E-3AD9221D3D04}" type="presOf" srcId="{70899A92-959D-431F-ACB2-EE405EB9FDCF}" destId="{13927F08-15BE-4415-9CC9-4C31E27E14A2}" srcOrd="0" destOrd="0" presId="urn:microsoft.com/office/officeart/2005/8/layout/process4"/>
    <dgm:cxn modelId="{26C4F453-E944-419F-A27D-1FB48CB78E0B}" srcId="{8127FA25-84D1-4690-86BD-4C7A924B2F89}" destId="{41299C83-CE99-46A0-94EE-00E5F45C40FE}" srcOrd="2" destOrd="0" parTransId="{FD773145-6AB5-4E93-9730-5181BD8C9D3C}" sibTransId="{FC0066D8-5C15-4264-AC00-BB9A82FF59E6}"/>
    <dgm:cxn modelId="{99B0C185-2739-4E7B-98B6-931EA85C2758}" type="presOf" srcId="{8127FA25-84D1-4690-86BD-4C7A924B2F89}" destId="{A53A9C8F-DA41-4EE8-8409-CA586C89FDA8}" srcOrd="0" destOrd="0" presId="urn:microsoft.com/office/officeart/2005/8/layout/process4"/>
    <dgm:cxn modelId="{C407FC92-6D79-4892-8383-C9375210CC65}" type="presOf" srcId="{22309B44-341F-416F-8206-93D3C8508FDC}" destId="{0B7707A2-54BD-40CC-ABBE-FA5B0A59DBDA}" srcOrd="0" destOrd="0" presId="urn:microsoft.com/office/officeart/2005/8/layout/process4"/>
    <dgm:cxn modelId="{870D0A94-B082-437F-8E86-B44F3818C91A}" type="presOf" srcId="{F1E5A541-17B5-4918-9340-6BF322386226}" destId="{E75254D6-DF8C-4B1B-AE19-2CFA87023C24}" srcOrd="0" destOrd="0" presId="urn:microsoft.com/office/officeart/2005/8/layout/process4"/>
    <dgm:cxn modelId="{A264D69D-7C29-4B7A-903D-3F685D398BFA}" srcId="{8127FA25-84D1-4690-86BD-4C7A924B2F89}" destId="{22309B44-341F-416F-8206-93D3C8508FDC}" srcOrd="4" destOrd="0" parTransId="{68C1D7D9-525E-4503-9304-DF5D8EB50A9C}" sibTransId="{B798BD96-9D04-40B3-8D4B-B1D4D046E2CE}"/>
    <dgm:cxn modelId="{CB19F8CC-2AAF-4CCC-84A7-872A61585A94}" type="presOf" srcId="{86855C03-FC14-4DD0-BCEE-E7591064DB06}" destId="{D8E5C10C-D0B9-4EB2-8489-5B15A6DDE64A}" srcOrd="0" destOrd="0" presId="urn:microsoft.com/office/officeart/2005/8/layout/process4"/>
    <dgm:cxn modelId="{C9125ED6-A423-4104-8380-E23899D2F18D}" srcId="{8127FA25-84D1-4690-86BD-4C7A924B2F89}" destId="{86855C03-FC14-4DD0-BCEE-E7591064DB06}" srcOrd="1" destOrd="0" parTransId="{5D919AD9-3E2C-4F81-85D8-83FE843A22A5}" sibTransId="{D9F35D3F-B7C8-415E-93CE-C2F33E005546}"/>
    <dgm:cxn modelId="{B3010E96-07DC-4986-B766-6763F5A2498C}" type="presParOf" srcId="{A53A9C8F-DA41-4EE8-8409-CA586C89FDA8}" destId="{FE2D566A-E435-464F-BFEB-C7541C58A6E3}" srcOrd="0" destOrd="0" presId="urn:microsoft.com/office/officeart/2005/8/layout/process4"/>
    <dgm:cxn modelId="{BAC24135-F00B-436C-B799-A659EB4A5830}" type="presParOf" srcId="{FE2D566A-E435-464F-BFEB-C7541C58A6E3}" destId="{0B7707A2-54BD-40CC-ABBE-FA5B0A59DBDA}" srcOrd="0" destOrd="0" presId="urn:microsoft.com/office/officeart/2005/8/layout/process4"/>
    <dgm:cxn modelId="{0BD5927B-32A8-4FD3-B7E3-82D1F60D0358}" type="presParOf" srcId="{A53A9C8F-DA41-4EE8-8409-CA586C89FDA8}" destId="{84145367-0208-40BE-A4B1-564D0EE6D2F4}" srcOrd="1" destOrd="0" presId="urn:microsoft.com/office/officeart/2005/8/layout/process4"/>
    <dgm:cxn modelId="{25471E6E-82F4-4E86-ABB1-0542F3FD9BCF}" type="presParOf" srcId="{A53A9C8F-DA41-4EE8-8409-CA586C89FDA8}" destId="{94A965A0-D063-4B79-8076-E9F2D68A5176}" srcOrd="2" destOrd="0" presId="urn:microsoft.com/office/officeart/2005/8/layout/process4"/>
    <dgm:cxn modelId="{95355566-B3DF-470F-9D79-95F7E29D8A97}" type="presParOf" srcId="{94A965A0-D063-4B79-8076-E9F2D68A5176}" destId="{E75254D6-DF8C-4B1B-AE19-2CFA87023C24}" srcOrd="0" destOrd="0" presId="urn:microsoft.com/office/officeart/2005/8/layout/process4"/>
    <dgm:cxn modelId="{5016B4B2-BFC2-4231-94A0-22CAEBE60C6D}" type="presParOf" srcId="{A53A9C8F-DA41-4EE8-8409-CA586C89FDA8}" destId="{0C37759F-D0F9-4898-821B-CB0B5B78D654}" srcOrd="3" destOrd="0" presId="urn:microsoft.com/office/officeart/2005/8/layout/process4"/>
    <dgm:cxn modelId="{8B8BB268-F14F-46AE-B6C6-27D8F0B0BFF9}" type="presParOf" srcId="{A53A9C8F-DA41-4EE8-8409-CA586C89FDA8}" destId="{EB9DA136-97E4-4810-B218-4DD052D8CD7C}" srcOrd="4" destOrd="0" presId="urn:microsoft.com/office/officeart/2005/8/layout/process4"/>
    <dgm:cxn modelId="{4033A57B-AA09-44F8-86D3-A2F34240F845}" type="presParOf" srcId="{EB9DA136-97E4-4810-B218-4DD052D8CD7C}" destId="{4CBEC877-62E5-431C-BA63-E2F34899C180}" srcOrd="0" destOrd="0" presId="urn:microsoft.com/office/officeart/2005/8/layout/process4"/>
    <dgm:cxn modelId="{25116FE8-9F91-4A6A-8E14-6619162BFAD4}" type="presParOf" srcId="{A53A9C8F-DA41-4EE8-8409-CA586C89FDA8}" destId="{430ACCFF-7EE1-4212-AD63-BF212AEFD604}" srcOrd="5" destOrd="0" presId="urn:microsoft.com/office/officeart/2005/8/layout/process4"/>
    <dgm:cxn modelId="{1E04FC74-24C4-45EF-93D2-3FA8AB7490A7}" type="presParOf" srcId="{A53A9C8F-DA41-4EE8-8409-CA586C89FDA8}" destId="{934ABF11-696D-46B3-B463-DE16D13E4159}" srcOrd="6" destOrd="0" presId="urn:microsoft.com/office/officeart/2005/8/layout/process4"/>
    <dgm:cxn modelId="{B76414D3-52D2-4350-A8D4-9EEA9F71D7A1}" type="presParOf" srcId="{934ABF11-696D-46B3-B463-DE16D13E4159}" destId="{D8E5C10C-D0B9-4EB2-8489-5B15A6DDE64A}" srcOrd="0" destOrd="0" presId="urn:microsoft.com/office/officeart/2005/8/layout/process4"/>
    <dgm:cxn modelId="{ED9AB6CA-C651-41F1-A101-937E83F38908}" type="presParOf" srcId="{A53A9C8F-DA41-4EE8-8409-CA586C89FDA8}" destId="{749756FD-6715-4566-ADCC-8420F868C7FA}" srcOrd="7" destOrd="0" presId="urn:microsoft.com/office/officeart/2005/8/layout/process4"/>
    <dgm:cxn modelId="{4D2199D8-A6FA-4FE3-ABF3-139712160F17}" type="presParOf" srcId="{A53A9C8F-DA41-4EE8-8409-CA586C89FDA8}" destId="{CF8F554A-FE63-4A42-BBF2-BBA192ABC9E6}" srcOrd="8" destOrd="0" presId="urn:microsoft.com/office/officeart/2005/8/layout/process4"/>
    <dgm:cxn modelId="{B43F910C-7D2C-4D59-A81E-EC7BB8053FBA}" type="presParOf" srcId="{CF8F554A-FE63-4A42-BBF2-BBA192ABC9E6}" destId="{13927F08-15BE-4415-9CC9-4C31E27E14A2}" srcOrd="0" destOrd="0" presId="urn:microsoft.com/office/officeart/2005/8/layout/process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7AFE7B52-6510-43A9-8026-3C903FDED542}"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s-ES"/>
        </a:p>
      </dgm:t>
    </dgm:pt>
    <dgm:pt modelId="{A4F66F53-D892-4E8C-918A-D9F890ED02D8}">
      <dgm:prSet phldrT="[Texto]"/>
      <dgm:spPr/>
      <dgm:t>
        <a:bodyPr/>
        <a:lstStyle/>
        <a:p>
          <a:r>
            <a:rPr lang="es-ES" dirty="0">
              <a:latin typeface="Avenir LT Std 35 Light" panose="020B0402020203020204" pitchFamily="34" charset="0"/>
              <a:cs typeface="Calibri" panose="020F0502020204030204" pitchFamily="34" charset="0"/>
            </a:rPr>
            <a:t>Data Analyze</a:t>
          </a:r>
          <a:endParaRPr lang="es-ES" dirty="0"/>
        </a:p>
      </dgm:t>
    </dgm:pt>
    <dgm:pt modelId="{3130E4DA-376D-4B2B-86ED-C91039135955}" type="parTrans" cxnId="{45A648D8-D762-4C57-A7AB-208666903642}">
      <dgm:prSet/>
      <dgm:spPr/>
      <dgm:t>
        <a:bodyPr/>
        <a:lstStyle/>
        <a:p>
          <a:endParaRPr lang="es-ES"/>
        </a:p>
      </dgm:t>
    </dgm:pt>
    <dgm:pt modelId="{4D3849F1-FB76-499F-B1BB-AA26A75AEF6E}" type="sibTrans" cxnId="{45A648D8-D762-4C57-A7AB-208666903642}">
      <dgm:prSet/>
      <dgm:spPr/>
      <dgm:t>
        <a:bodyPr/>
        <a:lstStyle/>
        <a:p>
          <a:endParaRPr lang="es-ES" dirty="0"/>
        </a:p>
      </dgm:t>
    </dgm:pt>
    <dgm:pt modelId="{5AD2290B-BD5C-431D-AE9B-D98F6B432C7D}">
      <dgm:prSet phldrT="[Texto]"/>
      <dgm:spPr/>
      <dgm:t>
        <a:bodyPr/>
        <a:lstStyle/>
        <a:p>
          <a:r>
            <a:rPr lang="es-ES" dirty="0">
              <a:latin typeface="Avenir LT Std 35 Light" panose="020B0402020203020204" pitchFamily="34" charset="0"/>
              <a:cs typeface="Calibri" panose="020F0502020204030204" pitchFamily="34" charset="0"/>
            </a:rPr>
            <a:t>Data Science y Data Engineering</a:t>
          </a:r>
          <a:endParaRPr lang="es-ES" dirty="0"/>
        </a:p>
      </dgm:t>
    </dgm:pt>
    <dgm:pt modelId="{1A7A89B2-9946-4E35-B097-4E8FB9F7E619}" type="parTrans" cxnId="{BACE9757-4973-4DEB-B5CE-C6B5565EBEE9}">
      <dgm:prSet/>
      <dgm:spPr/>
      <dgm:t>
        <a:bodyPr/>
        <a:lstStyle/>
        <a:p>
          <a:endParaRPr lang="es-ES"/>
        </a:p>
      </dgm:t>
    </dgm:pt>
    <dgm:pt modelId="{A3DC9BA0-A923-403B-985E-B465F77D8AD6}" type="sibTrans" cxnId="{BACE9757-4973-4DEB-B5CE-C6B5565EBEE9}">
      <dgm:prSet/>
      <dgm:spPr/>
      <dgm:t>
        <a:bodyPr/>
        <a:lstStyle/>
        <a:p>
          <a:endParaRPr lang="es-ES" dirty="0"/>
        </a:p>
      </dgm:t>
    </dgm:pt>
    <dgm:pt modelId="{985D5950-D688-4ACE-9C3C-F78EC9C3516E}" type="pres">
      <dgm:prSet presAssocID="{7AFE7B52-6510-43A9-8026-3C903FDED542}" presName="Name0" presStyleCnt="0">
        <dgm:presLayoutVars>
          <dgm:dir/>
          <dgm:resizeHandles val="exact"/>
        </dgm:presLayoutVars>
      </dgm:prSet>
      <dgm:spPr/>
    </dgm:pt>
    <dgm:pt modelId="{A145C02F-B77D-4069-90D5-FDA6CD1B2727}" type="pres">
      <dgm:prSet presAssocID="{5AD2290B-BD5C-431D-AE9B-D98F6B432C7D}" presName="node" presStyleLbl="node1" presStyleIdx="0" presStyleCnt="2">
        <dgm:presLayoutVars>
          <dgm:bulletEnabled val="1"/>
        </dgm:presLayoutVars>
      </dgm:prSet>
      <dgm:spPr/>
    </dgm:pt>
    <dgm:pt modelId="{174C5534-3B65-42D5-9F89-E4EA977A2566}" type="pres">
      <dgm:prSet presAssocID="{A3DC9BA0-A923-403B-985E-B465F77D8AD6}" presName="sibTrans" presStyleLbl="sibTrans2D1" presStyleIdx="0" presStyleCnt="1"/>
      <dgm:spPr/>
    </dgm:pt>
    <dgm:pt modelId="{6D18AED1-A372-44B3-A3FE-32BF4FEF2B7B}" type="pres">
      <dgm:prSet presAssocID="{A3DC9BA0-A923-403B-985E-B465F77D8AD6}" presName="connectorText" presStyleLbl="sibTrans2D1" presStyleIdx="0" presStyleCnt="1"/>
      <dgm:spPr/>
    </dgm:pt>
    <dgm:pt modelId="{4453482D-3DBB-4950-AF0A-9F96C158AACC}" type="pres">
      <dgm:prSet presAssocID="{A4F66F53-D892-4E8C-918A-D9F890ED02D8}" presName="node" presStyleLbl="node1" presStyleIdx="1" presStyleCnt="2">
        <dgm:presLayoutVars>
          <dgm:bulletEnabled val="1"/>
        </dgm:presLayoutVars>
      </dgm:prSet>
      <dgm:spPr/>
    </dgm:pt>
  </dgm:ptLst>
  <dgm:cxnLst>
    <dgm:cxn modelId="{E571D618-9A0F-42FD-B090-1F299D315418}" type="presOf" srcId="{5AD2290B-BD5C-431D-AE9B-D98F6B432C7D}" destId="{A145C02F-B77D-4069-90D5-FDA6CD1B2727}" srcOrd="0" destOrd="0" presId="urn:microsoft.com/office/officeart/2005/8/layout/process1"/>
    <dgm:cxn modelId="{1735E622-6A69-404C-9E9A-176379AE1B9D}" type="presOf" srcId="{7AFE7B52-6510-43A9-8026-3C903FDED542}" destId="{985D5950-D688-4ACE-9C3C-F78EC9C3516E}" srcOrd="0" destOrd="0" presId="urn:microsoft.com/office/officeart/2005/8/layout/process1"/>
    <dgm:cxn modelId="{0C589F23-82E8-44B0-B9D6-A3860DC2E27C}" type="presOf" srcId="{A4F66F53-D892-4E8C-918A-D9F890ED02D8}" destId="{4453482D-3DBB-4950-AF0A-9F96C158AACC}" srcOrd="0" destOrd="0" presId="urn:microsoft.com/office/officeart/2005/8/layout/process1"/>
    <dgm:cxn modelId="{20DC4A3E-4D36-44C4-B1D8-32369A6F4B51}" type="presOf" srcId="{A3DC9BA0-A923-403B-985E-B465F77D8AD6}" destId="{174C5534-3B65-42D5-9F89-E4EA977A2566}" srcOrd="0" destOrd="0" presId="urn:microsoft.com/office/officeart/2005/8/layout/process1"/>
    <dgm:cxn modelId="{BACE9757-4973-4DEB-B5CE-C6B5565EBEE9}" srcId="{7AFE7B52-6510-43A9-8026-3C903FDED542}" destId="{5AD2290B-BD5C-431D-AE9B-D98F6B432C7D}" srcOrd="0" destOrd="0" parTransId="{1A7A89B2-9946-4E35-B097-4E8FB9F7E619}" sibTransId="{A3DC9BA0-A923-403B-985E-B465F77D8AD6}"/>
    <dgm:cxn modelId="{BAA6BDBC-60DC-4494-9747-49E19B32019C}" type="presOf" srcId="{A3DC9BA0-A923-403B-985E-B465F77D8AD6}" destId="{6D18AED1-A372-44B3-A3FE-32BF4FEF2B7B}" srcOrd="1" destOrd="0" presId="urn:microsoft.com/office/officeart/2005/8/layout/process1"/>
    <dgm:cxn modelId="{45A648D8-D762-4C57-A7AB-208666903642}" srcId="{7AFE7B52-6510-43A9-8026-3C903FDED542}" destId="{A4F66F53-D892-4E8C-918A-D9F890ED02D8}" srcOrd="1" destOrd="0" parTransId="{3130E4DA-376D-4B2B-86ED-C91039135955}" sibTransId="{4D3849F1-FB76-499F-B1BB-AA26A75AEF6E}"/>
    <dgm:cxn modelId="{492C27D3-A6D2-4025-9E17-8ECD11052877}" type="presParOf" srcId="{985D5950-D688-4ACE-9C3C-F78EC9C3516E}" destId="{A145C02F-B77D-4069-90D5-FDA6CD1B2727}" srcOrd="0" destOrd="0" presId="urn:microsoft.com/office/officeart/2005/8/layout/process1"/>
    <dgm:cxn modelId="{F98EADCC-A67B-4C7D-8B72-6B29EF0E3C6E}" type="presParOf" srcId="{985D5950-D688-4ACE-9C3C-F78EC9C3516E}" destId="{174C5534-3B65-42D5-9F89-E4EA977A2566}" srcOrd="1" destOrd="0" presId="urn:microsoft.com/office/officeart/2005/8/layout/process1"/>
    <dgm:cxn modelId="{A8944160-876F-4F5C-B2A0-DBF8AE618C3B}" type="presParOf" srcId="{174C5534-3B65-42D5-9F89-E4EA977A2566}" destId="{6D18AED1-A372-44B3-A3FE-32BF4FEF2B7B}" srcOrd="0" destOrd="0" presId="urn:microsoft.com/office/officeart/2005/8/layout/process1"/>
    <dgm:cxn modelId="{8EF209CF-EA81-4940-94AF-2E1E51B50414}" type="presParOf" srcId="{985D5950-D688-4ACE-9C3C-F78EC9C3516E}" destId="{4453482D-3DBB-4950-AF0A-9F96C158AACC}"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0AE97EF5-20D2-4931-8B65-393E1A99144D}"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s-ES"/>
        </a:p>
      </dgm:t>
    </dgm:pt>
    <dgm:pt modelId="{4163AE50-B902-481C-B4F1-E4D240E4A4A4}">
      <dgm:prSet phldrT="[Texto]"/>
      <dgm:spPr>
        <a:solidFill>
          <a:schemeClr val="accent2">
            <a:lumMod val="75000"/>
          </a:schemeClr>
        </a:solidFill>
      </dgm:spPr>
      <dgm:t>
        <a:bodyPr/>
        <a:lstStyle/>
        <a:p>
          <a:r>
            <a:rPr lang="es-ES" b="1" dirty="0"/>
            <a:t>Volume</a:t>
          </a:r>
        </a:p>
      </dgm:t>
    </dgm:pt>
    <dgm:pt modelId="{35EC7DE8-56DC-4754-AEBE-BDF71CC82558}" type="parTrans" cxnId="{76D61E4A-C27C-4E4F-A235-49A4A627912B}">
      <dgm:prSet/>
      <dgm:spPr/>
      <dgm:t>
        <a:bodyPr/>
        <a:lstStyle/>
        <a:p>
          <a:endParaRPr lang="es-ES"/>
        </a:p>
      </dgm:t>
    </dgm:pt>
    <dgm:pt modelId="{375353F0-CCF8-49C6-A993-9C1A79D0188B}" type="sibTrans" cxnId="{76D61E4A-C27C-4E4F-A235-49A4A627912B}">
      <dgm:prSet/>
      <dgm:spPr/>
      <dgm:t>
        <a:bodyPr/>
        <a:lstStyle/>
        <a:p>
          <a:endParaRPr lang="es-ES"/>
        </a:p>
      </dgm:t>
    </dgm:pt>
    <dgm:pt modelId="{2AFFBA8B-2EE6-4BD8-A8CC-8072BCEB2BC8}">
      <dgm:prSet/>
      <dgm:spPr>
        <a:solidFill>
          <a:schemeClr val="accent2">
            <a:lumMod val="75000"/>
          </a:schemeClr>
        </a:solidFill>
      </dgm:spPr>
      <dgm:t>
        <a:bodyPr/>
        <a:lstStyle/>
        <a:p>
          <a:r>
            <a:rPr lang="es-ES" b="1" dirty="0"/>
            <a:t>Velocity</a:t>
          </a:r>
        </a:p>
      </dgm:t>
    </dgm:pt>
    <dgm:pt modelId="{9E699895-8BA8-43A5-A5F4-F37992451B7C}" type="parTrans" cxnId="{1BE7A521-20B4-4E46-9847-84654327A648}">
      <dgm:prSet/>
      <dgm:spPr/>
      <dgm:t>
        <a:bodyPr/>
        <a:lstStyle/>
        <a:p>
          <a:endParaRPr lang="es-ES"/>
        </a:p>
      </dgm:t>
    </dgm:pt>
    <dgm:pt modelId="{93C6708B-D48C-49DD-A421-109AEB8C8016}" type="sibTrans" cxnId="{1BE7A521-20B4-4E46-9847-84654327A648}">
      <dgm:prSet/>
      <dgm:spPr/>
      <dgm:t>
        <a:bodyPr/>
        <a:lstStyle/>
        <a:p>
          <a:endParaRPr lang="es-ES"/>
        </a:p>
      </dgm:t>
    </dgm:pt>
    <dgm:pt modelId="{706D1996-E9BA-48D2-B356-8DAA9B0F0D4E}">
      <dgm:prSet/>
      <dgm:spPr>
        <a:solidFill>
          <a:schemeClr val="accent2">
            <a:lumMod val="75000"/>
          </a:schemeClr>
        </a:solidFill>
      </dgm:spPr>
      <dgm:t>
        <a:bodyPr/>
        <a:lstStyle/>
        <a:p>
          <a:r>
            <a:rPr lang="es-ES" b="1" dirty="0"/>
            <a:t>Variety</a:t>
          </a:r>
        </a:p>
      </dgm:t>
    </dgm:pt>
    <dgm:pt modelId="{36D93392-C795-427F-8B35-632858E967DA}" type="parTrans" cxnId="{11056FAF-5B35-4BE7-84F9-E0F583955556}">
      <dgm:prSet/>
      <dgm:spPr/>
      <dgm:t>
        <a:bodyPr/>
        <a:lstStyle/>
        <a:p>
          <a:endParaRPr lang="es-ES"/>
        </a:p>
      </dgm:t>
    </dgm:pt>
    <dgm:pt modelId="{DE739DF2-4386-4CFB-B60D-DA0554659776}" type="sibTrans" cxnId="{11056FAF-5B35-4BE7-84F9-E0F583955556}">
      <dgm:prSet/>
      <dgm:spPr/>
      <dgm:t>
        <a:bodyPr/>
        <a:lstStyle/>
        <a:p>
          <a:endParaRPr lang="es-ES"/>
        </a:p>
      </dgm:t>
    </dgm:pt>
    <dgm:pt modelId="{B5AF3CF4-A867-4878-9175-3641CA395774}">
      <dgm:prSet/>
      <dgm:spPr/>
      <dgm:t>
        <a:bodyPr/>
        <a:lstStyle/>
        <a:p>
          <a:r>
            <a:rPr lang="es-ES" dirty="0"/>
            <a:t>Visibility</a:t>
          </a:r>
        </a:p>
      </dgm:t>
    </dgm:pt>
    <dgm:pt modelId="{8BE937D2-6F02-4F09-B4E8-1341DCE3E5B6}" type="parTrans" cxnId="{B3DE221F-0879-40DE-90D0-C89448C4E3F5}">
      <dgm:prSet/>
      <dgm:spPr/>
      <dgm:t>
        <a:bodyPr/>
        <a:lstStyle/>
        <a:p>
          <a:endParaRPr lang="es-ES"/>
        </a:p>
      </dgm:t>
    </dgm:pt>
    <dgm:pt modelId="{0FEBF2F4-0A1D-44D0-8811-AE631EABE26A}" type="sibTrans" cxnId="{B3DE221F-0879-40DE-90D0-C89448C4E3F5}">
      <dgm:prSet/>
      <dgm:spPr/>
      <dgm:t>
        <a:bodyPr/>
        <a:lstStyle/>
        <a:p>
          <a:endParaRPr lang="es-ES"/>
        </a:p>
      </dgm:t>
    </dgm:pt>
    <dgm:pt modelId="{7AEBCB20-317E-4D48-8444-34ED75BDAE81}">
      <dgm:prSet/>
      <dgm:spPr/>
      <dgm:t>
        <a:bodyPr/>
        <a:lstStyle/>
        <a:p>
          <a:r>
            <a:rPr lang="es-ES" dirty="0"/>
            <a:t>Viscosity</a:t>
          </a:r>
        </a:p>
      </dgm:t>
    </dgm:pt>
    <dgm:pt modelId="{622CB1E3-9659-4F47-B868-5CC6BE507B3D}" type="parTrans" cxnId="{DB70D535-C52B-4053-90DF-3A1984BBEBA5}">
      <dgm:prSet/>
      <dgm:spPr/>
      <dgm:t>
        <a:bodyPr/>
        <a:lstStyle/>
        <a:p>
          <a:endParaRPr lang="es-ES"/>
        </a:p>
      </dgm:t>
    </dgm:pt>
    <dgm:pt modelId="{ECBF7BBB-4511-48BC-9AE5-638518493477}" type="sibTrans" cxnId="{DB70D535-C52B-4053-90DF-3A1984BBEBA5}">
      <dgm:prSet/>
      <dgm:spPr/>
      <dgm:t>
        <a:bodyPr/>
        <a:lstStyle/>
        <a:p>
          <a:endParaRPr lang="es-ES"/>
        </a:p>
      </dgm:t>
    </dgm:pt>
    <dgm:pt modelId="{22598C41-7CC4-4ECB-BCC5-AE64A318DB07}">
      <dgm:prSet/>
      <dgm:spPr/>
      <dgm:t>
        <a:bodyPr/>
        <a:lstStyle/>
        <a:p>
          <a:r>
            <a:rPr lang="es-ES" dirty="0"/>
            <a:t>Value</a:t>
          </a:r>
        </a:p>
      </dgm:t>
    </dgm:pt>
    <dgm:pt modelId="{BA078BD6-2071-43DE-A47B-393C987EF5FA}" type="parTrans" cxnId="{57AF9607-688E-4601-BFA8-60C89EB0ED1F}">
      <dgm:prSet/>
      <dgm:spPr/>
      <dgm:t>
        <a:bodyPr/>
        <a:lstStyle/>
        <a:p>
          <a:endParaRPr lang="es-ES"/>
        </a:p>
      </dgm:t>
    </dgm:pt>
    <dgm:pt modelId="{B871FE06-7638-46CB-B2DF-CA75CF6E3B3C}" type="sibTrans" cxnId="{57AF9607-688E-4601-BFA8-60C89EB0ED1F}">
      <dgm:prSet/>
      <dgm:spPr/>
      <dgm:t>
        <a:bodyPr/>
        <a:lstStyle/>
        <a:p>
          <a:endParaRPr lang="es-ES"/>
        </a:p>
      </dgm:t>
    </dgm:pt>
    <dgm:pt modelId="{90753D7F-8385-4655-AFC0-3A9DB90F0C82}">
      <dgm:prSet/>
      <dgm:spPr/>
      <dgm:t>
        <a:bodyPr/>
        <a:lstStyle/>
        <a:p>
          <a:r>
            <a:rPr lang="es-ES" dirty="0"/>
            <a:t>Veracity</a:t>
          </a:r>
        </a:p>
      </dgm:t>
    </dgm:pt>
    <dgm:pt modelId="{D2F6CC86-9D7B-4CA7-8011-388E93DEE7AD}" type="parTrans" cxnId="{18288C0B-4ABE-4106-8F7D-6D64CFCEFD71}">
      <dgm:prSet/>
      <dgm:spPr/>
      <dgm:t>
        <a:bodyPr/>
        <a:lstStyle/>
        <a:p>
          <a:endParaRPr lang="es-ES"/>
        </a:p>
      </dgm:t>
    </dgm:pt>
    <dgm:pt modelId="{E58F6307-ED89-49D2-AF42-16BE9D5BD05C}" type="sibTrans" cxnId="{18288C0B-4ABE-4106-8F7D-6D64CFCEFD71}">
      <dgm:prSet/>
      <dgm:spPr/>
      <dgm:t>
        <a:bodyPr/>
        <a:lstStyle/>
        <a:p>
          <a:endParaRPr lang="es-ES"/>
        </a:p>
      </dgm:t>
    </dgm:pt>
    <dgm:pt modelId="{3C49C57F-92EF-4573-81B7-03A68026020E}">
      <dgm:prSet/>
      <dgm:spPr/>
      <dgm:t>
        <a:bodyPr/>
        <a:lstStyle/>
        <a:p>
          <a:r>
            <a:rPr lang="es-ES" dirty="0"/>
            <a:t>Vaquero</a:t>
          </a:r>
        </a:p>
      </dgm:t>
    </dgm:pt>
    <dgm:pt modelId="{197212CD-E685-4F3E-9566-6AB0BE3DE2EE}" type="parTrans" cxnId="{4F871056-974F-48E1-B13B-9344F8327D1E}">
      <dgm:prSet/>
      <dgm:spPr/>
      <dgm:t>
        <a:bodyPr/>
        <a:lstStyle/>
        <a:p>
          <a:endParaRPr lang="es-ES"/>
        </a:p>
      </dgm:t>
    </dgm:pt>
    <dgm:pt modelId="{C14BC7CA-3B5A-4D2B-920B-620E20EA9C7F}" type="sibTrans" cxnId="{4F871056-974F-48E1-B13B-9344F8327D1E}">
      <dgm:prSet/>
      <dgm:spPr/>
      <dgm:t>
        <a:bodyPr/>
        <a:lstStyle/>
        <a:p>
          <a:endParaRPr lang="es-ES"/>
        </a:p>
      </dgm:t>
    </dgm:pt>
    <dgm:pt modelId="{3C282F92-4BB5-40F3-B358-0E865E456BA0}">
      <dgm:prSet/>
      <dgm:spPr/>
      <dgm:t>
        <a:bodyPr/>
        <a:lstStyle/>
        <a:p>
          <a:r>
            <a:rPr lang="es-ES" dirty="0"/>
            <a:t>Verónica</a:t>
          </a:r>
        </a:p>
      </dgm:t>
    </dgm:pt>
    <dgm:pt modelId="{B5DB5EE3-051B-46BA-9744-DC5E52303BC6}" type="parTrans" cxnId="{35F4827A-17F5-44E1-B230-E65903C33E93}">
      <dgm:prSet/>
      <dgm:spPr/>
      <dgm:t>
        <a:bodyPr/>
        <a:lstStyle/>
        <a:p>
          <a:endParaRPr lang="es-ES"/>
        </a:p>
      </dgm:t>
    </dgm:pt>
    <dgm:pt modelId="{A8DD7BD6-BE24-4C05-B995-339058B80DC9}" type="sibTrans" cxnId="{35F4827A-17F5-44E1-B230-E65903C33E93}">
      <dgm:prSet/>
      <dgm:spPr/>
      <dgm:t>
        <a:bodyPr/>
        <a:lstStyle/>
        <a:p>
          <a:endParaRPr lang="es-ES"/>
        </a:p>
      </dgm:t>
    </dgm:pt>
    <dgm:pt modelId="{38220C6C-B64D-48E6-898E-024B0EB8F5CA}">
      <dgm:prSet/>
      <dgm:spPr/>
      <dgm:t>
        <a:bodyPr/>
        <a:lstStyle/>
        <a:p>
          <a:r>
            <a:rPr lang="es-ES" dirty="0"/>
            <a:t>Velvet….</a:t>
          </a:r>
        </a:p>
      </dgm:t>
    </dgm:pt>
    <dgm:pt modelId="{778FB62E-3F99-4C08-9120-88AD39F0CB83}" type="parTrans" cxnId="{9891A7AB-91DA-43AE-9D0C-817ACB38920A}">
      <dgm:prSet/>
      <dgm:spPr/>
      <dgm:t>
        <a:bodyPr/>
        <a:lstStyle/>
        <a:p>
          <a:endParaRPr lang="es-ES"/>
        </a:p>
      </dgm:t>
    </dgm:pt>
    <dgm:pt modelId="{10C7E991-550F-4FCD-BB94-DC635DE7DCEA}" type="sibTrans" cxnId="{9891A7AB-91DA-43AE-9D0C-817ACB38920A}">
      <dgm:prSet/>
      <dgm:spPr/>
      <dgm:t>
        <a:bodyPr/>
        <a:lstStyle/>
        <a:p>
          <a:endParaRPr lang="es-ES"/>
        </a:p>
      </dgm:t>
    </dgm:pt>
    <dgm:pt modelId="{95D67A7D-2CD2-4521-BEAA-C4D54FC85C3B}">
      <dgm:prSet phldrT="[Texto]"/>
      <dgm:spPr/>
      <dgm:t>
        <a:bodyPr/>
        <a:lstStyle/>
        <a:p>
          <a:r>
            <a:rPr lang="es-ES" dirty="0"/>
            <a:t>Velociraptor</a:t>
          </a:r>
        </a:p>
      </dgm:t>
    </dgm:pt>
    <dgm:pt modelId="{3FB11FB0-D320-40D3-9FA1-64AC357B95E8}" type="parTrans" cxnId="{129DC058-4E35-47AA-8037-B68D2026490D}">
      <dgm:prSet/>
      <dgm:spPr/>
      <dgm:t>
        <a:bodyPr/>
        <a:lstStyle/>
        <a:p>
          <a:endParaRPr lang="es-ES"/>
        </a:p>
      </dgm:t>
    </dgm:pt>
    <dgm:pt modelId="{570E4476-B8FC-40EC-ADFE-FEC68C27C543}" type="sibTrans" cxnId="{129DC058-4E35-47AA-8037-B68D2026490D}">
      <dgm:prSet/>
      <dgm:spPr/>
      <dgm:t>
        <a:bodyPr/>
        <a:lstStyle/>
        <a:p>
          <a:endParaRPr lang="es-ES"/>
        </a:p>
      </dgm:t>
    </dgm:pt>
    <dgm:pt modelId="{E38CF397-5987-4630-BAFC-02EF3B363E82}">
      <dgm:prSet/>
      <dgm:spPr/>
      <dgm:t>
        <a:bodyPr/>
        <a:lstStyle/>
        <a:p>
          <a:r>
            <a:rPr lang="es-ES" dirty="0"/>
            <a:t>Vaya tontería….</a:t>
          </a:r>
        </a:p>
      </dgm:t>
    </dgm:pt>
    <dgm:pt modelId="{412CE86B-F3AC-4342-8595-45F0998EB487}" type="parTrans" cxnId="{8D867217-0123-4468-84C3-2E8C8810A828}">
      <dgm:prSet/>
      <dgm:spPr/>
      <dgm:t>
        <a:bodyPr/>
        <a:lstStyle/>
        <a:p>
          <a:endParaRPr lang="es-ES"/>
        </a:p>
      </dgm:t>
    </dgm:pt>
    <dgm:pt modelId="{F313F759-A92C-4B6A-AAAA-033BAD9560E1}" type="sibTrans" cxnId="{8D867217-0123-4468-84C3-2E8C8810A828}">
      <dgm:prSet/>
      <dgm:spPr/>
      <dgm:t>
        <a:bodyPr/>
        <a:lstStyle/>
        <a:p>
          <a:endParaRPr lang="es-ES"/>
        </a:p>
      </dgm:t>
    </dgm:pt>
    <dgm:pt modelId="{0605F8F2-04F2-4E72-B5D4-264294A226ED}" type="pres">
      <dgm:prSet presAssocID="{0AE97EF5-20D2-4931-8B65-393E1A99144D}" presName="diagram" presStyleCnt="0">
        <dgm:presLayoutVars>
          <dgm:dir/>
          <dgm:resizeHandles val="exact"/>
        </dgm:presLayoutVars>
      </dgm:prSet>
      <dgm:spPr/>
    </dgm:pt>
    <dgm:pt modelId="{E336E09F-8934-4285-A861-B9C73800EE32}" type="pres">
      <dgm:prSet presAssocID="{4163AE50-B902-481C-B4F1-E4D240E4A4A4}" presName="node" presStyleLbl="node1" presStyleIdx="0" presStyleCnt="12">
        <dgm:presLayoutVars>
          <dgm:bulletEnabled val="1"/>
        </dgm:presLayoutVars>
      </dgm:prSet>
      <dgm:spPr/>
    </dgm:pt>
    <dgm:pt modelId="{ABD11DEC-DA90-4574-B895-FBEE88B3B990}" type="pres">
      <dgm:prSet presAssocID="{375353F0-CCF8-49C6-A993-9C1A79D0188B}" presName="sibTrans" presStyleCnt="0"/>
      <dgm:spPr/>
    </dgm:pt>
    <dgm:pt modelId="{487A2008-EC0F-4BE3-9EA3-DF087257C902}" type="pres">
      <dgm:prSet presAssocID="{2AFFBA8B-2EE6-4BD8-A8CC-8072BCEB2BC8}" presName="node" presStyleLbl="node1" presStyleIdx="1" presStyleCnt="12">
        <dgm:presLayoutVars>
          <dgm:bulletEnabled val="1"/>
        </dgm:presLayoutVars>
      </dgm:prSet>
      <dgm:spPr/>
    </dgm:pt>
    <dgm:pt modelId="{F79E362D-D510-493D-A845-28682FAEC658}" type="pres">
      <dgm:prSet presAssocID="{93C6708B-D48C-49DD-A421-109AEB8C8016}" presName="sibTrans" presStyleCnt="0"/>
      <dgm:spPr/>
    </dgm:pt>
    <dgm:pt modelId="{43A1766D-F10E-479F-A578-31A534E6BAD8}" type="pres">
      <dgm:prSet presAssocID="{706D1996-E9BA-48D2-B356-8DAA9B0F0D4E}" presName="node" presStyleLbl="node1" presStyleIdx="2" presStyleCnt="12">
        <dgm:presLayoutVars>
          <dgm:bulletEnabled val="1"/>
        </dgm:presLayoutVars>
      </dgm:prSet>
      <dgm:spPr/>
    </dgm:pt>
    <dgm:pt modelId="{C5EDE8EB-DCF6-4510-96F5-947F3FF855BE}" type="pres">
      <dgm:prSet presAssocID="{DE739DF2-4386-4CFB-B60D-DA0554659776}" presName="sibTrans" presStyleCnt="0"/>
      <dgm:spPr/>
    </dgm:pt>
    <dgm:pt modelId="{07BEC846-AC90-45CB-8DD9-FDDBB083F023}" type="pres">
      <dgm:prSet presAssocID="{B5AF3CF4-A867-4878-9175-3641CA395774}" presName="node" presStyleLbl="node1" presStyleIdx="3" presStyleCnt="12">
        <dgm:presLayoutVars>
          <dgm:bulletEnabled val="1"/>
        </dgm:presLayoutVars>
      </dgm:prSet>
      <dgm:spPr/>
    </dgm:pt>
    <dgm:pt modelId="{53CCF123-C03A-4A44-9F38-7CE4C0C8EE6E}" type="pres">
      <dgm:prSet presAssocID="{0FEBF2F4-0A1D-44D0-8811-AE631EABE26A}" presName="sibTrans" presStyleCnt="0"/>
      <dgm:spPr/>
    </dgm:pt>
    <dgm:pt modelId="{63BF8B16-4CE7-4760-AE87-DADCF864AFA6}" type="pres">
      <dgm:prSet presAssocID="{7AEBCB20-317E-4D48-8444-34ED75BDAE81}" presName="node" presStyleLbl="node1" presStyleIdx="4" presStyleCnt="12">
        <dgm:presLayoutVars>
          <dgm:bulletEnabled val="1"/>
        </dgm:presLayoutVars>
      </dgm:prSet>
      <dgm:spPr/>
    </dgm:pt>
    <dgm:pt modelId="{D7F3596C-1907-4617-BF1B-609C70430029}" type="pres">
      <dgm:prSet presAssocID="{ECBF7BBB-4511-48BC-9AE5-638518493477}" presName="sibTrans" presStyleCnt="0"/>
      <dgm:spPr/>
    </dgm:pt>
    <dgm:pt modelId="{3F3A95FF-479D-4DE6-838B-9AC80FD39C95}" type="pres">
      <dgm:prSet presAssocID="{22598C41-7CC4-4ECB-BCC5-AE64A318DB07}" presName="node" presStyleLbl="node1" presStyleIdx="5" presStyleCnt="12">
        <dgm:presLayoutVars>
          <dgm:bulletEnabled val="1"/>
        </dgm:presLayoutVars>
      </dgm:prSet>
      <dgm:spPr/>
    </dgm:pt>
    <dgm:pt modelId="{BC6A9C66-055C-4EDC-B81F-D3E95C8E0BB3}" type="pres">
      <dgm:prSet presAssocID="{B871FE06-7638-46CB-B2DF-CA75CF6E3B3C}" presName="sibTrans" presStyleCnt="0"/>
      <dgm:spPr/>
    </dgm:pt>
    <dgm:pt modelId="{6E69D63D-66E3-4069-B894-5B923DAF177D}" type="pres">
      <dgm:prSet presAssocID="{90753D7F-8385-4655-AFC0-3A9DB90F0C82}" presName="node" presStyleLbl="node1" presStyleIdx="6" presStyleCnt="12">
        <dgm:presLayoutVars>
          <dgm:bulletEnabled val="1"/>
        </dgm:presLayoutVars>
      </dgm:prSet>
      <dgm:spPr/>
    </dgm:pt>
    <dgm:pt modelId="{377BEDB4-F6E3-475E-BFDE-48BBD992713E}" type="pres">
      <dgm:prSet presAssocID="{E58F6307-ED89-49D2-AF42-16BE9D5BD05C}" presName="sibTrans" presStyleCnt="0"/>
      <dgm:spPr/>
    </dgm:pt>
    <dgm:pt modelId="{5ED29B55-47D9-4C66-BC60-734F1FD25EC1}" type="pres">
      <dgm:prSet presAssocID="{3C49C57F-92EF-4573-81B7-03A68026020E}" presName="node" presStyleLbl="node1" presStyleIdx="7" presStyleCnt="12">
        <dgm:presLayoutVars>
          <dgm:bulletEnabled val="1"/>
        </dgm:presLayoutVars>
      </dgm:prSet>
      <dgm:spPr/>
    </dgm:pt>
    <dgm:pt modelId="{F02A47ED-041D-4C2D-ABD4-8D97CD1393A4}" type="pres">
      <dgm:prSet presAssocID="{C14BC7CA-3B5A-4D2B-920B-620E20EA9C7F}" presName="sibTrans" presStyleCnt="0"/>
      <dgm:spPr/>
    </dgm:pt>
    <dgm:pt modelId="{A0BD516C-3321-41E6-986A-2D8B3392B076}" type="pres">
      <dgm:prSet presAssocID="{3C282F92-4BB5-40F3-B358-0E865E456BA0}" presName="node" presStyleLbl="node1" presStyleIdx="8" presStyleCnt="12">
        <dgm:presLayoutVars>
          <dgm:bulletEnabled val="1"/>
        </dgm:presLayoutVars>
      </dgm:prSet>
      <dgm:spPr/>
    </dgm:pt>
    <dgm:pt modelId="{2477CAE4-DE58-4A64-80C5-B672CCFDEC2D}" type="pres">
      <dgm:prSet presAssocID="{A8DD7BD6-BE24-4C05-B995-339058B80DC9}" presName="sibTrans" presStyleCnt="0"/>
      <dgm:spPr/>
    </dgm:pt>
    <dgm:pt modelId="{1A6A6051-0F43-4085-BC24-E4659F227DC8}" type="pres">
      <dgm:prSet presAssocID="{95D67A7D-2CD2-4521-BEAA-C4D54FC85C3B}" presName="node" presStyleLbl="node1" presStyleIdx="9" presStyleCnt="12">
        <dgm:presLayoutVars>
          <dgm:bulletEnabled val="1"/>
        </dgm:presLayoutVars>
      </dgm:prSet>
      <dgm:spPr/>
    </dgm:pt>
    <dgm:pt modelId="{D889385A-9E33-4294-96A3-8AA6B45EC6CB}" type="pres">
      <dgm:prSet presAssocID="{570E4476-B8FC-40EC-ADFE-FEC68C27C543}" presName="sibTrans" presStyleCnt="0"/>
      <dgm:spPr/>
    </dgm:pt>
    <dgm:pt modelId="{C9AA378C-160C-422C-861E-9BBC80C5C837}" type="pres">
      <dgm:prSet presAssocID="{38220C6C-B64D-48E6-898E-024B0EB8F5CA}" presName="node" presStyleLbl="node1" presStyleIdx="10" presStyleCnt="12">
        <dgm:presLayoutVars>
          <dgm:bulletEnabled val="1"/>
        </dgm:presLayoutVars>
      </dgm:prSet>
      <dgm:spPr/>
    </dgm:pt>
    <dgm:pt modelId="{0F18070F-0AF0-4F32-9FC5-6A5D81A4E9D9}" type="pres">
      <dgm:prSet presAssocID="{10C7E991-550F-4FCD-BB94-DC635DE7DCEA}" presName="sibTrans" presStyleCnt="0"/>
      <dgm:spPr/>
    </dgm:pt>
    <dgm:pt modelId="{46518082-DA87-4CEE-9302-2A1818FA8BDA}" type="pres">
      <dgm:prSet presAssocID="{E38CF397-5987-4630-BAFC-02EF3B363E82}" presName="node" presStyleLbl="node1" presStyleIdx="11" presStyleCnt="12">
        <dgm:presLayoutVars>
          <dgm:bulletEnabled val="1"/>
        </dgm:presLayoutVars>
      </dgm:prSet>
      <dgm:spPr/>
    </dgm:pt>
  </dgm:ptLst>
  <dgm:cxnLst>
    <dgm:cxn modelId="{57AF9607-688E-4601-BFA8-60C89EB0ED1F}" srcId="{0AE97EF5-20D2-4931-8B65-393E1A99144D}" destId="{22598C41-7CC4-4ECB-BCC5-AE64A318DB07}" srcOrd="5" destOrd="0" parTransId="{BA078BD6-2071-43DE-A47B-393C987EF5FA}" sibTransId="{B871FE06-7638-46CB-B2DF-CA75CF6E3B3C}"/>
    <dgm:cxn modelId="{18288C0B-4ABE-4106-8F7D-6D64CFCEFD71}" srcId="{0AE97EF5-20D2-4931-8B65-393E1A99144D}" destId="{90753D7F-8385-4655-AFC0-3A9DB90F0C82}" srcOrd="6" destOrd="0" parTransId="{D2F6CC86-9D7B-4CA7-8011-388E93DEE7AD}" sibTransId="{E58F6307-ED89-49D2-AF42-16BE9D5BD05C}"/>
    <dgm:cxn modelId="{8D867217-0123-4468-84C3-2E8C8810A828}" srcId="{0AE97EF5-20D2-4931-8B65-393E1A99144D}" destId="{E38CF397-5987-4630-BAFC-02EF3B363E82}" srcOrd="11" destOrd="0" parTransId="{412CE86B-F3AC-4342-8595-45F0998EB487}" sibTransId="{F313F759-A92C-4B6A-AAAA-033BAD9560E1}"/>
    <dgm:cxn modelId="{B3DE221F-0879-40DE-90D0-C89448C4E3F5}" srcId="{0AE97EF5-20D2-4931-8B65-393E1A99144D}" destId="{B5AF3CF4-A867-4878-9175-3641CA395774}" srcOrd="3" destOrd="0" parTransId="{8BE937D2-6F02-4F09-B4E8-1341DCE3E5B6}" sibTransId="{0FEBF2F4-0A1D-44D0-8811-AE631EABE26A}"/>
    <dgm:cxn modelId="{1BE7A521-20B4-4E46-9847-84654327A648}" srcId="{0AE97EF5-20D2-4931-8B65-393E1A99144D}" destId="{2AFFBA8B-2EE6-4BD8-A8CC-8072BCEB2BC8}" srcOrd="1" destOrd="0" parTransId="{9E699895-8BA8-43A5-A5F4-F37992451B7C}" sibTransId="{93C6708B-D48C-49DD-A421-109AEB8C8016}"/>
    <dgm:cxn modelId="{E9A40D22-A42F-4AFB-86BE-049A18B47470}" type="presOf" srcId="{7AEBCB20-317E-4D48-8444-34ED75BDAE81}" destId="{63BF8B16-4CE7-4760-AE87-DADCF864AFA6}" srcOrd="0" destOrd="0" presId="urn:microsoft.com/office/officeart/2005/8/layout/default"/>
    <dgm:cxn modelId="{DB70D535-C52B-4053-90DF-3A1984BBEBA5}" srcId="{0AE97EF5-20D2-4931-8B65-393E1A99144D}" destId="{7AEBCB20-317E-4D48-8444-34ED75BDAE81}" srcOrd="4" destOrd="0" parTransId="{622CB1E3-9659-4F47-B868-5CC6BE507B3D}" sibTransId="{ECBF7BBB-4511-48BC-9AE5-638518493477}"/>
    <dgm:cxn modelId="{D281B03F-86CC-4037-BAD6-C5EA84FA0531}" type="presOf" srcId="{3C282F92-4BB5-40F3-B358-0E865E456BA0}" destId="{A0BD516C-3321-41E6-986A-2D8B3392B076}" srcOrd="0" destOrd="0" presId="urn:microsoft.com/office/officeart/2005/8/layout/default"/>
    <dgm:cxn modelId="{7621565E-ED75-4C67-9209-48FE2C3CBC5D}" type="presOf" srcId="{22598C41-7CC4-4ECB-BCC5-AE64A318DB07}" destId="{3F3A95FF-479D-4DE6-838B-9AC80FD39C95}" srcOrd="0" destOrd="0" presId="urn:microsoft.com/office/officeart/2005/8/layout/default"/>
    <dgm:cxn modelId="{321E2545-7462-4BF8-A693-6A4004F71152}" type="presOf" srcId="{0AE97EF5-20D2-4931-8B65-393E1A99144D}" destId="{0605F8F2-04F2-4E72-B5D4-264294A226ED}" srcOrd="0" destOrd="0" presId="urn:microsoft.com/office/officeart/2005/8/layout/default"/>
    <dgm:cxn modelId="{63539646-FD7A-48FD-83B6-796054FFDC56}" type="presOf" srcId="{3C49C57F-92EF-4573-81B7-03A68026020E}" destId="{5ED29B55-47D9-4C66-BC60-734F1FD25EC1}" srcOrd="0" destOrd="0" presId="urn:microsoft.com/office/officeart/2005/8/layout/default"/>
    <dgm:cxn modelId="{1EFCA947-B91B-42AF-A423-E09CAC56EE3C}" type="presOf" srcId="{38220C6C-B64D-48E6-898E-024B0EB8F5CA}" destId="{C9AA378C-160C-422C-861E-9BBC80C5C837}" srcOrd="0" destOrd="0" presId="urn:microsoft.com/office/officeart/2005/8/layout/default"/>
    <dgm:cxn modelId="{76D61E4A-C27C-4E4F-A235-49A4A627912B}" srcId="{0AE97EF5-20D2-4931-8B65-393E1A99144D}" destId="{4163AE50-B902-481C-B4F1-E4D240E4A4A4}" srcOrd="0" destOrd="0" parTransId="{35EC7DE8-56DC-4754-AEBE-BDF71CC82558}" sibTransId="{375353F0-CCF8-49C6-A993-9C1A79D0188B}"/>
    <dgm:cxn modelId="{A8252E4A-AA5D-44A4-A960-F388B92FF10F}" type="presOf" srcId="{90753D7F-8385-4655-AFC0-3A9DB90F0C82}" destId="{6E69D63D-66E3-4069-B894-5B923DAF177D}" srcOrd="0" destOrd="0" presId="urn:microsoft.com/office/officeart/2005/8/layout/default"/>
    <dgm:cxn modelId="{4F871056-974F-48E1-B13B-9344F8327D1E}" srcId="{0AE97EF5-20D2-4931-8B65-393E1A99144D}" destId="{3C49C57F-92EF-4573-81B7-03A68026020E}" srcOrd="7" destOrd="0" parTransId="{197212CD-E685-4F3E-9566-6AB0BE3DE2EE}" sibTransId="{C14BC7CA-3B5A-4D2B-920B-620E20EA9C7F}"/>
    <dgm:cxn modelId="{A23D3D76-F16C-427A-929B-0E3F4F028A1C}" type="presOf" srcId="{95D67A7D-2CD2-4521-BEAA-C4D54FC85C3B}" destId="{1A6A6051-0F43-4085-BC24-E4659F227DC8}" srcOrd="0" destOrd="0" presId="urn:microsoft.com/office/officeart/2005/8/layout/default"/>
    <dgm:cxn modelId="{129DC058-4E35-47AA-8037-B68D2026490D}" srcId="{0AE97EF5-20D2-4931-8B65-393E1A99144D}" destId="{95D67A7D-2CD2-4521-BEAA-C4D54FC85C3B}" srcOrd="9" destOrd="0" parTransId="{3FB11FB0-D320-40D3-9FA1-64AC357B95E8}" sibTransId="{570E4476-B8FC-40EC-ADFE-FEC68C27C543}"/>
    <dgm:cxn modelId="{35F4827A-17F5-44E1-B230-E65903C33E93}" srcId="{0AE97EF5-20D2-4931-8B65-393E1A99144D}" destId="{3C282F92-4BB5-40F3-B358-0E865E456BA0}" srcOrd="8" destOrd="0" parTransId="{B5DB5EE3-051B-46BA-9744-DC5E52303BC6}" sibTransId="{A8DD7BD6-BE24-4C05-B995-339058B80DC9}"/>
    <dgm:cxn modelId="{E6422E84-A04A-4E0A-9C01-3476480EE123}" type="presOf" srcId="{4163AE50-B902-481C-B4F1-E4D240E4A4A4}" destId="{E336E09F-8934-4285-A861-B9C73800EE32}" srcOrd="0" destOrd="0" presId="urn:microsoft.com/office/officeart/2005/8/layout/default"/>
    <dgm:cxn modelId="{5FB1328A-67B9-4A0A-8F70-771573314842}" type="presOf" srcId="{2AFFBA8B-2EE6-4BD8-A8CC-8072BCEB2BC8}" destId="{487A2008-EC0F-4BE3-9EA3-DF087257C902}" srcOrd="0" destOrd="0" presId="urn:microsoft.com/office/officeart/2005/8/layout/default"/>
    <dgm:cxn modelId="{9891A7AB-91DA-43AE-9D0C-817ACB38920A}" srcId="{0AE97EF5-20D2-4931-8B65-393E1A99144D}" destId="{38220C6C-B64D-48E6-898E-024B0EB8F5CA}" srcOrd="10" destOrd="0" parTransId="{778FB62E-3F99-4C08-9120-88AD39F0CB83}" sibTransId="{10C7E991-550F-4FCD-BB94-DC635DE7DCEA}"/>
    <dgm:cxn modelId="{11056FAF-5B35-4BE7-84F9-E0F583955556}" srcId="{0AE97EF5-20D2-4931-8B65-393E1A99144D}" destId="{706D1996-E9BA-48D2-B356-8DAA9B0F0D4E}" srcOrd="2" destOrd="0" parTransId="{36D93392-C795-427F-8B35-632858E967DA}" sibTransId="{DE739DF2-4386-4CFB-B60D-DA0554659776}"/>
    <dgm:cxn modelId="{ACF6C5BB-EB06-44F4-A280-65FD35743DB7}" type="presOf" srcId="{E38CF397-5987-4630-BAFC-02EF3B363E82}" destId="{46518082-DA87-4CEE-9302-2A1818FA8BDA}" srcOrd="0" destOrd="0" presId="urn:microsoft.com/office/officeart/2005/8/layout/default"/>
    <dgm:cxn modelId="{B1E198C5-832A-445A-8387-77CE9C242922}" type="presOf" srcId="{706D1996-E9BA-48D2-B356-8DAA9B0F0D4E}" destId="{43A1766D-F10E-479F-A578-31A534E6BAD8}" srcOrd="0" destOrd="0" presId="urn:microsoft.com/office/officeart/2005/8/layout/default"/>
    <dgm:cxn modelId="{D8F130F3-E57B-424C-BF96-0CF3E919B283}" type="presOf" srcId="{B5AF3CF4-A867-4878-9175-3641CA395774}" destId="{07BEC846-AC90-45CB-8DD9-FDDBB083F023}" srcOrd="0" destOrd="0" presId="urn:microsoft.com/office/officeart/2005/8/layout/default"/>
    <dgm:cxn modelId="{BFE9BF03-CA73-471C-B20F-6A990112424B}" type="presParOf" srcId="{0605F8F2-04F2-4E72-B5D4-264294A226ED}" destId="{E336E09F-8934-4285-A861-B9C73800EE32}" srcOrd="0" destOrd="0" presId="urn:microsoft.com/office/officeart/2005/8/layout/default"/>
    <dgm:cxn modelId="{00FD4A85-65AF-4F14-B0A0-64C287F4A74D}" type="presParOf" srcId="{0605F8F2-04F2-4E72-B5D4-264294A226ED}" destId="{ABD11DEC-DA90-4574-B895-FBEE88B3B990}" srcOrd="1" destOrd="0" presId="urn:microsoft.com/office/officeart/2005/8/layout/default"/>
    <dgm:cxn modelId="{5C431523-82A3-4060-B2D4-6A90EF74ADCA}" type="presParOf" srcId="{0605F8F2-04F2-4E72-B5D4-264294A226ED}" destId="{487A2008-EC0F-4BE3-9EA3-DF087257C902}" srcOrd="2" destOrd="0" presId="urn:microsoft.com/office/officeart/2005/8/layout/default"/>
    <dgm:cxn modelId="{DDC11E88-170A-46C5-8F3B-466AD320A5FF}" type="presParOf" srcId="{0605F8F2-04F2-4E72-B5D4-264294A226ED}" destId="{F79E362D-D510-493D-A845-28682FAEC658}" srcOrd="3" destOrd="0" presId="urn:microsoft.com/office/officeart/2005/8/layout/default"/>
    <dgm:cxn modelId="{9F19090D-B9E5-4968-B787-8D3E5FF7023F}" type="presParOf" srcId="{0605F8F2-04F2-4E72-B5D4-264294A226ED}" destId="{43A1766D-F10E-479F-A578-31A534E6BAD8}" srcOrd="4" destOrd="0" presId="urn:microsoft.com/office/officeart/2005/8/layout/default"/>
    <dgm:cxn modelId="{EDD63FD1-FC37-496A-AC56-596ECF9E00EC}" type="presParOf" srcId="{0605F8F2-04F2-4E72-B5D4-264294A226ED}" destId="{C5EDE8EB-DCF6-4510-96F5-947F3FF855BE}" srcOrd="5" destOrd="0" presId="urn:microsoft.com/office/officeart/2005/8/layout/default"/>
    <dgm:cxn modelId="{5E5EA14B-9991-4826-966C-12735194EB2C}" type="presParOf" srcId="{0605F8F2-04F2-4E72-B5D4-264294A226ED}" destId="{07BEC846-AC90-45CB-8DD9-FDDBB083F023}" srcOrd="6" destOrd="0" presId="urn:microsoft.com/office/officeart/2005/8/layout/default"/>
    <dgm:cxn modelId="{04EF5775-5D75-4B32-BB41-7ADEE7D93648}" type="presParOf" srcId="{0605F8F2-04F2-4E72-B5D4-264294A226ED}" destId="{53CCF123-C03A-4A44-9F38-7CE4C0C8EE6E}" srcOrd="7" destOrd="0" presId="urn:microsoft.com/office/officeart/2005/8/layout/default"/>
    <dgm:cxn modelId="{1F3F4103-223B-42B9-87AA-F16529105B60}" type="presParOf" srcId="{0605F8F2-04F2-4E72-B5D4-264294A226ED}" destId="{63BF8B16-4CE7-4760-AE87-DADCF864AFA6}" srcOrd="8" destOrd="0" presId="urn:microsoft.com/office/officeart/2005/8/layout/default"/>
    <dgm:cxn modelId="{8B662156-9057-4992-9BF3-51CC1DD2EE34}" type="presParOf" srcId="{0605F8F2-04F2-4E72-B5D4-264294A226ED}" destId="{D7F3596C-1907-4617-BF1B-609C70430029}" srcOrd="9" destOrd="0" presId="urn:microsoft.com/office/officeart/2005/8/layout/default"/>
    <dgm:cxn modelId="{71CB93F9-C1E7-4C94-8BF4-9E65B829A5B0}" type="presParOf" srcId="{0605F8F2-04F2-4E72-B5D4-264294A226ED}" destId="{3F3A95FF-479D-4DE6-838B-9AC80FD39C95}" srcOrd="10" destOrd="0" presId="urn:microsoft.com/office/officeart/2005/8/layout/default"/>
    <dgm:cxn modelId="{2CCB7430-0578-4A6E-BCBA-9DEBCB658F57}" type="presParOf" srcId="{0605F8F2-04F2-4E72-B5D4-264294A226ED}" destId="{BC6A9C66-055C-4EDC-B81F-D3E95C8E0BB3}" srcOrd="11" destOrd="0" presId="urn:microsoft.com/office/officeart/2005/8/layout/default"/>
    <dgm:cxn modelId="{75F4CBFC-7CAF-4B47-9114-161527FE6FFF}" type="presParOf" srcId="{0605F8F2-04F2-4E72-B5D4-264294A226ED}" destId="{6E69D63D-66E3-4069-B894-5B923DAF177D}" srcOrd="12" destOrd="0" presId="urn:microsoft.com/office/officeart/2005/8/layout/default"/>
    <dgm:cxn modelId="{B4CE4B1D-330D-410E-B3DF-E9F3444F645A}" type="presParOf" srcId="{0605F8F2-04F2-4E72-B5D4-264294A226ED}" destId="{377BEDB4-F6E3-475E-BFDE-48BBD992713E}" srcOrd="13" destOrd="0" presId="urn:microsoft.com/office/officeart/2005/8/layout/default"/>
    <dgm:cxn modelId="{32A7A579-C79E-4A64-8989-4B239DD5B3E1}" type="presParOf" srcId="{0605F8F2-04F2-4E72-B5D4-264294A226ED}" destId="{5ED29B55-47D9-4C66-BC60-734F1FD25EC1}" srcOrd="14" destOrd="0" presId="urn:microsoft.com/office/officeart/2005/8/layout/default"/>
    <dgm:cxn modelId="{04FE6C2D-0A25-4D8C-A123-14D205AF3DCB}" type="presParOf" srcId="{0605F8F2-04F2-4E72-B5D4-264294A226ED}" destId="{F02A47ED-041D-4C2D-ABD4-8D97CD1393A4}" srcOrd="15" destOrd="0" presId="urn:microsoft.com/office/officeart/2005/8/layout/default"/>
    <dgm:cxn modelId="{786E5601-767A-4120-84B4-08833D104399}" type="presParOf" srcId="{0605F8F2-04F2-4E72-B5D4-264294A226ED}" destId="{A0BD516C-3321-41E6-986A-2D8B3392B076}" srcOrd="16" destOrd="0" presId="urn:microsoft.com/office/officeart/2005/8/layout/default"/>
    <dgm:cxn modelId="{8E75C0AA-7DBE-4DF0-9BB2-D4318EAB36FA}" type="presParOf" srcId="{0605F8F2-04F2-4E72-B5D4-264294A226ED}" destId="{2477CAE4-DE58-4A64-80C5-B672CCFDEC2D}" srcOrd="17" destOrd="0" presId="urn:microsoft.com/office/officeart/2005/8/layout/default"/>
    <dgm:cxn modelId="{EDA86590-214D-4B8E-8F41-F71919C9B594}" type="presParOf" srcId="{0605F8F2-04F2-4E72-B5D4-264294A226ED}" destId="{1A6A6051-0F43-4085-BC24-E4659F227DC8}" srcOrd="18" destOrd="0" presId="urn:microsoft.com/office/officeart/2005/8/layout/default"/>
    <dgm:cxn modelId="{0C006A81-EABC-4D5F-8696-1FE7AEC2343A}" type="presParOf" srcId="{0605F8F2-04F2-4E72-B5D4-264294A226ED}" destId="{D889385A-9E33-4294-96A3-8AA6B45EC6CB}" srcOrd="19" destOrd="0" presId="urn:microsoft.com/office/officeart/2005/8/layout/default"/>
    <dgm:cxn modelId="{0DBFC46D-7D50-4F78-8C69-45BF7FD4D106}" type="presParOf" srcId="{0605F8F2-04F2-4E72-B5D4-264294A226ED}" destId="{C9AA378C-160C-422C-861E-9BBC80C5C837}" srcOrd="20" destOrd="0" presId="urn:microsoft.com/office/officeart/2005/8/layout/default"/>
    <dgm:cxn modelId="{A20E7FD4-D57B-47BF-9844-2739A68CD0EA}" type="presParOf" srcId="{0605F8F2-04F2-4E72-B5D4-264294A226ED}" destId="{0F18070F-0AF0-4F32-9FC5-6A5D81A4E9D9}" srcOrd="21" destOrd="0" presId="urn:microsoft.com/office/officeart/2005/8/layout/default"/>
    <dgm:cxn modelId="{808084F6-9BD0-48CE-B96A-51D8BFB61F5E}" type="presParOf" srcId="{0605F8F2-04F2-4E72-B5D4-264294A226ED}" destId="{46518082-DA87-4CEE-9302-2A1818FA8BDA}"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79513E92-BC86-4310-9074-847B361E8251}"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s-ES"/>
        </a:p>
      </dgm:t>
    </dgm:pt>
    <dgm:pt modelId="{BF428323-3991-474F-9382-5B8BB6261527}">
      <dgm:prSet phldrT="[Texto]"/>
      <dgm:spPr/>
      <dgm:t>
        <a:bodyPr/>
        <a:lstStyle/>
        <a:p>
          <a:r>
            <a:rPr lang="es-ES" noProof="0" dirty="0"/>
            <a:t>“Si tuviésemos ordenadores que fuesen capaces de saber todo lo que pudiese saberse de cualquier cosa</a:t>
          </a:r>
          <a:endParaRPr lang="es-ES" dirty="0"/>
        </a:p>
      </dgm:t>
    </dgm:pt>
    <dgm:pt modelId="{ADF89482-A8AC-4C70-9896-6ED3FD746DAE}" type="parTrans" cxnId="{7D4E8EE5-A915-4DFD-B448-DF860C6BA2A4}">
      <dgm:prSet/>
      <dgm:spPr/>
      <dgm:t>
        <a:bodyPr/>
        <a:lstStyle/>
        <a:p>
          <a:endParaRPr lang="es-ES"/>
        </a:p>
      </dgm:t>
    </dgm:pt>
    <dgm:pt modelId="{A16F0A50-6BD0-497A-84CC-FCE333361008}" type="sibTrans" cxnId="{7D4E8EE5-A915-4DFD-B448-DF860C6BA2A4}">
      <dgm:prSet/>
      <dgm:spPr/>
      <dgm:t>
        <a:bodyPr/>
        <a:lstStyle/>
        <a:p>
          <a:endParaRPr lang="es-ES"/>
        </a:p>
      </dgm:t>
    </dgm:pt>
    <dgm:pt modelId="{5C77C7A5-CB05-424F-A4E8-650C2F7D1815}">
      <dgm:prSet/>
      <dgm:spPr/>
      <dgm:t>
        <a:bodyPr/>
        <a:lstStyle/>
        <a:p>
          <a:r>
            <a:rPr lang="es-ES" noProof="0" dirty="0"/>
            <a:t>–usando datos recolectados sin intervención humana– </a:t>
          </a:r>
        </a:p>
      </dgm:t>
    </dgm:pt>
    <dgm:pt modelId="{4210B02B-F644-48C5-A414-55B1953E7305}" type="parTrans" cxnId="{F9964107-826E-4158-9DF7-927B8028DD4E}">
      <dgm:prSet/>
      <dgm:spPr/>
      <dgm:t>
        <a:bodyPr/>
        <a:lstStyle/>
        <a:p>
          <a:endParaRPr lang="es-ES"/>
        </a:p>
      </dgm:t>
    </dgm:pt>
    <dgm:pt modelId="{357E769C-EA3C-40F6-9964-A6B66BA99623}" type="sibTrans" cxnId="{F9964107-826E-4158-9DF7-927B8028DD4E}">
      <dgm:prSet/>
      <dgm:spPr/>
      <dgm:t>
        <a:bodyPr/>
        <a:lstStyle/>
        <a:p>
          <a:endParaRPr lang="es-ES"/>
        </a:p>
      </dgm:t>
    </dgm:pt>
    <dgm:pt modelId="{30FA29A8-8991-467B-B16C-38EE2DE81B45}">
      <dgm:prSet/>
      <dgm:spPr/>
      <dgm:t>
        <a:bodyPr/>
        <a:lstStyle/>
        <a:p>
          <a:r>
            <a:rPr lang="es-ES" noProof="0" dirty="0"/>
            <a:t>seríamos capaces de hacer seguimiento detallado de todo, y poder reducir de forma importante los costes y malos usos. </a:t>
          </a:r>
        </a:p>
      </dgm:t>
    </dgm:pt>
    <dgm:pt modelId="{3B1CFD3B-BECB-4B5B-9C60-F60F2F8D0CF0}" type="parTrans" cxnId="{009AE0FE-4C82-490A-A661-F521518DE5B6}">
      <dgm:prSet/>
      <dgm:spPr/>
      <dgm:t>
        <a:bodyPr/>
        <a:lstStyle/>
        <a:p>
          <a:endParaRPr lang="es-ES"/>
        </a:p>
      </dgm:t>
    </dgm:pt>
    <dgm:pt modelId="{5FBFED16-2BCC-4BF0-B858-8D0A8EE1CC27}" type="sibTrans" cxnId="{009AE0FE-4C82-490A-A661-F521518DE5B6}">
      <dgm:prSet/>
      <dgm:spPr/>
      <dgm:t>
        <a:bodyPr/>
        <a:lstStyle/>
        <a:p>
          <a:endParaRPr lang="es-ES"/>
        </a:p>
      </dgm:t>
    </dgm:pt>
    <dgm:pt modelId="{DE657ED3-4F71-4D02-8FAB-33A4AAE0272A}">
      <dgm:prSet/>
      <dgm:spPr/>
      <dgm:t>
        <a:bodyPr/>
        <a:lstStyle/>
        <a:p>
          <a:r>
            <a:rPr lang="es-ES" noProof="0" dirty="0"/>
            <a:t>Sabríamos cuando las cosas necesitan ser reparadas, cambiadas o recuperadas, incluso si están frescas o pasadas de fecha. </a:t>
          </a:r>
        </a:p>
      </dgm:t>
    </dgm:pt>
    <dgm:pt modelId="{54EB6D62-6B3A-43A2-B638-361EDB9299D6}" type="parTrans" cxnId="{1389B139-904C-4983-BF79-9EFCB4592197}">
      <dgm:prSet/>
      <dgm:spPr/>
      <dgm:t>
        <a:bodyPr/>
        <a:lstStyle/>
        <a:p>
          <a:endParaRPr lang="es-ES"/>
        </a:p>
      </dgm:t>
    </dgm:pt>
    <dgm:pt modelId="{8FD2E34C-6902-4410-B31B-B426B6BB8EB6}" type="sibTrans" cxnId="{1389B139-904C-4983-BF79-9EFCB4592197}">
      <dgm:prSet/>
      <dgm:spPr/>
      <dgm:t>
        <a:bodyPr/>
        <a:lstStyle/>
        <a:p>
          <a:endParaRPr lang="es-ES"/>
        </a:p>
      </dgm:t>
    </dgm:pt>
    <dgm:pt modelId="{F843011A-AA10-4D15-BC1E-C467033DB1EF}">
      <dgm:prSet/>
      <dgm:spPr/>
      <dgm:t>
        <a:bodyPr/>
        <a:lstStyle/>
        <a:p>
          <a:r>
            <a:rPr lang="es-ES" noProof="0" dirty="0"/>
            <a:t>El Internet de las Cosas tiene el potencial de cambiar el mundo como ya lo hizo Internet. O incluso más.”</a:t>
          </a:r>
        </a:p>
      </dgm:t>
    </dgm:pt>
    <dgm:pt modelId="{F04B9EDC-B1F1-4B5F-9CBD-210579B5E186}" type="parTrans" cxnId="{9302D07E-704C-4DFC-ACED-4C67B425B3C3}">
      <dgm:prSet/>
      <dgm:spPr/>
      <dgm:t>
        <a:bodyPr/>
        <a:lstStyle/>
        <a:p>
          <a:endParaRPr lang="es-ES"/>
        </a:p>
      </dgm:t>
    </dgm:pt>
    <dgm:pt modelId="{24879514-24CB-4136-81BF-34C2B8F9F646}" type="sibTrans" cxnId="{9302D07E-704C-4DFC-ACED-4C67B425B3C3}">
      <dgm:prSet/>
      <dgm:spPr/>
      <dgm:t>
        <a:bodyPr/>
        <a:lstStyle/>
        <a:p>
          <a:endParaRPr lang="es-ES"/>
        </a:p>
      </dgm:t>
    </dgm:pt>
    <dgm:pt modelId="{D50D9BC3-F0F0-4F32-8E47-3561351FFBA5}" type="pres">
      <dgm:prSet presAssocID="{79513E92-BC86-4310-9074-847B361E8251}" presName="linear" presStyleCnt="0">
        <dgm:presLayoutVars>
          <dgm:animLvl val="lvl"/>
          <dgm:resizeHandles val="exact"/>
        </dgm:presLayoutVars>
      </dgm:prSet>
      <dgm:spPr/>
    </dgm:pt>
    <dgm:pt modelId="{FFC4078A-E650-4435-AD93-428B59A03713}" type="pres">
      <dgm:prSet presAssocID="{BF428323-3991-474F-9382-5B8BB6261527}" presName="parentText" presStyleLbl="node1" presStyleIdx="0" presStyleCnt="5">
        <dgm:presLayoutVars>
          <dgm:chMax val="0"/>
          <dgm:bulletEnabled val="1"/>
        </dgm:presLayoutVars>
      </dgm:prSet>
      <dgm:spPr/>
    </dgm:pt>
    <dgm:pt modelId="{56B898C9-7CCE-4118-A219-9E6EEDB2658F}" type="pres">
      <dgm:prSet presAssocID="{A16F0A50-6BD0-497A-84CC-FCE333361008}" presName="spacer" presStyleCnt="0"/>
      <dgm:spPr/>
    </dgm:pt>
    <dgm:pt modelId="{A5A968B4-993D-4FCB-B5C2-F8E73320D426}" type="pres">
      <dgm:prSet presAssocID="{5C77C7A5-CB05-424F-A4E8-650C2F7D1815}" presName="parentText" presStyleLbl="node1" presStyleIdx="1" presStyleCnt="5">
        <dgm:presLayoutVars>
          <dgm:chMax val="0"/>
          <dgm:bulletEnabled val="1"/>
        </dgm:presLayoutVars>
      </dgm:prSet>
      <dgm:spPr/>
    </dgm:pt>
    <dgm:pt modelId="{DF246D78-672D-4252-B342-A6A67777D89D}" type="pres">
      <dgm:prSet presAssocID="{357E769C-EA3C-40F6-9964-A6B66BA99623}" presName="spacer" presStyleCnt="0"/>
      <dgm:spPr/>
    </dgm:pt>
    <dgm:pt modelId="{EF714D8F-D5A9-4528-BE82-C658FC704FCE}" type="pres">
      <dgm:prSet presAssocID="{30FA29A8-8991-467B-B16C-38EE2DE81B45}" presName="parentText" presStyleLbl="node1" presStyleIdx="2" presStyleCnt="5">
        <dgm:presLayoutVars>
          <dgm:chMax val="0"/>
          <dgm:bulletEnabled val="1"/>
        </dgm:presLayoutVars>
      </dgm:prSet>
      <dgm:spPr/>
    </dgm:pt>
    <dgm:pt modelId="{85D81192-1224-47C1-80B9-2F16042243BD}" type="pres">
      <dgm:prSet presAssocID="{5FBFED16-2BCC-4BF0-B858-8D0A8EE1CC27}" presName="spacer" presStyleCnt="0"/>
      <dgm:spPr/>
    </dgm:pt>
    <dgm:pt modelId="{D238DF9E-215E-4643-AB43-D613C391C186}" type="pres">
      <dgm:prSet presAssocID="{DE657ED3-4F71-4D02-8FAB-33A4AAE0272A}" presName="parentText" presStyleLbl="node1" presStyleIdx="3" presStyleCnt="5">
        <dgm:presLayoutVars>
          <dgm:chMax val="0"/>
          <dgm:bulletEnabled val="1"/>
        </dgm:presLayoutVars>
      </dgm:prSet>
      <dgm:spPr/>
    </dgm:pt>
    <dgm:pt modelId="{A9C2676B-36CA-4E0E-B91C-7475DD661A3C}" type="pres">
      <dgm:prSet presAssocID="{8FD2E34C-6902-4410-B31B-B426B6BB8EB6}" presName="spacer" presStyleCnt="0"/>
      <dgm:spPr/>
    </dgm:pt>
    <dgm:pt modelId="{6FF98F4F-A46F-4537-8FFB-A47AC6BA51E4}" type="pres">
      <dgm:prSet presAssocID="{F843011A-AA10-4D15-BC1E-C467033DB1EF}" presName="parentText" presStyleLbl="node1" presStyleIdx="4" presStyleCnt="5">
        <dgm:presLayoutVars>
          <dgm:chMax val="0"/>
          <dgm:bulletEnabled val="1"/>
        </dgm:presLayoutVars>
      </dgm:prSet>
      <dgm:spPr/>
    </dgm:pt>
  </dgm:ptLst>
  <dgm:cxnLst>
    <dgm:cxn modelId="{F9964107-826E-4158-9DF7-927B8028DD4E}" srcId="{79513E92-BC86-4310-9074-847B361E8251}" destId="{5C77C7A5-CB05-424F-A4E8-650C2F7D1815}" srcOrd="1" destOrd="0" parTransId="{4210B02B-F644-48C5-A414-55B1953E7305}" sibTransId="{357E769C-EA3C-40F6-9964-A6B66BA99623}"/>
    <dgm:cxn modelId="{C54B5412-13EA-4997-AF3A-951576703DA5}" type="presOf" srcId="{DE657ED3-4F71-4D02-8FAB-33A4AAE0272A}" destId="{D238DF9E-215E-4643-AB43-D613C391C186}" srcOrd="0" destOrd="0" presId="urn:microsoft.com/office/officeart/2005/8/layout/vList2"/>
    <dgm:cxn modelId="{DA0C6423-DC06-44E2-B331-2E9B39F1F998}" type="presOf" srcId="{5C77C7A5-CB05-424F-A4E8-650C2F7D1815}" destId="{A5A968B4-993D-4FCB-B5C2-F8E73320D426}" srcOrd="0" destOrd="0" presId="urn:microsoft.com/office/officeart/2005/8/layout/vList2"/>
    <dgm:cxn modelId="{1389B139-904C-4983-BF79-9EFCB4592197}" srcId="{79513E92-BC86-4310-9074-847B361E8251}" destId="{DE657ED3-4F71-4D02-8FAB-33A4AAE0272A}" srcOrd="3" destOrd="0" parTransId="{54EB6D62-6B3A-43A2-B638-361EDB9299D6}" sibTransId="{8FD2E34C-6902-4410-B31B-B426B6BB8EB6}"/>
    <dgm:cxn modelId="{5F0A825D-60B5-4FA7-B31F-50B842A97A4C}" type="presOf" srcId="{79513E92-BC86-4310-9074-847B361E8251}" destId="{D50D9BC3-F0F0-4F32-8E47-3561351FFBA5}" srcOrd="0" destOrd="0" presId="urn:microsoft.com/office/officeart/2005/8/layout/vList2"/>
    <dgm:cxn modelId="{9302D07E-704C-4DFC-ACED-4C67B425B3C3}" srcId="{79513E92-BC86-4310-9074-847B361E8251}" destId="{F843011A-AA10-4D15-BC1E-C467033DB1EF}" srcOrd="4" destOrd="0" parTransId="{F04B9EDC-B1F1-4B5F-9CBD-210579B5E186}" sibTransId="{24879514-24CB-4136-81BF-34C2B8F9F646}"/>
    <dgm:cxn modelId="{3C7549C5-D6FC-47B3-BC85-68AB81546DCE}" type="presOf" srcId="{BF428323-3991-474F-9382-5B8BB6261527}" destId="{FFC4078A-E650-4435-AD93-428B59A03713}" srcOrd="0" destOrd="0" presId="urn:microsoft.com/office/officeart/2005/8/layout/vList2"/>
    <dgm:cxn modelId="{D17016CF-695E-4CA7-905C-0BECC500B19E}" type="presOf" srcId="{F843011A-AA10-4D15-BC1E-C467033DB1EF}" destId="{6FF98F4F-A46F-4537-8FFB-A47AC6BA51E4}" srcOrd="0" destOrd="0" presId="urn:microsoft.com/office/officeart/2005/8/layout/vList2"/>
    <dgm:cxn modelId="{7D4E8EE5-A915-4DFD-B448-DF860C6BA2A4}" srcId="{79513E92-BC86-4310-9074-847B361E8251}" destId="{BF428323-3991-474F-9382-5B8BB6261527}" srcOrd="0" destOrd="0" parTransId="{ADF89482-A8AC-4C70-9896-6ED3FD746DAE}" sibTransId="{A16F0A50-6BD0-497A-84CC-FCE333361008}"/>
    <dgm:cxn modelId="{FBA13CE7-257F-4E88-BCB1-AA045EBF8654}" type="presOf" srcId="{30FA29A8-8991-467B-B16C-38EE2DE81B45}" destId="{EF714D8F-D5A9-4528-BE82-C658FC704FCE}" srcOrd="0" destOrd="0" presId="urn:microsoft.com/office/officeart/2005/8/layout/vList2"/>
    <dgm:cxn modelId="{009AE0FE-4C82-490A-A661-F521518DE5B6}" srcId="{79513E92-BC86-4310-9074-847B361E8251}" destId="{30FA29A8-8991-467B-B16C-38EE2DE81B45}" srcOrd="2" destOrd="0" parTransId="{3B1CFD3B-BECB-4B5B-9C60-F60F2F8D0CF0}" sibTransId="{5FBFED16-2BCC-4BF0-B858-8D0A8EE1CC27}"/>
    <dgm:cxn modelId="{53152A93-0888-47D2-AD86-43E772EEDC2C}" type="presParOf" srcId="{D50D9BC3-F0F0-4F32-8E47-3561351FFBA5}" destId="{FFC4078A-E650-4435-AD93-428B59A03713}" srcOrd="0" destOrd="0" presId="urn:microsoft.com/office/officeart/2005/8/layout/vList2"/>
    <dgm:cxn modelId="{9596223E-95D7-4D9A-9BD0-0B184CD53F88}" type="presParOf" srcId="{D50D9BC3-F0F0-4F32-8E47-3561351FFBA5}" destId="{56B898C9-7CCE-4118-A219-9E6EEDB2658F}" srcOrd="1" destOrd="0" presId="urn:microsoft.com/office/officeart/2005/8/layout/vList2"/>
    <dgm:cxn modelId="{112A8476-BB1F-40E9-9DD8-410B58EBA9E6}" type="presParOf" srcId="{D50D9BC3-F0F0-4F32-8E47-3561351FFBA5}" destId="{A5A968B4-993D-4FCB-B5C2-F8E73320D426}" srcOrd="2" destOrd="0" presId="urn:microsoft.com/office/officeart/2005/8/layout/vList2"/>
    <dgm:cxn modelId="{EDAB0F3E-23F7-4A9E-8B53-BB86E34225AE}" type="presParOf" srcId="{D50D9BC3-F0F0-4F32-8E47-3561351FFBA5}" destId="{DF246D78-672D-4252-B342-A6A67777D89D}" srcOrd="3" destOrd="0" presId="urn:microsoft.com/office/officeart/2005/8/layout/vList2"/>
    <dgm:cxn modelId="{CD04CF10-6D93-43CE-9114-10485A1CC3CE}" type="presParOf" srcId="{D50D9BC3-F0F0-4F32-8E47-3561351FFBA5}" destId="{EF714D8F-D5A9-4528-BE82-C658FC704FCE}" srcOrd="4" destOrd="0" presId="urn:microsoft.com/office/officeart/2005/8/layout/vList2"/>
    <dgm:cxn modelId="{D6A905C2-B03A-4B5D-85FE-432186048264}" type="presParOf" srcId="{D50D9BC3-F0F0-4F32-8E47-3561351FFBA5}" destId="{85D81192-1224-47C1-80B9-2F16042243BD}" srcOrd="5" destOrd="0" presId="urn:microsoft.com/office/officeart/2005/8/layout/vList2"/>
    <dgm:cxn modelId="{63FBC2E1-EC67-4DD8-AAB7-160AD399EBC0}" type="presParOf" srcId="{D50D9BC3-F0F0-4F32-8E47-3561351FFBA5}" destId="{D238DF9E-215E-4643-AB43-D613C391C186}" srcOrd="6" destOrd="0" presId="urn:microsoft.com/office/officeart/2005/8/layout/vList2"/>
    <dgm:cxn modelId="{74E480D3-F6A3-4E23-8FBC-DE22A69274E9}" type="presParOf" srcId="{D50D9BC3-F0F0-4F32-8E47-3561351FFBA5}" destId="{A9C2676B-36CA-4E0E-B91C-7475DD661A3C}" srcOrd="7" destOrd="0" presId="urn:microsoft.com/office/officeart/2005/8/layout/vList2"/>
    <dgm:cxn modelId="{BDA8DC2C-46EE-4CAE-BD99-B6E9CA566DFC}" type="presParOf" srcId="{D50D9BC3-F0F0-4F32-8E47-3561351FFBA5}" destId="{6FF98F4F-A46F-4537-8FFB-A47AC6BA51E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DC20EE99-C6DF-40D8-B863-EF2EAED81CB1}" type="doc">
      <dgm:prSet loTypeId="urn:microsoft.com/office/officeart/2005/8/layout/process3" loCatId="process" qsTypeId="urn:microsoft.com/office/officeart/2005/8/quickstyle/simple1" qsCatId="simple" csTypeId="urn:microsoft.com/office/officeart/2005/8/colors/colorful3" csCatId="colorful" phldr="1"/>
      <dgm:spPr/>
      <dgm:t>
        <a:bodyPr/>
        <a:lstStyle/>
        <a:p>
          <a:endParaRPr lang="es-ES"/>
        </a:p>
      </dgm:t>
    </dgm:pt>
    <dgm:pt modelId="{2840530A-D9F1-410D-8185-09217C60CDB9}">
      <dgm:prSet phldrT="[Texto]"/>
      <dgm:spPr/>
      <dgm:t>
        <a:bodyPr/>
        <a:lstStyle/>
        <a:p>
          <a:r>
            <a:rPr lang="es-ES" dirty="0"/>
            <a:t>Si los objetos</a:t>
          </a:r>
        </a:p>
      </dgm:t>
    </dgm:pt>
    <dgm:pt modelId="{029DE76F-7445-4440-B3EF-8E0BF9C2C36C}" type="parTrans" cxnId="{E9F72AD9-3010-45EB-8C59-6E9A56B56675}">
      <dgm:prSet/>
      <dgm:spPr/>
      <dgm:t>
        <a:bodyPr/>
        <a:lstStyle/>
        <a:p>
          <a:endParaRPr lang="es-ES"/>
        </a:p>
      </dgm:t>
    </dgm:pt>
    <dgm:pt modelId="{9563C057-3625-4FF1-925E-BE47FCCEB25A}" type="sibTrans" cxnId="{E9F72AD9-3010-45EB-8C59-6E9A56B56675}">
      <dgm:prSet/>
      <dgm:spPr/>
      <dgm:t>
        <a:bodyPr/>
        <a:lstStyle/>
        <a:p>
          <a:endParaRPr lang="es-ES" dirty="0"/>
        </a:p>
      </dgm:t>
    </dgm:pt>
    <dgm:pt modelId="{C570E7AC-77EA-4E75-A953-93A6F28DBAAE}">
      <dgm:prSet phldrT="[Texto]"/>
      <dgm:spPr/>
      <dgm:t>
        <a:bodyPr/>
        <a:lstStyle/>
        <a:p>
          <a:r>
            <a:rPr lang="es-ES" dirty="0"/>
            <a:t>Libros</a:t>
          </a:r>
        </a:p>
      </dgm:t>
    </dgm:pt>
    <dgm:pt modelId="{054AEE83-E9D4-4952-B47C-E86683D0F5AA}" type="parTrans" cxnId="{FAE10A05-4E99-4376-A773-6185EE1BD75D}">
      <dgm:prSet/>
      <dgm:spPr/>
      <dgm:t>
        <a:bodyPr/>
        <a:lstStyle/>
        <a:p>
          <a:endParaRPr lang="es-ES"/>
        </a:p>
      </dgm:t>
    </dgm:pt>
    <dgm:pt modelId="{D5D017A2-F5DE-4E40-8919-46676CA8E263}" type="sibTrans" cxnId="{FAE10A05-4E99-4376-A773-6185EE1BD75D}">
      <dgm:prSet/>
      <dgm:spPr/>
      <dgm:t>
        <a:bodyPr/>
        <a:lstStyle/>
        <a:p>
          <a:endParaRPr lang="es-ES"/>
        </a:p>
      </dgm:t>
    </dgm:pt>
    <dgm:pt modelId="{F1C686CA-00EF-45F2-8A21-94DFF4EF9844}">
      <dgm:prSet phldrT="[Texto]"/>
      <dgm:spPr/>
      <dgm:t>
        <a:bodyPr/>
        <a:lstStyle/>
        <a:p>
          <a:r>
            <a:rPr lang="es-ES" dirty="0"/>
            <a:t>estuvieran conectados a internet</a:t>
          </a:r>
        </a:p>
      </dgm:t>
    </dgm:pt>
    <dgm:pt modelId="{AEDEE42F-A280-424B-B9EE-BC6E79CEBDA5}" type="parTrans" cxnId="{3388961A-D245-4B35-9AA4-B21C6D6F79A8}">
      <dgm:prSet/>
      <dgm:spPr/>
      <dgm:t>
        <a:bodyPr/>
        <a:lstStyle/>
        <a:p>
          <a:endParaRPr lang="es-ES"/>
        </a:p>
      </dgm:t>
    </dgm:pt>
    <dgm:pt modelId="{D61412B8-C9B0-419B-A5D4-FC44DC18BAB5}" type="sibTrans" cxnId="{3388961A-D245-4B35-9AA4-B21C6D6F79A8}">
      <dgm:prSet/>
      <dgm:spPr/>
      <dgm:t>
        <a:bodyPr/>
        <a:lstStyle/>
        <a:p>
          <a:endParaRPr lang="es-ES"/>
        </a:p>
      </dgm:t>
    </dgm:pt>
    <dgm:pt modelId="{23AB025C-2F13-4962-8504-AA8A927E48AE}">
      <dgm:prSet phldrT="[Texto]"/>
      <dgm:spPr/>
      <dgm:t>
        <a:bodyPr/>
        <a:lstStyle/>
        <a:p>
          <a:r>
            <a:rPr lang="es-ES" dirty="0"/>
            <a:t>No existirían (en teoría): Artículos fuera de stock o medicinas caducas</a:t>
          </a:r>
        </a:p>
      </dgm:t>
    </dgm:pt>
    <dgm:pt modelId="{76843F03-F13B-40B4-BA47-036514E22530}" type="parTrans" cxnId="{F931B73E-B6F6-4101-83C5-03FE9F8DA808}">
      <dgm:prSet/>
      <dgm:spPr/>
      <dgm:t>
        <a:bodyPr/>
        <a:lstStyle/>
        <a:p>
          <a:endParaRPr lang="es-ES"/>
        </a:p>
      </dgm:t>
    </dgm:pt>
    <dgm:pt modelId="{D823F89C-5D26-4E04-B0A8-389567B3CCD2}" type="sibTrans" cxnId="{F931B73E-B6F6-4101-83C5-03FE9F8DA808}">
      <dgm:prSet/>
      <dgm:spPr/>
      <dgm:t>
        <a:bodyPr/>
        <a:lstStyle/>
        <a:p>
          <a:endParaRPr lang="es-ES"/>
        </a:p>
      </dgm:t>
    </dgm:pt>
    <dgm:pt modelId="{CCD9C450-1AAD-4229-81EE-FFD28F720B93}">
      <dgm:prSet phldrT="[Texto]"/>
      <dgm:spPr/>
      <dgm:t>
        <a:bodyPr/>
        <a:lstStyle/>
        <a:p>
          <a:r>
            <a:rPr lang="es-ES" dirty="0"/>
            <a:t>Termostatos</a:t>
          </a:r>
        </a:p>
      </dgm:t>
    </dgm:pt>
    <dgm:pt modelId="{F7615141-4B24-473E-BFB3-5E076D611963}" type="parTrans" cxnId="{DAC80C82-D3B0-420F-98AC-7FE7E77434FA}">
      <dgm:prSet/>
      <dgm:spPr/>
      <dgm:t>
        <a:bodyPr/>
        <a:lstStyle/>
        <a:p>
          <a:endParaRPr lang="es-ES"/>
        </a:p>
      </dgm:t>
    </dgm:pt>
    <dgm:pt modelId="{204ED0DE-E846-4AF2-99D7-F66996F7B125}" type="sibTrans" cxnId="{DAC80C82-D3B0-420F-98AC-7FE7E77434FA}">
      <dgm:prSet/>
      <dgm:spPr/>
      <dgm:t>
        <a:bodyPr/>
        <a:lstStyle/>
        <a:p>
          <a:endParaRPr lang="es-ES"/>
        </a:p>
      </dgm:t>
    </dgm:pt>
    <dgm:pt modelId="{DD2D7594-DF03-4621-BB1A-3A804640B7F8}">
      <dgm:prSet phldrT="[Texto]"/>
      <dgm:spPr/>
      <dgm:t>
        <a:bodyPr/>
        <a:lstStyle/>
        <a:p>
          <a:r>
            <a:rPr lang="es-ES" dirty="0"/>
            <a:t>Refrigeradores</a:t>
          </a:r>
        </a:p>
      </dgm:t>
    </dgm:pt>
    <dgm:pt modelId="{A3C8C383-0F02-47B3-828D-D2D2DDE8D44D}" type="parTrans" cxnId="{C14F162B-C085-4C3E-A991-731803CAD9AD}">
      <dgm:prSet/>
      <dgm:spPr/>
      <dgm:t>
        <a:bodyPr/>
        <a:lstStyle/>
        <a:p>
          <a:endParaRPr lang="es-ES"/>
        </a:p>
      </dgm:t>
    </dgm:pt>
    <dgm:pt modelId="{85904FC2-E59E-463B-B6A8-D83FF68590FF}" type="sibTrans" cxnId="{C14F162B-C085-4C3E-A991-731803CAD9AD}">
      <dgm:prSet/>
      <dgm:spPr/>
      <dgm:t>
        <a:bodyPr/>
        <a:lstStyle/>
        <a:p>
          <a:endParaRPr lang="es-ES"/>
        </a:p>
      </dgm:t>
    </dgm:pt>
    <dgm:pt modelId="{62127191-A961-4E9D-8A50-D107D5331103}">
      <dgm:prSet phldrT="[Texto]"/>
      <dgm:spPr/>
      <dgm:t>
        <a:bodyPr/>
        <a:lstStyle/>
        <a:p>
          <a:r>
            <a:rPr lang="es-ES" dirty="0"/>
            <a:t>La paquetería</a:t>
          </a:r>
        </a:p>
      </dgm:t>
    </dgm:pt>
    <dgm:pt modelId="{DF4B1745-35C6-482B-8631-88407B8B27A5}" type="parTrans" cxnId="{46B64D1E-C2FF-4FB1-BA18-F08DCBC0F789}">
      <dgm:prSet/>
      <dgm:spPr/>
      <dgm:t>
        <a:bodyPr/>
        <a:lstStyle/>
        <a:p>
          <a:endParaRPr lang="es-ES"/>
        </a:p>
      </dgm:t>
    </dgm:pt>
    <dgm:pt modelId="{70439D3C-BF6D-40B2-8144-64470226531D}" type="sibTrans" cxnId="{46B64D1E-C2FF-4FB1-BA18-F08DCBC0F789}">
      <dgm:prSet/>
      <dgm:spPr/>
      <dgm:t>
        <a:bodyPr/>
        <a:lstStyle/>
        <a:p>
          <a:endParaRPr lang="es-ES"/>
        </a:p>
      </dgm:t>
    </dgm:pt>
    <dgm:pt modelId="{D44F075C-076E-419F-9592-29E2607738B5}">
      <dgm:prSet phldrT="[Texto]"/>
      <dgm:spPr/>
      <dgm:t>
        <a:bodyPr/>
        <a:lstStyle/>
        <a:p>
          <a:r>
            <a:rPr lang="es-ES" dirty="0"/>
            <a:t>Lámparas</a:t>
          </a:r>
        </a:p>
      </dgm:t>
    </dgm:pt>
    <dgm:pt modelId="{E63FF42A-E9F6-49AE-8C91-2804F7109245}" type="parTrans" cxnId="{6BCA334C-DFF8-4B03-8D8C-D98B111A43EE}">
      <dgm:prSet/>
      <dgm:spPr/>
      <dgm:t>
        <a:bodyPr/>
        <a:lstStyle/>
        <a:p>
          <a:endParaRPr lang="es-ES"/>
        </a:p>
      </dgm:t>
    </dgm:pt>
    <dgm:pt modelId="{F9AE3916-C124-4CB4-8288-950DBE8D7A9D}" type="sibTrans" cxnId="{6BCA334C-DFF8-4B03-8D8C-D98B111A43EE}">
      <dgm:prSet/>
      <dgm:spPr/>
      <dgm:t>
        <a:bodyPr/>
        <a:lstStyle/>
        <a:p>
          <a:endParaRPr lang="es-ES"/>
        </a:p>
      </dgm:t>
    </dgm:pt>
    <dgm:pt modelId="{E26C5609-C59C-4F97-9DD4-CBD76F8F870F}">
      <dgm:prSet phldrT="[Texto]"/>
      <dgm:spPr/>
      <dgm:t>
        <a:bodyPr/>
        <a:lstStyle/>
        <a:p>
          <a:r>
            <a:rPr lang="es-ES" dirty="0"/>
            <a:t>Botiquines</a:t>
          </a:r>
        </a:p>
      </dgm:t>
    </dgm:pt>
    <dgm:pt modelId="{D69BB2E5-2BA9-41B6-A0A8-1A7ABA0C6FBB}" type="parTrans" cxnId="{45904579-B36D-45AC-B42D-3B723EB5F9B8}">
      <dgm:prSet/>
      <dgm:spPr/>
      <dgm:t>
        <a:bodyPr/>
        <a:lstStyle/>
        <a:p>
          <a:endParaRPr lang="es-ES"/>
        </a:p>
      </dgm:t>
    </dgm:pt>
    <dgm:pt modelId="{921FA118-E311-4CD5-A29D-682BA22A8FD8}" type="sibTrans" cxnId="{45904579-B36D-45AC-B42D-3B723EB5F9B8}">
      <dgm:prSet/>
      <dgm:spPr/>
      <dgm:t>
        <a:bodyPr/>
        <a:lstStyle/>
        <a:p>
          <a:endParaRPr lang="es-ES"/>
        </a:p>
      </dgm:t>
    </dgm:pt>
    <dgm:pt modelId="{34D1B64E-9DD1-44C1-A286-DAE58ABE2FD3}">
      <dgm:prSet phldrT="[Texto]"/>
      <dgm:spPr/>
      <dgm:t>
        <a:bodyPr/>
        <a:lstStyle/>
        <a:p>
          <a:r>
            <a:rPr lang="es-ES" dirty="0"/>
            <a:t>Partes automotrices … </a:t>
          </a:r>
        </a:p>
      </dgm:t>
    </dgm:pt>
    <dgm:pt modelId="{457FE163-AAFA-4DA3-A7D8-12D0337E4CA6}" type="parTrans" cxnId="{BB76849A-9498-48C8-AB5C-429686AD0F71}">
      <dgm:prSet/>
      <dgm:spPr/>
      <dgm:t>
        <a:bodyPr/>
        <a:lstStyle/>
        <a:p>
          <a:endParaRPr lang="es-ES"/>
        </a:p>
      </dgm:t>
    </dgm:pt>
    <dgm:pt modelId="{490960EE-C034-4638-9664-4203C8DCC4FA}" type="sibTrans" cxnId="{BB76849A-9498-48C8-AB5C-429686AD0F71}">
      <dgm:prSet/>
      <dgm:spPr/>
      <dgm:t>
        <a:bodyPr/>
        <a:lstStyle/>
        <a:p>
          <a:endParaRPr lang="es-ES"/>
        </a:p>
      </dgm:t>
    </dgm:pt>
    <dgm:pt modelId="{3B9F5F27-4915-420E-A964-56A9D953957B}">
      <dgm:prSet phldrT="[Texto]"/>
      <dgm:spPr/>
      <dgm:t>
        <a:bodyPr/>
        <a:lstStyle/>
        <a:p>
          <a:r>
            <a:rPr lang="es-ES" dirty="0"/>
            <a:t>Sabríamos exactamente la ubicación</a:t>
          </a:r>
        </a:p>
      </dgm:t>
    </dgm:pt>
    <dgm:pt modelId="{2A423DD7-3C9A-4E31-838C-F2E529979A6C}" type="parTrans" cxnId="{E538F1A1-B748-4A84-AC2B-423E4DF89965}">
      <dgm:prSet/>
      <dgm:spPr/>
      <dgm:t>
        <a:bodyPr/>
        <a:lstStyle/>
        <a:p>
          <a:endParaRPr lang="es-ES"/>
        </a:p>
      </dgm:t>
    </dgm:pt>
    <dgm:pt modelId="{58157170-62EC-45EE-978C-CB121A6537BD}" type="sibTrans" cxnId="{E538F1A1-B748-4A84-AC2B-423E4DF89965}">
      <dgm:prSet/>
      <dgm:spPr/>
      <dgm:t>
        <a:bodyPr/>
        <a:lstStyle/>
        <a:p>
          <a:endParaRPr lang="es-ES"/>
        </a:p>
      </dgm:t>
    </dgm:pt>
    <dgm:pt modelId="{F68F2C4B-D4D3-4AFD-875F-42B66C9D176F}">
      <dgm:prSet phldrT="[Texto]"/>
      <dgm:spPr/>
      <dgm:t>
        <a:bodyPr/>
        <a:lstStyle/>
        <a:p>
          <a:r>
            <a:rPr lang="es-ES" dirty="0"/>
            <a:t>Cómo se consumen en el mundo</a:t>
          </a:r>
        </a:p>
      </dgm:t>
    </dgm:pt>
    <dgm:pt modelId="{1A56B0C3-8DE1-457C-8C4D-2A94F8CF3551}" type="parTrans" cxnId="{EF533F30-2346-4AD9-B155-BCC8A669435A}">
      <dgm:prSet/>
      <dgm:spPr/>
      <dgm:t>
        <a:bodyPr/>
        <a:lstStyle/>
        <a:p>
          <a:endParaRPr lang="es-ES"/>
        </a:p>
      </dgm:t>
    </dgm:pt>
    <dgm:pt modelId="{216B906F-8210-4979-8837-EF1EA0FECBBE}" type="sibTrans" cxnId="{EF533F30-2346-4AD9-B155-BCC8A669435A}">
      <dgm:prSet/>
      <dgm:spPr/>
      <dgm:t>
        <a:bodyPr/>
        <a:lstStyle/>
        <a:p>
          <a:endParaRPr lang="es-ES"/>
        </a:p>
      </dgm:t>
    </dgm:pt>
    <dgm:pt modelId="{5AF75072-5432-4634-AE04-2FB705DF78CF}">
      <dgm:prSet phldrT="[Texto]"/>
      <dgm:spPr/>
      <dgm:t>
        <a:bodyPr/>
        <a:lstStyle/>
        <a:p>
          <a:r>
            <a:rPr lang="es-ES" dirty="0"/>
            <a:t>El extravío sería cosa del pasado</a:t>
          </a:r>
        </a:p>
      </dgm:t>
    </dgm:pt>
    <dgm:pt modelId="{FFAB8241-9612-4086-B9F6-1889FCB49AB1}" type="parTrans" cxnId="{EAE80888-BDD8-450B-98A0-A7C1863573AD}">
      <dgm:prSet/>
      <dgm:spPr/>
      <dgm:t>
        <a:bodyPr/>
        <a:lstStyle/>
        <a:p>
          <a:endParaRPr lang="es-ES"/>
        </a:p>
      </dgm:t>
    </dgm:pt>
    <dgm:pt modelId="{94C2F496-1E84-40B9-8A79-5C5A3C069630}" type="sibTrans" cxnId="{EAE80888-BDD8-450B-98A0-A7C1863573AD}">
      <dgm:prSet/>
      <dgm:spPr/>
      <dgm:t>
        <a:bodyPr/>
        <a:lstStyle/>
        <a:p>
          <a:endParaRPr lang="es-ES"/>
        </a:p>
      </dgm:t>
    </dgm:pt>
    <dgm:pt modelId="{B84F4FB4-92BE-469B-8871-D09B83570FE3}">
      <dgm:prSet phldrT="[Texto]"/>
      <dgm:spPr/>
      <dgm:t>
        <a:bodyPr/>
        <a:lstStyle/>
        <a:p>
          <a:r>
            <a:rPr lang="es-ES" dirty="0"/>
            <a:t>Sabríamos qué está encendido y qué está apagado = ahorro energético.</a:t>
          </a:r>
        </a:p>
      </dgm:t>
    </dgm:pt>
    <dgm:pt modelId="{89BE2B0F-946E-47A8-8B52-81B88F3668EE}" type="parTrans" cxnId="{BDD74CA7-1247-47D4-8CE1-F08567AF6499}">
      <dgm:prSet/>
      <dgm:spPr/>
      <dgm:t>
        <a:bodyPr/>
        <a:lstStyle/>
        <a:p>
          <a:endParaRPr lang="es-ES"/>
        </a:p>
      </dgm:t>
    </dgm:pt>
    <dgm:pt modelId="{405492A6-D642-492B-963C-E36A65D97C70}" type="sibTrans" cxnId="{BDD74CA7-1247-47D4-8CE1-F08567AF6499}">
      <dgm:prSet/>
      <dgm:spPr/>
      <dgm:t>
        <a:bodyPr/>
        <a:lstStyle/>
        <a:p>
          <a:endParaRPr lang="es-ES"/>
        </a:p>
      </dgm:t>
    </dgm:pt>
    <dgm:pt modelId="{27A6A46D-CD6F-451E-B5C1-A211884AEE2A}" type="pres">
      <dgm:prSet presAssocID="{DC20EE99-C6DF-40D8-B863-EF2EAED81CB1}" presName="linearFlow" presStyleCnt="0">
        <dgm:presLayoutVars>
          <dgm:dir/>
          <dgm:animLvl val="lvl"/>
          <dgm:resizeHandles val="exact"/>
        </dgm:presLayoutVars>
      </dgm:prSet>
      <dgm:spPr/>
    </dgm:pt>
    <dgm:pt modelId="{397A1A0A-EC51-441F-ADCA-57342989987D}" type="pres">
      <dgm:prSet presAssocID="{2840530A-D9F1-410D-8185-09217C60CDB9}" presName="composite" presStyleCnt="0"/>
      <dgm:spPr/>
    </dgm:pt>
    <dgm:pt modelId="{1C047062-F6C4-4AE1-89C0-4437A7C6B2BA}" type="pres">
      <dgm:prSet presAssocID="{2840530A-D9F1-410D-8185-09217C60CDB9}" presName="parTx" presStyleLbl="node1" presStyleIdx="0" presStyleCnt="2">
        <dgm:presLayoutVars>
          <dgm:chMax val="0"/>
          <dgm:chPref val="0"/>
          <dgm:bulletEnabled val="1"/>
        </dgm:presLayoutVars>
      </dgm:prSet>
      <dgm:spPr/>
    </dgm:pt>
    <dgm:pt modelId="{70B084A6-7AC0-4E86-9F13-E9A237D892D8}" type="pres">
      <dgm:prSet presAssocID="{2840530A-D9F1-410D-8185-09217C60CDB9}" presName="parSh" presStyleLbl="node1" presStyleIdx="0" presStyleCnt="2"/>
      <dgm:spPr/>
    </dgm:pt>
    <dgm:pt modelId="{A9C3D3F1-08CD-4117-AC4B-462BA80474A6}" type="pres">
      <dgm:prSet presAssocID="{2840530A-D9F1-410D-8185-09217C60CDB9}" presName="desTx" presStyleLbl="fgAcc1" presStyleIdx="0" presStyleCnt="2">
        <dgm:presLayoutVars>
          <dgm:bulletEnabled val="1"/>
        </dgm:presLayoutVars>
      </dgm:prSet>
      <dgm:spPr/>
    </dgm:pt>
    <dgm:pt modelId="{545C600C-98CB-480E-8BE1-5E02A3F04FC7}" type="pres">
      <dgm:prSet presAssocID="{9563C057-3625-4FF1-925E-BE47FCCEB25A}" presName="sibTrans" presStyleLbl="sibTrans2D1" presStyleIdx="0" presStyleCnt="1"/>
      <dgm:spPr/>
    </dgm:pt>
    <dgm:pt modelId="{168D4DA7-D3EB-4570-B0FB-AF46F3890EF9}" type="pres">
      <dgm:prSet presAssocID="{9563C057-3625-4FF1-925E-BE47FCCEB25A}" presName="connTx" presStyleLbl="sibTrans2D1" presStyleIdx="0" presStyleCnt="1"/>
      <dgm:spPr/>
    </dgm:pt>
    <dgm:pt modelId="{C1B0A1A2-6816-478E-B6F8-A15C4E1CAD29}" type="pres">
      <dgm:prSet presAssocID="{F1C686CA-00EF-45F2-8A21-94DFF4EF9844}" presName="composite" presStyleCnt="0"/>
      <dgm:spPr/>
    </dgm:pt>
    <dgm:pt modelId="{F1479E10-E7B7-451D-9637-97417430324B}" type="pres">
      <dgm:prSet presAssocID="{F1C686CA-00EF-45F2-8A21-94DFF4EF9844}" presName="parTx" presStyleLbl="node1" presStyleIdx="0" presStyleCnt="2">
        <dgm:presLayoutVars>
          <dgm:chMax val="0"/>
          <dgm:chPref val="0"/>
          <dgm:bulletEnabled val="1"/>
        </dgm:presLayoutVars>
      </dgm:prSet>
      <dgm:spPr/>
    </dgm:pt>
    <dgm:pt modelId="{7F64404A-89F2-444B-ADCF-8D0BC1A3984B}" type="pres">
      <dgm:prSet presAssocID="{F1C686CA-00EF-45F2-8A21-94DFF4EF9844}" presName="parSh" presStyleLbl="node1" presStyleIdx="1" presStyleCnt="2"/>
      <dgm:spPr/>
    </dgm:pt>
    <dgm:pt modelId="{DC26DC09-CF06-4197-BC78-76EC2F647F16}" type="pres">
      <dgm:prSet presAssocID="{F1C686CA-00EF-45F2-8A21-94DFF4EF9844}" presName="desTx" presStyleLbl="fgAcc1" presStyleIdx="1" presStyleCnt="2">
        <dgm:presLayoutVars>
          <dgm:bulletEnabled val="1"/>
        </dgm:presLayoutVars>
      </dgm:prSet>
      <dgm:spPr/>
    </dgm:pt>
  </dgm:ptLst>
  <dgm:cxnLst>
    <dgm:cxn modelId="{4C0ACA02-B539-4BD3-A25B-2DC54F1798C9}" type="presOf" srcId="{F68F2C4B-D4D3-4AFD-875F-42B66C9D176F}" destId="{DC26DC09-CF06-4197-BC78-76EC2F647F16}" srcOrd="0" destOrd="2" presId="urn:microsoft.com/office/officeart/2005/8/layout/process3"/>
    <dgm:cxn modelId="{FAE10A05-4E99-4376-A773-6185EE1BD75D}" srcId="{2840530A-D9F1-410D-8185-09217C60CDB9}" destId="{C570E7AC-77EA-4E75-A953-93A6F28DBAAE}" srcOrd="0" destOrd="0" parTransId="{054AEE83-E9D4-4952-B47C-E86683D0F5AA}" sibTransId="{D5D017A2-F5DE-4E40-8919-46676CA8E263}"/>
    <dgm:cxn modelId="{A72B1416-09FD-4FF4-838B-41CDDCB77212}" type="presOf" srcId="{23AB025C-2F13-4962-8504-AA8A927E48AE}" destId="{DC26DC09-CF06-4197-BC78-76EC2F647F16}" srcOrd="0" destOrd="0" presId="urn:microsoft.com/office/officeart/2005/8/layout/process3"/>
    <dgm:cxn modelId="{3388961A-D245-4B35-9AA4-B21C6D6F79A8}" srcId="{DC20EE99-C6DF-40D8-B863-EF2EAED81CB1}" destId="{F1C686CA-00EF-45F2-8A21-94DFF4EF9844}" srcOrd="1" destOrd="0" parTransId="{AEDEE42F-A280-424B-B9EE-BC6E79CEBDA5}" sibTransId="{D61412B8-C9B0-419B-A5D4-FC44DC18BAB5}"/>
    <dgm:cxn modelId="{46B64D1E-C2FF-4FB1-BA18-F08DCBC0F789}" srcId="{2840530A-D9F1-410D-8185-09217C60CDB9}" destId="{62127191-A961-4E9D-8A50-D107D5331103}" srcOrd="3" destOrd="0" parTransId="{DF4B1745-35C6-482B-8631-88407B8B27A5}" sibTransId="{70439D3C-BF6D-40B2-8144-64470226531D}"/>
    <dgm:cxn modelId="{65942624-CAB1-411A-8933-C9D4EA4DC5AE}" type="presOf" srcId="{5AF75072-5432-4634-AE04-2FB705DF78CF}" destId="{DC26DC09-CF06-4197-BC78-76EC2F647F16}" srcOrd="0" destOrd="3" presId="urn:microsoft.com/office/officeart/2005/8/layout/process3"/>
    <dgm:cxn modelId="{D88EB329-E41A-4B44-BDDB-8AE2858DD987}" type="presOf" srcId="{F1C686CA-00EF-45F2-8A21-94DFF4EF9844}" destId="{7F64404A-89F2-444B-ADCF-8D0BC1A3984B}" srcOrd="1" destOrd="0" presId="urn:microsoft.com/office/officeart/2005/8/layout/process3"/>
    <dgm:cxn modelId="{C14F162B-C085-4C3E-A991-731803CAD9AD}" srcId="{2840530A-D9F1-410D-8185-09217C60CDB9}" destId="{DD2D7594-DF03-4621-BB1A-3A804640B7F8}" srcOrd="2" destOrd="0" parTransId="{A3C8C383-0F02-47B3-828D-D2D2DDE8D44D}" sibTransId="{85904FC2-E59E-463B-B6A8-D83FF68590FF}"/>
    <dgm:cxn modelId="{EF533F30-2346-4AD9-B155-BCC8A669435A}" srcId="{F1C686CA-00EF-45F2-8A21-94DFF4EF9844}" destId="{F68F2C4B-D4D3-4AFD-875F-42B66C9D176F}" srcOrd="2" destOrd="0" parTransId="{1A56B0C3-8DE1-457C-8C4D-2A94F8CF3551}" sibTransId="{216B906F-8210-4979-8837-EF1EA0FECBBE}"/>
    <dgm:cxn modelId="{F0FC9139-0B6E-46D0-A67D-7A9F5CEED210}" type="presOf" srcId="{62127191-A961-4E9D-8A50-D107D5331103}" destId="{A9C3D3F1-08CD-4117-AC4B-462BA80474A6}" srcOrd="0" destOrd="3" presId="urn:microsoft.com/office/officeart/2005/8/layout/process3"/>
    <dgm:cxn modelId="{F931B73E-B6F6-4101-83C5-03FE9F8DA808}" srcId="{F1C686CA-00EF-45F2-8A21-94DFF4EF9844}" destId="{23AB025C-2F13-4962-8504-AA8A927E48AE}" srcOrd="0" destOrd="0" parTransId="{76843F03-F13B-40B4-BA47-036514E22530}" sibTransId="{D823F89C-5D26-4E04-B0A8-389567B3CCD2}"/>
    <dgm:cxn modelId="{F95B8C3F-A501-41CD-93EF-1AADBF20C81E}" type="presOf" srcId="{2840530A-D9F1-410D-8185-09217C60CDB9}" destId="{70B084A6-7AC0-4E86-9F13-E9A237D892D8}" srcOrd="1" destOrd="0" presId="urn:microsoft.com/office/officeart/2005/8/layout/process3"/>
    <dgm:cxn modelId="{4FF0A561-D125-4428-994E-BC071DAAB5B0}" type="presOf" srcId="{DC20EE99-C6DF-40D8-B863-EF2EAED81CB1}" destId="{27A6A46D-CD6F-451E-B5C1-A211884AEE2A}" srcOrd="0" destOrd="0" presId="urn:microsoft.com/office/officeart/2005/8/layout/process3"/>
    <dgm:cxn modelId="{BB7F5344-9AC1-4D7F-AD3A-6D26FD38A0E7}" type="presOf" srcId="{B84F4FB4-92BE-469B-8871-D09B83570FE3}" destId="{DC26DC09-CF06-4197-BC78-76EC2F647F16}" srcOrd="0" destOrd="4" presId="urn:microsoft.com/office/officeart/2005/8/layout/process3"/>
    <dgm:cxn modelId="{3BBAA667-E0EE-435B-8E15-12C77635C299}" type="presOf" srcId="{E26C5609-C59C-4F97-9DD4-CBD76F8F870F}" destId="{A9C3D3F1-08CD-4117-AC4B-462BA80474A6}" srcOrd="0" destOrd="5" presId="urn:microsoft.com/office/officeart/2005/8/layout/process3"/>
    <dgm:cxn modelId="{D1B03E49-ED99-4A65-AD65-349073A1C1D2}" type="presOf" srcId="{C570E7AC-77EA-4E75-A953-93A6F28DBAAE}" destId="{A9C3D3F1-08CD-4117-AC4B-462BA80474A6}" srcOrd="0" destOrd="0" presId="urn:microsoft.com/office/officeart/2005/8/layout/process3"/>
    <dgm:cxn modelId="{5B4BB44A-CBB4-4AA9-A1CE-873BE4C678AD}" type="presOf" srcId="{CCD9C450-1AAD-4229-81EE-FFD28F720B93}" destId="{A9C3D3F1-08CD-4117-AC4B-462BA80474A6}" srcOrd="0" destOrd="1" presId="urn:microsoft.com/office/officeart/2005/8/layout/process3"/>
    <dgm:cxn modelId="{6BCA334C-DFF8-4B03-8D8C-D98B111A43EE}" srcId="{2840530A-D9F1-410D-8185-09217C60CDB9}" destId="{D44F075C-076E-419F-9592-29E2607738B5}" srcOrd="4" destOrd="0" parTransId="{E63FF42A-E9F6-49AE-8C91-2804F7109245}" sibTransId="{F9AE3916-C124-4CB4-8288-950DBE8D7A9D}"/>
    <dgm:cxn modelId="{45904579-B36D-45AC-B42D-3B723EB5F9B8}" srcId="{2840530A-D9F1-410D-8185-09217C60CDB9}" destId="{E26C5609-C59C-4F97-9DD4-CBD76F8F870F}" srcOrd="5" destOrd="0" parTransId="{D69BB2E5-2BA9-41B6-A0A8-1A7ABA0C6FBB}" sibTransId="{921FA118-E311-4CD5-A29D-682BA22A8FD8}"/>
    <dgm:cxn modelId="{9F693E7D-3149-460B-BCB1-2DFC4E48A750}" type="presOf" srcId="{9563C057-3625-4FF1-925E-BE47FCCEB25A}" destId="{545C600C-98CB-480E-8BE1-5E02A3F04FC7}" srcOrd="0" destOrd="0" presId="urn:microsoft.com/office/officeart/2005/8/layout/process3"/>
    <dgm:cxn modelId="{DAC80C82-D3B0-420F-98AC-7FE7E77434FA}" srcId="{2840530A-D9F1-410D-8185-09217C60CDB9}" destId="{CCD9C450-1AAD-4229-81EE-FFD28F720B93}" srcOrd="1" destOrd="0" parTransId="{F7615141-4B24-473E-BFB3-5E076D611963}" sibTransId="{204ED0DE-E846-4AF2-99D7-F66996F7B125}"/>
    <dgm:cxn modelId="{75696D83-B24F-4659-8EA7-C6AC7F581637}" type="presOf" srcId="{9563C057-3625-4FF1-925E-BE47FCCEB25A}" destId="{168D4DA7-D3EB-4570-B0FB-AF46F3890EF9}" srcOrd="1" destOrd="0" presId="urn:microsoft.com/office/officeart/2005/8/layout/process3"/>
    <dgm:cxn modelId="{EAE80888-BDD8-450B-98A0-A7C1863573AD}" srcId="{F1C686CA-00EF-45F2-8A21-94DFF4EF9844}" destId="{5AF75072-5432-4634-AE04-2FB705DF78CF}" srcOrd="3" destOrd="0" parTransId="{FFAB8241-9612-4086-B9F6-1889FCB49AB1}" sibTransId="{94C2F496-1E84-40B9-8A79-5C5A3C069630}"/>
    <dgm:cxn modelId="{2EF98699-F9DD-4883-A890-F66091215B06}" type="presOf" srcId="{2840530A-D9F1-410D-8185-09217C60CDB9}" destId="{1C047062-F6C4-4AE1-89C0-4437A7C6B2BA}" srcOrd="0" destOrd="0" presId="urn:microsoft.com/office/officeart/2005/8/layout/process3"/>
    <dgm:cxn modelId="{BB76849A-9498-48C8-AB5C-429686AD0F71}" srcId="{2840530A-D9F1-410D-8185-09217C60CDB9}" destId="{34D1B64E-9DD1-44C1-A286-DAE58ABE2FD3}" srcOrd="6" destOrd="0" parTransId="{457FE163-AAFA-4DA3-A7D8-12D0337E4CA6}" sibTransId="{490960EE-C034-4638-9664-4203C8DCC4FA}"/>
    <dgm:cxn modelId="{C66E0B9B-D9BE-43A1-BC92-5558894029E7}" type="presOf" srcId="{3B9F5F27-4915-420E-A964-56A9D953957B}" destId="{DC26DC09-CF06-4197-BC78-76EC2F647F16}" srcOrd="0" destOrd="1" presId="urn:microsoft.com/office/officeart/2005/8/layout/process3"/>
    <dgm:cxn modelId="{CC5C43A0-31AD-4ED4-9B09-FEC7E3B57271}" type="presOf" srcId="{D44F075C-076E-419F-9592-29E2607738B5}" destId="{A9C3D3F1-08CD-4117-AC4B-462BA80474A6}" srcOrd="0" destOrd="4" presId="urn:microsoft.com/office/officeart/2005/8/layout/process3"/>
    <dgm:cxn modelId="{E538F1A1-B748-4A84-AC2B-423E4DF89965}" srcId="{F1C686CA-00EF-45F2-8A21-94DFF4EF9844}" destId="{3B9F5F27-4915-420E-A964-56A9D953957B}" srcOrd="1" destOrd="0" parTransId="{2A423DD7-3C9A-4E31-838C-F2E529979A6C}" sibTransId="{58157170-62EC-45EE-978C-CB121A6537BD}"/>
    <dgm:cxn modelId="{08E931A5-1BDA-438E-829B-58D3C0084D71}" type="presOf" srcId="{F1C686CA-00EF-45F2-8A21-94DFF4EF9844}" destId="{F1479E10-E7B7-451D-9637-97417430324B}" srcOrd="0" destOrd="0" presId="urn:microsoft.com/office/officeart/2005/8/layout/process3"/>
    <dgm:cxn modelId="{BDD74CA7-1247-47D4-8CE1-F08567AF6499}" srcId="{F1C686CA-00EF-45F2-8A21-94DFF4EF9844}" destId="{B84F4FB4-92BE-469B-8871-D09B83570FE3}" srcOrd="4" destOrd="0" parTransId="{89BE2B0F-946E-47A8-8B52-81B88F3668EE}" sibTransId="{405492A6-D642-492B-963C-E36A65D97C70}"/>
    <dgm:cxn modelId="{6C0673A7-D00A-42F8-BA5D-2F9F2DEB8028}" type="presOf" srcId="{DD2D7594-DF03-4621-BB1A-3A804640B7F8}" destId="{A9C3D3F1-08CD-4117-AC4B-462BA80474A6}" srcOrd="0" destOrd="2" presId="urn:microsoft.com/office/officeart/2005/8/layout/process3"/>
    <dgm:cxn modelId="{E3A18BC6-8DD2-4A0E-A749-06D0582ECCC6}" type="presOf" srcId="{34D1B64E-9DD1-44C1-A286-DAE58ABE2FD3}" destId="{A9C3D3F1-08CD-4117-AC4B-462BA80474A6}" srcOrd="0" destOrd="6" presId="urn:microsoft.com/office/officeart/2005/8/layout/process3"/>
    <dgm:cxn modelId="{E9F72AD9-3010-45EB-8C59-6E9A56B56675}" srcId="{DC20EE99-C6DF-40D8-B863-EF2EAED81CB1}" destId="{2840530A-D9F1-410D-8185-09217C60CDB9}" srcOrd="0" destOrd="0" parTransId="{029DE76F-7445-4440-B3EF-8E0BF9C2C36C}" sibTransId="{9563C057-3625-4FF1-925E-BE47FCCEB25A}"/>
    <dgm:cxn modelId="{33C9BB29-148F-4376-A4D8-313A241F4467}" type="presParOf" srcId="{27A6A46D-CD6F-451E-B5C1-A211884AEE2A}" destId="{397A1A0A-EC51-441F-ADCA-57342989987D}" srcOrd="0" destOrd="0" presId="urn:microsoft.com/office/officeart/2005/8/layout/process3"/>
    <dgm:cxn modelId="{E8D0026F-D595-4AAB-B95F-C42CD5A796DC}" type="presParOf" srcId="{397A1A0A-EC51-441F-ADCA-57342989987D}" destId="{1C047062-F6C4-4AE1-89C0-4437A7C6B2BA}" srcOrd="0" destOrd="0" presId="urn:microsoft.com/office/officeart/2005/8/layout/process3"/>
    <dgm:cxn modelId="{357F3148-5E24-4062-8466-CAB40E8A9F24}" type="presParOf" srcId="{397A1A0A-EC51-441F-ADCA-57342989987D}" destId="{70B084A6-7AC0-4E86-9F13-E9A237D892D8}" srcOrd="1" destOrd="0" presId="urn:microsoft.com/office/officeart/2005/8/layout/process3"/>
    <dgm:cxn modelId="{E051A9B5-548E-4EA1-9110-70415FC3DB7F}" type="presParOf" srcId="{397A1A0A-EC51-441F-ADCA-57342989987D}" destId="{A9C3D3F1-08CD-4117-AC4B-462BA80474A6}" srcOrd="2" destOrd="0" presId="urn:microsoft.com/office/officeart/2005/8/layout/process3"/>
    <dgm:cxn modelId="{AF18B743-2B1E-4D18-9C23-CB701C713716}" type="presParOf" srcId="{27A6A46D-CD6F-451E-B5C1-A211884AEE2A}" destId="{545C600C-98CB-480E-8BE1-5E02A3F04FC7}" srcOrd="1" destOrd="0" presId="urn:microsoft.com/office/officeart/2005/8/layout/process3"/>
    <dgm:cxn modelId="{B59CDD37-1365-4527-829B-B7AC6BF78388}" type="presParOf" srcId="{545C600C-98CB-480E-8BE1-5E02A3F04FC7}" destId="{168D4DA7-D3EB-4570-B0FB-AF46F3890EF9}" srcOrd="0" destOrd="0" presId="urn:microsoft.com/office/officeart/2005/8/layout/process3"/>
    <dgm:cxn modelId="{E6E11457-5C84-4263-B9D0-9F141A615C09}" type="presParOf" srcId="{27A6A46D-CD6F-451E-B5C1-A211884AEE2A}" destId="{C1B0A1A2-6816-478E-B6F8-A15C4E1CAD29}" srcOrd="2" destOrd="0" presId="urn:microsoft.com/office/officeart/2005/8/layout/process3"/>
    <dgm:cxn modelId="{7D82DA29-C758-4CDB-B940-79CF92E6BDF9}" type="presParOf" srcId="{C1B0A1A2-6816-478E-B6F8-A15C4E1CAD29}" destId="{F1479E10-E7B7-451D-9637-97417430324B}" srcOrd="0" destOrd="0" presId="urn:microsoft.com/office/officeart/2005/8/layout/process3"/>
    <dgm:cxn modelId="{58877D1D-B437-45E3-B7AA-20CDBE30A089}" type="presParOf" srcId="{C1B0A1A2-6816-478E-B6F8-A15C4E1CAD29}" destId="{7F64404A-89F2-444B-ADCF-8D0BC1A3984B}" srcOrd="1" destOrd="0" presId="urn:microsoft.com/office/officeart/2005/8/layout/process3"/>
    <dgm:cxn modelId="{788153FF-0186-4E22-8E1A-000FF2F89137}" type="presParOf" srcId="{C1B0A1A2-6816-478E-B6F8-A15C4E1CAD29}" destId="{DC26DC09-CF06-4197-BC78-76EC2F647F16}"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0C4988FD-3006-49CE-8324-81C78737D41B}" type="doc">
      <dgm:prSet loTypeId="urn:microsoft.com/office/officeart/2005/8/layout/process1" loCatId="process" qsTypeId="urn:microsoft.com/office/officeart/2005/8/quickstyle/simple1" qsCatId="simple" csTypeId="urn:microsoft.com/office/officeart/2005/8/colors/accent1_3" csCatId="accent1" phldr="1"/>
      <dgm:spPr/>
    </dgm:pt>
    <dgm:pt modelId="{99B8E763-A7AA-401A-96CB-497CEFAE899D}">
      <dgm:prSet phldrT="[Texto]"/>
      <dgm:spPr/>
      <dgm:t>
        <a:bodyPr/>
        <a:lstStyle/>
        <a:p>
          <a:r>
            <a:rPr lang="es-ES" dirty="0">
              <a:latin typeface="Avenir LT Std 35 Light" panose="020B0402020203020204" pitchFamily="34" charset="0"/>
              <a:cs typeface="Calibri" panose="020F0502020204030204" pitchFamily="34" charset="0"/>
            </a:rPr>
            <a:t>Dispositivo</a:t>
          </a:r>
        </a:p>
        <a:p>
          <a:r>
            <a:rPr lang="es-ES" dirty="0">
              <a:latin typeface="Avenir LT Std 35 Light" panose="020B0402020203020204" pitchFamily="34" charset="0"/>
              <a:cs typeface="Calibri" panose="020F0502020204030204" pitchFamily="34" charset="0"/>
            </a:rPr>
            <a:t>IOT</a:t>
          </a:r>
        </a:p>
      </dgm:t>
    </dgm:pt>
    <dgm:pt modelId="{975088EF-B7E1-45D9-880A-9C5FDC3E6003}" type="parTrans" cxnId="{C0D5051F-DFD2-42E3-B582-AC7F91A2F5F9}">
      <dgm:prSet/>
      <dgm:spPr/>
      <dgm:t>
        <a:bodyPr/>
        <a:lstStyle/>
        <a:p>
          <a:endParaRPr lang="es-ES">
            <a:latin typeface="Calibri" panose="020F0502020204030204" pitchFamily="34" charset="0"/>
            <a:cs typeface="Calibri" panose="020F0502020204030204" pitchFamily="34" charset="0"/>
          </a:endParaRPr>
        </a:p>
      </dgm:t>
    </dgm:pt>
    <dgm:pt modelId="{9EA724C9-F843-4667-8A78-3A4606E8D544}" type="sibTrans" cxnId="{C0D5051F-DFD2-42E3-B582-AC7F91A2F5F9}">
      <dgm:prSet/>
      <dgm:spPr/>
      <dgm:t>
        <a:bodyPr/>
        <a:lstStyle/>
        <a:p>
          <a:endParaRPr lang="es-ES" dirty="0">
            <a:latin typeface="Calibri" panose="020F0502020204030204" pitchFamily="34" charset="0"/>
            <a:cs typeface="Calibri" panose="020F0502020204030204" pitchFamily="34" charset="0"/>
          </a:endParaRPr>
        </a:p>
      </dgm:t>
    </dgm:pt>
    <dgm:pt modelId="{0B2F2AA0-6DDA-40E8-ABDC-25CB1AB6B212}">
      <dgm:prSet phldrT="[Texto]"/>
      <dgm:spPr/>
      <dgm:t>
        <a:bodyPr/>
        <a:lstStyle/>
        <a:p>
          <a:r>
            <a:rPr lang="es-ES" dirty="0">
              <a:latin typeface="Avenir LT Std 35 Light" panose="020B0402020203020204" pitchFamily="34" charset="0"/>
              <a:cs typeface="Calibri" panose="020F0502020204030204" pitchFamily="34" charset="0"/>
            </a:rPr>
            <a:t>Red / Internet / 4G – 5G</a:t>
          </a:r>
        </a:p>
      </dgm:t>
    </dgm:pt>
    <dgm:pt modelId="{5978D0D1-8195-4E35-BBEF-BA99B6C9BFAB}" type="parTrans" cxnId="{7B95FA1C-628B-4FAA-918E-DACE8BE85F9D}">
      <dgm:prSet/>
      <dgm:spPr/>
      <dgm:t>
        <a:bodyPr/>
        <a:lstStyle/>
        <a:p>
          <a:endParaRPr lang="es-ES">
            <a:latin typeface="Calibri" panose="020F0502020204030204" pitchFamily="34" charset="0"/>
            <a:cs typeface="Calibri" panose="020F0502020204030204" pitchFamily="34" charset="0"/>
          </a:endParaRPr>
        </a:p>
      </dgm:t>
    </dgm:pt>
    <dgm:pt modelId="{49B3939F-86EF-4F45-95CA-9665D1AC0995}" type="sibTrans" cxnId="{7B95FA1C-628B-4FAA-918E-DACE8BE85F9D}">
      <dgm:prSet/>
      <dgm:spPr/>
      <dgm:t>
        <a:bodyPr/>
        <a:lstStyle/>
        <a:p>
          <a:endParaRPr lang="es-ES" dirty="0">
            <a:latin typeface="Calibri" panose="020F0502020204030204" pitchFamily="34" charset="0"/>
            <a:cs typeface="Calibri" panose="020F0502020204030204" pitchFamily="34" charset="0"/>
          </a:endParaRPr>
        </a:p>
      </dgm:t>
    </dgm:pt>
    <dgm:pt modelId="{F1B11E91-3096-49CA-88E0-ACE41EC4B4FE}">
      <dgm:prSet phldrT="[Texto]" custT="1"/>
      <dgm:spPr/>
      <dgm:t>
        <a:bodyPr/>
        <a:lstStyle/>
        <a:p>
          <a:r>
            <a:rPr lang="es-ES" sz="2000" dirty="0">
              <a:solidFill>
                <a:schemeClr val="tx1"/>
              </a:solidFill>
              <a:latin typeface="Avenir LT Std 35 Light" panose="020B0402020203020204" pitchFamily="34" charset="0"/>
              <a:cs typeface="Calibri" panose="020F0502020204030204" pitchFamily="34" charset="0"/>
            </a:rPr>
            <a:t>Herramientas de tomas de decisiones: AI + Machine learning</a:t>
          </a:r>
        </a:p>
      </dgm:t>
    </dgm:pt>
    <dgm:pt modelId="{559543D0-07DC-4F74-A7EC-0E2E308F9252}" type="parTrans" cxnId="{31192C0A-42DC-4848-9E21-F3D96D2D2F23}">
      <dgm:prSet/>
      <dgm:spPr/>
      <dgm:t>
        <a:bodyPr/>
        <a:lstStyle/>
        <a:p>
          <a:endParaRPr lang="es-ES">
            <a:latin typeface="Calibri" panose="020F0502020204030204" pitchFamily="34" charset="0"/>
            <a:cs typeface="Calibri" panose="020F0502020204030204" pitchFamily="34" charset="0"/>
          </a:endParaRPr>
        </a:p>
      </dgm:t>
    </dgm:pt>
    <dgm:pt modelId="{F67C661D-2E77-464A-9CCC-524A52DB6B1E}" type="sibTrans" cxnId="{31192C0A-42DC-4848-9E21-F3D96D2D2F23}">
      <dgm:prSet/>
      <dgm:spPr/>
      <dgm:t>
        <a:bodyPr/>
        <a:lstStyle/>
        <a:p>
          <a:endParaRPr lang="es-ES">
            <a:latin typeface="Calibri" panose="020F0502020204030204" pitchFamily="34" charset="0"/>
            <a:cs typeface="Calibri" panose="020F0502020204030204" pitchFamily="34" charset="0"/>
          </a:endParaRPr>
        </a:p>
      </dgm:t>
    </dgm:pt>
    <dgm:pt modelId="{10A3E017-7910-4A4F-9E93-BF1228A5F5A6}">
      <dgm:prSet phldrT="[Texto]"/>
      <dgm:spPr/>
      <dgm:t>
        <a:bodyPr/>
        <a:lstStyle/>
        <a:p>
          <a:r>
            <a:rPr lang="es-ES" dirty="0">
              <a:latin typeface="Avenir LT Std 35 Light" panose="020B0402020203020204" pitchFamily="34" charset="0"/>
              <a:cs typeface="Calibri" panose="020F0502020204030204" pitchFamily="34" charset="0"/>
            </a:rPr>
            <a:t>Plataforma (Arduino / </a:t>
          </a:r>
          <a:r>
            <a:rPr lang="es-ES" dirty="0">
              <a:latin typeface="Avenir LT Std 35 Light" panose="020B0402020203020204" pitchFamily="34" charset="0"/>
            </a:rPr>
            <a:t>Raspberry PI)</a:t>
          </a:r>
          <a:endParaRPr lang="es-ES" dirty="0">
            <a:latin typeface="Avenir LT Std 35 Light" panose="020B0402020203020204" pitchFamily="34" charset="0"/>
            <a:cs typeface="Calibri" panose="020F0502020204030204" pitchFamily="34" charset="0"/>
          </a:endParaRPr>
        </a:p>
      </dgm:t>
    </dgm:pt>
    <dgm:pt modelId="{20CA95A3-AFEA-4956-8165-A4ED89B25021}" type="parTrans" cxnId="{836AC7FD-4C20-4182-95D4-098EC39EC91F}">
      <dgm:prSet/>
      <dgm:spPr/>
      <dgm:t>
        <a:bodyPr/>
        <a:lstStyle/>
        <a:p>
          <a:endParaRPr lang="es-ES"/>
        </a:p>
      </dgm:t>
    </dgm:pt>
    <dgm:pt modelId="{849E6BE8-38D9-4343-AF4C-7499344BE307}" type="sibTrans" cxnId="{836AC7FD-4C20-4182-95D4-098EC39EC91F}">
      <dgm:prSet/>
      <dgm:spPr/>
      <dgm:t>
        <a:bodyPr/>
        <a:lstStyle/>
        <a:p>
          <a:endParaRPr lang="es-ES" dirty="0"/>
        </a:p>
      </dgm:t>
    </dgm:pt>
    <dgm:pt modelId="{8C0DD7D7-CC73-41B4-A698-63C81306B283}" type="pres">
      <dgm:prSet presAssocID="{0C4988FD-3006-49CE-8324-81C78737D41B}" presName="Name0" presStyleCnt="0">
        <dgm:presLayoutVars>
          <dgm:dir/>
          <dgm:resizeHandles val="exact"/>
        </dgm:presLayoutVars>
      </dgm:prSet>
      <dgm:spPr/>
    </dgm:pt>
    <dgm:pt modelId="{546AB09D-6A84-48C1-903E-23FAAD45425D}" type="pres">
      <dgm:prSet presAssocID="{99B8E763-A7AA-401A-96CB-497CEFAE899D}" presName="node" presStyleLbl="node1" presStyleIdx="0" presStyleCnt="4">
        <dgm:presLayoutVars>
          <dgm:bulletEnabled val="1"/>
        </dgm:presLayoutVars>
      </dgm:prSet>
      <dgm:spPr/>
    </dgm:pt>
    <dgm:pt modelId="{1AB8B324-756B-4E70-9CAB-F0E4D3B318B5}" type="pres">
      <dgm:prSet presAssocID="{9EA724C9-F843-4667-8A78-3A4606E8D544}" presName="sibTrans" presStyleLbl="sibTrans2D1" presStyleIdx="0" presStyleCnt="3"/>
      <dgm:spPr/>
    </dgm:pt>
    <dgm:pt modelId="{78B54F35-BEB1-4D4A-9482-E75B0C5D5C31}" type="pres">
      <dgm:prSet presAssocID="{9EA724C9-F843-4667-8A78-3A4606E8D544}" presName="connectorText" presStyleLbl="sibTrans2D1" presStyleIdx="0" presStyleCnt="3"/>
      <dgm:spPr/>
    </dgm:pt>
    <dgm:pt modelId="{071F995F-320C-430C-A6C2-537B3F9856B4}" type="pres">
      <dgm:prSet presAssocID="{10A3E017-7910-4A4F-9E93-BF1228A5F5A6}" presName="node" presStyleLbl="node1" presStyleIdx="1" presStyleCnt="4">
        <dgm:presLayoutVars>
          <dgm:bulletEnabled val="1"/>
        </dgm:presLayoutVars>
      </dgm:prSet>
      <dgm:spPr/>
    </dgm:pt>
    <dgm:pt modelId="{77DBC1C6-1EC6-4C04-A088-CAB0BD155FD5}" type="pres">
      <dgm:prSet presAssocID="{849E6BE8-38D9-4343-AF4C-7499344BE307}" presName="sibTrans" presStyleLbl="sibTrans2D1" presStyleIdx="1" presStyleCnt="3"/>
      <dgm:spPr/>
    </dgm:pt>
    <dgm:pt modelId="{48C5468F-EAB6-4094-A14A-34D7DC1C741B}" type="pres">
      <dgm:prSet presAssocID="{849E6BE8-38D9-4343-AF4C-7499344BE307}" presName="connectorText" presStyleLbl="sibTrans2D1" presStyleIdx="1" presStyleCnt="3"/>
      <dgm:spPr/>
    </dgm:pt>
    <dgm:pt modelId="{D1328F9A-4ED8-4DED-A757-21991B6BE66F}" type="pres">
      <dgm:prSet presAssocID="{0B2F2AA0-6DDA-40E8-ABDC-25CB1AB6B212}" presName="node" presStyleLbl="node1" presStyleIdx="2" presStyleCnt="4" custLinFactNeighborX="2757" custLinFactNeighborY="-4227">
        <dgm:presLayoutVars>
          <dgm:bulletEnabled val="1"/>
        </dgm:presLayoutVars>
      </dgm:prSet>
      <dgm:spPr/>
    </dgm:pt>
    <dgm:pt modelId="{64B07935-8255-4532-B70F-50CE013043CA}" type="pres">
      <dgm:prSet presAssocID="{49B3939F-86EF-4F45-95CA-9665D1AC0995}" presName="sibTrans" presStyleLbl="sibTrans2D1" presStyleIdx="2" presStyleCnt="3"/>
      <dgm:spPr/>
    </dgm:pt>
    <dgm:pt modelId="{AA14536F-D84B-450F-9CF6-5792BCB4143A}" type="pres">
      <dgm:prSet presAssocID="{49B3939F-86EF-4F45-95CA-9665D1AC0995}" presName="connectorText" presStyleLbl="sibTrans2D1" presStyleIdx="2" presStyleCnt="3"/>
      <dgm:spPr/>
    </dgm:pt>
    <dgm:pt modelId="{93A5F429-1753-4A1B-AE83-D2299122C38B}" type="pres">
      <dgm:prSet presAssocID="{F1B11E91-3096-49CA-88E0-ACE41EC4B4FE}" presName="node" presStyleLbl="node1" presStyleIdx="3" presStyleCnt="4">
        <dgm:presLayoutVars>
          <dgm:bulletEnabled val="1"/>
        </dgm:presLayoutVars>
      </dgm:prSet>
      <dgm:spPr/>
    </dgm:pt>
  </dgm:ptLst>
  <dgm:cxnLst>
    <dgm:cxn modelId="{A27BEA09-0528-4AB1-A5C7-51E89AEFEA6F}" type="presOf" srcId="{849E6BE8-38D9-4343-AF4C-7499344BE307}" destId="{48C5468F-EAB6-4094-A14A-34D7DC1C741B}" srcOrd="1" destOrd="0" presId="urn:microsoft.com/office/officeart/2005/8/layout/process1"/>
    <dgm:cxn modelId="{31192C0A-42DC-4848-9E21-F3D96D2D2F23}" srcId="{0C4988FD-3006-49CE-8324-81C78737D41B}" destId="{F1B11E91-3096-49CA-88E0-ACE41EC4B4FE}" srcOrd="3" destOrd="0" parTransId="{559543D0-07DC-4F74-A7EC-0E2E308F9252}" sibTransId="{F67C661D-2E77-464A-9CCC-524A52DB6B1E}"/>
    <dgm:cxn modelId="{7B95FA1C-628B-4FAA-918E-DACE8BE85F9D}" srcId="{0C4988FD-3006-49CE-8324-81C78737D41B}" destId="{0B2F2AA0-6DDA-40E8-ABDC-25CB1AB6B212}" srcOrd="2" destOrd="0" parTransId="{5978D0D1-8195-4E35-BBEF-BA99B6C9BFAB}" sibTransId="{49B3939F-86EF-4F45-95CA-9665D1AC0995}"/>
    <dgm:cxn modelId="{C0D5051F-DFD2-42E3-B582-AC7F91A2F5F9}" srcId="{0C4988FD-3006-49CE-8324-81C78737D41B}" destId="{99B8E763-A7AA-401A-96CB-497CEFAE899D}" srcOrd="0" destOrd="0" parTransId="{975088EF-B7E1-45D9-880A-9C5FDC3E6003}" sibTransId="{9EA724C9-F843-4667-8A78-3A4606E8D544}"/>
    <dgm:cxn modelId="{A0A3DE2E-8373-4B62-B86A-2F2AFCE3C56C}" type="presOf" srcId="{0B2F2AA0-6DDA-40E8-ABDC-25CB1AB6B212}" destId="{D1328F9A-4ED8-4DED-A757-21991B6BE66F}" srcOrd="0" destOrd="0" presId="urn:microsoft.com/office/officeart/2005/8/layout/process1"/>
    <dgm:cxn modelId="{B050D639-8DFD-47A5-AE26-2279F65AD33A}" type="presOf" srcId="{99B8E763-A7AA-401A-96CB-497CEFAE899D}" destId="{546AB09D-6A84-48C1-903E-23FAAD45425D}" srcOrd="0" destOrd="0" presId="urn:microsoft.com/office/officeart/2005/8/layout/process1"/>
    <dgm:cxn modelId="{397B635B-128B-421C-B825-628D25BD8156}" type="presOf" srcId="{49B3939F-86EF-4F45-95CA-9665D1AC0995}" destId="{AA14536F-D84B-450F-9CF6-5792BCB4143A}" srcOrd="1" destOrd="0" presId="urn:microsoft.com/office/officeart/2005/8/layout/process1"/>
    <dgm:cxn modelId="{79F94C5B-1946-4865-85DA-FB6D4D30CE75}" type="presOf" srcId="{9EA724C9-F843-4667-8A78-3A4606E8D544}" destId="{78B54F35-BEB1-4D4A-9482-E75B0C5D5C31}" srcOrd="1" destOrd="0" presId="urn:microsoft.com/office/officeart/2005/8/layout/process1"/>
    <dgm:cxn modelId="{506BB567-B0EB-45C0-980A-F2B0070DE6BD}" type="presOf" srcId="{49B3939F-86EF-4F45-95CA-9665D1AC0995}" destId="{64B07935-8255-4532-B70F-50CE013043CA}" srcOrd="0" destOrd="0" presId="urn:microsoft.com/office/officeart/2005/8/layout/process1"/>
    <dgm:cxn modelId="{B698357A-7415-4403-B51F-7AED801A4B58}" type="presOf" srcId="{10A3E017-7910-4A4F-9E93-BF1228A5F5A6}" destId="{071F995F-320C-430C-A6C2-537B3F9856B4}" srcOrd="0" destOrd="0" presId="urn:microsoft.com/office/officeart/2005/8/layout/process1"/>
    <dgm:cxn modelId="{D904B681-1FB0-4BB9-B1D2-20C8D1F3D6E5}" type="presOf" srcId="{F1B11E91-3096-49CA-88E0-ACE41EC4B4FE}" destId="{93A5F429-1753-4A1B-AE83-D2299122C38B}" srcOrd="0" destOrd="0" presId="urn:microsoft.com/office/officeart/2005/8/layout/process1"/>
    <dgm:cxn modelId="{B181E4C9-B960-4F36-B7F9-E9C6080CEF81}" type="presOf" srcId="{0C4988FD-3006-49CE-8324-81C78737D41B}" destId="{8C0DD7D7-CC73-41B4-A698-63C81306B283}" srcOrd="0" destOrd="0" presId="urn:microsoft.com/office/officeart/2005/8/layout/process1"/>
    <dgm:cxn modelId="{0F4D07CB-5FA8-4CDC-B654-3DC8F90E81FD}" type="presOf" srcId="{9EA724C9-F843-4667-8A78-3A4606E8D544}" destId="{1AB8B324-756B-4E70-9CAB-F0E4D3B318B5}" srcOrd="0" destOrd="0" presId="urn:microsoft.com/office/officeart/2005/8/layout/process1"/>
    <dgm:cxn modelId="{A11C65E5-59F6-488A-A865-84333BEE29FF}" type="presOf" srcId="{849E6BE8-38D9-4343-AF4C-7499344BE307}" destId="{77DBC1C6-1EC6-4C04-A088-CAB0BD155FD5}" srcOrd="0" destOrd="0" presId="urn:microsoft.com/office/officeart/2005/8/layout/process1"/>
    <dgm:cxn modelId="{836AC7FD-4C20-4182-95D4-098EC39EC91F}" srcId="{0C4988FD-3006-49CE-8324-81C78737D41B}" destId="{10A3E017-7910-4A4F-9E93-BF1228A5F5A6}" srcOrd="1" destOrd="0" parTransId="{20CA95A3-AFEA-4956-8165-A4ED89B25021}" sibTransId="{849E6BE8-38D9-4343-AF4C-7499344BE307}"/>
    <dgm:cxn modelId="{6DDE590D-7A79-4EEB-A52C-448F04FF2F54}" type="presParOf" srcId="{8C0DD7D7-CC73-41B4-A698-63C81306B283}" destId="{546AB09D-6A84-48C1-903E-23FAAD45425D}" srcOrd="0" destOrd="0" presId="urn:microsoft.com/office/officeart/2005/8/layout/process1"/>
    <dgm:cxn modelId="{C31F0B0B-199A-4EFC-A9F3-4C06173D3D4B}" type="presParOf" srcId="{8C0DD7D7-CC73-41B4-A698-63C81306B283}" destId="{1AB8B324-756B-4E70-9CAB-F0E4D3B318B5}" srcOrd="1" destOrd="0" presId="urn:microsoft.com/office/officeart/2005/8/layout/process1"/>
    <dgm:cxn modelId="{7B0B04A0-D2AC-4BFA-826F-1E3AAA11BC4A}" type="presParOf" srcId="{1AB8B324-756B-4E70-9CAB-F0E4D3B318B5}" destId="{78B54F35-BEB1-4D4A-9482-E75B0C5D5C31}" srcOrd="0" destOrd="0" presId="urn:microsoft.com/office/officeart/2005/8/layout/process1"/>
    <dgm:cxn modelId="{7D992363-2FCC-45F5-8F3C-E7A61B5CF3AF}" type="presParOf" srcId="{8C0DD7D7-CC73-41B4-A698-63C81306B283}" destId="{071F995F-320C-430C-A6C2-537B3F9856B4}" srcOrd="2" destOrd="0" presId="urn:microsoft.com/office/officeart/2005/8/layout/process1"/>
    <dgm:cxn modelId="{A96DA9C9-2475-447D-A602-844C15790480}" type="presParOf" srcId="{8C0DD7D7-CC73-41B4-A698-63C81306B283}" destId="{77DBC1C6-1EC6-4C04-A088-CAB0BD155FD5}" srcOrd="3" destOrd="0" presId="urn:microsoft.com/office/officeart/2005/8/layout/process1"/>
    <dgm:cxn modelId="{583CF5B1-AEA6-4AC8-8DE9-95E0B94B6006}" type="presParOf" srcId="{77DBC1C6-1EC6-4C04-A088-CAB0BD155FD5}" destId="{48C5468F-EAB6-4094-A14A-34D7DC1C741B}" srcOrd="0" destOrd="0" presId="urn:microsoft.com/office/officeart/2005/8/layout/process1"/>
    <dgm:cxn modelId="{069231A4-846B-4F57-B085-4DDA989C372B}" type="presParOf" srcId="{8C0DD7D7-CC73-41B4-A698-63C81306B283}" destId="{D1328F9A-4ED8-4DED-A757-21991B6BE66F}" srcOrd="4" destOrd="0" presId="urn:microsoft.com/office/officeart/2005/8/layout/process1"/>
    <dgm:cxn modelId="{95F38531-C697-4D74-9906-F7D2B82C118D}" type="presParOf" srcId="{8C0DD7D7-CC73-41B4-A698-63C81306B283}" destId="{64B07935-8255-4532-B70F-50CE013043CA}" srcOrd="5" destOrd="0" presId="urn:microsoft.com/office/officeart/2005/8/layout/process1"/>
    <dgm:cxn modelId="{1E10CE57-1711-4ABD-A358-47BF84250DDC}" type="presParOf" srcId="{64B07935-8255-4532-B70F-50CE013043CA}" destId="{AA14536F-D84B-450F-9CF6-5792BCB4143A}" srcOrd="0" destOrd="0" presId="urn:microsoft.com/office/officeart/2005/8/layout/process1"/>
    <dgm:cxn modelId="{245A7353-066D-4CCB-A5D4-FD267D08F90A}" type="presParOf" srcId="{8C0DD7D7-CC73-41B4-A698-63C81306B283}" destId="{93A5F429-1753-4A1B-AE83-D2299122C38B}"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AE4771DA-01B7-468B-9A17-1ED2446AFB17}" type="doc">
      <dgm:prSet loTypeId="urn:microsoft.com/office/officeart/2005/8/layout/pList2" loCatId="list" qsTypeId="urn:microsoft.com/office/officeart/2005/8/quickstyle/simple1" qsCatId="simple" csTypeId="urn:microsoft.com/office/officeart/2005/8/colors/accent3_1" csCatId="accent3" phldr="1"/>
      <dgm:spPr/>
    </dgm:pt>
    <dgm:pt modelId="{75A3CA6C-A2B9-42A3-8525-6EB5FA46AF6D}">
      <dgm:prSet phldrT="[Texto]"/>
      <dgm:spPr/>
      <dgm:t>
        <a:bodyPr/>
        <a:lstStyle/>
        <a:p>
          <a:r>
            <a:rPr lang="es-ES" dirty="0"/>
            <a:t>Sensores de humedad y temperatura para el riego. Se contrastan con la predicción meteorológica</a:t>
          </a:r>
        </a:p>
      </dgm:t>
    </dgm:pt>
    <dgm:pt modelId="{69FE8513-761F-428B-9CA6-34AC4E761B50}" type="parTrans" cxnId="{EA29FA27-EC2C-40C3-B3F2-355AC7F63895}">
      <dgm:prSet/>
      <dgm:spPr/>
      <dgm:t>
        <a:bodyPr/>
        <a:lstStyle/>
        <a:p>
          <a:endParaRPr lang="es-ES"/>
        </a:p>
      </dgm:t>
    </dgm:pt>
    <dgm:pt modelId="{883E7CF8-C4C9-4AF6-A3D6-1A78E1BC1AAD}" type="sibTrans" cxnId="{EA29FA27-EC2C-40C3-B3F2-355AC7F63895}">
      <dgm:prSet/>
      <dgm:spPr/>
      <dgm:t>
        <a:bodyPr/>
        <a:lstStyle/>
        <a:p>
          <a:endParaRPr lang="es-ES"/>
        </a:p>
      </dgm:t>
    </dgm:pt>
    <dgm:pt modelId="{EDD2A518-1EB1-49D4-88DB-7D68E4F30758}">
      <dgm:prSet/>
      <dgm:spPr/>
      <dgm:t>
        <a:bodyPr/>
        <a:lstStyle/>
        <a:p>
          <a:r>
            <a:rPr lang="es-ES" dirty="0"/>
            <a:t>Sensores de velocidad, estado del motor, etc en los buses</a:t>
          </a:r>
        </a:p>
      </dgm:t>
    </dgm:pt>
    <dgm:pt modelId="{7D797FDE-A993-4A1A-864C-2384710F92B5}" type="parTrans" cxnId="{F9722169-61D7-46E0-8E8E-B2C314411A3C}">
      <dgm:prSet/>
      <dgm:spPr/>
      <dgm:t>
        <a:bodyPr/>
        <a:lstStyle/>
        <a:p>
          <a:endParaRPr lang="es-ES"/>
        </a:p>
      </dgm:t>
    </dgm:pt>
    <dgm:pt modelId="{61C00A53-412C-44F1-962A-6221316B71E0}" type="sibTrans" cxnId="{F9722169-61D7-46E0-8E8E-B2C314411A3C}">
      <dgm:prSet/>
      <dgm:spPr/>
      <dgm:t>
        <a:bodyPr/>
        <a:lstStyle/>
        <a:p>
          <a:endParaRPr lang="es-ES"/>
        </a:p>
      </dgm:t>
    </dgm:pt>
    <dgm:pt modelId="{D62D9994-A9EF-48AE-9672-A9426426DEAE}">
      <dgm:prSet/>
      <dgm:spPr/>
      <dgm:t>
        <a:bodyPr/>
        <a:lstStyle/>
        <a:p>
          <a:r>
            <a:rPr lang="es-ES" dirty="0"/>
            <a:t>Sensores de llenado, temperatura y movimiento en los contenedores</a:t>
          </a:r>
        </a:p>
      </dgm:t>
    </dgm:pt>
    <dgm:pt modelId="{2BC6C1B8-78EC-41FB-AF02-8CC8D7DEB0AA}" type="parTrans" cxnId="{69CB26FC-5532-4305-858C-A916EF9062A1}">
      <dgm:prSet/>
      <dgm:spPr/>
      <dgm:t>
        <a:bodyPr/>
        <a:lstStyle/>
        <a:p>
          <a:endParaRPr lang="es-ES"/>
        </a:p>
      </dgm:t>
    </dgm:pt>
    <dgm:pt modelId="{C40A6832-4228-466D-8998-D567110ECBCC}" type="sibTrans" cxnId="{69CB26FC-5532-4305-858C-A916EF9062A1}">
      <dgm:prSet/>
      <dgm:spPr/>
      <dgm:t>
        <a:bodyPr/>
        <a:lstStyle/>
        <a:p>
          <a:endParaRPr lang="es-ES"/>
        </a:p>
      </dgm:t>
    </dgm:pt>
    <dgm:pt modelId="{601CA3A6-97D7-4C9A-9AAB-E3BC699826B8}">
      <dgm:prSet/>
      <dgm:spPr/>
      <dgm:t>
        <a:bodyPr/>
        <a:lstStyle/>
        <a:p>
          <a:r>
            <a:rPr lang="es-ES" dirty="0"/>
            <a:t>Contadores de personas en los edificios públicos</a:t>
          </a:r>
        </a:p>
      </dgm:t>
    </dgm:pt>
    <dgm:pt modelId="{1539A979-7600-4C7D-A9C7-36A701A4708C}" type="parTrans" cxnId="{250783DD-AF6A-428C-A9F9-4DC3792E8935}">
      <dgm:prSet/>
      <dgm:spPr/>
      <dgm:t>
        <a:bodyPr/>
        <a:lstStyle/>
        <a:p>
          <a:endParaRPr lang="es-ES"/>
        </a:p>
      </dgm:t>
    </dgm:pt>
    <dgm:pt modelId="{3311A73C-7AF2-41AD-9F96-7531E77834EC}" type="sibTrans" cxnId="{250783DD-AF6A-428C-A9F9-4DC3792E8935}">
      <dgm:prSet/>
      <dgm:spPr/>
      <dgm:t>
        <a:bodyPr/>
        <a:lstStyle/>
        <a:p>
          <a:endParaRPr lang="es-ES"/>
        </a:p>
      </dgm:t>
    </dgm:pt>
    <dgm:pt modelId="{03F76641-A77C-46FF-A67C-B0ECBDC62192}">
      <dgm:prSet/>
      <dgm:spPr/>
      <dgm:t>
        <a:bodyPr/>
        <a:lstStyle/>
        <a:p>
          <a:r>
            <a:rPr lang="es-ES" dirty="0"/>
            <a:t>Contadores de paso de vehículos en los cruces</a:t>
          </a:r>
        </a:p>
      </dgm:t>
    </dgm:pt>
    <dgm:pt modelId="{93817A34-11C0-423D-A87A-DE0D6EBC598D}" type="parTrans" cxnId="{463AD159-9B03-49A6-BD78-D77E063BBF91}">
      <dgm:prSet/>
      <dgm:spPr/>
      <dgm:t>
        <a:bodyPr/>
        <a:lstStyle/>
        <a:p>
          <a:endParaRPr lang="es-ES"/>
        </a:p>
      </dgm:t>
    </dgm:pt>
    <dgm:pt modelId="{19B5AD85-A053-49A1-82F6-D4382B528A1F}" type="sibTrans" cxnId="{463AD159-9B03-49A6-BD78-D77E063BBF91}">
      <dgm:prSet/>
      <dgm:spPr/>
      <dgm:t>
        <a:bodyPr/>
        <a:lstStyle/>
        <a:p>
          <a:endParaRPr lang="es-ES"/>
        </a:p>
      </dgm:t>
    </dgm:pt>
    <dgm:pt modelId="{B1E8D679-7160-4A48-B143-881E092BB16D}" type="pres">
      <dgm:prSet presAssocID="{AE4771DA-01B7-468B-9A17-1ED2446AFB17}" presName="Name0" presStyleCnt="0">
        <dgm:presLayoutVars>
          <dgm:dir/>
          <dgm:resizeHandles val="exact"/>
        </dgm:presLayoutVars>
      </dgm:prSet>
      <dgm:spPr/>
    </dgm:pt>
    <dgm:pt modelId="{2FFF1FB5-04E7-4969-A012-D915F8610E0C}" type="pres">
      <dgm:prSet presAssocID="{AE4771DA-01B7-468B-9A17-1ED2446AFB17}" presName="bkgdShp" presStyleLbl="alignAccFollowNode1" presStyleIdx="0" presStyleCnt="1" custLinFactNeighborX="346" custLinFactNeighborY="651"/>
      <dgm:spPr/>
    </dgm:pt>
    <dgm:pt modelId="{0D5A4DA8-930C-4DA9-B828-5A90DB48E6C9}" type="pres">
      <dgm:prSet presAssocID="{AE4771DA-01B7-468B-9A17-1ED2446AFB17}" presName="linComp" presStyleCnt="0"/>
      <dgm:spPr/>
    </dgm:pt>
    <dgm:pt modelId="{05C77A9C-E43E-46F5-B5BD-37F13659BFBE}" type="pres">
      <dgm:prSet presAssocID="{75A3CA6C-A2B9-42A3-8525-6EB5FA46AF6D}" presName="compNode" presStyleCnt="0"/>
      <dgm:spPr/>
    </dgm:pt>
    <dgm:pt modelId="{6AA30626-75B3-4DD5-9947-64AC1F3F2782}" type="pres">
      <dgm:prSet presAssocID="{75A3CA6C-A2B9-42A3-8525-6EB5FA46AF6D}" presName="node" presStyleLbl="node1" presStyleIdx="0" presStyleCnt="5">
        <dgm:presLayoutVars>
          <dgm:bulletEnabled val="1"/>
        </dgm:presLayoutVars>
      </dgm:prSet>
      <dgm:spPr/>
    </dgm:pt>
    <dgm:pt modelId="{C7DC0557-F8EB-4755-B84C-38D37DA9AB1F}" type="pres">
      <dgm:prSet presAssocID="{75A3CA6C-A2B9-42A3-8525-6EB5FA46AF6D}" presName="invisiNode" presStyleLbl="node1" presStyleIdx="0" presStyleCnt="5"/>
      <dgm:spPr/>
    </dgm:pt>
    <dgm:pt modelId="{FFF00879-3A92-4D0B-84FB-B86D91A57945}" type="pres">
      <dgm:prSet presAssocID="{75A3CA6C-A2B9-42A3-8525-6EB5FA46AF6D}" presName="imagNode" presStyleLbl="fgImgPlace1" presStyleIdx="0" presStyleCnt="5"/>
      <dgm:spPr>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dgm:spPr>
    </dgm:pt>
    <dgm:pt modelId="{1A457B7F-6F8B-4220-AEB7-26853F937301}" type="pres">
      <dgm:prSet presAssocID="{883E7CF8-C4C9-4AF6-A3D6-1A78E1BC1AAD}" presName="sibTrans" presStyleLbl="sibTrans2D1" presStyleIdx="0" presStyleCnt="0"/>
      <dgm:spPr/>
    </dgm:pt>
    <dgm:pt modelId="{1E10215F-330B-4A4F-9741-8EEEF8689015}" type="pres">
      <dgm:prSet presAssocID="{EDD2A518-1EB1-49D4-88DB-7D68E4F30758}" presName="compNode" presStyleCnt="0"/>
      <dgm:spPr/>
    </dgm:pt>
    <dgm:pt modelId="{72B6E656-F42C-4E30-84C8-618D9D6D6E24}" type="pres">
      <dgm:prSet presAssocID="{EDD2A518-1EB1-49D4-88DB-7D68E4F30758}" presName="node" presStyleLbl="node1" presStyleIdx="1" presStyleCnt="5">
        <dgm:presLayoutVars>
          <dgm:bulletEnabled val="1"/>
        </dgm:presLayoutVars>
      </dgm:prSet>
      <dgm:spPr/>
    </dgm:pt>
    <dgm:pt modelId="{5444E186-DB2F-4206-A49E-C25ABF38759A}" type="pres">
      <dgm:prSet presAssocID="{EDD2A518-1EB1-49D4-88DB-7D68E4F30758}" presName="invisiNode" presStyleLbl="node1" presStyleIdx="1" presStyleCnt="5"/>
      <dgm:spPr/>
    </dgm:pt>
    <dgm:pt modelId="{1DAA83BB-5020-4FEA-8710-EEADEDFD4A2E}" type="pres">
      <dgm:prSet presAssocID="{EDD2A518-1EB1-49D4-88DB-7D68E4F30758}" presName="imagNode" presStyleLbl="fgImgPlace1" presStyleIdx="1" presStyleCnt="5"/>
      <dgm:spPr>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dgm:spPr>
    </dgm:pt>
    <dgm:pt modelId="{1FA99332-C28A-4CE8-A82C-F4AFA114A4C9}" type="pres">
      <dgm:prSet presAssocID="{61C00A53-412C-44F1-962A-6221316B71E0}" presName="sibTrans" presStyleLbl="sibTrans2D1" presStyleIdx="0" presStyleCnt="0"/>
      <dgm:spPr/>
    </dgm:pt>
    <dgm:pt modelId="{738F2E39-591C-4363-AB79-861D508ECB86}" type="pres">
      <dgm:prSet presAssocID="{D62D9994-A9EF-48AE-9672-A9426426DEAE}" presName="compNode" presStyleCnt="0"/>
      <dgm:spPr/>
    </dgm:pt>
    <dgm:pt modelId="{25E44F06-CD77-4AE5-9DA0-64B5927769EE}" type="pres">
      <dgm:prSet presAssocID="{D62D9994-A9EF-48AE-9672-A9426426DEAE}" presName="node" presStyleLbl="node1" presStyleIdx="2" presStyleCnt="5">
        <dgm:presLayoutVars>
          <dgm:bulletEnabled val="1"/>
        </dgm:presLayoutVars>
      </dgm:prSet>
      <dgm:spPr/>
    </dgm:pt>
    <dgm:pt modelId="{1627284C-448E-4524-BB9D-AB02F4EC7186}" type="pres">
      <dgm:prSet presAssocID="{D62D9994-A9EF-48AE-9672-A9426426DEAE}" presName="invisiNode" presStyleLbl="node1" presStyleIdx="2" presStyleCnt="5"/>
      <dgm:spPr/>
    </dgm:pt>
    <dgm:pt modelId="{9A6F995A-0315-4141-BF40-D02D0393B16D}" type="pres">
      <dgm:prSet presAssocID="{D62D9994-A9EF-48AE-9672-A9426426DEAE}" presName="imagNode" presStyleLbl="fgImgPlace1" presStyleIdx="2" presStyleCnt="5"/>
      <dgm:spPr>
        <a:blipFill rotWithShape="1">
          <a:blip xmlns:r="http://schemas.openxmlformats.org/officeDocument/2006/relationships" r:embed="rId3">
            <a:extLst>
              <a:ext uri="{28A0092B-C50C-407E-A947-70E740481C1C}">
                <a14:useLocalDpi xmlns:a14="http://schemas.microsoft.com/office/drawing/2010/main" val="0"/>
              </a:ext>
            </a:extLst>
          </a:blip>
          <a:stretch>
            <a:fillRect/>
          </a:stretch>
        </a:blipFill>
      </dgm:spPr>
    </dgm:pt>
    <dgm:pt modelId="{B40BBE14-7047-44E3-A290-836FB535FD4B}" type="pres">
      <dgm:prSet presAssocID="{C40A6832-4228-466D-8998-D567110ECBCC}" presName="sibTrans" presStyleLbl="sibTrans2D1" presStyleIdx="0" presStyleCnt="0"/>
      <dgm:spPr/>
    </dgm:pt>
    <dgm:pt modelId="{999F7023-0277-4686-A7BA-16D4444AA495}" type="pres">
      <dgm:prSet presAssocID="{601CA3A6-97D7-4C9A-9AAB-E3BC699826B8}" presName="compNode" presStyleCnt="0"/>
      <dgm:spPr/>
    </dgm:pt>
    <dgm:pt modelId="{894AF100-AC58-410E-B65B-0CA0B0F7995B}" type="pres">
      <dgm:prSet presAssocID="{601CA3A6-97D7-4C9A-9AAB-E3BC699826B8}" presName="node" presStyleLbl="node1" presStyleIdx="3" presStyleCnt="5">
        <dgm:presLayoutVars>
          <dgm:bulletEnabled val="1"/>
        </dgm:presLayoutVars>
      </dgm:prSet>
      <dgm:spPr/>
    </dgm:pt>
    <dgm:pt modelId="{3DF3CCC8-AE94-4433-A6E4-F8BF8B46A936}" type="pres">
      <dgm:prSet presAssocID="{601CA3A6-97D7-4C9A-9AAB-E3BC699826B8}" presName="invisiNode" presStyleLbl="node1" presStyleIdx="3" presStyleCnt="5"/>
      <dgm:spPr/>
    </dgm:pt>
    <dgm:pt modelId="{68912EC1-152E-4B0E-868E-D9A70B5D9E03}" type="pres">
      <dgm:prSet presAssocID="{601CA3A6-97D7-4C9A-9AAB-E3BC699826B8}" presName="imagNode" presStyleLbl="fgImgPlace1" presStyleIdx="3" presStyleCnt="5"/>
      <dgm:spPr>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dgm:spPr>
    </dgm:pt>
    <dgm:pt modelId="{B50DC4DC-3121-4F4A-B26E-0AA3CD0B99E2}" type="pres">
      <dgm:prSet presAssocID="{3311A73C-7AF2-41AD-9F96-7531E77834EC}" presName="sibTrans" presStyleLbl="sibTrans2D1" presStyleIdx="0" presStyleCnt="0"/>
      <dgm:spPr/>
    </dgm:pt>
    <dgm:pt modelId="{7B47C12D-9570-412D-B004-4D5BB36CFC7A}" type="pres">
      <dgm:prSet presAssocID="{03F76641-A77C-46FF-A67C-B0ECBDC62192}" presName="compNode" presStyleCnt="0"/>
      <dgm:spPr/>
    </dgm:pt>
    <dgm:pt modelId="{B1BF32D0-8C94-44CD-8E73-FD6882702EEF}" type="pres">
      <dgm:prSet presAssocID="{03F76641-A77C-46FF-A67C-B0ECBDC62192}" presName="node" presStyleLbl="node1" presStyleIdx="4" presStyleCnt="5">
        <dgm:presLayoutVars>
          <dgm:bulletEnabled val="1"/>
        </dgm:presLayoutVars>
      </dgm:prSet>
      <dgm:spPr/>
    </dgm:pt>
    <dgm:pt modelId="{09C711ED-3B09-445A-B530-01E39EFDB1A3}" type="pres">
      <dgm:prSet presAssocID="{03F76641-A77C-46FF-A67C-B0ECBDC62192}" presName="invisiNode" presStyleLbl="node1" presStyleIdx="4" presStyleCnt="5"/>
      <dgm:spPr/>
    </dgm:pt>
    <dgm:pt modelId="{74945C8A-578B-47F9-849B-203712598721}" type="pres">
      <dgm:prSet presAssocID="{03F76641-A77C-46FF-A67C-B0ECBDC62192}" presName="imagNode" presStyleLbl="fgImgPlace1" presStyleIdx="4" presStyleCnt="5"/>
      <dgm:spPr>
        <a:blipFill rotWithShape="1">
          <a:blip xmlns:r="http://schemas.openxmlformats.org/officeDocument/2006/relationships" r:embed="rId5">
            <a:extLst>
              <a:ext uri="{28A0092B-C50C-407E-A947-70E740481C1C}">
                <a14:useLocalDpi xmlns:a14="http://schemas.microsoft.com/office/drawing/2010/main" val="0"/>
              </a:ext>
            </a:extLst>
          </a:blip>
          <a:stretch>
            <a:fillRect/>
          </a:stretch>
        </a:blipFill>
      </dgm:spPr>
    </dgm:pt>
  </dgm:ptLst>
  <dgm:cxnLst>
    <dgm:cxn modelId="{2DE2D026-3CD9-4098-85AA-7E0B7E2DB8C3}" type="presOf" srcId="{75A3CA6C-A2B9-42A3-8525-6EB5FA46AF6D}" destId="{6AA30626-75B3-4DD5-9947-64AC1F3F2782}" srcOrd="0" destOrd="0" presId="urn:microsoft.com/office/officeart/2005/8/layout/pList2"/>
    <dgm:cxn modelId="{EA29FA27-EC2C-40C3-B3F2-355AC7F63895}" srcId="{AE4771DA-01B7-468B-9A17-1ED2446AFB17}" destId="{75A3CA6C-A2B9-42A3-8525-6EB5FA46AF6D}" srcOrd="0" destOrd="0" parTransId="{69FE8513-761F-428B-9CA6-34AC4E761B50}" sibTransId="{883E7CF8-C4C9-4AF6-A3D6-1A78E1BC1AAD}"/>
    <dgm:cxn modelId="{488C7E2D-B62C-47DF-A7B9-8149593239F6}" type="presOf" srcId="{03F76641-A77C-46FF-A67C-B0ECBDC62192}" destId="{B1BF32D0-8C94-44CD-8E73-FD6882702EEF}" srcOrd="0" destOrd="0" presId="urn:microsoft.com/office/officeart/2005/8/layout/pList2"/>
    <dgm:cxn modelId="{9FED8262-A7BD-48B7-AC06-E791DA58B70B}" type="presOf" srcId="{C40A6832-4228-466D-8998-D567110ECBCC}" destId="{B40BBE14-7047-44E3-A290-836FB535FD4B}" srcOrd="0" destOrd="0" presId="urn:microsoft.com/office/officeart/2005/8/layout/pList2"/>
    <dgm:cxn modelId="{BE9EB968-1FA7-4E57-B3E0-7C7355D9068F}" type="presOf" srcId="{EDD2A518-1EB1-49D4-88DB-7D68E4F30758}" destId="{72B6E656-F42C-4E30-84C8-618D9D6D6E24}" srcOrd="0" destOrd="0" presId="urn:microsoft.com/office/officeart/2005/8/layout/pList2"/>
    <dgm:cxn modelId="{F9722169-61D7-46E0-8E8E-B2C314411A3C}" srcId="{AE4771DA-01B7-468B-9A17-1ED2446AFB17}" destId="{EDD2A518-1EB1-49D4-88DB-7D68E4F30758}" srcOrd="1" destOrd="0" parTransId="{7D797FDE-A993-4A1A-864C-2384710F92B5}" sibTransId="{61C00A53-412C-44F1-962A-6221316B71E0}"/>
    <dgm:cxn modelId="{463AD159-9B03-49A6-BD78-D77E063BBF91}" srcId="{AE4771DA-01B7-468B-9A17-1ED2446AFB17}" destId="{03F76641-A77C-46FF-A67C-B0ECBDC62192}" srcOrd="4" destOrd="0" parTransId="{93817A34-11C0-423D-A87A-DE0D6EBC598D}" sibTransId="{19B5AD85-A053-49A1-82F6-D4382B528A1F}"/>
    <dgm:cxn modelId="{CF96C15A-0F3D-4125-9DB9-769588DD905E}" type="presOf" srcId="{601CA3A6-97D7-4C9A-9AAB-E3BC699826B8}" destId="{894AF100-AC58-410E-B65B-0CA0B0F7995B}" srcOrd="0" destOrd="0" presId="urn:microsoft.com/office/officeart/2005/8/layout/pList2"/>
    <dgm:cxn modelId="{AC8DDCAE-4E6C-40C1-B5F4-A2E6FE742101}" type="presOf" srcId="{883E7CF8-C4C9-4AF6-A3D6-1A78E1BC1AAD}" destId="{1A457B7F-6F8B-4220-AEB7-26853F937301}" srcOrd="0" destOrd="0" presId="urn:microsoft.com/office/officeart/2005/8/layout/pList2"/>
    <dgm:cxn modelId="{D25DB8C8-8597-4F40-961C-757235333949}" type="presOf" srcId="{D62D9994-A9EF-48AE-9672-A9426426DEAE}" destId="{25E44F06-CD77-4AE5-9DA0-64B5927769EE}" srcOrd="0" destOrd="0" presId="urn:microsoft.com/office/officeart/2005/8/layout/pList2"/>
    <dgm:cxn modelId="{250783DD-AF6A-428C-A9F9-4DC3792E8935}" srcId="{AE4771DA-01B7-468B-9A17-1ED2446AFB17}" destId="{601CA3A6-97D7-4C9A-9AAB-E3BC699826B8}" srcOrd="3" destOrd="0" parTransId="{1539A979-7600-4C7D-A9C7-36A701A4708C}" sibTransId="{3311A73C-7AF2-41AD-9F96-7531E77834EC}"/>
    <dgm:cxn modelId="{CCD0BDE8-D5E0-4AAA-B357-1CCF42DF800F}" type="presOf" srcId="{3311A73C-7AF2-41AD-9F96-7531E77834EC}" destId="{B50DC4DC-3121-4F4A-B26E-0AA3CD0B99E2}" srcOrd="0" destOrd="0" presId="urn:microsoft.com/office/officeart/2005/8/layout/pList2"/>
    <dgm:cxn modelId="{496A14EB-9E58-42D5-BC3E-E6C12D5B483D}" type="presOf" srcId="{61C00A53-412C-44F1-962A-6221316B71E0}" destId="{1FA99332-C28A-4CE8-A82C-F4AFA114A4C9}" srcOrd="0" destOrd="0" presId="urn:microsoft.com/office/officeart/2005/8/layout/pList2"/>
    <dgm:cxn modelId="{B35C82EB-F60C-49B8-8288-351C92D8A1E1}" type="presOf" srcId="{AE4771DA-01B7-468B-9A17-1ED2446AFB17}" destId="{B1E8D679-7160-4A48-B143-881E092BB16D}" srcOrd="0" destOrd="0" presId="urn:microsoft.com/office/officeart/2005/8/layout/pList2"/>
    <dgm:cxn modelId="{69CB26FC-5532-4305-858C-A916EF9062A1}" srcId="{AE4771DA-01B7-468B-9A17-1ED2446AFB17}" destId="{D62D9994-A9EF-48AE-9672-A9426426DEAE}" srcOrd="2" destOrd="0" parTransId="{2BC6C1B8-78EC-41FB-AF02-8CC8D7DEB0AA}" sibTransId="{C40A6832-4228-466D-8998-D567110ECBCC}"/>
    <dgm:cxn modelId="{21FCE096-CD63-46F4-A805-94F9BEACD52F}" type="presParOf" srcId="{B1E8D679-7160-4A48-B143-881E092BB16D}" destId="{2FFF1FB5-04E7-4969-A012-D915F8610E0C}" srcOrd="0" destOrd="0" presId="urn:microsoft.com/office/officeart/2005/8/layout/pList2"/>
    <dgm:cxn modelId="{59A69458-CF27-4778-B893-865CDCCBFB95}" type="presParOf" srcId="{B1E8D679-7160-4A48-B143-881E092BB16D}" destId="{0D5A4DA8-930C-4DA9-B828-5A90DB48E6C9}" srcOrd="1" destOrd="0" presId="urn:microsoft.com/office/officeart/2005/8/layout/pList2"/>
    <dgm:cxn modelId="{7E970599-4DD5-40B0-9056-DE54A2687EB1}" type="presParOf" srcId="{0D5A4DA8-930C-4DA9-B828-5A90DB48E6C9}" destId="{05C77A9C-E43E-46F5-B5BD-37F13659BFBE}" srcOrd="0" destOrd="0" presId="urn:microsoft.com/office/officeart/2005/8/layout/pList2"/>
    <dgm:cxn modelId="{5D3BE080-86EF-47C5-A765-274E41A29180}" type="presParOf" srcId="{05C77A9C-E43E-46F5-B5BD-37F13659BFBE}" destId="{6AA30626-75B3-4DD5-9947-64AC1F3F2782}" srcOrd="0" destOrd="0" presId="urn:microsoft.com/office/officeart/2005/8/layout/pList2"/>
    <dgm:cxn modelId="{371DD169-EC49-44E8-8CFC-6E3C26703952}" type="presParOf" srcId="{05C77A9C-E43E-46F5-B5BD-37F13659BFBE}" destId="{C7DC0557-F8EB-4755-B84C-38D37DA9AB1F}" srcOrd="1" destOrd="0" presId="urn:microsoft.com/office/officeart/2005/8/layout/pList2"/>
    <dgm:cxn modelId="{51DA3DC7-E871-4D40-B126-A1D3AE3DAC9C}" type="presParOf" srcId="{05C77A9C-E43E-46F5-B5BD-37F13659BFBE}" destId="{FFF00879-3A92-4D0B-84FB-B86D91A57945}" srcOrd="2" destOrd="0" presId="urn:microsoft.com/office/officeart/2005/8/layout/pList2"/>
    <dgm:cxn modelId="{F4B52873-F8E4-43DC-8778-2F6DB28D5A1C}" type="presParOf" srcId="{0D5A4DA8-930C-4DA9-B828-5A90DB48E6C9}" destId="{1A457B7F-6F8B-4220-AEB7-26853F937301}" srcOrd="1" destOrd="0" presId="urn:microsoft.com/office/officeart/2005/8/layout/pList2"/>
    <dgm:cxn modelId="{BBC84F5A-AB05-4BF5-807F-FEDFF5B328F9}" type="presParOf" srcId="{0D5A4DA8-930C-4DA9-B828-5A90DB48E6C9}" destId="{1E10215F-330B-4A4F-9741-8EEEF8689015}" srcOrd="2" destOrd="0" presId="urn:microsoft.com/office/officeart/2005/8/layout/pList2"/>
    <dgm:cxn modelId="{23B721E9-6F75-4199-AF56-068B5BB05044}" type="presParOf" srcId="{1E10215F-330B-4A4F-9741-8EEEF8689015}" destId="{72B6E656-F42C-4E30-84C8-618D9D6D6E24}" srcOrd="0" destOrd="0" presId="urn:microsoft.com/office/officeart/2005/8/layout/pList2"/>
    <dgm:cxn modelId="{E05C5E47-ECD4-4052-9640-AD335F25203A}" type="presParOf" srcId="{1E10215F-330B-4A4F-9741-8EEEF8689015}" destId="{5444E186-DB2F-4206-A49E-C25ABF38759A}" srcOrd="1" destOrd="0" presId="urn:microsoft.com/office/officeart/2005/8/layout/pList2"/>
    <dgm:cxn modelId="{9D891759-29EC-4279-829B-9DFFEE6A53EA}" type="presParOf" srcId="{1E10215F-330B-4A4F-9741-8EEEF8689015}" destId="{1DAA83BB-5020-4FEA-8710-EEADEDFD4A2E}" srcOrd="2" destOrd="0" presId="urn:microsoft.com/office/officeart/2005/8/layout/pList2"/>
    <dgm:cxn modelId="{4BBD2C96-6FC1-4B83-A224-29C4C063F461}" type="presParOf" srcId="{0D5A4DA8-930C-4DA9-B828-5A90DB48E6C9}" destId="{1FA99332-C28A-4CE8-A82C-F4AFA114A4C9}" srcOrd="3" destOrd="0" presId="urn:microsoft.com/office/officeart/2005/8/layout/pList2"/>
    <dgm:cxn modelId="{827D303D-C97B-4D5B-9AD8-8A3FEB73032B}" type="presParOf" srcId="{0D5A4DA8-930C-4DA9-B828-5A90DB48E6C9}" destId="{738F2E39-591C-4363-AB79-861D508ECB86}" srcOrd="4" destOrd="0" presId="urn:microsoft.com/office/officeart/2005/8/layout/pList2"/>
    <dgm:cxn modelId="{1F0005AB-283A-48DA-9B7C-3EEC4A825F4C}" type="presParOf" srcId="{738F2E39-591C-4363-AB79-861D508ECB86}" destId="{25E44F06-CD77-4AE5-9DA0-64B5927769EE}" srcOrd="0" destOrd="0" presId="urn:microsoft.com/office/officeart/2005/8/layout/pList2"/>
    <dgm:cxn modelId="{90808434-399C-443D-AD63-599BE567A9C7}" type="presParOf" srcId="{738F2E39-591C-4363-AB79-861D508ECB86}" destId="{1627284C-448E-4524-BB9D-AB02F4EC7186}" srcOrd="1" destOrd="0" presId="urn:microsoft.com/office/officeart/2005/8/layout/pList2"/>
    <dgm:cxn modelId="{14742587-598B-4E6A-B8F0-73E206485D3C}" type="presParOf" srcId="{738F2E39-591C-4363-AB79-861D508ECB86}" destId="{9A6F995A-0315-4141-BF40-D02D0393B16D}" srcOrd="2" destOrd="0" presId="urn:microsoft.com/office/officeart/2005/8/layout/pList2"/>
    <dgm:cxn modelId="{580E156D-BD06-4C60-98D8-82C8DB3B5298}" type="presParOf" srcId="{0D5A4DA8-930C-4DA9-B828-5A90DB48E6C9}" destId="{B40BBE14-7047-44E3-A290-836FB535FD4B}" srcOrd="5" destOrd="0" presId="urn:microsoft.com/office/officeart/2005/8/layout/pList2"/>
    <dgm:cxn modelId="{839E9637-0E51-414E-91F5-ED1AD334C9B6}" type="presParOf" srcId="{0D5A4DA8-930C-4DA9-B828-5A90DB48E6C9}" destId="{999F7023-0277-4686-A7BA-16D4444AA495}" srcOrd="6" destOrd="0" presId="urn:microsoft.com/office/officeart/2005/8/layout/pList2"/>
    <dgm:cxn modelId="{813FF1C8-624D-461D-9432-5888227A1EC2}" type="presParOf" srcId="{999F7023-0277-4686-A7BA-16D4444AA495}" destId="{894AF100-AC58-410E-B65B-0CA0B0F7995B}" srcOrd="0" destOrd="0" presId="urn:microsoft.com/office/officeart/2005/8/layout/pList2"/>
    <dgm:cxn modelId="{831D8595-1632-48E2-BD6F-C2B0F9960865}" type="presParOf" srcId="{999F7023-0277-4686-A7BA-16D4444AA495}" destId="{3DF3CCC8-AE94-4433-A6E4-F8BF8B46A936}" srcOrd="1" destOrd="0" presId="urn:microsoft.com/office/officeart/2005/8/layout/pList2"/>
    <dgm:cxn modelId="{B9EA5260-4085-4C0D-8E02-77CEA8CB0F38}" type="presParOf" srcId="{999F7023-0277-4686-A7BA-16D4444AA495}" destId="{68912EC1-152E-4B0E-868E-D9A70B5D9E03}" srcOrd="2" destOrd="0" presId="urn:microsoft.com/office/officeart/2005/8/layout/pList2"/>
    <dgm:cxn modelId="{569F1BC9-FE0B-4BF5-B417-D23855BB586A}" type="presParOf" srcId="{0D5A4DA8-930C-4DA9-B828-5A90DB48E6C9}" destId="{B50DC4DC-3121-4F4A-B26E-0AA3CD0B99E2}" srcOrd="7" destOrd="0" presId="urn:microsoft.com/office/officeart/2005/8/layout/pList2"/>
    <dgm:cxn modelId="{271F6DEC-0CE3-4DFA-B74D-7B13E7464BE4}" type="presParOf" srcId="{0D5A4DA8-930C-4DA9-B828-5A90DB48E6C9}" destId="{7B47C12D-9570-412D-B004-4D5BB36CFC7A}" srcOrd="8" destOrd="0" presId="urn:microsoft.com/office/officeart/2005/8/layout/pList2"/>
    <dgm:cxn modelId="{F4E43505-203D-427A-8881-CFF418347BDC}" type="presParOf" srcId="{7B47C12D-9570-412D-B004-4D5BB36CFC7A}" destId="{B1BF32D0-8C94-44CD-8E73-FD6882702EEF}" srcOrd="0" destOrd="0" presId="urn:microsoft.com/office/officeart/2005/8/layout/pList2"/>
    <dgm:cxn modelId="{65680D79-87BC-4055-92D9-03F80ECED14F}" type="presParOf" srcId="{7B47C12D-9570-412D-B004-4D5BB36CFC7A}" destId="{09C711ED-3B09-445A-B530-01E39EFDB1A3}" srcOrd="1" destOrd="0" presId="urn:microsoft.com/office/officeart/2005/8/layout/pList2"/>
    <dgm:cxn modelId="{B4FDA5E0-DDD6-44D8-9375-F8D416D88D9E}" type="presParOf" srcId="{7B47C12D-9570-412D-B004-4D5BB36CFC7A}" destId="{74945C8A-578B-47F9-849B-203712598721}"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AE4771DA-01B7-468B-9A17-1ED2446AFB17}" type="doc">
      <dgm:prSet loTypeId="urn:microsoft.com/office/officeart/2005/8/layout/pList2" loCatId="list" qsTypeId="urn:microsoft.com/office/officeart/2005/8/quickstyle/simple1" qsCatId="simple" csTypeId="urn:microsoft.com/office/officeart/2005/8/colors/accent6_1" csCatId="accent6" phldr="1"/>
      <dgm:spPr/>
    </dgm:pt>
    <dgm:pt modelId="{0ECAC881-5C52-48FF-BB5A-0C3F23DE4D9B}">
      <dgm:prSet/>
      <dgm:spPr/>
      <dgm:t>
        <a:bodyPr/>
        <a:lstStyle/>
        <a:p>
          <a:r>
            <a:rPr lang="es-ES" dirty="0"/>
            <a:t>Medición de calidad del aire en varios puntos de la ciudad (polen, CO, CO2, …)</a:t>
          </a:r>
        </a:p>
      </dgm:t>
    </dgm:pt>
    <dgm:pt modelId="{D14B5D42-C4E5-40D7-A76D-547914F4282B}" type="parTrans" cxnId="{28E2F36D-5083-43A3-80EC-D5F22215F893}">
      <dgm:prSet/>
      <dgm:spPr/>
      <dgm:t>
        <a:bodyPr/>
        <a:lstStyle/>
        <a:p>
          <a:endParaRPr lang="es-ES"/>
        </a:p>
      </dgm:t>
    </dgm:pt>
    <dgm:pt modelId="{CBA77ACD-A547-4A0D-887F-FE85E5C69037}" type="sibTrans" cxnId="{28E2F36D-5083-43A3-80EC-D5F22215F893}">
      <dgm:prSet/>
      <dgm:spPr/>
      <dgm:t>
        <a:bodyPr/>
        <a:lstStyle/>
        <a:p>
          <a:endParaRPr lang="es-ES"/>
        </a:p>
      </dgm:t>
    </dgm:pt>
    <dgm:pt modelId="{A39E7751-EDAF-4CB1-9168-22818FBAD80E}">
      <dgm:prSet/>
      <dgm:spPr/>
      <dgm:t>
        <a:bodyPr/>
        <a:lstStyle/>
        <a:p>
          <a:r>
            <a:rPr lang="es-ES" dirty="0"/>
            <a:t>Medición de calidad del agua en todos los distritos</a:t>
          </a:r>
        </a:p>
      </dgm:t>
    </dgm:pt>
    <dgm:pt modelId="{AA7CB330-1D0E-4F1F-88E0-F2DB9614388A}" type="parTrans" cxnId="{F5252BDB-E3EA-4525-8D5D-B4F4CE41B5A5}">
      <dgm:prSet/>
      <dgm:spPr/>
      <dgm:t>
        <a:bodyPr/>
        <a:lstStyle/>
        <a:p>
          <a:endParaRPr lang="es-ES"/>
        </a:p>
      </dgm:t>
    </dgm:pt>
    <dgm:pt modelId="{E3EA2D4D-6A19-4581-8CA2-623C825AC3A4}" type="sibTrans" cxnId="{F5252BDB-E3EA-4525-8D5D-B4F4CE41B5A5}">
      <dgm:prSet/>
      <dgm:spPr/>
      <dgm:t>
        <a:bodyPr/>
        <a:lstStyle/>
        <a:p>
          <a:endParaRPr lang="es-ES"/>
        </a:p>
      </dgm:t>
    </dgm:pt>
    <dgm:pt modelId="{88C10075-83EF-4D14-BA94-B822C07D9AB8}">
      <dgm:prSet/>
      <dgm:spPr/>
      <dgm:t>
        <a:bodyPr/>
        <a:lstStyle/>
        <a:p>
          <a:r>
            <a:rPr lang="es-ES" dirty="0"/>
            <a:t>Medición del ruido en diferentes puntos</a:t>
          </a:r>
        </a:p>
      </dgm:t>
    </dgm:pt>
    <dgm:pt modelId="{EEC2D723-5E6B-4CC7-B1B8-D66C1125603A}" type="parTrans" cxnId="{70093158-5B04-4D2A-9238-B28B7C5003A5}">
      <dgm:prSet/>
      <dgm:spPr/>
      <dgm:t>
        <a:bodyPr/>
        <a:lstStyle/>
        <a:p>
          <a:endParaRPr lang="es-ES"/>
        </a:p>
      </dgm:t>
    </dgm:pt>
    <dgm:pt modelId="{5BA57CB9-2BD9-4374-81A6-DB2EC57BB2BE}" type="sibTrans" cxnId="{70093158-5B04-4D2A-9238-B28B7C5003A5}">
      <dgm:prSet/>
      <dgm:spPr/>
      <dgm:t>
        <a:bodyPr/>
        <a:lstStyle/>
        <a:p>
          <a:endParaRPr lang="es-ES"/>
        </a:p>
      </dgm:t>
    </dgm:pt>
    <dgm:pt modelId="{1020907F-8094-4217-B442-C39DAE1B378B}">
      <dgm:prSet/>
      <dgm:spPr/>
      <dgm:t>
        <a:bodyPr/>
        <a:lstStyle/>
        <a:p>
          <a:r>
            <a:rPr lang="es-ES" dirty="0"/>
            <a:t>Medición del consumo energético de edificios municipales</a:t>
          </a:r>
        </a:p>
      </dgm:t>
    </dgm:pt>
    <dgm:pt modelId="{3CEB2982-6506-4181-8B69-FB7C6A45A305}" type="parTrans" cxnId="{187C6DE1-1F08-4C03-82A5-CE5173265615}">
      <dgm:prSet/>
      <dgm:spPr/>
      <dgm:t>
        <a:bodyPr/>
        <a:lstStyle/>
        <a:p>
          <a:endParaRPr lang="es-ES"/>
        </a:p>
      </dgm:t>
    </dgm:pt>
    <dgm:pt modelId="{425D9C0E-3A1A-4357-AB4F-15A5EB5A1F55}" type="sibTrans" cxnId="{187C6DE1-1F08-4C03-82A5-CE5173265615}">
      <dgm:prSet/>
      <dgm:spPr/>
      <dgm:t>
        <a:bodyPr/>
        <a:lstStyle/>
        <a:p>
          <a:endParaRPr lang="es-ES"/>
        </a:p>
      </dgm:t>
    </dgm:pt>
    <dgm:pt modelId="{C6C7D5B9-F5FB-438E-B86B-8B89D62E5DA6}">
      <dgm:prSet/>
      <dgm:spPr/>
      <dgm:t>
        <a:bodyPr/>
        <a:lstStyle/>
        <a:p>
          <a:r>
            <a:rPr lang="es-ES" dirty="0"/>
            <a:t>Medición de la calidad del agua de las piscinas municipales</a:t>
          </a:r>
        </a:p>
      </dgm:t>
    </dgm:pt>
    <dgm:pt modelId="{B7143899-16D0-4FF2-BD49-EC05FD275B87}" type="parTrans" cxnId="{36834483-B7E5-422D-B1A5-2A4FB370EDDC}">
      <dgm:prSet/>
      <dgm:spPr/>
      <dgm:t>
        <a:bodyPr/>
        <a:lstStyle/>
        <a:p>
          <a:endParaRPr lang="es-ES"/>
        </a:p>
      </dgm:t>
    </dgm:pt>
    <dgm:pt modelId="{71252399-8E30-4E4A-B6B6-330DBA63829E}" type="sibTrans" cxnId="{36834483-B7E5-422D-B1A5-2A4FB370EDDC}">
      <dgm:prSet/>
      <dgm:spPr/>
      <dgm:t>
        <a:bodyPr/>
        <a:lstStyle/>
        <a:p>
          <a:endParaRPr lang="es-ES"/>
        </a:p>
      </dgm:t>
    </dgm:pt>
    <dgm:pt modelId="{39A1F219-1432-4367-B64F-71A1B022B5BB}" type="pres">
      <dgm:prSet presAssocID="{AE4771DA-01B7-468B-9A17-1ED2446AFB17}" presName="Name0" presStyleCnt="0">
        <dgm:presLayoutVars>
          <dgm:dir/>
          <dgm:resizeHandles val="exact"/>
        </dgm:presLayoutVars>
      </dgm:prSet>
      <dgm:spPr/>
    </dgm:pt>
    <dgm:pt modelId="{E3701CC3-AE89-44C6-8157-CAB535B8A6C0}" type="pres">
      <dgm:prSet presAssocID="{AE4771DA-01B7-468B-9A17-1ED2446AFB17}" presName="bkgdShp" presStyleLbl="alignAccFollowNode1" presStyleIdx="0" presStyleCnt="1"/>
      <dgm:spPr/>
    </dgm:pt>
    <dgm:pt modelId="{022DE156-3709-4BCB-95EF-84EE41F8140B}" type="pres">
      <dgm:prSet presAssocID="{AE4771DA-01B7-468B-9A17-1ED2446AFB17}" presName="linComp" presStyleCnt="0"/>
      <dgm:spPr/>
    </dgm:pt>
    <dgm:pt modelId="{8FE3E251-6736-49F4-8D76-5CC42CF46D03}" type="pres">
      <dgm:prSet presAssocID="{0ECAC881-5C52-48FF-BB5A-0C3F23DE4D9B}" presName="compNode" presStyleCnt="0"/>
      <dgm:spPr/>
    </dgm:pt>
    <dgm:pt modelId="{4CFA33FB-60C2-494F-87D3-3260F37C2E39}" type="pres">
      <dgm:prSet presAssocID="{0ECAC881-5C52-48FF-BB5A-0C3F23DE4D9B}" presName="node" presStyleLbl="node1" presStyleIdx="0" presStyleCnt="5">
        <dgm:presLayoutVars>
          <dgm:bulletEnabled val="1"/>
        </dgm:presLayoutVars>
      </dgm:prSet>
      <dgm:spPr/>
    </dgm:pt>
    <dgm:pt modelId="{FAFC63FC-4312-4324-8F9D-570E87145447}" type="pres">
      <dgm:prSet presAssocID="{0ECAC881-5C52-48FF-BB5A-0C3F23DE4D9B}" presName="invisiNode" presStyleLbl="node1" presStyleIdx="0" presStyleCnt="5"/>
      <dgm:spPr/>
    </dgm:pt>
    <dgm:pt modelId="{A7A73A66-34E7-4045-9E77-35DCC2152F29}" type="pres">
      <dgm:prSet presAssocID="{0ECAC881-5C52-48FF-BB5A-0C3F23DE4D9B}" presName="imagNode" presStyleLbl="fgImgPlace1" presStyleIdx="0" presStyleCnt="5"/>
      <dgm:spPr>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dgm:spPr>
    </dgm:pt>
    <dgm:pt modelId="{82B1F491-1EE4-44AB-AC2F-BD2EA79CFC09}" type="pres">
      <dgm:prSet presAssocID="{CBA77ACD-A547-4A0D-887F-FE85E5C69037}" presName="sibTrans" presStyleLbl="sibTrans2D1" presStyleIdx="0" presStyleCnt="0"/>
      <dgm:spPr/>
    </dgm:pt>
    <dgm:pt modelId="{58887716-595A-4671-ABE8-1056BF180CBE}" type="pres">
      <dgm:prSet presAssocID="{A39E7751-EDAF-4CB1-9168-22818FBAD80E}" presName="compNode" presStyleCnt="0"/>
      <dgm:spPr/>
    </dgm:pt>
    <dgm:pt modelId="{3E50B858-2765-417E-8653-8CB9DF98FE0C}" type="pres">
      <dgm:prSet presAssocID="{A39E7751-EDAF-4CB1-9168-22818FBAD80E}" presName="node" presStyleLbl="node1" presStyleIdx="1" presStyleCnt="5">
        <dgm:presLayoutVars>
          <dgm:bulletEnabled val="1"/>
        </dgm:presLayoutVars>
      </dgm:prSet>
      <dgm:spPr/>
    </dgm:pt>
    <dgm:pt modelId="{C7CEC9FF-2259-4E4E-8255-844EFD9C1862}" type="pres">
      <dgm:prSet presAssocID="{A39E7751-EDAF-4CB1-9168-22818FBAD80E}" presName="invisiNode" presStyleLbl="node1" presStyleIdx="1" presStyleCnt="5"/>
      <dgm:spPr/>
    </dgm:pt>
    <dgm:pt modelId="{672E45F6-BBFE-46F7-8765-0791A2C576A3}" type="pres">
      <dgm:prSet presAssocID="{A39E7751-EDAF-4CB1-9168-22818FBAD80E}" presName="imagNode" presStyleLbl="fgImgPlace1" presStyleIdx="1" presStyleCnt="5"/>
      <dgm:spPr>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dgm:spPr>
    </dgm:pt>
    <dgm:pt modelId="{AFA21978-2202-44E8-B823-00AA096175F1}" type="pres">
      <dgm:prSet presAssocID="{E3EA2D4D-6A19-4581-8CA2-623C825AC3A4}" presName="sibTrans" presStyleLbl="sibTrans2D1" presStyleIdx="0" presStyleCnt="0"/>
      <dgm:spPr/>
    </dgm:pt>
    <dgm:pt modelId="{926DB85F-35FD-44FF-9FA7-55A2EA1E64A1}" type="pres">
      <dgm:prSet presAssocID="{88C10075-83EF-4D14-BA94-B822C07D9AB8}" presName="compNode" presStyleCnt="0"/>
      <dgm:spPr/>
    </dgm:pt>
    <dgm:pt modelId="{18BB160B-D23B-4832-9E84-44205EA26A5C}" type="pres">
      <dgm:prSet presAssocID="{88C10075-83EF-4D14-BA94-B822C07D9AB8}" presName="node" presStyleLbl="node1" presStyleIdx="2" presStyleCnt="5">
        <dgm:presLayoutVars>
          <dgm:bulletEnabled val="1"/>
        </dgm:presLayoutVars>
      </dgm:prSet>
      <dgm:spPr/>
    </dgm:pt>
    <dgm:pt modelId="{6CC1611C-1E17-4368-81AE-A07C81C6D981}" type="pres">
      <dgm:prSet presAssocID="{88C10075-83EF-4D14-BA94-B822C07D9AB8}" presName="invisiNode" presStyleLbl="node1" presStyleIdx="2" presStyleCnt="5"/>
      <dgm:spPr/>
    </dgm:pt>
    <dgm:pt modelId="{569EA94C-408F-4607-8DD3-85A968509727}" type="pres">
      <dgm:prSet presAssocID="{88C10075-83EF-4D14-BA94-B822C07D9AB8}" presName="imagNode" presStyleLbl="fgImgPlace1" presStyleIdx="2" presStyleCnt="5"/>
      <dgm:spPr>
        <a:blipFill rotWithShape="1">
          <a:blip xmlns:r="http://schemas.openxmlformats.org/officeDocument/2006/relationships" r:embed="rId3">
            <a:extLst>
              <a:ext uri="{28A0092B-C50C-407E-A947-70E740481C1C}">
                <a14:useLocalDpi xmlns:a14="http://schemas.microsoft.com/office/drawing/2010/main" val="0"/>
              </a:ext>
            </a:extLst>
          </a:blip>
          <a:stretch>
            <a:fillRect/>
          </a:stretch>
        </a:blipFill>
      </dgm:spPr>
    </dgm:pt>
    <dgm:pt modelId="{AC82FDCE-25F1-46C9-BD10-A347ADE78820}" type="pres">
      <dgm:prSet presAssocID="{5BA57CB9-2BD9-4374-81A6-DB2EC57BB2BE}" presName="sibTrans" presStyleLbl="sibTrans2D1" presStyleIdx="0" presStyleCnt="0"/>
      <dgm:spPr/>
    </dgm:pt>
    <dgm:pt modelId="{05B41A16-2B47-4109-8382-B1E8101A63A5}" type="pres">
      <dgm:prSet presAssocID="{1020907F-8094-4217-B442-C39DAE1B378B}" presName="compNode" presStyleCnt="0"/>
      <dgm:spPr/>
    </dgm:pt>
    <dgm:pt modelId="{B60E453F-F5BB-4FAF-96AA-66DD98077BC3}" type="pres">
      <dgm:prSet presAssocID="{1020907F-8094-4217-B442-C39DAE1B378B}" presName="node" presStyleLbl="node1" presStyleIdx="3" presStyleCnt="5">
        <dgm:presLayoutVars>
          <dgm:bulletEnabled val="1"/>
        </dgm:presLayoutVars>
      </dgm:prSet>
      <dgm:spPr/>
    </dgm:pt>
    <dgm:pt modelId="{1D3F990E-9A4A-44C7-A35A-A7C66D877A95}" type="pres">
      <dgm:prSet presAssocID="{1020907F-8094-4217-B442-C39DAE1B378B}" presName="invisiNode" presStyleLbl="node1" presStyleIdx="3" presStyleCnt="5"/>
      <dgm:spPr/>
    </dgm:pt>
    <dgm:pt modelId="{0415D11A-48C2-46A6-B32C-664A5889444C}" type="pres">
      <dgm:prSet presAssocID="{1020907F-8094-4217-B442-C39DAE1B378B}" presName="imagNode" presStyleLbl="fgImgPlace1" presStyleIdx="3" presStyleCnt="5"/>
      <dgm:spPr>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dgm:spPr>
    </dgm:pt>
    <dgm:pt modelId="{3E09269E-D03C-4FE5-9D45-875E31FD39D4}" type="pres">
      <dgm:prSet presAssocID="{425D9C0E-3A1A-4357-AB4F-15A5EB5A1F55}" presName="sibTrans" presStyleLbl="sibTrans2D1" presStyleIdx="0" presStyleCnt="0"/>
      <dgm:spPr/>
    </dgm:pt>
    <dgm:pt modelId="{DA69C99E-E2E0-4452-91E6-71034F975D46}" type="pres">
      <dgm:prSet presAssocID="{C6C7D5B9-F5FB-438E-B86B-8B89D62E5DA6}" presName="compNode" presStyleCnt="0"/>
      <dgm:spPr/>
    </dgm:pt>
    <dgm:pt modelId="{80E9DF10-3558-41AD-9628-60BA6C85F344}" type="pres">
      <dgm:prSet presAssocID="{C6C7D5B9-F5FB-438E-B86B-8B89D62E5DA6}" presName="node" presStyleLbl="node1" presStyleIdx="4" presStyleCnt="5">
        <dgm:presLayoutVars>
          <dgm:bulletEnabled val="1"/>
        </dgm:presLayoutVars>
      </dgm:prSet>
      <dgm:spPr/>
    </dgm:pt>
    <dgm:pt modelId="{006661C4-7F3E-4583-A64F-1549D36FE866}" type="pres">
      <dgm:prSet presAssocID="{C6C7D5B9-F5FB-438E-B86B-8B89D62E5DA6}" presName="invisiNode" presStyleLbl="node1" presStyleIdx="4" presStyleCnt="5"/>
      <dgm:spPr/>
    </dgm:pt>
    <dgm:pt modelId="{BAFBD851-0174-4848-A6FC-535EC72AEC91}" type="pres">
      <dgm:prSet presAssocID="{C6C7D5B9-F5FB-438E-B86B-8B89D62E5DA6}" presName="imagNode" presStyleLbl="fgImgPlace1" presStyleIdx="4" presStyleCnt="5"/>
      <dgm:spPr>
        <a:blipFill rotWithShape="1">
          <a:blip xmlns:r="http://schemas.openxmlformats.org/officeDocument/2006/relationships" r:embed="rId5">
            <a:extLst>
              <a:ext uri="{28A0092B-C50C-407E-A947-70E740481C1C}">
                <a14:useLocalDpi xmlns:a14="http://schemas.microsoft.com/office/drawing/2010/main" val="0"/>
              </a:ext>
            </a:extLst>
          </a:blip>
          <a:stretch>
            <a:fillRect/>
          </a:stretch>
        </a:blipFill>
      </dgm:spPr>
    </dgm:pt>
  </dgm:ptLst>
  <dgm:cxnLst>
    <dgm:cxn modelId="{04684409-25C2-4260-8E87-576995FCE137}" type="presOf" srcId="{C6C7D5B9-F5FB-438E-B86B-8B89D62E5DA6}" destId="{80E9DF10-3558-41AD-9628-60BA6C85F344}" srcOrd="0" destOrd="0" presId="urn:microsoft.com/office/officeart/2005/8/layout/pList2"/>
    <dgm:cxn modelId="{FD1D8B11-C39E-40C1-83A2-93B6EB303348}" type="presOf" srcId="{A39E7751-EDAF-4CB1-9168-22818FBAD80E}" destId="{3E50B858-2765-417E-8653-8CB9DF98FE0C}" srcOrd="0" destOrd="0" presId="urn:microsoft.com/office/officeart/2005/8/layout/pList2"/>
    <dgm:cxn modelId="{6BFFFA67-4736-49C7-9C13-B148A9B59729}" type="presOf" srcId="{AE4771DA-01B7-468B-9A17-1ED2446AFB17}" destId="{39A1F219-1432-4367-B64F-71A1B022B5BB}" srcOrd="0" destOrd="0" presId="urn:microsoft.com/office/officeart/2005/8/layout/pList2"/>
    <dgm:cxn modelId="{28E2F36D-5083-43A3-80EC-D5F22215F893}" srcId="{AE4771DA-01B7-468B-9A17-1ED2446AFB17}" destId="{0ECAC881-5C52-48FF-BB5A-0C3F23DE4D9B}" srcOrd="0" destOrd="0" parTransId="{D14B5D42-C4E5-40D7-A76D-547914F4282B}" sibTransId="{CBA77ACD-A547-4A0D-887F-FE85E5C69037}"/>
    <dgm:cxn modelId="{70093158-5B04-4D2A-9238-B28B7C5003A5}" srcId="{AE4771DA-01B7-468B-9A17-1ED2446AFB17}" destId="{88C10075-83EF-4D14-BA94-B822C07D9AB8}" srcOrd="2" destOrd="0" parTransId="{EEC2D723-5E6B-4CC7-B1B8-D66C1125603A}" sibTransId="{5BA57CB9-2BD9-4374-81A6-DB2EC57BB2BE}"/>
    <dgm:cxn modelId="{36834483-B7E5-422D-B1A5-2A4FB370EDDC}" srcId="{AE4771DA-01B7-468B-9A17-1ED2446AFB17}" destId="{C6C7D5B9-F5FB-438E-B86B-8B89D62E5DA6}" srcOrd="4" destOrd="0" parTransId="{B7143899-16D0-4FF2-BD49-EC05FD275B87}" sibTransId="{71252399-8E30-4E4A-B6B6-330DBA63829E}"/>
    <dgm:cxn modelId="{D65FFCAD-7D66-4A2F-85F0-73EC81A571B2}" type="presOf" srcId="{425D9C0E-3A1A-4357-AB4F-15A5EB5A1F55}" destId="{3E09269E-D03C-4FE5-9D45-875E31FD39D4}" srcOrd="0" destOrd="0" presId="urn:microsoft.com/office/officeart/2005/8/layout/pList2"/>
    <dgm:cxn modelId="{FC501EBF-71E2-4EA7-9D49-C2A9F171BA68}" type="presOf" srcId="{1020907F-8094-4217-B442-C39DAE1B378B}" destId="{B60E453F-F5BB-4FAF-96AA-66DD98077BC3}" srcOrd="0" destOrd="0" presId="urn:microsoft.com/office/officeart/2005/8/layout/pList2"/>
    <dgm:cxn modelId="{416DABCB-411C-4549-91CF-631347F9E5D7}" type="presOf" srcId="{0ECAC881-5C52-48FF-BB5A-0C3F23DE4D9B}" destId="{4CFA33FB-60C2-494F-87D3-3260F37C2E39}" srcOrd="0" destOrd="0" presId="urn:microsoft.com/office/officeart/2005/8/layout/pList2"/>
    <dgm:cxn modelId="{91759ECF-4505-40C1-82F6-025E0D78C534}" type="presOf" srcId="{E3EA2D4D-6A19-4581-8CA2-623C825AC3A4}" destId="{AFA21978-2202-44E8-B823-00AA096175F1}" srcOrd="0" destOrd="0" presId="urn:microsoft.com/office/officeart/2005/8/layout/pList2"/>
    <dgm:cxn modelId="{F5252BDB-E3EA-4525-8D5D-B4F4CE41B5A5}" srcId="{AE4771DA-01B7-468B-9A17-1ED2446AFB17}" destId="{A39E7751-EDAF-4CB1-9168-22818FBAD80E}" srcOrd="1" destOrd="0" parTransId="{AA7CB330-1D0E-4F1F-88E0-F2DB9614388A}" sibTransId="{E3EA2D4D-6A19-4581-8CA2-623C825AC3A4}"/>
    <dgm:cxn modelId="{187C6DE1-1F08-4C03-82A5-CE5173265615}" srcId="{AE4771DA-01B7-468B-9A17-1ED2446AFB17}" destId="{1020907F-8094-4217-B442-C39DAE1B378B}" srcOrd="3" destOrd="0" parTransId="{3CEB2982-6506-4181-8B69-FB7C6A45A305}" sibTransId="{425D9C0E-3A1A-4357-AB4F-15A5EB5A1F55}"/>
    <dgm:cxn modelId="{5B2A0CE6-FAAF-4FA4-910E-572106665381}" type="presOf" srcId="{CBA77ACD-A547-4A0D-887F-FE85E5C69037}" destId="{82B1F491-1EE4-44AB-AC2F-BD2EA79CFC09}" srcOrd="0" destOrd="0" presId="urn:microsoft.com/office/officeart/2005/8/layout/pList2"/>
    <dgm:cxn modelId="{408E72EA-A75C-4B70-9F9F-5013DB2DC1BE}" type="presOf" srcId="{88C10075-83EF-4D14-BA94-B822C07D9AB8}" destId="{18BB160B-D23B-4832-9E84-44205EA26A5C}" srcOrd="0" destOrd="0" presId="urn:microsoft.com/office/officeart/2005/8/layout/pList2"/>
    <dgm:cxn modelId="{AEA58AEB-82BD-4B49-A2E9-71D9AD399126}" type="presOf" srcId="{5BA57CB9-2BD9-4374-81A6-DB2EC57BB2BE}" destId="{AC82FDCE-25F1-46C9-BD10-A347ADE78820}" srcOrd="0" destOrd="0" presId="urn:microsoft.com/office/officeart/2005/8/layout/pList2"/>
    <dgm:cxn modelId="{44622F5F-F31B-4B07-8439-438651015EAC}" type="presParOf" srcId="{39A1F219-1432-4367-B64F-71A1B022B5BB}" destId="{E3701CC3-AE89-44C6-8157-CAB535B8A6C0}" srcOrd="0" destOrd="0" presId="urn:microsoft.com/office/officeart/2005/8/layout/pList2"/>
    <dgm:cxn modelId="{E17E6D03-ED62-441A-BFFE-E5FAC67A4EB3}" type="presParOf" srcId="{39A1F219-1432-4367-B64F-71A1B022B5BB}" destId="{022DE156-3709-4BCB-95EF-84EE41F8140B}" srcOrd="1" destOrd="0" presId="urn:microsoft.com/office/officeart/2005/8/layout/pList2"/>
    <dgm:cxn modelId="{C636217E-169C-4665-849B-AC1C4D3C548B}" type="presParOf" srcId="{022DE156-3709-4BCB-95EF-84EE41F8140B}" destId="{8FE3E251-6736-49F4-8D76-5CC42CF46D03}" srcOrd="0" destOrd="0" presId="urn:microsoft.com/office/officeart/2005/8/layout/pList2"/>
    <dgm:cxn modelId="{B25B7CC4-A004-4256-91D4-005C13187CB6}" type="presParOf" srcId="{8FE3E251-6736-49F4-8D76-5CC42CF46D03}" destId="{4CFA33FB-60C2-494F-87D3-3260F37C2E39}" srcOrd="0" destOrd="0" presId="urn:microsoft.com/office/officeart/2005/8/layout/pList2"/>
    <dgm:cxn modelId="{9EC85A46-B253-4D1A-8D3A-2A21276CDC02}" type="presParOf" srcId="{8FE3E251-6736-49F4-8D76-5CC42CF46D03}" destId="{FAFC63FC-4312-4324-8F9D-570E87145447}" srcOrd="1" destOrd="0" presId="urn:microsoft.com/office/officeart/2005/8/layout/pList2"/>
    <dgm:cxn modelId="{19CA3229-1642-4911-9488-236890DF5A63}" type="presParOf" srcId="{8FE3E251-6736-49F4-8D76-5CC42CF46D03}" destId="{A7A73A66-34E7-4045-9E77-35DCC2152F29}" srcOrd="2" destOrd="0" presId="urn:microsoft.com/office/officeart/2005/8/layout/pList2"/>
    <dgm:cxn modelId="{ABC89FD3-A7CA-4475-96D1-4594FFD64494}" type="presParOf" srcId="{022DE156-3709-4BCB-95EF-84EE41F8140B}" destId="{82B1F491-1EE4-44AB-AC2F-BD2EA79CFC09}" srcOrd="1" destOrd="0" presId="urn:microsoft.com/office/officeart/2005/8/layout/pList2"/>
    <dgm:cxn modelId="{8A5FD843-3592-47AC-9786-CAD5DA13B664}" type="presParOf" srcId="{022DE156-3709-4BCB-95EF-84EE41F8140B}" destId="{58887716-595A-4671-ABE8-1056BF180CBE}" srcOrd="2" destOrd="0" presId="urn:microsoft.com/office/officeart/2005/8/layout/pList2"/>
    <dgm:cxn modelId="{92C33B67-121A-4A2E-9698-3A1566653588}" type="presParOf" srcId="{58887716-595A-4671-ABE8-1056BF180CBE}" destId="{3E50B858-2765-417E-8653-8CB9DF98FE0C}" srcOrd="0" destOrd="0" presId="urn:microsoft.com/office/officeart/2005/8/layout/pList2"/>
    <dgm:cxn modelId="{3ACD785B-FE1B-470C-B07E-223ABC6AEAD1}" type="presParOf" srcId="{58887716-595A-4671-ABE8-1056BF180CBE}" destId="{C7CEC9FF-2259-4E4E-8255-844EFD9C1862}" srcOrd="1" destOrd="0" presId="urn:microsoft.com/office/officeart/2005/8/layout/pList2"/>
    <dgm:cxn modelId="{CD81CE1F-B514-401D-B34D-343BFFE1A3EB}" type="presParOf" srcId="{58887716-595A-4671-ABE8-1056BF180CBE}" destId="{672E45F6-BBFE-46F7-8765-0791A2C576A3}" srcOrd="2" destOrd="0" presId="urn:microsoft.com/office/officeart/2005/8/layout/pList2"/>
    <dgm:cxn modelId="{E28F0560-15CE-48EA-9F3C-1DB6006D1A40}" type="presParOf" srcId="{022DE156-3709-4BCB-95EF-84EE41F8140B}" destId="{AFA21978-2202-44E8-B823-00AA096175F1}" srcOrd="3" destOrd="0" presId="urn:microsoft.com/office/officeart/2005/8/layout/pList2"/>
    <dgm:cxn modelId="{0CCEA50A-0A7E-4B36-845E-AB2414F8E670}" type="presParOf" srcId="{022DE156-3709-4BCB-95EF-84EE41F8140B}" destId="{926DB85F-35FD-44FF-9FA7-55A2EA1E64A1}" srcOrd="4" destOrd="0" presId="urn:microsoft.com/office/officeart/2005/8/layout/pList2"/>
    <dgm:cxn modelId="{031B754E-93B0-407C-A257-3D2E12B8103F}" type="presParOf" srcId="{926DB85F-35FD-44FF-9FA7-55A2EA1E64A1}" destId="{18BB160B-D23B-4832-9E84-44205EA26A5C}" srcOrd="0" destOrd="0" presId="urn:microsoft.com/office/officeart/2005/8/layout/pList2"/>
    <dgm:cxn modelId="{E368146E-8D16-4427-A9E2-4AA68E14EA76}" type="presParOf" srcId="{926DB85F-35FD-44FF-9FA7-55A2EA1E64A1}" destId="{6CC1611C-1E17-4368-81AE-A07C81C6D981}" srcOrd="1" destOrd="0" presId="urn:microsoft.com/office/officeart/2005/8/layout/pList2"/>
    <dgm:cxn modelId="{AC90C0BE-1AFF-400F-A916-CC195C75B203}" type="presParOf" srcId="{926DB85F-35FD-44FF-9FA7-55A2EA1E64A1}" destId="{569EA94C-408F-4607-8DD3-85A968509727}" srcOrd="2" destOrd="0" presId="urn:microsoft.com/office/officeart/2005/8/layout/pList2"/>
    <dgm:cxn modelId="{5971F0D6-11F0-42BD-923E-0097797C4B9F}" type="presParOf" srcId="{022DE156-3709-4BCB-95EF-84EE41F8140B}" destId="{AC82FDCE-25F1-46C9-BD10-A347ADE78820}" srcOrd="5" destOrd="0" presId="urn:microsoft.com/office/officeart/2005/8/layout/pList2"/>
    <dgm:cxn modelId="{2371F4D5-96D9-4BC7-A8D1-180AF4068A09}" type="presParOf" srcId="{022DE156-3709-4BCB-95EF-84EE41F8140B}" destId="{05B41A16-2B47-4109-8382-B1E8101A63A5}" srcOrd="6" destOrd="0" presId="urn:microsoft.com/office/officeart/2005/8/layout/pList2"/>
    <dgm:cxn modelId="{1F79E4B2-A596-43B5-B12D-0E72548E3AF7}" type="presParOf" srcId="{05B41A16-2B47-4109-8382-B1E8101A63A5}" destId="{B60E453F-F5BB-4FAF-96AA-66DD98077BC3}" srcOrd="0" destOrd="0" presId="urn:microsoft.com/office/officeart/2005/8/layout/pList2"/>
    <dgm:cxn modelId="{DD1D56FC-DA23-4CC3-A89E-2F78BA8C70B7}" type="presParOf" srcId="{05B41A16-2B47-4109-8382-B1E8101A63A5}" destId="{1D3F990E-9A4A-44C7-A35A-A7C66D877A95}" srcOrd="1" destOrd="0" presId="urn:microsoft.com/office/officeart/2005/8/layout/pList2"/>
    <dgm:cxn modelId="{50284CC7-9A3D-49B1-84F4-88C3C81B290F}" type="presParOf" srcId="{05B41A16-2B47-4109-8382-B1E8101A63A5}" destId="{0415D11A-48C2-46A6-B32C-664A5889444C}" srcOrd="2" destOrd="0" presId="urn:microsoft.com/office/officeart/2005/8/layout/pList2"/>
    <dgm:cxn modelId="{C8186247-21C3-4F5A-BFE7-4F34DC61650A}" type="presParOf" srcId="{022DE156-3709-4BCB-95EF-84EE41F8140B}" destId="{3E09269E-D03C-4FE5-9D45-875E31FD39D4}" srcOrd="7" destOrd="0" presId="urn:microsoft.com/office/officeart/2005/8/layout/pList2"/>
    <dgm:cxn modelId="{6FDC1AAA-59F8-471B-BF2A-F06DA2E12FF4}" type="presParOf" srcId="{022DE156-3709-4BCB-95EF-84EE41F8140B}" destId="{DA69C99E-E2E0-4452-91E6-71034F975D46}" srcOrd="8" destOrd="0" presId="urn:microsoft.com/office/officeart/2005/8/layout/pList2"/>
    <dgm:cxn modelId="{79BF9CF6-301B-48F3-A04B-2CAA6363780B}" type="presParOf" srcId="{DA69C99E-E2E0-4452-91E6-71034F975D46}" destId="{80E9DF10-3558-41AD-9628-60BA6C85F344}" srcOrd="0" destOrd="0" presId="urn:microsoft.com/office/officeart/2005/8/layout/pList2"/>
    <dgm:cxn modelId="{D39F7B49-AB80-4D4A-ABE5-278723B2AD59}" type="presParOf" srcId="{DA69C99E-E2E0-4452-91E6-71034F975D46}" destId="{006661C4-7F3E-4583-A64F-1549D36FE866}" srcOrd="1" destOrd="0" presId="urn:microsoft.com/office/officeart/2005/8/layout/pList2"/>
    <dgm:cxn modelId="{5075F718-C758-4E18-AC54-77D48716638A}" type="presParOf" srcId="{DA69C99E-E2E0-4452-91E6-71034F975D46}" destId="{BAFBD851-0174-4848-A6FC-535EC72AEC91}"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AE4771DA-01B7-468B-9A17-1ED2446AFB17}" type="doc">
      <dgm:prSet loTypeId="urn:microsoft.com/office/officeart/2005/8/layout/pList2" loCatId="list" qsTypeId="urn:microsoft.com/office/officeart/2005/8/quickstyle/simple1" qsCatId="simple" csTypeId="urn:microsoft.com/office/officeart/2005/8/colors/accent0_2" csCatId="mainScheme" phldr="1"/>
      <dgm:spPr/>
    </dgm:pt>
    <dgm:pt modelId="{680C56B1-C3E4-432B-9F70-D393CCABBEA1}">
      <dgm:prSet/>
      <dgm:spPr/>
      <dgm:t>
        <a:bodyPr/>
        <a:lstStyle/>
        <a:p>
          <a:r>
            <a:rPr lang="es-ES" dirty="0"/>
            <a:t>Análisis inteligente de las cámaras de vídeo (lectura de matrículas, identificación facial, …)</a:t>
          </a:r>
        </a:p>
      </dgm:t>
    </dgm:pt>
    <dgm:pt modelId="{1E8026A7-CA87-4482-B185-3B5CD45FF7BB}" type="parTrans" cxnId="{49648336-6A8A-48D2-AA7E-292E37B0E946}">
      <dgm:prSet/>
      <dgm:spPr/>
      <dgm:t>
        <a:bodyPr/>
        <a:lstStyle/>
        <a:p>
          <a:endParaRPr lang="es-ES"/>
        </a:p>
      </dgm:t>
    </dgm:pt>
    <dgm:pt modelId="{342CE752-C9BB-45C5-83C8-F3295AAD61F0}" type="sibTrans" cxnId="{49648336-6A8A-48D2-AA7E-292E37B0E946}">
      <dgm:prSet/>
      <dgm:spPr/>
      <dgm:t>
        <a:bodyPr/>
        <a:lstStyle/>
        <a:p>
          <a:endParaRPr lang="es-ES"/>
        </a:p>
      </dgm:t>
    </dgm:pt>
    <dgm:pt modelId="{746C767C-32D2-4B5F-86B3-156FD1B67916}">
      <dgm:prSet/>
      <dgm:spPr/>
      <dgm:t>
        <a:bodyPr/>
        <a:lstStyle/>
        <a:p>
          <a:r>
            <a:rPr lang="es-ES" dirty="0"/>
            <a:t>Análisis de movimiento de dispositivos WiFi en redes municipales.</a:t>
          </a:r>
        </a:p>
      </dgm:t>
    </dgm:pt>
    <dgm:pt modelId="{E3F098E2-A272-4E74-851D-9C7B462C330C}" type="parTrans" cxnId="{526CDA63-8E7D-4515-B918-8769F1D7DB41}">
      <dgm:prSet/>
      <dgm:spPr/>
      <dgm:t>
        <a:bodyPr/>
        <a:lstStyle/>
        <a:p>
          <a:endParaRPr lang="es-ES"/>
        </a:p>
      </dgm:t>
    </dgm:pt>
    <dgm:pt modelId="{509A9AA6-2A24-48F3-8D01-75218001AE49}" type="sibTrans" cxnId="{526CDA63-8E7D-4515-B918-8769F1D7DB41}">
      <dgm:prSet/>
      <dgm:spPr/>
      <dgm:t>
        <a:bodyPr/>
        <a:lstStyle/>
        <a:p>
          <a:endParaRPr lang="es-ES"/>
        </a:p>
      </dgm:t>
    </dgm:pt>
    <dgm:pt modelId="{CA82AA82-5295-4710-8CB3-B29C808D9CF2}" type="pres">
      <dgm:prSet presAssocID="{AE4771DA-01B7-468B-9A17-1ED2446AFB17}" presName="Name0" presStyleCnt="0">
        <dgm:presLayoutVars>
          <dgm:dir/>
          <dgm:resizeHandles val="exact"/>
        </dgm:presLayoutVars>
      </dgm:prSet>
      <dgm:spPr/>
    </dgm:pt>
    <dgm:pt modelId="{6791BA38-432C-4412-B1C0-3B6C37A9B9B6}" type="pres">
      <dgm:prSet presAssocID="{AE4771DA-01B7-468B-9A17-1ED2446AFB17}" presName="bkgdShp" presStyleLbl="alignAccFollowNode1" presStyleIdx="0" presStyleCnt="1"/>
      <dgm:spPr/>
    </dgm:pt>
    <dgm:pt modelId="{2D5EACA9-86A6-4098-9F0D-3B4836136E12}" type="pres">
      <dgm:prSet presAssocID="{AE4771DA-01B7-468B-9A17-1ED2446AFB17}" presName="linComp" presStyleCnt="0"/>
      <dgm:spPr/>
    </dgm:pt>
    <dgm:pt modelId="{00C5553A-C08B-4468-A6E9-758D6D5FE8A6}" type="pres">
      <dgm:prSet presAssocID="{680C56B1-C3E4-432B-9F70-D393CCABBEA1}" presName="compNode" presStyleCnt="0"/>
      <dgm:spPr/>
    </dgm:pt>
    <dgm:pt modelId="{5F072B8B-E24F-44A0-A1B6-0141CFAD42CA}" type="pres">
      <dgm:prSet presAssocID="{680C56B1-C3E4-432B-9F70-D393CCABBEA1}" presName="node" presStyleLbl="node1" presStyleIdx="0" presStyleCnt="2">
        <dgm:presLayoutVars>
          <dgm:bulletEnabled val="1"/>
        </dgm:presLayoutVars>
      </dgm:prSet>
      <dgm:spPr/>
    </dgm:pt>
    <dgm:pt modelId="{2514BDE8-1898-4CFD-A34E-5535E23BBFF4}" type="pres">
      <dgm:prSet presAssocID="{680C56B1-C3E4-432B-9F70-D393CCABBEA1}" presName="invisiNode" presStyleLbl="node1" presStyleIdx="0" presStyleCnt="2"/>
      <dgm:spPr/>
    </dgm:pt>
    <dgm:pt modelId="{46BBF354-9988-4D4B-B229-D4F73DD4DFFF}" type="pres">
      <dgm:prSet presAssocID="{680C56B1-C3E4-432B-9F70-D393CCABBEA1}" presName="imagNode"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dgm:spPr>
    </dgm:pt>
    <dgm:pt modelId="{31E5C11D-8EF1-4841-B77F-06A8A111AE91}" type="pres">
      <dgm:prSet presAssocID="{342CE752-C9BB-45C5-83C8-F3295AAD61F0}" presName="sibTrans" presStyleLbl="sibTrans2D1" presStyleIdx="0" presStyleCnt="0"/>
      <dgm:spPr/>
    </dgm:pt>
    <dgm:pt modelId="{524078BD-AC4D-4FD1-84B1-A1A3AE1FE055}" type="pres">
      <dgm:prSet presAssocID="{746C767C-32D2-4B5F-86B3-156FD1B67916}" presName="compNode" presStyleCnt="0"/>
      <dgm:spPr/>
    </dgm:pt>
    <dgm:pt modelId="{5F743CE6-F309-4447-877F-442FC7C08F41}" type="pres">
      <dgm:prSet presAssocID="{746C767C-32D2-4B5F-86B3-156FD1B67916}" presName="node" presStyleLbl="node1" presStyleIdx="1" presStyleCnt="2">
        <dgm:presLayoutVars>
          <dgm:bulletEnabled val="1"/>
        </dgm:presLayoutVars>
      </dgm:prSet>
      <dgm:spPr/>
    </dgm:pt>
    <dgm:pt modelId="{ABF23BD4-70AB-41D3-8650-1028869FD6B1}" type="pres">
      <dgm:prSet presAssocID="{746C767C-32D2-4B5F-86B3-156FD1B67916}" presName="invisiNode" presStyleLbl="node1" presStyleIdx="1" presStyleCnt="2"/>
      <dgm:spPr/>
    </dgm:pt>
    <dgm:pt modelId="{1251AE94-5044-42D6-874E-BA02BB3A44E3}" type="pres">
      <dgm:prSet presAssocID="{746C767C-32D2-4B5F-86B3-156FD1B67916}" presName="imagNode" presStyleLbl="fgImgPlace1" presStyleIdx="1" presStyleCnt="2"/>
      <dgm:spPr>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dgm:spPr>
    </dgm:pt>
  </dgm:ptLst>
  <dgm:cxnLst>
    <dgm:cxn modelId="{A946EC09-478C-45F6-9D64-B8CF0006519D}" type="presOf" srcId="{746C767C-32D2-4B5F-86B3-156FD1B67916}" destId="{5F743CE6-F309-4447-877F-442FC7C08F41}" srcOrd="0" destOrd="0" presId="urn:microsoft.com/office/officeart/2005/8/layout/pList2"/>
    <dgm:cxn modelId="{7EF8940D-798C-45C8-BC29-0CBCA5961DF9}" type="presOf" srcId="{680C56B1-C3E4-432B-9F70-D393CCABBEA1}" destId="{5F072B8B-E24F-44A0-A1B6-0141CFAD42CA}" srcOrd="0" destOrd="0" presId="urn:microsoft.com/office/officeart/2005/8/layout/pList2"/>
    <dgm:cxn modelId="{6ADEDC29-A063-4B66-9FC1-E8AEDBA1D98C}" type="presOf" srcId="{342CE752-C9BB-45C5-83C8-F3295AAD61F0}" destId="{31E5C11D-8EF1-4841-B77F-06A8A111AE91}" srcOrd="0" destOrd="0" presId="urn:microsoft.com/office/officeart/2005/8/layout/pList2"/>
    <dgm:cxn modelId="{49648336-6A8A-48D2-AA7E-292E37B0E946}" srcId="{AE4771DA-01B7-468B-9A17-1ED2446AFB17}" destId="{680C56B1-C3E4-432B-9F70-D393CCABBEA1}" srcOrd="0" destOrd="0" parTransId="{1E8026A7-CA87-4482-B185-3B5CD45FF7BB}" sibTransId="{342CE752-C9BB-45C5-83C8-F3295AAD61F0}"/>
    <dgm:cxn modelId="{526CDA63-8E7D-4515-B918-8769F1D7DB41}" srcId="{AE4771DA-01B7-468B-9A17-1ED2446AFB17}" destId="{746C767C-32D2-4B5F-86B3-156FD1B67916}" srcOrd="1" destOrd="0" parTransId="{E3F098E2-A272-4E74-851D-9C7B462C330C}" sibTransId="{509A9AA6-2A24-48F3-8D01-75218001AE49}"/>
    <dgm:cxn modelId="{80303887-7D6F-413C-80CA-89A46CAA79C6}" type="presOf" srcId="{AE4771DA-01B7-468B-9A17-1ED2446AFB17}" destId="{CA82AA82-5295-4710-8CB3-B29C808D9CF2}" srcOrd="0" destOrd="0" presId="urn:microsoft.com/office/officeart/2005/8/layout/pList2"/>
    <dgm:cxn modelId="{660BEC6A-E638-43EF-97B9-83434100B10D}" type="presParOf" srcId="{CA82AA82-5295-4710-8CB3-B29C808D9CF2}" destId="{6791BA38-432C-4412-B1C0-3B6C37A9B9B6}" srcOrd="0" destOrd="0" presId="urn:microsoft.com/office/officeart/2005/8/layout/pList2"/>
    <dgm:cxn modelId="{C21E2040-70AF-480F-819E-893CED0AF319}" type="presParOf" srcId="{CA82AA82-5295-4710-8CB3-B29C808D9CF2}" destId="{2D5EACA9-86A6-4098-9F0D-3B4836136E12}" srcOrd="1" destOrd="0" presId="urn:microsoft.com/office/officeart/2005/8/layout/pList2"/>
    <dgm:cxn modelId="{9D914238-2D34-4FC2-8A59-E5C448D4969C}" type="presParOf" srcId="{2D5EACA9-86A6-4098-9F0D-3B4836136E12}" destId="{00C5553A-C08B-4468-A6E9-758D6D5FE8A6}" srcOrd="0" destOrd="0" presId="urn:microsoft.com/office/officeart/2005/8/layout/pList2"/>
    <dgm:cxn modelId="{352EAFCD-189E-4EE8-875F-3A324C3E0F63}" type="presParOf" srcId="{00C5553A-C08B-4468-A6E9-758D6D5FE8A6}" destId="{5F072B8B-E24F-44A0-A1B6-0141CFAD42CA}" srcOrd="0" destOrd="0" presId="urn:microsoft.com/office/officeart/2005/8/layout/pList2"/>
    <dgm:cxn modelId="{E0CF4B81-D49B-4B83-8B51-7B668AC2FE9F}" type="presParOf" srcId="{00C5553A-C08B-4468-A6E9-758D6D5FE8A6}" destId="{2514BDE8-1898-4CFD-A34E-5535E23BBFF4}" srcOrd="1" destOrd="0" presId="urn:microsoft.com/office/officeart/2005/8/layout/pList2"/>
    <dgm:cxn modelId="{932DC001-AB03-4FC7-9C89-CD45E7296263}" type="presParOf" srcId="{00C5553A-C08B-4468-A6E9-758D6D5FE8A6}" destId="{46BBF354-9988-4D4B-B229-D4F73DD4DFFF}" srcOrd="2" destOrd="0" presId="urn:microsoft.com/office/officeart/2005/8/layout/pList2"/>
    <dgm:cxn modelId="{48060292-C88E-441A-BF07-3704B1392066}" type="presParOf" srcId="{2D5EACA9-86A6-4098-9F0D-3B4836136E12}" destId="{31E5C11D-8EF1-4841-B77F-06A8A111AE91}" srcOrd="1" destOrd="0" presId="urn:microsoft.com/office/officeart/2005/8/layout/pList2"/>
    <dgm:cxn modelId="{F4AF1D7B-E85A-4623-ABEF-B43AD8FAAF40}" type="presParOf" srcId="{2D5EACA9-86A6-4098-9F0D-3B4836136E12}" destId="{524078BD-AC4D-4FD1-84B1-A1A3AE1FE055}" srcOrd="2" destOrd="0" presId="urn:microsoft.com/office/officeart/2005/8/layout/pList2"/>
    <dgm:cxn modelId="{4012CCD3-B20B-4C6E-AF89-2169297DEE4D}" type="presParOf" srcId="{524078BD-AC4D-4FD1-84B1-A1A3AE1FE055}" destId="{5F743CE6-F309-4447-877F-442FC7C08F41}" srcOrd="0" destOrd="0" presId="urn:microsoft.com/office/officeart/2005/8/layout/pList2"/>
    <dgm:cxn modelId="{B3530FD6-5AF1-4F3C-983E-0B6003405A8A}" type="presParOf" srcId="{524078BD-AC4D-4FD1-84B1-A1A3AE1FE055}" destId="{ABF23BD4-70AB-41D3-8650-1028869FD6B1}" srcOrd="1" destOrd="0" presId="urn:microsoft.com/office/officeart/2005/8/layout/pList2"/>
    <dgm:cxn modelId="{4E1B506D-C394-474A-AC05-81A9814872F1}" type="presParOf" srcId="{524078BD-AC4D-4FD1-84B1-A1A3AE1FE055}" destId="{1251AE94-5044-42D6-874E-BA02BB3A44E3}"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31417BB0-1977-4944-8F38-7B45BF75637C}" type="doc">
      <dgm:prSet loTypeId="urn:microsoft.com/office/officeart/2005/8/layout/process1" loCatId="process" qsTypeId="urn:microsoft.com/office/officeart/2005/8/quickstyle/simple1" qsCatId="simple" csTypeId="urn:microsoft.com/office/officeart/2005/8/colors/colorful3" csCatId="colorful" phldr="1"/>
      <dgm:spPr/>
    </dgm:pt>
    <dgm:pt modelId="{2EA74AC0-BC34-49F0-A97B-BEDFDA00D07C}">
      <dgm:prSet phldrT="[Texto]"/>
      <dgm:spPr/>
      <dgm:t>
        <a:bodyPr/>
        <a:lstStyle/>
        <a:p>
          <a:pPr>
            <a:lnSpc>
              <a:spcPct val="100000"/>
            </a:lnSpc>
            <a:spcAft>
              <a:spcPts val="300"/>
            </a:spcAft>
          </a:pPr>
          <a:r>
            <a:rPr lang="es-ES" dirty="0"/>
            <a:t>IPv4 (3 x 4 octetos)</a:t>
          </a:r>
        </a:p>
        <a:p>
          <a:pPr>
            <a:lnSpc>
              <a:spcPct val="100000"/>
            </a:lnSpc>
            <a:spcAft>
              <a:spcPts val="300"/>
            </a:spcAft>
          </a:pPr>
          <a:r>
            <a:rPr lang="es-ES" dirty="0"/>
            <a:t>Decimal</a:t>
          </a:r>
        </a:p>
      </dgm:t>
    </dgm:pt>
    <dgm:pt modelId="{FCC9B496-F52D-4A08-BB64-FAC0AA872033}" type="parTrans" cxnId="{1D6A81A7-0BF3-45A7-872D-A1A00C5A2BF4}">
      <dgm:prSet/>
      <dgm:spPr/>
      <dgm:t>
        <a:bodyPr/>
        <a:lstStyle/>
        <a:p>
          <a:pPr>
            <a:lnSpc>
              <a:spcPct val="100000"/>
            </a:lnSpc>
            <a:spcAft>
              <a:spcPts val="300"/>
            </a:spcAft>
          </a:pPr>
          <a:endParaRPr lang="es-ES"/>
        </a:p>
      </dgm:t>
    </dgm:pt>
    <dgm:pt modelId="{E7AE0A8C-04A8-4190-AF84-77B31F6A50AC}" type="sibTrans" cxnId="{1D6A81A7-0BF3-45A7-872D-A1A00C5A2BF4}">
      <dgm:prSet/>
      <dgm:spPr/>
      <dgm:t>
        <a:bodyPr/>
        <a:lstStyle/>
        <a:p>
          <a:pPr>
            <a:lnSpc>
              <a:spcPct val="100000"/>
            </a:lnSpc>
            <a:spcAft>
              <a:spcPts val="300"/>
            </a:spcAft>
          </a:pPr>
          <a:endParaRPr lang="es-ES" dirty="0"/>
        </a:p>
      </dgm:t>
    </dgm:pt>
    <dgm:pt modelId="{3146B62C-5C11-47B3-8312-0F4ADF32A2AB}">
      <dgm:prSet phldrT="[Texto]"/>
      <dgm:spPr/>
      <dgm:t>
        <a:bodyPr/>
        <a:lstStyle/>
        <a:p>
          <a:pPr>
            <a:lnSpc>
              <a:spcPct val="100000"/>
            </a:lnSpc>
            <a:spcAft>
              <a:spcPts val="300"/>
            </a:spcAft>
          </a:pPr>
          <a:r>
            <a:rPr lang="es-ES" dirty="0"/>
            <a:t>IPv6 (4 x 8 octetos)</a:t>
          </a:r>
        </a:p>
        <a:p>
          <a:pPr>
            <a:lnSpc>
              <a:spcPct val="100000"/>
            </a:lnSpc>
            <a:spcAft>
              <a:spcPts val="300"/>
            </a:spcAft>
          </a:pPr>
          <a:r>
            <a:rPr lang="es-ES" dirty="0"/>
            <a:t>Hexadecimal</a:t>
          </a:r>
        </a:p>
      </dgm:t>
    </dgm:pt>
    <dgm:pt modelId="{0A65170A-C38F-497F-A917-DE2C2B9A34FD}" type="parTrans" cxnId="{59F23A41-951C-4374-ADFD-DA6CF4EBBEF7}">
      <dgm:prSet/>
      <dgm:spPr/>
      <dgm:t>
        <a:bodyPr/>
        <a:lstStyle/>
        <a:p>
          <a:pPr>
            <a:lnSpc>
              <a:spcPct val="100000"/>
            </a:lnSpc>
            <a:spcAft>
              <a:spcPts val="300"/>
            </a:spcAft>
          </a:pPr>
          <a:endParaRPr lang="es-ES"/>
        </a:p>
      </dgm:t>
    </dgm:pt>
    <dgm:pt modelId="{47A5C12D-BA99-4D97-BB45-7FD7728F9E1F}" type="sibTrans" cxnId="{59F23A41-951C-4374-ADFD-DA6CF4EBBEF7}">
      <dgm:prSet/>
      <dgm:spPr/>
      <dgm:t>
        <a:bodyPr/>
        <a:lstStyle/>
        <a:p>
          <a:pPr>
            <a:lnSpc>
              <a:spcPct val="100000"/>
            </a:lnSpc>
            <a:spcAft>
              <a:spcPts val="300"/>
            </a:spcAft>
          </a:pPr>
          <a:endParaRPr lang="es-ES"/>
        </a:p>
      </dgm:t>
    </dgm:pt>
    <dgm:pt modelId="{E08A1979-DB40-4216-B37C-85AE5E640039}" type="pres">
      <dgm:prSet presAssocID="{31417BB0-1977-4944-8F38-7B45BF75637C}" presName="Name0" presStyleCnt="0">
        <dgm:presLayoutVars>
          <dgm:dir/>
          <dgm:resizeHandles val="exact"/>
        </dgm:presLayoutVars>
      </dgm:prSet>
      <dgm:spPr/>
    </dgm:pt>
    <dgm:pt modelId="{F9680221-F565-480F-8E46-F5FD83DFD16E}" type="pres">
      <dgm:prSet presAssocID="{2EA74AC0-BC34-49F0-A97B-BEDFDA00D07C}" presName="node" presStyleLbl="node1" presStyleIdx="0" presStyleCnt="2">
        <dgm:presLayoutVars>
          <dgm:bulletEnabled val="1"/>
        </dgm:presLayoutVars>
      </dgm:prSet>
      <dgm:spPr/>
    </dgm:pt>
    <dgm:pt modelId="{46B14A3D-E6EC-4796-B60C-145A6E487812}" type="pres">
      <dgm:prSet presAssocID="{E7AE0A8C-04A8-4190-AF84-77B31F6A50AC}" presName="sibTrans" presStyleLbl="sibTrans2D1" presStyleIdx="0" presStyleCnt="1"/>
      <dgm:spPr/>
    </dgm:pt>
    <dgm:pt modelId="{580B227A-CB75-43D6-9325-636D91046404}" type="pres">
      <dgm:prSet presAssocID="{E7AE0A8C-04A8-4190-AF84-77B31F6A50AC}" presName="connectorText" presStyleLbl="sibTrans2D1" presStyleIdx="0" presStyleCnt="1"/>
      <dgm:spPr/>
    </dgm:pt>
    <dgm:pt modelId="{316D12B2-7CBF-475F-A77F-0C5E788D2FCF}" type="pres">
      <dgm:prSet presAssocID="{3146B62C-5C11-47B3-8312-0F4ADF32A2AB}" presName="node" presStyleLbl="node1" presStyleIdx="1" presStyleCnt="2">
        <dgm:presLayoutVars>
          <dgm:bulletEnabled val="1"/>
        </dgm:presLayoutVars>
      </dgm:prSet>
      <dgm:spPr/>
    </dgm:pt>
  </dgm:ptLst>
  <dgm:cxnLst>
    <dgm:cxn modelId="{59F23A41-951C-4374-ADFD-DA6CF4EBBEF7}" srcId="{31417BB0-1977-4944-8F38-7B45BF75637C}" destId="{3146B62C-5C11-47B3-8312-0F4ADF32A2AB}" srcOrd="1" destOrd="0" parTransId="{0A65170A-C38F-497F-A917-DE2C2B9A34FD}" sibTransId="{47A5C12D-BA99-4D97-BB45-7FD7728F9E1F}"/>
    <dgm:cxn modelId="{073B1755-B2A6-4EAC-8D16-3C3D2E6108BC}" type="presOf" srcId="{2EA74AC0-BC34-49F0-A97B-BEDFDA00D07C}" destId="{F9680221-F565-480F-8E46-F5FD83DFD16E}" srcOrd="0" destOrd="0" presId="urn:microsoft.com/office/officeart/2005/8/layout/process1"/>
    <dgm:cxn modelId="{ECA7497C-BEA3-4061-8622-0AAC29C719F4}" type="presOf" srcId="{3146B62C-5C11-47B3-8312-0F4ADF32A2AB}" destId="{316D12B2-7CBF-475F-A77F-0C5E788D2FCF}" srcOrd="0" destOrd="0" presId="urn:microsoft.com/office/officeart/2005/8/layout/process1"/>
    <dgm:cxn modelId="{1D6A81A7-0BF3-45A7-872D-A1A00C5A2BF4}" srcId="{31417BB0-1977-4944-8F38-7B45BF75637C}" destId="{2EA74AC0-BC34-49F0-A97B-BEDFDA00D07C}" srcOrd="0" destOrd="0" parTransId="{FCC9B496-F52D-4A08-BB64-FAC0AA872033}" sibTransId="{E7AE0A8C-04A8-4190-AF84-77B31F6A50AC}"/>
    <dgm:cxn modelId="{701888C5-9656-4436-BB56-9BD96473413E}" type="presOf" srcId="{31417BB0-1977-4944-8F38-7B45BF75637C}" destId="{E08A1979-DB40-4216-B37C-85AE5E640039}" srcOrd="0" destOrd="0" presId="urn:microsoft.com/office/officeart/2005/8/layout/process1"/>
    <dgm:cxn modelId="{EDEB60C7-D8BA-48AE-AD69-00D909DF293E}" type="presOf" srcId="{E7AE0A8C-04A8-4190-AF84-77B31F6A50AC}" destId="{46B14A3D-E6EC-4796-B60C-145A6E487812}" srcOrd="0" destOrd="0" presId="urn:microsoft.com/office/officeart/2005/8/layout/process1"/>
    <dgm:cxn modelId="{D864E9E0-2D89-4812-89F0-C7814F9316F4}" type="presOf" srcId="{E7AE0A8C-04A8-4190-AF84-77B31F6A50AC}" destId="{580B227A-CB75-43D6-9325-636D91046404}" srcOrd="1" destOrd="0" presId="urn:microsoft.com/office/officeart/2005/8/layout/process1"/>
    <dgm:cxn modelId="{32B63BF8-A9C8-4692-9B70-7DBECAE6E05D}" type="presParOf" srcId="{E08A1979-DB40-4216-B37C-85AE5E640039}" destId="{F9680221-F565-480F-8E46-F5FD83DFD16E}" srcOrd="0" destOrd="0" presId="urn:microsoft.com/office/officeart/2005/8/layout/process1"/>
    <dgm:cxn modelId="{EBB33DFF-CD4E-413B-8BD1-59CE32A9C955}" type="presParOf" srcId="{E08A1979-DB40-4216-B37C-85AE5E640039}" destId="{46B14A3D-E6EC-4796-B60C-145A6E487812}" srcOrd="1" destOrd="0" presId="urn:microsoft.com/office/officeart/2005/8/layout/process1"/>
    <dgm:cxn modelId="{FFC5D316-3A8F-417D-83FF-136CE428D0EF}" type="presParOf" srcId="{46B14A3D-E6EC-4796-B60C-145A6E487812}" destId="{580B227A-CB75-43D6-9325-636D91046404}" srcOrd="0" destOrd="0" presId="urn:microsoft.com/office/officeart/2005/8/layout/process1"/>
    <dgm:cxn modelId="{42347E08-BC65-48C2-AEED-8FB4B0BD3F1F}" type="presParOf" srcId="{E08A1979-DB40-4216-B37C-85AE5E640039}" destId="{316D12B2-7CBF-475F-A77F-0C5E788D2FCF}" srcOrd="2"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525062D-2189-43D5-9D35-5230C3764959}"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DA8278FC-9D16-4910-A33F-3C5BD3B1A41D}">
      <dgm:prSet custT="1"/>
      <dgm:spPr/>
      <dgm:t>
        <a:bodyPr/>
        <a:lstStyle/>
        <a:p>
          <a:r>
            <a:rPr lang="es-ES" sz="1600" dirty="0"/>
            <a:t>1994</a:t>
          </a:r>
          <a:endParaRPr lang="en-US" sz="1600" dirty="0"/>
        </a:p>
      </dgm:t>
    </dgm:pt>
    <dgm:pt modelId="{6A2D1C3C-766D-4C74-83FB-D801E957DAEE}" type="parTrans" cxnId="{EBED5EFE-6DE4-4492-AE8F-EDAD58E85FCE}">
      <dgm:prSet/>
      <dgm:spPr/>
      <dgm:t>
        <a:bodyPr/>
        <a:lstStyle/>
        <a:p>
          <a:endParaRPr lang="en-US" sz="2400"/>
        </a:p>
      </dgm:t>
    </dgm:pt>
    <dgm:pt modelId="{5455CAE7-28A2-4EE4-8705-F2EC023C703B}" type="sibTrans" cxnId="{EBED5EFE-6DE4-4492-AE8F-EDAD58E85FCE}">
      <dgm:prSet/>
      <dgm:spPr/>
      <dgm:t>
        <a:bodyPr/>
        <a:lstStyle/>
        <a:p>
          <a:endParaRPr lang="en-US" sz="2400"/>
        </a:p>
      </dgm:t>
    </dgm:pt>
    <dgm:pt modelId="{7C588605-DEFA-4F6A-81FD-E6D1E904706E}">
      <dgm:prSet custT="1"/>
      <dgm:spPr/>
      <dgm:t>
        <a:bodyPr/>
        <a:lstStyle/>
        <a:p>
          <a:r>
            <a:rPr lang="es-ES" sz="1050" dirty="0"/>
            <a:t>Da forma a su modelo de negocio: Cadabra</a:t>
          </a:r>
        </a:p>
      </dgm:t>
    </dgm:pt>
    <dgm:pt modelId="{4CDB8EF9-739A-4441-B32A-C88F9911DE1F}" type="parTrans" cxnId="{265CE55E-53EB-4A89-8910-0757F43175BD}">
      <dgm:prSet/>
      <dgm:spPr/>
      <dgm:t>
        <a:bodyPr/>
        <a:lstStyle/>
        <a:p>
          <a:endParaRPr lang="es-ES" sz="2400"/>
        </a:p>
      </dgm:t>
    </dgm:pt>
    <dgm:pt modelId="{A1128528-1331-4184-B7F4-F86B2A1FD454}" type="sibTrans" cxnId="{265CE55E-53EB-4A89-8910-0757F43175BD}">
      <dgm:prSet/>
      <dgm:spPr/>
      <dgm:t>
        <a:bodyPr/>
        <a:lstStyle/>
        <a:p>
          <a:endParaRPr lang="es-ES" sz="2400"/>
        </a:p>
      </dgm:t>
    </dgm:pt>
    <dgm:pt modelId="{6661068C-88DC-4143-A18B-F28AD03ADD11}">
      <dgm:prSet custT="1"/>
      <dgm:spPr/>
      <dgm:t>
        <a:bodyPr/>
        <a:lstStyle/>
        <a:p>
          <a:r>
            <a:rPr lang="es-ES" sz="1050" dirty="0"/>
            <a:t>Jeff Preston, 33 años.</a:t>
          </a:r>
        </a:p>
      </dgm:t>
    </dgm:pt>
    <dgm:pt modelId="{F078DC19-D83E-4FD8-9F4B-960616DA00D2}" type="parTrans" cxnId="{7257ABD1-102F-429E-B8FC-0522409A4AB3}">
      <dgm:prSet/>
      <dgm:spPr/>
      <dgm:t>
        <a:bodyPr/>
        <a:lstStyle/>
        <a:p>
          <a:endParaRPr lang="es-ES" sz="2400"/>
        </a:p>
      </dgm:t>
    </dgm:pt>
    <dgm:pt modelId="{1E2FD615-EAE3-4D2D-AAA9-DB182336B86F}" type="sibTrans" cxnId="{7257ABD1-102F-429E-B8FC-0522409A4AB3}">
      <dgm:prSet/>
      <dgm:spPr/>
      <dgm:t>
        <a:bodyPr/>
        <a:lstStyle/>
        <a:p>
          <a:endParaRPr lang="es-ES" sz="2400"/>
        </a:p>
      </dgm:t>
    </dgm:pt>
    <dgm:pt modelId="{EF103D06-97EC-46E2-951C-220C79C44BDB}">
      <dgm:prSet custT="1"/>
      <dgm:spPr/>
      <dgm:t>
        <a:bodyPr/>
        <a:lstStyle/>
        <a:p>
          <a:r>
            <a:rPr lang="es-ES" sz="1600" dirty="0"/>
            <a:t>1996</a:t>
          </a:r>
        </a:p>
      </dgm:t>
    </dgm:pt>
    <dgm:pt modelId="{799CA368-0442-4FC8-8BDD-B12D02F2C316}" type="parTrans" cxnId="{05FF1F6B-405D-4F89-94C8-6D4ECB82C995}">
      <dgm:prSet/>
      <dgm:spPr/>
      <dgm:t>
        <a:bodyPr/>
        <a:lstStyle/>
        <a:p>
          <a:endParaRPr lang="es-ES" sz="2400"/>
        </a:p>
      </dgm:t>
    </dgm:pt>
    <dgm:pt modelId="{8D4394E0-5B4A-472B-AA81-1E059B68765E}" type="sibTrans" cxnId="{05FF1F6B-405D-4F89-94C8-6D4ECB82C995}">
      <dgm:prSet/>
      <dgm:spPr/>
      <dgm:t>
        <a:bodyPr/>
        <a:lstStyle/>
        <a:p>
          <a:endParaRPr lang="es-ES" sz="2400"/>
        </a:p>
      </dgm:t>
    </dgm:pt>
    <dgm:pt modelId="{95419445-52D7-447E-9FAF-26F21A95790A}">
      <dgm:prSet custT="1"/>
      <dgm:spPr/>
      <dgm:t>
        <a:bodyPr/>
        <a:lstStyle/>
        <a:p>
          <a:r>
            <a:rPr lang="es-ES" sz="1050" dirty="0"/>
            <a:t>La web, más de 2,000 visitantes al día. </a:t>
          </a:r>
        </a:p>
      </dgm:t>
    </dgm:pt>
    <dgm:pt modelId="{8E9540E1-1B7C-43A9-8C5D-6BF716A8EC5A}" type="parTrans" cxnId="{FC32AED8-1397-4325-9F1D-604BA7766026}">
      <dgm:prSet/>
      <dgm:spPr/>
      <dgm:t>
        <a:bodyPr/>
        <a:lstStyle/>
        <a:p>
          <a:endParaRPr lang="es-ES" sz="2400"/>
        </a:p>
      </dgm:t>
    </dgm:pt>
    <dgm:pt modelId="{386C2BE5-71D4-4E74-9BE4-500A766DD4C9}" type="sibTrans" cxnId="{FC32AED8-1397-4325-9F1D-604BA7766026}">
      <dgm:prSet/>
      <dgm:spPr/>
      <dgm:t>
        <a:bodyPr/>
        <a:lstStyle/>
        <a:p>
          <a:endParaRPr lang="es-ES" sz="2400"/>
        </a:p>
      </dgm:t>
    </dgm:pt>
    <dgm:pt modelId="{B8C4D44F-E55E-46E2-AE06-54520A04F3D6}">
      <dgm:prSet custT="1"/>
      <dgm:spPr/>
      <dgm:t>
        <a:bodyPr/>
        <a:lstStyle/>
        <a:p>
          <a:r>
            <a:rPr lang="es-ES" sz="1600" dirty="0"/>
            <a:t>1997 </a:t>
          </a:r>
        </a:p>
      </dgm:t>
    </dgm:pt>
    <dgm:pt modelId="{5FA2B8CA-CBD6-46D0-97D9-DD8B44CB4378}" type="parTrans" cxnId="{159BD73D-FAB7-4CD5-9054-AFB7A1559CCB}">
      <dgm:prSet/>
      <dgm:spPr/>
      <dgm:t>
        <a:bodyPr/>
        <a:lstStyle/>
        <a:p>
          <a:endParaRPr lang="es-ES" sz="2400"/>
        </a:p>
      </dgm:t>
    </dgm:pt>
    <dgm:pt modelId="{C9E5769D-84C6-41C6-B9A2-1327A0879036}" type="sibTrans" cxnId="{159BD73D-FAB7-4CD5-9054-AFB7A1559CCB}">
      <dgm:prSet/>
      <dgm:spPr/>
      <dgm:t>
        <a:bodyPr/>
        <a:lstStyle/>
        <a:p>
          <a:endParaRPr lang="es-ES" sz="2400"/>
        </a:p>
      </dgm:t>
    </dgm:pt>
    <dgm:pt modelId="{D610A218-7898-45C2-9F0C-9C328F61665C}">
      <dgm:prSet custT="1"/>
      <dgm:spPr/>
      <dgm:t>
        <a:bodyPr/>
        <a:lstStyle/>
        <a:p>
          <a:r>
            <a:rPr lang="es-ES" sz="1050" dirty="0"/>
            <a:t>La web tenía más de 2,000 x 25 = 50,000 visitantes al día.</a:t>
          </a:r>
        </a:p>
      </dgm:t>
    </dgm:pt>
    <dgm:pt modelId="{1D96A36E-652B-4DA6-83E4-0164B1DD84AC}" type="parTrans" cxnId="{065C33B5-234C-4226-977E-E15A38BB33B5}">
      <dgm:prSet/>
      <dgm:spPr/>
      <dgm:t>
        <a:bodyPr/>
        <a:lstStyle/>
        <a:p>
          <a:endParaRPr lang="es-ES" sz="2400"/>
        </a:p>
      </dgm:t>
    </dgm:pt>
    <dgm:pt modelId="{F1B46897-F072-4129-B00D-48A62C4F3DC7}" type="sibTrans" cxnId="{065C33B5-234C-4226-977E-E15A38BB33B5}">
      <dgm:prSet/>
      <dgm:spPr/>
      <dgm:t>
        <a:bodyPr/>
        <a:lstStyle/>
        <a:p>
          <a:endParaRPr lang="es-ES" sz="2400"/>
        </a:p>
      </dgm:t>
    </dgm:pt>
    <dgm:pt modelId="{AC11CD30-1B02-4047-B835-D6780782EDEE}">
      <dgm:prSet custT="1"/>
      <dgm:spPr/>
      <dgm:t>
        <a:bodyPr/>
        <a:lstStyle/>
        <a:p>
          <a:r>
            <a:rPr lang="es-ES" sz="1600" dirty="0"/>
            <a:t>1998</a:t>
          </a:r>
        </a:p>
      </dgm:t>
    </dgm:pt>
    <dgm:pt modelId="{98AADB9C-7DD3-4611-A4F3-2D9ACA83136A}" type="parTrans" cxnId="{0D9292CF-7FEC-42C3-8232-A4A8D061BC86}">
      <dgm:prSet/>
      <dgm:spPr/>
      <dgm:t>
        <a:bodyPr/>
        <a:lstStyle/>
        <a:p>
          <a:endParaRPr lang="es-ES" sz="2400"/>
        </a:p>
      </dgm:t>
    </dgm:pt>
    <dgm:pt modelId="{7D46619C-A816-4FBB-B07F-893084E56EFC}" type="sibTrans" cxnId="{0D9292CF-7FEC-42C3-8232-A4A8D061BC86}">
      <dgm:prSet/>
      <dgm:spPr/>
      <dgm:t>
        <a:bodyPr/>
        <a:lstStyle/>
        <a:p>
          <a:endParaRPr lang="es-ES" sz="2400"/>
        </a:p>
      </dgm:t>
    </dgm:pt>
    <dgm:pt modelId="{FD35B564-4D7B-4CB3-BCA1-83A3599CEC4B}">
      <dgm:prSet custT="1"/>
      <dgm:spPr/>
      <dgm:t>
        <a:bodyPr/>
        <a:lstStyle/>
        <a:p>
          <a:r>
            <a:rPr lang="es-ES" sz="1050" dirty="0"/>
            <a:t>Música en CD, vídeos en DVD, software y videojuegos.</a:t>
          </a:r>
        </a:p>
      </dgm:t>
    </dgm:pt>
    <dgm:pt modelId="{4032F930-9480-4BF3-80A8-08F3D3EECBC5}" type="parTrans" cxnId="{8E47AFE4-4272-44FC-8C03-7A4FA4C59B01}">
      <dgm:prSet/>
      <dgm:spPr/>
      <dgm:t>
        <a:bodyPr/>
        <a:lstStyle/>
        <a:p>
          <a:endParaRPr lang="es-ES" sz="2400"/>
        </a:p>
      </dgm:t>
    </dgm:pt>
    <dgm:pt modelId="{194C09DA-0716-49C7-81B0-327A818DBC89}" type="sibTrans" cxnId="{8E47AFE4-4272-44FC-8C03-7A4FA4C59B01}">
      <dgm:prSet/>
      <dgm:spPr/>
      <dgm:t>
        <a:bodyPr/>
        <a:lstStyle/>
        <a:p>
          <a:endParaRPr lang="es-ES" sz="2400"/>
        </a:p>
      </dgm:t>
    </dgm:pt>
    <dgm:pt modelId="{4D6F2A43-2204-46F0-BD58-00BDF26E4BB7}">
      <dgm:prSet custT="1"/>
      <dgm:spPr/>
      <dgm:t>
        <a:bodyPr/>
        <a:lstStyle/>
        <a:p>
          <a:r>
            <a:rPr lang="es-ES" sz="1600" dirty="0"/>
            <a:t>1999</a:t>
          </a:r>
        </a:p>
      </dgm:t>
    </dgm:pt>
    <dgm:pt modelId="{F62111B3-5574-4219-A2C1-CC974CC4E1EF}" type="parTrans" cxnId="{A51A25EE-1073-4978-8B65-238CCA30D5FE}">
      <dgm:prSet/>
      <dgm:spPr/>
      <dgm:t>
        <a:bodyPr/>
        <a:lstStyle/>
        <a:p>
          <a:endParaRPr lang="es-ES" sz="2400"/>
        </a:p>
      </dgm:t>
    </dgm:pt>
    <dgm:pt modelId="{09A3D6FB-9ADB-4663-BD5D-0400AD09036B}" type="sibTrans" cxnId="{A51A25EE-1073-4978-8B65-238CCA30D5FE}">
      <dgm:prSet/>
      <dgm:spPr/>
      <dgm:t>
        <a:bodyPr/>
        <a:lstStyle/>
        <a:p>
          <a:endParaRPr lang="es-ES" sz="2400"/>
        </a:p>
      </dgm:t>
    </dgm:pt>
    <dgm:pt modelId="{5023D333-671A-42F9-96E7-BF0AC3745823}">
      <dgm:prSet custT="1"/>
      <dgm:spPr/>
      <dgm:t>
        <a:bodyPr/>
        <a:lstStyle/>
        <a:p>
          <a:r>
            <a:rPr lang="es-ES" sz="1050" dirty="0"/>
            <a:t>Diciembre la revista Time nombraba a Jeff Bezos Personaje del Año y le aclamaban como "el rey del cibercomercio".</a:t>
          </a:r>
        </a:p>
      </dgm:t>
    </dgm:pt>
    <dgm:pt modelId="{5EE49834-6EA6-4C7E-A27D-DC809C57B0FC}" type="parTrans" cxnId="{5B6CDB6B-96CB-487D-A5B0-BAA7924242F1}">
      <dgm:prSet/>
      <dgm:spPr/>
      <dgm:t>
        <a:bodyPr/>
        <a:lstStyle/>
        <a:p>
          <a:endParaRPr lang="es-ES" sz="2400"/>
        </a:p>
      </dgm:t>
    </dgm:pt>
    <dgm:pt modelId="{63549B07-1476-4A5E-9A7B-E8A7F7E6AF4C}" type="sibTrans" cxnId="{5B6CDB6B-96CB-487D-A5B0-BAA7924242F1}">
      <dgm:prSet/>
      <dgm:spPr/>
      <dgm:t>
        <a:bodyPr/>
        <a:lstStyle/>
        <a:p>
          <a:endParaRPr lang="es-ES" sz="2400"/>
        </a:p>
      </dgm:t>
    </dgm:pt>
    <dgm:pt modelId="{02B3145D-3534-4502-9EDF-9448AB34AC4F}">
      <dgm:prSet custT="1"/>
      <dgm:spPr/>
      <dgm:t>
        <a:bodyPr/>
        <a:lstStyle/>
        <a:p>
          <a:r>
            <a:rPr lang="es-ES" sz="1600" dirty="0"/>
            <a:t>1995</a:t>
          </a:r>
        </a:p>
      </dgm:t>
    </dgm:pt>
    <dgm:pt modelId="{E09483E2-A1B4-4AA8-80CC-B7D79B0C8856}" type="sibTrans" cxnId="{EB03BE25-539D-4E5C-B71F-9F0591C10F49}">
      <dgm:prSet/>
      <dgm:spPr/>
      <dgm:t>
        <a:bodyPr/>
        <a:lstStyle/>
        <a:p>
          <a:endParaRPr lang="es-ES" sz="2400"/>
        </a:p>
      </dgm:t>
    </dgm:pt>
    <dgm:pt modelId="{825A203A-691E-474E-A931-3468893DA66C}" type="parTrans" cxnId="{EB03BE25-539D-4E5C-B71F-9F0591C10F49}">
      <dgm:prSet/>
      <dgm:spPr/>
      <dgm:t>
        <a:bodyPr/>
        <a:lstStyle/>
        <a:p>
          <a:endParaRPr lang="es-ES" sz="2400"/>
        </a:p>
      </dgm:t>
    </dgm:pt>
    <dgm:pt modelId="{A55F2C33-1A95-4BED-8C39-B332279EADE5}">
      <dgm:prSet custT="1"/>
      <dgm:spPr/>
      <dgm:t>
        <a:bodyPr/>
        <a:lstStyle/>
        <a:p>
          <a:r>
            <a:rPr lang="es-ES" sz="1050" dirty="0"/>
            <a:t>Sede en Seattle, Washington</a:t>
          </a:r>
        </a:p>
      </dgm:t>
    </dgm:pt>
    <dgm:pt modelId="{217D183E-C20D-4A58-9962-FE481F9FF007}" type="sibTrans" cxnId="{E128CF7F-E59B-48BD-9A14-4F7BADECE1A3}">
      <dgm:prSet/>
      <dgm:spPr/>
      <dgm:t>
        <a:bodyPr/>
        <a:lstStyle/>
        <a:p>
          <a:endParaRPr lang="es-ES" sz="2400"/>
        </a:p>
      </dgm:t>
    </dgm:pt>
    <dgm:pt modelId="{B30036CC-0631-4A0A-9A60-4F6072F636CA}" type="parTrans" cxnId="{E128CF7F-E59B-48BD-9A14-4F7BADECE1A3}">
      <dgm:prSet/>
      <dgm:spPr/>
      <dgm:t>
        <a:bodyPr/>
        <a:lstStyle/>
        <a:p>
          <a:endParaRPr lang="es-ES" sz="2400"/>
        </a:p>
      </dgm:t>
    </dgm:pt>
    <dgm:pt modelId="{09E64D7F-0688-48F9-81DD-149FB514EED3}">
      <dgm:prSet custT="1"/>
      <dgm:spPr/>
      <dgm:t>
        <a:bodyPr/>
        <a:lstStyle/>
        <a:p>
          <a:r>
            <a:rPr lang="es-ES" sz="1050" dirty="0"/>
            <a:t>Jeff Bezos (1º Preston)</a:t>
          </a:r>
        </a:p>
      </dgm:t>
    </dgm:pt>
    <dgm:pt modelId="{A2954D1D-870B-4FCE-8D49-18BCA641FBB9}" type="sibTrans" cxnId="{008C6B06-7DEA-4785-9CF0-D41CBF0ED275}">
      <dgm:prSet/>
      <dgm:spPr/>
      <dgm:t>
        <a:bodyPr/>
        <a:lstStyle/>
        <a:p>
          <a:endParaRPr lang="es-ES" sz="2400"/>
        </a:p>
      </dgm:t>
    </dgm:pt>
    <dgm:pt modelId="{E6A2A528-CAEF-4990-B2DC-99D2BB1E54C0}" type="parTrans" cxnId="{008C6B06-7DEA-4785-9CF0-D41CBF0ED275}">
      <dgm:prSet/>
      <dgm:spPr/>
      <dgm:t>
        <a:bodyPr/>
        <a:lstStyle/>
        <a:p>
          <a:endParaRPr lang="es-ES" sz="2400"/>
        </a:p>
      </dgm:t>
    </dgm:pt>
    <dgm:pt modelId="{01393DF0-FB4C-4CC2-8501-4196185B9BF0}">
      <dgm:prSet custT="1"/>
      <dgm:spPr/>
      <dgm:t>
        <a:bodyPr/>
        <a:lstStyle/>
        <a:p>
          <a:r>
            <a:rPr lang="es-ES" sz="1050" dirty="0"/>
            <a:t>Nace  16 de Julio de 1995 Amazon.com (1º Cadabra, 2º Relentless)</a:t>
          </a:r>
        </a:p>
      </dgm:t>
    </dgm:pt>
    <dgm:pt modelId="{2850F3C3-144B-44E6-8E49-3FE66A6BADFD}" type="sibTrans" cxnId="{8491249A-E4E8-40AE-AB81-97407E5C5374}">
      <dgm:prSet/>
      <dgm:spPr/>
      <dgm:t>
        <a:bodyPr/>
        <a:lstStyle/>
        <a:p>
          <a:endParaRPr lang="es-ES" sz="2400"/>
        </a:p>
      </dgm:t>
    </dgm:pt>
    <dgm:pt modelId="{B7F8537F-71E7-466A-8ABF-094A34B596A5}" type="parTrans" cxnId="{8491249A-E4E8-40AE-AB81-97407E5C5374}">
      <dgm:prSet/>
      <dgm:spPr/>
      <dgm:t>
        <a:bodyPr/>
        <a:lstStyle/>
        <a:p>
          <a:endParaRPr lang="es-ES" sz="2400"/>
        </a:p>
      </dgm:t>
    </dgm:pt>
    <dgm:pt modelId="{15863C38-8080-43A7-AC23-14495CFB8EAA}">
      <dgm:prSet custT="1"/>
      <dgm:spPr/>
      <dgm:t>
        <a:bodyPr/>
        <a:lstStyle/>
        <a:p>
          <a:r>
            <a:rPr lang="es-ES" sz="1050" dirty="0"/>
            <a:t>300,000 USD de la jubilación de sus padres adoptivos.</a:t>
          </a:r>
        </a:p>
      </dgm:t>
    </dgm:pt>
    <dgm:pt modelId="{2EA9A9D4-C41B-488D-80BC-70A8ADCAE66B}" type="sibTrans" cxnId="{8A6230C1-8143-4C47-B996-28CD8544B544}">
      <dgm:prSet/>
      <dgm:spPr/>
      <dgm:t>
        <a:bodyPr/>
        <a:lstStyle/>
        <a:p>
          <a:endParaRPr lang="es-ES" sz="2400"/>
        </a:p>
      </dgm:t>
    </dgm:pt>
    <dgm:pt modelId="{5E727B5D-0FD5-40EE-B880-AFCF4BA5D642}" type="parTrans" cxnId="{8A6230C1-8143-4C47-B996-28CD8544B544}">
      <dgm:prSet/>
      <dgm:spPr/>
      <dgm:t>
        <a:bodyPr/>
        <a:lstStyle/>
        <a:p>
          <a:endParaRPr lang="es-ES" sz="2400"/>
        </a:p>
      </dgm:t>
    </dgm:pt>
    <dgm:pt modelId="{225842BA-0251-4118-90E5-41056089D54A}">
      <dgm:prSet custT="1"/>
      <dgm:spPr/>
      <dgm:t>
        <a:bodyPr/>
        <a:lstStyle/>
        <a:p>
          <a:r>
            <a:rPr lang="es-ES" sz="1050" dirty="0"/>
            <a:t>Una librería online. Libros, poco coste, mucha demanda.</a:t>
          </a:r>
        </a:p>
      </dgm:t>
    </dgm:pt>
    <dgm:pt modelId="{131260A6-9046-41EB-8293-BB03BB3DB93A}" type="sibTrans" cxnId="{3128A7E2-CA8B-4D9C-A988-F0A909818FAF}">
      <dgm:prSet/>
      <dgm:spPr/>
      <dgm:t>
        <a:bodyPr/>
        <a:lstStyle/>
        <a:p>
          <a:endParaRPr lang="es-ES" sz="2400"/>
        </a:p>
      </dgm:t>
    </dgm:pt>
    <dgm:pt modelId="{2E8EEA9A-E00E-404B-B7FB-B7B468609691}" type="parTrans" cxnId="{3128A7E2-CA8B-4D9C-A988-F0A909818FAF}">
      <dgm:prSet/>
      <dgm:spPr/>
      <dgm:t>
        <a:bodyPr/>
        <a:lstStyle/>
        <a:p>
          <a:endParaRPr lang="es-ES" sz="2400"/>
        </a:p>
      </dgm:t>
    </dgm:pt>
    <dgm:pt modelId="{01D697A2-07E7-4620-A714-B54F64E37E7A}">
      <dgm:prSet custT="1"/>
      <dgm:spPr/>
      <dgm:t>
        <a:bodyPr/>
        <a:lstStyle/>
        <a:p>
          <a:r>
            <a:rPr lang="es-ES" sz="1050" dirty="0"/>
            <a:t>30 días más tarde Amazon.com sin promoción vendía libros en todo EEUU y en 45 países.</a:t>
          </a:r>
        </a:p>
      </dgm:t>
    </dgm:pt>
    <dgm:pt modelId="{CCB2BC65-484E-4939-93C4-CE8D408EA529}" type="sibTrans" cxnId="{F33C6FE3-BB2F-4838-B0C3-0AA228FB4B15}">
      <dgm:prSet/>
      <dgm:spPr/>
      <dgm:t>
        <a:bodyPr/>
        <a:lstStyle/>
        <a:p>
          <a:endParaRPr lang="es-ES" sz="2400"/>
        </a:p>
      </dgm:t>
    </dgm:pt>
    <dgm:pt modelId="{D1C73B1B-45B9-4C39-B899-B4E35E57050C}" type="parTrans" cxnId="{F33C6FE3-BB2F-4838-B0C3-0AA228FB4B15}">
      <dgm:prSet/>
      <dgm:spPr/>
      <dgm:t>
        <a:bodyPr/>
        <a:lstStyle/>
        <a:p>
          <a:endParaRPr lang="es-ES" sz="2400"/>
        </a:p>
      </dgm:t>
    </dgm:pt>
    <dgm:pt modelId="{DEDA8C87-8336-4DB4-B5E8-D2C54E8C1FFD}">
      <dgm:prSet custT="1"/>
      <dgm:spPr/>
      <dgm:t>
        <a:bodyPr/>
        <a:lstStyle/>
        <a:p>
          <a:r>
            <a:rPr lang="es-ES" sz="1050" b="0" i="0" dirty="0"/>
            <a:t>OPS. Salió a bolsa el 15 de mayo,  proporcionando los fondos necesarios para su expansión.</a:t>
          </a:r>
          <a:endParaRPr lang="es-ES" sz="1050" dirty="0"/>
        </a:p>
      </dgm:t>
    </dgm:pt>
    <dgm:pt modelId="{8BE68A69-2ADE-46BC-B793-DCBA8873E595}" type="parTrans" cxnId="{27A47C2C-46C9-459D-87E3-931CFDAA88CB}">
      <dgm:prSet/>
      <dgm:spPr/>
    </dgm:pt>
    <dgm:pt modelId="{3D5C8CA1-2F95-4CEF-9108-800EE7C2D326}" type="sibTrans" cxnId="{27A47C2C-46C9-459D-87E3-931CFDAA88CB}">
      <dgm:prSet/>
      <dgm:spPr/>
    </dgm:pt>
    <dgm:pt modelId="{E2B926C9-2153-4AE8-A0EE-D1D421DB7C1D}" type="pres">
      <dgm:prSet presAssocID="{B525062D-2189-43D5-9D35-5230C3764959}" presName="Name0" presStyleCnt="0">
        <dgm:presLayoutVars>
          <dgm:dir/>
          <dgm:resizeHandles val="exact"/>
        </dgm:presLayoutVars>
      </dgm:prSet>
      <dgm:spPr/>
    </dgm:pt>
    <dgm:pt modelId="{1D7643FE-F9D3-41E2-B961-8794F58A0167}" type="pres">
      <dgm:prSet presAssocID="{B525062D-2189-43D5-9D35-5230C3764959}" presName="arrow" presStyleLbl="bgShp" presStyleIdx="0" presStyleCnt="1"/>
      <dgm:spPr/>
    </dgm:pt>
    <dgm:pt modelId="{E5BE920D-BFA7-4899-9D34-3ADF945F7D4F}" type="pres">
      <dgm:prSet presAssocID="{B525062D-2189-43D5-9D35-5230C3764959}" presName="points" presStyleCnt="0"/>
      <dgm:spPr/>
    </dgm:pt>
    <dgm:pt modelId="{5EA95F87-EF4B-4169-B7E0-FC1D8118CE7E}" type="pres">
      <dgm:prSet presAssocID="{DA8278FC-9D16-4910-A33F-3C5BD3B1A41D}" presName="compositeA" presStyleCnt="0"/>
      <dgm:spPr/>
    </dgm:pt>
    <dgm:pt modelId="{5367E68B-2DF4-4618-8ED7-C6C3C25619B1}" type="pres">
      <dgm:prSet presAssocID="{DA8278FC-9D16-4910-A33F-3C5BD3B1A41D}" presName="textA" presStyleLbl="revTx" presStyleIdx="0" presStyleCnt="6">
        <dgm:presLayoutVars>
          <dgm:bulletEnabled val="1"/>
        </dgm:presLayoutVars>
      </dgm:prSet>
      <dgm:spPr/>
    </dgm:pt>
    <dgm:pt modelId="{0BBDA9FC-7A1C-4B6A-925B-3DFF68A14BB9}" type="pres">
      <dgm:prSet presAssocID="{DA8278FC-9D16-4910-A33F-3C5BD3B1A41D}" presName="circleA" presStyleLbl="node1" presStyleIdx="0" presStyleCnt="6"/>
      <dgm:spPr/>
    </dgm:pt>
    <dgm:pt modelId="{759C8D3B-E238-4F8E-BF2D-BB5601225137}" type="pres">
      <dgm:prSet presAssocID="{DA8278FC-9D16-4910-A33F-3C5BD3B1A41D}" presName="spaceA" presStyleCnt="0"/>
      <dgm:spPr/>
    </dgm:pt>
    <dgm:pt modelId="{C60154A2-3F5A-442F-8B30-6D9559BE4D24}" type="pres">
      <dgm:prSet presAssocID="{5455CAE7-28A2-4EE4-8705-F2EC023C703B}" presName="space" presStyleCnt="0"/>
      <dgm:spPr/>
    </dgm:pt>
    <dgm:pt modelId="{69FFD1BB-D44E-4E89-90AF-D51502DF21A8}" type="pres">
      <dgm:prSet presAssocID="{02B3145D-3534-4502-9EDF-9448AB34AC4F}" presName="compositeB" presStyleCnt="0"/>
      <dgm:spPr/>
    </dgm:pt>
    <dgm:pt modelId="{8B504B35-370B-40AA-9EE0-2AF848C998A1}" type="pres">
      <dgm:prSet presAssocID="{02B3145D-3534-4502-9EDF-9448AB34AC4F}" presName="textB" presStyleLbl="revTx" presStyleIdx="1" presStyleCnt="6" custScaleX="277060">
        <dgm:presLayoutVars>
          <dgm:bulletEnabled val="1"/>
        </dgm:presLayoutVars>
      </dgm:prSet>
      <dgm:spPr/>
    </dgm:pt>
    <dgm:pt modelId="{66CFA31B-D7C1-49F3-99F8-C93730F1072F}" type="pres">
      <dgm:prSet presAssocID="{02B3145D-3534-4502-9EDF-9448AB34AC4F}" presName="circleB" presStyleLbl="node1" presStyleIdx="1" presStyleCnt="6"/>
      <dgm:spPr/>
    </dgm:pt>
    <dgm:pt modelId="{3191FBD7-96D9-464C-824C-DB4ADBED8AF4}" type="pres">
      <dgm:prSet presAssocID="{02B3145D-3534-4502-9EDF-9448AB34AC4F}" presName="spaceB" presStyleCnt="0"/>
      <dgm:spPr/>
    </dgm:pt>
    <dgm:pt modelId="{BBEC38AF-3662-4392-80E3-D02534120A19}" type="pres">
      <dgm:prSet presAssocID="{E09483E2-A1B4-4AA8-80CC-B7D79B0C8856}" presName="space" presStyleCnt="0"/>
      <dgm:spPr/>
    </dgm:pt>
    <dgm:pt modelId="{DCED257A-E455-47CD-9703-FC779D362FD6}" type="pres">
      <dgm:prSet presAssocID="{EF103D06-97EC-46E2-951C-220C79C44BDB}" presName="compositeA" presStyleCnt="0"/>
      <dgm:spPr/>
    </dgm:pt>
    <dgm:pt modelId="{1A0E21BB-6D04-41C0-87C9-E5C1528B23D2}" type="pres">
      <dgm:prSet presAssocID="{EF103D06-97EC-46E2-951C-220C79C44BDB}" presName="textA" presStyleLbl="revTx" presStyleIdx="2" presStyleCnt="6">
        <dgm:presLayoutVars>
          <dgm:bulletEnabled val="1"/>
        </dgm:presLayoutVars>
      </dgm:prSet>
      <dgm:spPr/>
    </dgm:pt>
    <dgm:pt modelId="{147789C0-6FAE-4CF8-856B-9510292FB384}" type="pres">
      <dgm:prSet presAssocID="{EF103D06-97EC-46E2-951C-220C79C44BDB}" presName="circleA" presStyleLbl="node1" presStyleIdx="2" presStyleCnt="6"/>
      <dgm:spPr/>
    </dgm:pt>
    <dgm:pt modelId="{E205AE57-6969-474A-9244-FE3C1D99C7C7}" type="pres">
      <dgm:prSet presAssocID="{EF103D06-97EC-46E2-951C-220C79C44BDB}" presName="spaceA" presStyleCnt="0"/>
      <dgm:spPr/>
    </dgm:pt>
    <dgm:pt modelId="{A17E52EF-C581-4BE2-8DF2-F38101798696}" type="pres">
      <dgm:prSet presAssocID="{8D4394E0-5B4A-472B-AA81-1E059B68765E}" presName="space" presStyleCnt="0"/>
      <dgm:spPr/>
    </dgm:pt>
    <dgm:pt modelId="{E95969CD-3E31-42DA-9372-B4D40E21A6A2}" type="pres">
      <dgm:prSet presAssocID="{B8C4D44F-E55E-46E2-AE06-54520A04F3D6}" presName="compositeB" presStyleCnt="0"/>
      <dgm:spPr/>
    </dgm:pt>
    <dgm:pt modelId="{47A28608-D99C-4380-8818-D374ACB700CA}" type="pres">
      <dgm:prSet presAssocID="{B8C4D44F-E55E-46E2-AE06-54520A04F3D6}" presName="textB" presStyleLbl="revTx" presStyleIdx="3" presStyleCnt="6">
        <dgm:presLayoutVars>
          <dgm:bulletEnabled val="1"/>
        </dgm:presLayoutVars>
      </dgm:prSet>
      <dgm:spPr/>
    </dgm:pt>
    <dgm:pt modelId="{0C4FEBFB-A036-4E8D-A1D2-D45748F64C5E}" type="pres">
      <dgm:prSet presAssocID="{B8C4D44F-E55E-46E2-AE06-54520A04F3D6}" presName="circleB" presStyleLbl="node1" presStyleIdx="3" presStyleCnt="6"/>
      <dgm:spPr/>
    </dgm:pt>
    <dgm:pt modelId="{612F8B6F-A67E-4582-BBB2-3CE37F5A5FD8}" type="pres">
      <dgm:prSet presAssocID="{B8C4D44F-E55E-46E2-AE06-54520A04F3D6}" presName="spaceB" presStyleCnt="0"/>
      <dgm:spPr/>
    </dgm:pt>
    <dgm:pt modelId="{D5632A0E-2485-4220-9D5A-389692D190C0}" type="pres">
      <dgm:prSet presAssocID="{C9E5769D-84C6-41C6-B9A2-1327A0879036}" presName="space" presStyleCnt="0"/>
      <dgm:spPr/>
    </dgm:pt>
    <dgm:pt modelId="{DC8D0D44-32FC-4C0D-91A3-61FA9BFFFC7A}" type="pres">
      <dgm:prSet presAssocID="{AC11CD30-1B02-4047-B835-D6780782EDEE}" presName="compositeA" presStyleCnt="0"/>
      <dgm:spPr/>
    </dgm:pt>
    <dgm:pt modelId="{CE0A2595-B0A2-4D6C-8A2D-2F3F3BC71098}" type="pres">
      <dgm:prSet presAssocID="{AC11CD30-1B02-4047-B835-D6780782EDEE}" presName="textA" presStyleLbl="revTx" presStyleIdx="4" presStyleCnt="6">
        <dgm:presLayoutVars>
          <dgm:bulletEnabled val="1"/>
        </dgm:presLayoutVars>
      </dgm:prSet>
      <dgm:spPr/>
    </dgm:pt>
    <dgm:pt modelId="{B7517367-5D36-4A0E-8C15-85D6C512D9CA}" type="pres">
      <dgm:prSet presAssocID="{AC11CD30-1B02-4047-B835-D6780782EDEE}" presName="circleA" presStyleLbl="node1" presStyleIdx="4" presStyleCnt="6"/>
      <dgm:spPr/>
    </dgm:pt>
    <dgm:pt modelId="{F134E91C-EEED-4ED6-9382-CD131EBECBE3}" type="pres">
      <dgm:prSet presAssocID="{AC11CD30-1B02-4047-B835-D6780782EDEE}" presName="spaceA" presStyleCnt="0"/>
      <dgm:spPr/>
    </dgm:pt>
    <dgm:pt modelId="{0CEDBE1A-03AE-4185-963F-39F3EBDF5528}" type="pres">
      <dgm:prSet presAssocID="{7D46619C-A816-4FBB-B07F-893084E56EFC}" presName="space" presStyleCnt="0"/>
      <dgm:spPr/>
    </dgm:pt>
    <dgm:pt modelId="{D8F9B29F-3443-4BA3-9D6A-C0A61B4F8430}" type="pres">
      <dgm:prSet presAssocID="{4D6F2A43-2204-46F0-BD58-00BDF26E4BB7}" presName="compositeB" presStyleCnt="0"/>
      <dgm:spPr/>
    </dgm:pt>
    <dgm:pt modelId="{B9AF9BC1-9693-4DF9-B1D3-A8437C6FBAA4}" type="pres">
      <dgm:prSet presAssocID="{4D6F2A43-2204-46F0-BD58-00BDF26E4BB7}" presName="textB" presStyleLbl="revTx" presStyleIdx="5" presStyleCnt="6">
        <dgm:presLayoutVars>
          <dgm:bulletEnabled val="1"/>
        </dgm:presLayoutVars>
      </dgm:prSet>
      <dgm:spPr/>
    </dgm:pt>
    <dgm:pt modelId="{993C501E-ACB3-4DDC-B913-EA8A36BD4F9E}" type="pres">
      <dgm:prSet presAssocID="{4D6F2A43-2204-46F0-BD58-00BDF26E4BB7}" presName="circleB" presStyleLbl="node1" presStyleIdx="5" presStyleCnt="6"/>
      <dgm:spPr/>
    </dgm:pt>
    <dgm:pt modelId="{BA9FBE26-B7F1-4259-B84A-820477EAE02F}" type="pres">
      <dgm:prSet presAssocID="{4D6F2A43-2204-46F0-BD58-00BDF26E4BB7}" presName="spaceB" presStyleCnt="0"/>
      <dgm:spPr/>
    </dgm:pt>
  </dgm:ptLst>
  <dgm:cxnLst>
    <dgm:cxn modelId="{008C6B06-7DEA-4785-9CF0-D41CBF0ED275}" srcId="{02B3145D-3534-4502-9EDF-9448AB34AC4F}" destId="{09E64D7F-0688-48F9-81DD-149FB514EED3}" srcOrd="1" destOrd="0" parTransId="{E6A2A528-CAEF-4990-B2DC-99D2BB1E54C0}" sibTransId="{A2954D1D-870B-4FCE-8D49-18BCA641FBB9}"/>
    <dgm:cxn modelId="{50CED80E-3790-4F5C-AA5F-A24545154C8B}" type="presOf" srcId="{B525062D-2189-43D5-9D35-5230C3764959}" destId="{E2B926C9-2153-4AE8-A0EE-D1D421DB7C1D}" srcOrd="0" destOrd="0" presId="urn:microsoft.com/office/officeart/2005/8/layout/hProcess11"/>
    <dgm:cxn modelId="{BE66951E-709F-4821-85F0-714C66AFD487}" type="presOf" srcId="{15863C38-8080-43A7-AC23-14495CFB8EAA}" destId="{8B504B35-370B-40AA-9EE0-2AF848C998A1}" srcOrd="0" destOrd="4" presId="urn:microsoft.com/office/officeart/2005/8/layout/hProcess11"/>
    <dgm:cxn modelId="{38840B25-8CA8-4E01-854B-CF83265673D1}" type="presOf" srcId="{A55F2C33-1A95-4BED-8C39-B332279EADE5}" destId="{8B504B35-370B-40AA-9EE0-2AF848C998A1}" srcOrd="0" destOrd="1" presId="urn:microsoft.com/office/officeart/2005/8/layout/hProcess11"/>
    <dgm:cxn modelId="{EB03BE25-539D-4E5C-B71F-9F0591C10F49}" srcId="{B525062D-2189-43D5-9D35-5230C3764959}" destId="{02B3145D-3534-4502-9EDF-9448AB34AC4F}" srcOrd="1" destOrd="0" parTransId="{825A203A-691E-474E-A931-3468893DA66C}" sibTransId="{E09483E2-A1B4-4AA8-80CC-B7D79B0C8856}"/>
    <dgm:cxn modelId="{27A47C2C-46C9-459D-87E3-931CFDAA88CB}" srcId="{B8C4D44F-E55E-46E2-AE06-54520A04F3D6}" destId="{DEDA8C87-8336-4DB4-B5E8-D2C54E8C1FFD}" srcOrd="1" destOrd="0" parTransId="{8BE68A69-2ADE-46BC-B793-DCBA8873E595}" sibTransId="{3D5C8CA1-2F95-4CEF-9108-800EE7C2D326}"/>
    <dgm:cxn modelId="{159BD73D-FAB7-4CD5-9054-AFB7A1559CCB}" srcId="{B525062D-2189-43D5-9D35-5230C3764959}" destId="{B8C4D44F-E55E-46E2-AE06-54520A04F3D6}" srcOrd="3" destOrd="0" parTransId="{5FA2B8CA-CBD6-46D0-97D9-DD8B44CB4378}" sibTransId="{C9E5769D-84C6-41C6-B9A2-1327A0879036}"/>
    <dgm:cxn modelId="{1B0AC33E-9DEB-409A-8D98-D4878A77B316}" type="presOf" srcId="{7C588605-DEFA-4F6A-81FD-E6D1E904706E}" destId="{5367E68B-2DF4-4618-8ED7-C6C3C25619B1}" srcOrd="0" destOrd="1" presId="urn:microsoft.com/office/officeart/2005/8/layout/hProcess11"/>
    <dgm:cxn modelId="{BD91B15E-A71D-48E5-AB9A-64213291003A}" type="presOf" srcId="{95419445-52D7-447E-9FAF-26F21A95790A}" destId="{1A0E21BB-6D04-41C0-87C9-E5C1528B23D2}" srcOrd="0" destOrd="1" presId="urn:microsoft.com/office/officeart/2005/8/layout/hProcess11"/>
    <dgm:cxn modelId="{265CE55E-53EB-4A89-8910-0757F43175BD}" srcId="{DA8278FC-9D16-4910-A33F-3C5BD3B1A41D}" destId="{7C588605-DEFA-4F6A-81FD-E6D1E904706E}" srcOrd="0" destOrd="0" parTransId="{4CDB8EF9-739A-4441-B32A-C88F9911DE1F}" sibTransId="{A1128528-1331-4184-B7F4-F86B2A1FD454}"/>
    <dgm:cxn modelId="{42D5AF61-2581-4061-AD67-DC3065BD9C03}" type="presOf" srcId="{FD35B564-4D7B-4CB3-BCA1-83A3599CEC4B}" destId="{CE0A2595-B0A2-4D6C-8A2D-2F3F3BC71098}" srcOrd="0" destOrd="1" presId="urn:microsoft.com/office/officeart/2005/8/layout/hProcess11"/>
    <dgm:cxn modelId="{F1F6BB43-B736-4A91-B017-37ABEC1AEFBB}" type="presOf" srcId="{01D697A2-07E7-4620-A714-B54F64E37E7A}" destId="{8B504B35-370B-40AA-9EE0-2AF848C998A1}" srcOrd="0" destOrd="6" presId="urn:microsoft.com/office/officeart/2005/8/layout/hProcess11"/>
    <dgm:cxn modelId="{66358266-32D9-4AC5-91F2-5241EFE924E1}" type="presOf" srcId="{225842BA-0251-4118-90E5-41056089D54A}" destId="{8B504B35-370B-40AA-9EE0-2AF848C998A1}" srcOrd="0" destOrd="5" presId="urn:microsoft.com/office/officeart/2005/8/layout/hProcess11"/>
    <dgm:cxn modelId="{A5568966-569E-4A6B-A172-43CE4A0971A9}" type="presOf" srcId="{DEDA8C87-8336-4DB4-B5E8-D2C54E8C1FFD}" destId="{47A28608-D99C-4380-8818-D374ACB700CA}" srcOrd="0" destOrd="2" presId="urn:microsoft.com/office/officeart/2005/8/layout/hProcess11"/>
    <dgm:cxn modelId="{4EF27568-87C8-4F94-9AFB-48BBF74136AD}" type="presOf" srcId="{D610A218-7898-45C2-9F0C-9C328F61665C}" destId="{47A28608-D99C-4380-8818-D374ACB700CA}" srcOrd="0" destOrd="1" presId="urn:microsoft.com/office/officeart/2005/8/layout/hProcess11"/>
    <dgm:cxn modelId="{ED0DA149-8D95-411E-809B-B49C4FAF523D}" type="presOf" srcId="{DA8278FC-9D16-4910-A33F-3C5BD3B1A41D}" destId="{5367E68B-2DF4-4618-8ED7-C6C3C25619B1}" srcOrd="0" destOrd="0" presId="urn:microsoft.com/office/officeart/2005/8/layout/hProcess11"/>
    <dgm:cxn modelId="{05FF1F6B-405D-4F89-94C8-6D4ECB82C995}" srcId="{B525062D-2189-43D5-9D35-5230C3764959}" destId="{EF103D06-97EC-46E2-951C-220C79C44BDB}" srcOrd="2" destOrd="0" parTransId="{799CA368-0442-4FC8-8BDD-B12D02F2C316}" sibTransId="{8D4394E0-5B4A-472B-AA81-1E059B68765E}"/>
    <dgm:cxn modelId="{5B6CDB6B-96CB-487D-A5B0-BAA7924242F1}" srcId="{4D6F2A43-2204-46F0-BD58-00BDF26E4BB7}" destId="{5023D333-671A-42F9-96E7-BF0AC3745823}" srcOrd="0" destOrd="0" parTransId="{5EE49834-6EA6-4C7E-A27D-DC809C57B0FC}" sibTransId="{63549B07-1476-4A5E-9A7B-E8A7F7E6AF4C}"/>
    <dgm:cxn modelId="{242CFB4B-0DF3-499C-8EB5-81F5FFE3A248}" type="presOf" srcId="{09E64D7F-0688-48F9-81DD-149FB514EED3}" destId="{8B504B35-370B-40AA-9EE0-2AF848C998A1}" srcOrd="0" destOrd="2" presId="urn:microsoft.com/office/officeart/2005/8/layout/hProcess11"/>
    <dgm:cxn modelId="{37E1C76E-F9B2-4266-A94D-3B7BA0520EB6}" type="presOf" srcId="{EF103D06-97EC-46E2-951C-220C79C44BDB}" destId="{1A0E21BB-6D04-41C0-87C9-E5C1528B23D2}" srcOrd="0" destOrd="0" presId="urn:microsoft.com/office/officeart/2005/8/layout/hProcess11"/>
    <dgm:cxn modelId="{DD33CC77-95FF-4897-ACAF-A00FA4DE4CF2}" type="presOf" srcId="{02B3145D-3534-4502-9EDF-9448AB34AC4F}" destId="{8B504B35-370B-40AA-9EE0-2AF848C998A1}" srcOrd="0" destOrd="0" presId="urn:microsoft.com/office/officeart/2005/8/layout/hProcess11"/>
    <dgm:cxn modelId="{E128CF7F-E59B-48BD-9A14-4F7BADECE1A3}" srcId="{02B3145D-3534-4502-9EDF-9448AB34AC4F}" destId="{A55F2C33-1A95-4BED-8C39-B332279EADE5}" srcOrd="0" destOrd="0" parTransId="{B30036CC-0631-4A0A-9A60-4F6072F636CA}" sibTransId="{217D183E-C20D-4A58-9962-FE481F9FF007}"/>
    <dgm:cxn modelId="{B2D6018E-D193-480C-B70E-1226961D05CD}" type="presOf" srcId="{B8C4D44F-E55E-46E2-AE06-54520A04F3D6}" destId="{47A28608-D99C-4380-8818-D374ACB700CA}" srcOrd="0" destOrd="0" presId="urn:microsoft.com/office/officeart/2005/8/layout/hProcess11"/>
    <dgm:cxn modelId="{E768358E-857C-4FB1-9EFC-6B9DD4F0FAB8}" type="presOf" srcId="{6661068C-88DC-4143-A18B-F28AD03ADD11}" destId="{5367E68B-2DF4-4618-8ED7-C6C3C25619B1}" srcOrd="0" destOrd="2" presId="urn:microsoft.com/office/officeart/2005/8/layout/hProcess11"/>
    <dgm:cxn modelId="{F1091E95-8F80-4644-9049-5659BA25D965}" type="presOf" srcId="{5023D333-671A-42F9-96E7-BF0AC3745823}" destId="{B9AF9BC1-9693-4DF9-B1D3-A8437C6FBAA4}" srcOrd="0" destOrd="1" presId="urn:microsoft.com/office/officeart/2005/8/layout/hProcess11"/>
    <dgm:cxn modelId="{7FF4A595-D39D-4B56-848B-EDB0FD00FD6E}" type="presOf" srcId="{AC11CD30-1B02-4047-B835-D6780782EDEE}" destId="{CE0A2595-B0A2-4D6C-8A2D-2F3F3BC71098}" srcOrd="0" destOrd="0" presId="urn:microsoft.com/office/officeart/2005/8/layout/hProcess11"/>
    <dgm:cxn modelId="{8491249A-E4E8-40AE-AB81-97407E5C5374}" srcId="{02B3145D-3534-4502-9EDF-9448AB34AC4F}" destId="{01393DF0-FB4C-4CC2-8501-4196185B9BF0}" srcOrd="2" destOrd="0" parTransId="{B7F8537F-71E7-466A-8ABF-094A34B596A5}" sibTransId="{2850F3C3-144B-44E6-8E49-3FE66A6BADFD}"/>
    <dgm:cxn modelId="{065C33B5-234C-4226-977E-E15A38BB33B5}" srcId="{B8C4D44F-E55E-46E2-AE06-54520A04F3D6}" destId="{D610A218-7898-45C2-9F0C-9C328F61665C}" srcOrd="0" destOrd="0" parTransId="{1D96A36E-652B-4DA6-83E4-0164B1DD84AC}" sibTransId="{F1B46897-F072-4129-B00D-48A62C4F3DC7}"/>
    <dgm:cxn modelId="{8A6230C1-8143-4C47-B996-28CD8544B544}" srcId="{02B3145D-3534-4502-9EDF-9448AB34AC4F}" destId="{15863C38-8080-43A7-AC23-14495CFB8EAA}" srcOrd="3" destOrd="0" parTransId="{5E727B5D-0FD5-40EE-B880-AFCF4BA5D642}" sibTransId="{2EA9A9D4-C41B-488D-80BC-70A8ADCAE66B}"/>
    <dgm:cxn modelId="{0D9292CF-7FEC-42C3-8232-A4A8D061BC86}" srcId="{B525062D-2189-43D5-9D35-5230C3764959}" destId="{AC11CD30-1B02-4047-B835-D6780782EDEE}" srcOrd="4" destOrd="0" parTransId="{98AADB9C-7DD3-4611-A4F3-2D9ACA83136A}" sibTransId="{7D46619C-A816-4FBB-B07F-893084E56EFC}"/>
    <dgm:cxn modelId="{7257ABD1-102F-429E-B8FC-0522409A4AB3}" srcId="{DA8278FC-9D16-4910-A33F-3C5BD3B1A41D}" destId="{6661068C-88DC-4143-A18B-F28AD03ADD11}" srcOrd="1" destOrd="0" parTransId="{F078DC19-D83E-4FD8-9F4B-960616DA00D2}" sibTransId="{1E2FD615-EAE3-4D2D-AAA9-DB182336B86F}"/>
    <dgm:cxn modelId="{FC32AED8-1397-4325-9F1D-604BA7766026}" srcId="{EF103D06-97EC-46E2-951C-220C79C44BDB}" destId="{95419445-52D7-447E-9FAF-26F21A95790A}" srcOrd="0" destOrd="0" parTransId="{8E9540E1-1B7C-43A9-8C5D-6BF716A8EC5A}" sibTransId="{386C2BE5-71D4-4E74-9BE4-500A766DD4C9}"/>
    <dgm:cxn modelId="{246507DF-B5C1-4F8C-9E3C-598907E1B24E}" type="presOf" srcId="{01393DF0-FB4C-4CC2-8501-4196185B9BF0}" destId="{8B504B35-370B-40AA-9EE0-2AF848C998A1}" srcOrd="0" destOrd="3" presId="urn:microsoft.com/office/officeart/2005/8/layout/hProcess11"/>
    <dgm:cxn modelId="{3128A7E2-CA8B-4D9C-A988-F0A909818FAF}" srcId="{02B3145D-3534-4502-9EDF-9448AB34AC4F}" destId="{225842BA-0251-4118-90E5-41056089D54A}" srcOrd="4" destOrd="0" parTransId="{2E8EEA9A-E00E-404B-B7FB-B7B468609691}" sibTransId="{131260A6-9046-41EB-8293-BB03BB3DB93A}"/>
    <dgm:cxn modelId="{F33C6FE3-BB2F-4838-B0C3-0AA228FB4B15}" srcId="{02B3145D-3534-4502-9EDF-9448AB34AC4F}" destId="{01D697A2-07E7-4620-A714-B54F64E37E7A}" srcOrd="5" destOrd="0" parTransId="{D1C73B1B-45B9-4C39-B899-B4E35E57050C}" sibTransId="{CCB2BC65-484E-4939-93C4-CE8D408EA529}"/>
    <dgm:cxn modelId="{8E47AFE4-4272-44FC-8C03-7A4FA4C59B01}" srcId="{AC11CD30-1B02-4047-B835-D6780782EDEE}" destId="{FD35B564-4D7B-4CB3-BCA1-83A3599CEC4B}" srcOrd="0" destOrd="0" parTransId="{4032F930-9480-4BF3-80A8-08F3D3EECBC5}" sibTransId="{194C09DA-0716-49C7-81B0-327A818DBC89}"/>
    <dgm:cxn modelId="{AB9CDEE4-7DF6-4C5A-858A-CA16BFE0AC72}" type="presOf" srcId="{4D6F2A43-2204-46F0-BD58-00BDF26E4BB7}" destId="{B9AF9BC1-9693-4DF9-B1D3-A8437C6FBAA4}" srcOrd="0" destOrd="0" presId="urn:microsoft.com/office/officeart/2005/8/layout/hProcess11"/>
    <dgm:cxn modelId="{A51A25EE-1073-4978-8B65-238CCA30D5FE}" srcId="{B525062D-2189-43D5-9D35-5230C3764959}" destId="{4D6F2A43-2204-46F0-BD58-00BDF26E4BB7}" srcOrd="5" destOrd="0" parTransId="{F62111B3-5574-4219-A2C1-CC974CC4E1EF}" sibTransId="{09A3D6FB-9ADB-4663-BD5D-0400AD09036B}"/>
    <dgm:cxn modelId="{EBED5EFE-6DE4-4492-AE8F-EDAD58E85FCE}" srcId="{B525062D-2189-43D5-9D35-5230C3764959}" destId="{DA8278FC-9D16-4910-A33F-3C5BD3B1A41D}" srcOrd="0" destOrd="0" parTransId="{6A2D1C3C-766D-4C74-83FB-D801E957DAEE}" sibTransId="{5455CAE7-28A2-4EE4-8705-F2EC023C703B}"/>
    <dgm:cxn modelId="{6E1A17B9-C205-4AA9-9F84-1375DE2FBB30}" type="presParOf" srcId="{E2B926C9-2153-4AE8-A0EE-D1D421DB7C1D}" destId="{1D7643FE-F9D3-41E2-B961-8794F58A0167}" srcOrd="0" destOrd="0" presId="urn:microsoft.com/office/officeart/2005/8/layout/hProcess11"/>
    <dgm:cxn modelId="{E6DA2964-6FD3-4748-A0C5-6C1208347519}" type="presParOf" srcId="{E2B926C9-2153-4AE8-A0EE-D1D421DB7C1D}" destId="{E5BE920D-BFA7-4899-9D34-3ADF945F7D4F}" srcOrd="1" destOrd="0" presId="urn:microsoft.com/office/officeart/2005/8/layout/hProcess11"/>
    <dgm:cxn modelId="{5383E702-B125-4EA4-9222-B3053222DA97}" type="presParOf" srcId="{E5BE920D-BFA7-4899-9D34-3ADF945F7D4F}" destId="{5EA95F87-EF4B-4169-B7E0-FC1D8118CE7E}" srcOrd="0" destOrd="0" presId="urn:microsoft.com/office/officeart/2005/8/layout/hProcess11"/>
    <dgm:cxn modelId="{990CEB82-C676-43CE-9CE6-1FC99C925062}" type="presParOf" srcId="{5EA95F87-EF4B-4169-B7E0-FC1D8118CE7E}" destId="{5367E68B-2DF4-4618-8ED7-C6C3C25619B1}" srcOrd="0" destOrd="0" presId="urn:microsoft.com/office/officeart/2005/8/layout/hProcess11"/>
    <dgm:cxn modelId="{B62CF285-79EC-4030-BB44-323328DD292B}" type="presParOf" srcId="{5EA95F87-EF4B-4169-B7E0-FC1D8118CE7E}" destId="{0BBDA9FC-7A1C-4B6A-925B-3DFF68A14BB9}" srcOrd="1" destOrd="0" presId="urn:microsoft.com/office/officeart/2005/8/layout/hProcess11"/>
    <dgm:cxn modelId="{7A3979D5-EAB0-4E3C-B775-6918F33DD83F}" type="presParOf" srcId="{5EA95F87-EF4B-4169-B7E0-FC1D8118CE7E}" destId="{759C8D3B-E238-4F8E-BF2D-BB5601225137}" srcOrd="2" destOrd="0" presId="urn:microsoft.com/office/officeart/2005/8/layout/hProcess11"/>
    <dgm:cxn modelId="{93EFD3A6-2155-4DAA-8AD6-687C593FE6A4}" type="presParOf" srcId="{E5BE920D-BFA7-4899-9D34-3ADF945F7D4F}" destId="{C60154A2-3F5A-442F-8B30-6D9559BE4D24}" srcOrd="1" destOrd="0" presId="urn:microsoft.com/office/officeart/2005/8/layout/hProcess11"/>
    <dgm:cxn modelId="{AD0E4610-E589-4896-8B56-A5F4632B6193}" type="presParOf" srcId="{E5BE920D-BFA7-4899-9D34-3ADF945F7D4F}" destId="{69FFD1BB-D44E-4E89-90AF-D51502DF21A8}" srcOrd="2" destOrd="0" presId="urn:microsoft.com/office/officeart/2005/8/layout/hProcess11"/>
    <dgm:cxn modelId="{32DE61AC-A100-4330-929E-A800778A6492}" type="presParOf" srcId="{69FFD1BB-D44E-4E89-90AF-D51502DF21A8}" destId="{8B504B35-370B-40AA-9EE0-2AF848C998A1}" srcOrd="0" destOrd="0" presId="urn:microsoft.com/office/officeart/2005/8/layout/hProcess11"/>
    <dgm:cxn modelId="{3540B2D1-0012-478A-8E4F-2D80FBFBF2F2}" type="presParOf" srcId="{69FFD1BB-D44E-4E89-90AF-D51502DF21A8}" destId="{66CFA31B-D7C1-49F3-99F8-C93730F1072F}" srcOrd="1" destOrd="0" presId="urn:microsoft.com/office/officeart/2005/8/layout/hProcess11"/>
    <dgm:cxn modelId="{3B969704-8128-47B5-9F91-66340E724919}" type="presParOf" srcId="{69FFD1BB-D44E-4E89-90AF-D51502DF21A8}" destId="{3191FBD7-96D9-464C-824C-DB4ADBED8AF4}" srcOrd="2" destOrd="0" presId="urn:microsoft.com/office/officeart/2005/8/layout/hProcess11"/>
    <dgm:cxn modelId="{A9801F9B-FECF-405C-AB19-05D4B6C066B6}" type="presParOf" srcId="{E5BE920D-BFA7-4899-9D34-3ADF945F7D4F}" destId="{BBEC38AF-3662-4392-80E3-D02534120A19}" srcOrd="3" destOrd="0" presId="urn:microsoft.com/office/officeart/2005/8/layout/hProcess11"/>
    <dgm:cxn modelId="{54903D16-11A8-4F6B-ACB3-3872CCA450E2}" type="presParOf" srcId="{E5BE920D-BFA7-4899-9D34-3ADF945F7D4F}" destId="{DCED257A-E455-47CD-9703-FC779D362FD6}" srcOrd="4" destOrd="0" presId="urn:microsoft.com/office/officeart/2005/8/layout/hProcess11"/>
    <dgm:cxn modelId="{F12028C9-15D5-45DD-9E6D-5BC134729566}" type="presParOf" srcId="{DCED257A-E455-47CD-9703-FC779D362FD6}" destId="{1A0E21BB-6D04-41C0-87C9-E5C1528B23D2}" srcOrd="0" destOrd="0" presId="urn:microsoft.com/office/officeart/2005/8/layout/hProcess11"/>
    <dgm:cxn modelId="{96D21C95-9E1D-4057-97F6-962FF6F923BA}" type="presParOf" srcId="{DCED257A-E455-47CD-9703-FC779D362FD6}" destId="{147789C0-6FAE-4CF8-856B-9510292FB384}" srcOrd="1" destOrd="0" presId="urn:microsoft.com/office/officeart/2005/8/layout/hProcess11"/>
    <dgm:cxn modelId="{60E0B806-01F0-4291-BF7E-B3B33A508A03}" type="presParOf" srcId="{DCED257A-E455-47CD-9703-FC779D362FD6}" destId="{E205AE57-6969-474A-9244-FE3C1D99C7C7}" srcOrd="2" destOrd="0" presId="urn:microsoft.com/office/officeart/2005/8/layout/hProcess11"/>
    <dgm:cxn modelId="{FED84886-F7F7-4F95-8BC9-3AC6D3F224AC}" type="presParOf" srcId="{E5BE920D-BFA7-4899-9D34-3ADF945F7D4F}" destId="{A17E52EF-C581-4BE2-8DF2-F38101798696}" srcOrd="5" destOrd="0" presId="urn:microsoft.com/office/officeart/2005/8/layout/hProcess11"/>
    <dgm:cxn modelId="{5BAD182C-C853-40AE-AD55-3DE5231763F6}" type="presParOf" srcId="{E5BE920D-BFA7-4899-9D34-3ADF945F7D4F}" destId="{E95969CD-3E31-42DA-9372-B4D40E21A6A2}" srcOrd="6" destOrd="0" presId="urn:microsoft.com/office/officeart/2005/8/layout/hProcess11"/>
    <dgm:cxn modelId="{0FEF40CC-EFFE-4CA2-B70C-BF025CD5A2EE}" type="presParOf" srcId="{E95969CD-3E31-42DA-9372-B4D40E21A6A2}" destId="{47A28608-D99C-4380-8818-D374ACB700CA}" srcOrd="0" destOrd="0" presId="urn:microsoft.com/office/officeart/2005/8/layout/hProcess11"/>
    <dgm:cxn modelId="{AA7B6419-5694-46BE-B93B-B79A06267621}" type="presParOf" srcId="{E95969CD-3E31-42DA-9372-B4D40E21A6A2}" destId="{0C4FEBFB-A036-4E8D-A1D2-D45748F64C5E}" srcOrd="1" destOrd="0" presId="urn:microsoft.com/office/officeart/2005/8/layout/hProcess11"/>
    <dgm:cxn modelId="{678DBE05-D7B0-411A-9A27-E17890C76328}" type="presParOf" srcId="{E95969CD-3E31-42DA-9372-B4D40E21A6A2}" destId="{612F8B6F-A67E-4582-BBB2-3CE37F5A5FD8}" srcOrd="2" destOrd="0" presId="urn:microsoft.com/office/officeart/2005/8/layout/hProcess11"/>
    <dgm:cxn modelId="{6326C9A7-BC5E-4FBA-A47C-D175F2B05B6F}" type="presParOf" srcId="{E5BE920D-BFA7-4899-9D34-3ADF945F7D4F}" destId="{D5632A0E-2485-4220-9D5A-389692D190C0}" srcOrd="7" destOrd="0" presId="urn:microsoft.com/office/officeart/2005/8/layout/hProcess11"/>
    <dgm:cxn modelId="{FA662084-3011-4CE0-855D-7FC97F19EBAA}" type="presParOf" srcId="{E5BE920D-BFA7-4899-9D34-3ADF945F7D4F}" destId="{DC8D0D44-32FC-4C0D-91A3-61FA9BFFFC7A}" srcOrd="8" destOrd="0" presId="urn:microsoft.com/office/officeart/2005/8/layout/hProcess11"/>
    <dgm:cxn modelId="{EF5602ED-463B-414A-B30C-6188270AEF5C}" type="presParOf" srcId="{DC8D0D44-32FC-4C0D-91A3-61FA9BFFFC7A}" destId="{CE0A2595-B0A2-4D6C-8A2D-2F3F3BC71098}" srcOrd="0" destOrd="0" presId="urn:microsoft.com/office/officeart/2005/8/layout/hProcess11"/>
    <dgm:cxn modelId="{0ADE824E-0D4B-47C0-B0E8-2B0EE1C99CAA}" type="presParOf" srcId="{DC8D0D44-32FC-4C0D-91A3-61FA9BFFFC7A}" destId="{B7517367-5D36-4A0E-8C15-85D6C512D9CA}" srcOrd="1" destOrd="0" presId="urn:microsoft.com/office/officeart/2005/8/layout/hProcess11"/>
    <dgm:cxn modelId="{E0751801-9E44-4A4C-842C-3A1EF4C1DF19}" type="presParOf" srcId="{DC8D0D44-32FC-4C0D-91A3-61FA9BFFFC7A}" destId="{F134E91C-EEED-4ED6-9382-CD131EBECBE3}" srcOrd="2" destOrd="0" presId="urn:microsoft.com/office/officeart/2005/8/layout/hProcess11"/>
    <dgm:cxn modelId="{BA91A2CC-3ACF-416B-B6F8-810083137BFD}" type="presParOf" srcId="{E5BE920D-BFA7-4899-9D34-3ADF945F7D4F}" destId="{0CEDBE1A-03AE-4185-963F-39F3EBDF5528}" srcOrd="9" destOrd="0" presId="urn:microsoft.com/office/officeart/2005/8/layout/hProcess11"/>
    <dgm:cxn modelId="{7FEB87D2-8442-4FA1-958A-C4F62D09BEDE}" type="presParOf" srcId="{E5BE920D-BFA7-4899-9D34-3ADF945F7D4F}" destId="{D8F9B29F-3443-4BA3-9D6A-C0A61B4F8430}" srcOrd="10" destOrd="0" presId="urn:microsoft.com/office/officeart/2005/8/layout/hProcess11"/>
    <dgm:cxn modelId="{532E9D6A-5E76-453F-9159-BBAA79CDA328}" type="presParOf" srcId="{D8F9B29F-3443-4BA3-9D6A-C0A61B4F8430}" destId="{B9AF9BC1-9693-4DF9-B1D3-A8437C6FBAA4}" srcOrd="0" destOrd="0" presId="urn:microsoft.com/office/officeart/2005/8/layout/hProcess11"/>
    <dgm:cxn modelId="{9F9BD845-F137-48F5-A30E-4CDA0FC51FF6}" type="presParOf" srcId="{D8F9B29F-3443-4BA3-9D6A-C0A61B4F8430}" destId="{993C501E-ACB3-4DDC-B913-EA8A36BD4F9E}" srcOrd="1" destOrd="0" presId="urn:microsoft.com/office/officeart/2005/8/layout/hProcess11"/>
    <dgm:cxn modelId="{329EEF5E-BA4C-44EC-A4D5-FA1FC63097A2}" type="presParOf" srcId="{D8F9B29F-3443-4BA3-9D6A-C0A61B4F8430}" destId="{BA9FBE26-B7F1-4259-B84A-820477EAE02F}"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88453B61-792B-48D3-A2B3-461000887C7B}" type="doc">
      <dgm:prSet loTypeId="urn:microsoft.com/office/officeart/2005/8/layout/chevron1" loCatId="process" qsTypeId="urn:microsoft.com/office/officeart/2005/8/quickstyle/simple1" qsCatId="simple" csTypeId="urn:microsoft.com/office/officeart/2005/8/colors/accent1_3" csCatId="accent1" phldr="1"/>
      <dgm:spPr/>
      <dgm:t>
        <a:bodyPr/>
        <a:lstStyle/>
        <a:p>
          <a:endParaRPr lang="es-ES"/>
        </a:p>
      </dgm:t>
    </dgm:pt>
    <dgm:pt modelId="{3C08C1CD-E109-4AEE-A97F-54C435ED1BC3}">
      <dgm:prSet phldrT="[Texto]"/>
      <dgm:spPr/>
      <dgm:t>
        <a:bodyPr/>
        <a:lstStyle/>
        <a:p>
          <a:r>
            <a:rPr lang="es-ES" dirty="0"/>
            <a:t>2008 - 2012 - 2017</a:t>
          </a:r>
        </a:p>
      </dgm:t>
    </dgm:pt>
    <dgm:pt modelId="{D1F0B103-A0A0-4AB0-8181-2E8529F65A7C}" type="parTrans" cxnId="{4D0E1D2B-A1AE-49CF-856F-26FA4D263A09}">
      <dgm:prSet/>
      <dgm:spPr/>
      <dgm:t>
        <a:bodyPr/>
        <a:lstStyle/>
        <a:p>
          <a:endParaRPr lang="es-ES"/>
        </a:p>
      </dgm:t>
    </dgm:pt>
    <dgm:pt modelId="{20295D44-272D-4081-BABD-5F60EDFCE8D2}" type="sibTrans" cxnId="{4D0E1D2B-A1AE-49CF-856F-26FA4D263A09}">
      <dgm:prSet/>
      <dgm:spPr/>
      <dgm:t>
        <a:bodyPr/>
        <a:lstStyle/>
        <a:p>
          <a:endParaRPr lang="es-ES"/>
        </a:p>
      </dgm:t>
    </dgm:pt>
    <dgm:pt modelId="{B479F4C7-F402-4B5E-BAE9-008ABA31FCF0}">
      <dgm:prSet/>
      <dgm:spPr/>
      <dgm:t>
        <a:bodyPr/>
        <a:lstStyle/>
        <a:p>
          <a:r>
            <a:rPr lang="es-ES" dirty="0"/>
            <a:t>2017 - Las conexiones en ipv6 representaban un 9.67% del total. BitTorrent</a:t>
          </a:r>
        </a:p>
      </dgm:t>
    </dgm:pt>
    <dgm:pt modelId="{9D4DBC6D-2200-4FBE-9CE4-9CBCB4D4E54D}" type="parTrans" cxnId="{54C5E257-468F-4107-9238-171914EE2B58}">
      <dgm:prSet/>
      <dgm:spPr/>
      <dgm:t>
        <a:bodyPr/>
        <a:lstStyle/>
        <a:p>
          <a:endParaRPr lang="es-ES"/>
        </a:p>
      </dgm:t>
    </dgm:pt>
    <dgm:pt modelId="{6DB17796-347F-4B5E-BB37-DFF2B0163A5A}" type="sibTrans" cxnId="{54C5E257-468F-4107-9238-171914EE2B58}">
      <dgm:prSet/>
      <dgm:spPr/>
      <dgm:t>
        <a:bodyPr/>
        <a:lstStyle/>
        <a:p>
          <a:endParaRPr lang="es-ES"/>
        </a:p>
      </dgm:t>
    </dgm:pt>
    <dgm:pt modelId="{B2EDF16E-4871-43BF-BF46-22F823826DE2}">
      <dgm:prSet/>
      <dgm:spPr/>
      <dgm:t>
        <a:bodyPr/>
        <a:lstStyle/>
        <a:p>
          <a:r>
            <a:rPr lang="es-ES" dirty="0"/>
            <a:t>2019 - 2020</a:t>
          </a:r>
        </a:p>
      </dgm:t>
    </dgm:pt>
    <dgm:pt modelId="{D9DF8C13-C423-41F1-BED9-66E1B49D6AA3}" type="parTrans" cxnId="{B0F46512-3804-449B-8FE0-50267F6B351E}">
      <dgm:prSet/>
      <dgm:spPr/>
      <dgm:t>
        <a:bodyPr/>
        <a:lstStyle/>
        <a:p>
          <a:endParaRPr lang="es-ES"/>
        </a:p>
      </dgm:t>
    </dgm:pt>
    <dgm:pt modelId="{0CD7F236-5BD2-4233-98A8-EB1D73647820}" type="sibTrans" cxnId="{B0F46512-3804-449B-8FE0-50267F6B351E}">
      <dgm:prSet/>
      <dgm:spPr/>
      <dgm:t>
        <a:bodyPr/>
        <a:lstStyle/>
        <a:p>
          <a:endParaRPr lang="es-ES"/>
        </a:p>
      </dgm:t>
    </dgm:pt>
    <dgm:pt modelId="{9F1447F4-08C3-4045-AC00-3C22187B01C3}">
      <dgm:prSet/>
      <dgm:spPr/>
      <dgm:t>
        <a:bodyPr/>
        <a:lstStyle/>
        <a:p>
          <a:r>
            <a:rPr lang="es-ES" dirty="0"/>
            <a:t>La incorporación es irregular. Las zonas más adaptadas son América, algunos países Europeos, el sur de Asia y Australia.</a:t>
          </a:r>
        </a:p>
      </dgm:t>
    </dgm:pt>
    <dgm:pt modelId="{DF636E25-F7C9-49F7-B6BC-A97A61159F3C}" type="parTrans" cxnId="{10E61CCE-0167-4492-8BB6-F36B126CB0C3}">
      <dgm:prSet/>
      <dgm:spPr/>
      <dgm:t>
        <a:bodyPr/>
        <a:lstStyle/>
        <a:p>
          <a:endParaRPr lang="es-ES"/>
        </a:p>
      </dgm:t>
    </dgm:pt>
    <dgm:pt modelId="{9CAE83C3-185E-47F9-91A5-12D583AF65CD}" type="sibTrans" cxnId="{10E61CCE-0167-4492-8BB6-F36B126CB0C3}">
      <dgm:prSet/>
      <dgm:spPr/>
      <dgm:t>
        <a:bodyPr/>
        <a:lstStyle/>
        <a:p>
          <a:endParaRPr lang="es-ES"/>
        </a:p>
      </dgm:t>
    </dgm:pt>
    <dgm:pt modelId="{8EABD740-2053-40E3-A574-D72F9ACEA048}">
      <dgm:prSet phldrT="[Texto]"/>
      <dgm:spPr/>
      <dgm:t>
        <a:bodyPr/>
        <a:lstStyle/>
        <a:p>
          <a:r>
            <a:rPr lang="es-ES" dirty="0"/>
            <a:t>El gobierno de los Estados Unidos ordenó el despliegue de IPv6 por todas sus agencias federales.</a:t>
          </a:r>
        </a:p>
      </dgm:t>
    </dgm:pt>
    <dgm:pt modelId="{56020CB3-3B71-471E-A7A7-787A8AD165C8}" type="parTrans" cxnId="{59B37886-619F-4805-B756-86EE2B1A2988}">
      <dgm:prSet/>
      <dgm:spPr/>
      <dgm:t>
        <a:bodyPr/>
        <a:lstStyle/>
        <a:p>
          <a:endParaRPr lang="es-ES"/>
        </a:p>
      </dgm:t>
    </dgm:pt>
    <dgm:pt modelId="{C0D6D401-8F6E-4EC5-B0AF-9AF24C73C2E5}" type="sibTrans" cxnId="{59B37886-619F-4805-B756-86EE2B1A2988}">
      <dgm:prSet/>
      <dgm:spPr/>
      <dgm:t>
        <a:bodyPr/>
        <a:lstStyle/>
        <a:p>
          <a:endParaRPr lang="es-ES"/>
        </a:p>
      </dgm:t>
    </dgm:pt>
    <dgm:pt modelId="{94B49017-57B0-46CD-8350-035F23BD154E}">
      <dgm:prSet/>
      <dgm:spPr/>
      <dgm:t>
        <a:bodyPr/>
        <a:lstStyle/>
        <a:p>
          <a:r>
            <a:rPr lang="es-ES" dirty="0"/>
            <a:t>La adopción en el mundo es del 29,6%.​</a:t>
          </a:r>
        </a:p>
      </dgm:t>
    </dgm:pt>
    <dgm:pt modelId="{0AE4BEED-CF1E-4110-904E-C92DCB938F74}" type="parTrans" cxnId="{BE8C4FF1-D4EB-4625-A507-9AECD7C436A5}">
      <dgm:prSet/>
      <dgm:spPr/>
      <dgm:t>
        <a:bodyPr/>
        <a:lstStyle/>
        <a:p>
          <a:endParaRPr lang="es-ES"/>
        </a:p>
      </dgm:t>
    </dgm:pt>
    <dgm:pt modelId="{CD468B08-2A99-4AEA-80CE-D5B1DDF681D3}" type="sibTrans" cxnId="{BE8C4FF1-D4EB-4625-A507-9AECD7C436A5}">
      <dgm:prSet/>
      <dgm:spPr/>
      <dgm:t>
        <a:bodyPr/>
        <a:lstStyle/>
        <a:p>
          <a:endParaRPr lang="es-ES"/>
        </a:p>
      </dgm:t>
    </dgm:pt>
    <dgm:pt modelId="{B67504E3-B65E-485B-ADEF-1EE956D07917}">
      <dgm:prSet/>
      <dgm:spPr/>
      <dgm:t>
        <a:bodyPr/>
        <a:lstStyle/>
        <a:p>
          <a:r>
            <a:rPr lang="es-ES" dirty="0"/>
            <a:t>El 6 de junio de 2012 a las 00:00 GMT, se lleva a cabo el Lanzamiento Mundial de IPv6.</a:t>
          </a:r>
        </a:p>
      </dgm:t>
    </dgm:pt>
    <dgm:pt modelId="{0BA1FC6A-3B77-4E5B-BFA5-4E375D80B78B}" type="parTrans" cxnId="{FE3978D4-8D92-493A-B215-482F5CFCA6EB}">
      <dgm:prSet/>
      <dgm:spPr/>
      <dgm:t>
        <a:bodyPr/>
        <a:lstStyle/>
        <a:p>
          <a:endParaRPr lang="es-ES"/>
        </a:p>
      </dgm:t>
    </dgm:pt>
    <dgm:pt modelId="{34BDE9B3-D486-47AA-AE39-FB3A7AD2C503}" type="sibTrans" cxnId="{FE3978D4-8D92-493A-B215-482F5CFCA6EB}">
      <dgm:prSet/>
      <dgm:spPr/>
      <dgm:t>
        <a:bodyPr/>
        <a:lstStyle/>
        <a:p>
          <a:endParaRPr lang="es-ES"/>
        </a:p>
      </dgm:t>
    </dgm:pt>
    <dgm:pt modelId="{846DCD67-1BCC-4364-8A22-A89F43D7C985}">
      <dgm:prSet/>
      <dgm:spPr/>
      <dgm:t>
        <a:bodyPr/>
        <a:lstStyle/>
        <a:p>
          <a:r>
            <a:rPr lang="es-ES" dirty="0"/>
            <a:t>2023</a:t>
          </a:r>
        </a:p>
      </dgm:t>
    </dgm:pt>
    <dgm:pt modelId="{8BC1F5DF-62E0-49CF-B10F-A7A703D5779C}" type="parTrans" cxnId="{2529CDB0-05EE-415F-8A12-3B102869EB16}">
      <dgm:prSet/>
      <dgm:spPr/>
      <dgm:t>
        <a:bodyPr/>
        <a:lstStyle/>
        <a:p>
          <a:endParaRPr lang="es-ES"/>
        </a:p>
      </dgm:t>
    </dgm:pt>
    <dgm:pt modelId="{91B31BF5-3C28-40B3-9E3F-0EB9E881D365}" type="sibTrans" cxnId="{2529CDB0-05EE-415F-8A12-3B102869EB16}">
      <dgm:prSet/>
      <dgm:spPr/>
      <dgm:t>
        <a:bodyPr/>
        <a:lstStyle/>
        <a:p>
          <a:endParaRPr lang="es-ES"/>
        </a:p>
      </dgm:t>
    </dgm:pt>
    <dgm:pt modelId="{C6FAEB90-C0BA-4F1D-A09E-E081B35AE3D8}">
      <dgm:prSet/>
      <dgm:spPr/>
      <dgm:t>
        <a:bodyPr/>
        <a:lstStyle/>
        <a:p>
          <a:r>
            <a:rPr lang="es-ES" dirty="0"/>
            <a:t>A nivel global: la tasa de adopción de IPv6 se sitúa en torno al 45% (2 de diciembre de 2023 - Google).</a:t>
          </a:r>
        </a:p>
      </dgm:t>
    </dgm:pt>
    <dgm:pt modelId="{015EAC77-C7DA-4177-9D40-FE8A6CE47AE8}" type="parTrans" cxnId="{24C8A3FA-DDFF-4C42-9B33-B68267E58B77}">
      <dgm:prSet/>
      <dgm:spPr/>
      <dgm:t>
        <a:bodyPr/>
        <a:lstStyle/>
        <a:p>
          <a:endParaRPr lang="es-ES"/>
        </a:p>
      </dgm:t>
    </dgm:pt>
    <dgm:pt modelId="{6B5086B5-F2A5-4802-94A8-EB28DC917C52}" type="sibTrans" cxnId="{24C8A3FA-DDFF-4C42-9B33-B68267E58B77}">
      <dgm:prSet/>
      <dgm:spPr/>
      <dgm:t>
        <a:bodyPr/>
        <a:lstStyle/>
        <a:p>
          <a:endParaRPr lang="es-ES"/>
        </a:p>
      </dgm:t>
    </dgm:pt>
    <dgm:pt modelId="{AC9E6F34-7136-489E-AB44-B475EB9CF9C1}">
      <dgm:prSet/>
      <dgm:spPr/>
      <dgm:t>
        <a:bodyPr/>
        <a:lstStyle/>
        <a:p>
          <a:r>
            <a:rPr lang="es-ES" dirty="0"/>
            <a:t>Por países: </a:t>
          </a:r>
        </a:p>
      </dgm:t>
    </dgm:pt>
    <dgm:pt modelId="{0F3CECBB-8411-4370-BF92-A98EE2D37007}" type="parTrans" cxnId="{F270A2EC-EC48-4821-AFC0-D2B4486713FF}">
      <dgm:prSet/>
      <dgm:spPr/>
      <dgm:t>
        <a:bodyPr/>
        <a:lstStyle/>
        <a:p>
          <a:endParaRPr lang="es-ES"/>
        </a:p>
      </dgm:t>
    </dgm:pt>
    <dgm:pt modelId="{E89455F5-C4D4-4DBE-B5F8-12AFC3560FE5}" type="sibTrans" cxnId="{F270A2EC-EC48-4821-AFC0-D2B4486713FF}">
      <dgm:prSet/>
      <dgm:spPr/>
      <dgm:t>
        <a:bodyPr/>
        <a:lstStyle/>
        <a:p>
          <a:endParaRPr lang="es-ES"/>
        </a:p>
      </dgm:t>
    </dgm:pt>
    <dgm:pt modelId="{B7E89828-1F68-4E0F-880B-AAF182F89145}">
      <dgm:prSet/>
      <dgm:spPr/>
      <dgm:t>
        <a:bodyPr/>
        <a:lstStyle/>
        <a:p>
          <a:r>
            <a:rPr lang="es-ES" dirty="0"/>
            <a:t>Por regiones: </a:t>
          </a:r>
        </a:p>
      </dgm:t>
    </dgm:pt>
    <dgm:pt modelId="{28DD99BA-B61C-4E86-8414-0BCF3EE3A052}" type="parTrans" cxnId="{D36AA0DD-EBB4-4516-A054-901F0259B9D0}">
      <dgm:prSet/>
      <dgm:spPr/>
      <dgm:t>
        <a:bodyPr/>
        <a:lstStyle/>
        <a:p>
          <a:endParaRPr lang="es-ES"/>
        </a:p>
      </dgm:t>
    </dgm:pt>
    <dgm:pt modelId="{EA0010A6-1B11-428E-84BB-7413701E5B51}" type="sibTrans" cxnId="{D36AA0DD-EBB4-4516-A054-901F0259B9D0}">
      <dgm:prSet/>
      <dgm:spPr/>
      <dgm:t>
        <a:bodyPr/>
        <a:lstStyle/>
        <a:p>
          <a:endParaRPr lang="es-ES"/>
        </a:p>
      </dgm:t>
    </dgm:pt>
    <dgm:pt modelId="{1FAEF9CE-B56B-4236-A8BD-FC745AA07760}">
      <dgm:prSet/>
      <dgm:spPr/>
      <dgm:t>
        <a:bodyPr/>
        <a:lstStyle/>
        <a:p>
          <a:r>
            <a:rPr lang="es-ES" dirty="0"/>
            <a:t>India (62%) y Estados Unidos (46%),</a:t>
          </a:r>
        </a:p>
      </dgm:t>
    </dgm:pt>
    <dgm:pt modelId="{578CE26F-E5ED-471D-847F-3187DE85D275}" type="parTrans" cxnId="{20A32A9A-E915-4DCC-9AA7-94A9B77CE26A}">
      <dgm:prSet/>
      <dgm:spPr/>
      <dgm:t>
        <a:bodyPr/>
        <a:lstStyle/>
        <a:p>
          <a:endParaRPr lang="es-ES"/>
        </a:p>
      </dgm:t>
    </dgm:pt>
    <dgm:pt modelId="{2E1708D7-6689-4648-BA38-BA03A258AB79}" type="sibTrans" cxnId="{20A32A9A-E915-4DCC-9AA7-94A9B77CE26A}">
      <dgm:prSet/>
      <dgm:spPr/>
      <dgm:t>
        <a:bodyPr/>
        <a:lstStyle/>
        <a:p>
          <a:endParaRPr lang="es-ES"/>
        </a:p>
      </dgm:t>
    </dgm:pt>
    <dgm:pt modelId="{4E74E28D-8C5E-43FA-AFB8-17C505F85B52}">
      <dgm:prSet/>
      <dgm:spPr/>
      <dgm:t>
        <a:bodyPr/>
        <a:lstStyle/>
        <a:p>
          <a:r>
            <a:rPr lang="es-ES" dirty="0"/>
            <a:t>España (menos del 6%).</a:t>
          </a:r>
        </a:p>
      </dgm:t>
    </dgm:pt>
    <dgm:pt modelId="{9F080C53-1FAE-4DEB-8E28-03BDE18F25D7}" type="parTrans" cxnId="{613F6C6D-0B4D-4099-BF90-18223C025244}">
      <dgm:prSet/>
      <dgm:spPr/>
      <dgm:t>
        <a:bodyPr/>
        <a:lstStyle/>
        <a:p>
          <a:endParaRPr lang="es-ES"/>
        </a:p>
      </dgm:t>
    </dgm:pt>
    <dgm:pt modelId="{0624045E-C023-4D66-9D42-B2FE38970831}" type="sibTrans" cxnId="{613F6C6D-0B4D-4099-BF90-18223C025244}">
      <dgm:prSet/>
      <dgm:spPr/>
      <dgm:t>
        <a:bodyPr/>
        <a:lstStyle/>
        <a:p>
          <a:endParaRPr lang="es-ES"/>
        </a:p>
      </dgm:t>
    </dgm:pt>
    <dgm:pt modelId="{A9C5D4FC-569C-48EC-A544-7D3C069C5912}">
      <dgm:prSet/>
      <dgm:spPr/>
      <dgm:t>
        <a:bodyPr/>
        <a:lstStyle/>
        <a:p>
          <a:r>
            <a:rPr lang="es-ES" dirty="0"/>
            <a:t>Europa tiene una tasa de adopción superior al 40%.</a:t>
          </a:r>
        </a:p>
      </dgm:t>
    </dgm:pt>
    <dgm:pt modelId="{75C7C93B-D18A-4CE9-9A90-2DBC43492A2E}" type="parTrans" cxnId="{D7A0F1B9-7F06-42BA-BB5E-3AC77BAF6F3A}">
      <dgm:prSet/>
      <dgm:spPr/>
      <dgm:t>
        <a:bodyPr/>
        <a:lstStyle/>
        <a:p>
          <a:endParaRPr lang="es-ES"/>
        </a:p>
      </dgm:t>
    </dgm:pt>
    <dgm:pt modelId="{60854DA5-7237-4E81-A60E-AF540CCCD387}" type="sibTrans" cxnId="{D7A0F1B9-7F06-42BA-BB5E-3AC77BAF6F3A}">
      <dgm:prSet/>
      <dgm:spPr/>
      <dgm:t>
        <a:bodyPr/>
        <a:lstStyle/>
        <a:p>
          <a:endParaRPr lang="es-ES"/>
        </a:p>
      </dgm:t>
    </dgm:pt>
    <dgm:pt modelId="{FB7A7128-AE6E-4B03-A131-52DF88B44FF6}">
      <dgm:prSet/>
      <dgm:spPr/>
      <dgm:t>
        <a:bodyPr/>
        <a:lstStyle/>
        <a:p>
          <a:r>
            <a:rPr lang="es-ES" dirty="0"/>
            <a:t>Junio 2019 La implantación de IPv6 en España en es del 2.28%.</a:t>
          </a:r>
        </a:p>
      </dgm:t>
    </dgm:pt>
    <dgm:pt modelId="{E85AB652-6930-4051-BE0E-B95100B861C0}" type="parTrans" cxnId="{17DB8A15-0FF1-4F0A-ABDB-27318102781B}">
      <dgm:prSet/>
      <dgm:spPr/>
      <dgm:t>
        <a:bodyPr/>
        <a:lstStyle/>
        <a:p>
          <a:endParaRPr lang="es-ES"/>
        </a:p>
      </dgm:t>
    </dgm:pt>
    <dgm:pt modelId="{E9781BD0-3D34-4CF7-947F-C2F85917A51B}" type="sibTrans" cxnId="{17DB8A15-0FF1-4F0A-ABDB-27318102781B}">
      <dgm:prSet/>
      <dgm:spPr/>
      <dgm:t>
        <a:bodyPr/>
        <a:lstStyle/>
        <a:p>
          <a:endParaRPr lang="es-ES"/>
        </a:p>
      </dgm:t>
    </dgm:pt>
    <dgm:pt modelId="{66A7E15F-39B2-43CD-BCAD-DF9C63388709}">
      <dgm:prSet/>
      <dgm:spPr/>
      <dgm:t>
        <a:bodyPr/>
        <a:lstStyle/>
        <a:p>
          <a:r>
            <a:rPr lang="es-ES" dirty="0"/>
            <a:t>2024</a:t>
          </a:r>
        </a:p>
      </dgm:t>
    </dgm:pt>
    <dgm:pt modelId="{F3D6E5F6-326F-42B2-8046-1C1D3190555E}" type="parTrans" cxnId="{A7857219-7106-4A45-B1DF-B3FEBFCB325D}">
      <dgm:prSet/>
      <dgm:spPr/>
      <dgm:t>
        <a:bodyPr/>
        <a:lstStyle/>
        <a:p>
          <a:endParaRPr lang="es-ES"/>
        </a:p>
      </dgm:t>
    </dgm:pt>
    <dgm:pt modelId="{90ACD567-EC99-48D6-8A5B-CEBA60EF86B2}" type="sibTrans" cxnId="{A7857219-7106-4A45-B1DF-B3FEBFCB325D}">
      <dgm:prSet/>
      <dgm:spPr/>
      <dgm:t>
        <a:bodyPr/>
        <a:lstStyle/>
        <a:p>
          <a:endParaRPr lang="es-ES"/>
        </a:p>
      </dgm:t>
    </dgm:pt>
    <dgm:pt modelId="{610562FB-8041-47F3-8813-DD4CB4517821}">
      <dgm:prSet/>
      <dgm:spPr/>
      <dgm:t>
        <a:bodyPr/>
        <a:lstStyle/>
        <a:p>
          <a:r>
            <a:rPr lang="es-ES" dirty="0"/>
            <a:t>Las tasas de adopción de IPv6 muestran una variación significativa en las distintas regiones:
Adopción global: Aproximadamente el 37,58 % (Cisco IPv6 Lab).</a:t>
          </a:r>
        </a:p>
      </dgm:t>
    </dgm:pt>
    <dgm:pt modelId="{EE43605A-E21A-4CB0-B87E-21B3BF95BE5C}" type="parTrans" cxnId="{EB1A1F5F-4A58-4E79-BB40-7500D06928AF}">
      <dgm:prSet/>
      <dgm:spPr/>
      <dgm:t>
        <a:bodyPr/>
        <a:lstStyle/>
        <a:p>
          <a:endParaRPr lang="es-ES"/>
        </a:p>
      </dgm:t>
    </dgm:pt>
    <dgm:pt modelId="{67F87D2F-C1C7-4D82-A012-EC5CEF72BC99}" type="sibTrans" cxnId="{EB1A1F5F-4A58-4E79-BB40-7500D06928AF}">
      <dgm:prSet/>
      <dgm:spPr/>
      <dgm:t>
        <a:bodyPr/>
        <a:lstStyle/>
        <a:p>
          <a:endParaRPr lang="es-ES"/>
        </a:p>
      </dgm:t>
    </dgm:pt>
    <dgm:pt modelId="{E44941FA-1124-4B36-8C16-B7F76718DC99}">
      <dgm:prSet/>
      <dgm:spPr/>
      <dgm:t>
        <a:bodyPr/>
        <a:lstStyle/>
        <a:p>
          <a:r>
            <a:rPr lang="es-ES" dirty="0"/>
            <a:t>India: 66%</a:t>
          </a:r>
        </a:p>
      </dgm:t>
    </dgm:pt>
    <dgm:pt modelId="{CF28CDB8-B762-4909-9754-B10DF892B7EA}" type="parTrans" cxnId="{38515EB5-77F5-4DD3-B0B4-3986F413C6D2}">
      <dgm:prSet/>
      <dgm:spPr/>
      <dgm:t>
        <a:bodyPr/>
        <a:lstStyle/>
        <a:p>
          <a:endParaRPr lang="es-ES"/>
        </a:p>
      </dgm:t>
    </dgm:pt>
    <dgm:pt modelId="{D9D90032-AF14-4BB5-88BF-0E80FBC55CD3}" type="sibTrans" cxnId="{38515EB5-77F5-4DD3-B0B4-3986F413C6D2}">
      <dgm:prSet/>
      <dgm:spPr/>
      <dgm:t>
        <a:bodyPr/>
        <a:lstStyle/>
        <a:p>
          <a:endParaRPr lang="es-ES"/>
        </a:p>
      </dgm:t>
    </dgm:pt>
    <dgm:pt modelId="{0045CFFF-D3E5-4316-BEBC-9CE40EB3B650}">
      <dgm:prSet/>
      <dgm:spPr/>
      <dgm:t>
        <a:bodyPr/>
        <a:lstStyle/>
        <a:p>
          <a:r>
            <a:rPr lang="es-ES" dirty="0"/>
            <a:t>Usa 50%
Europa: La tasa de adopción se sitúa en torno al 30,8 % (Wikipedia).
España: La tasa de adopción de IPv6 es de aproximadamente el 21,45 % (APNIC Stats) (Wikipedia).</a:t>
          </a:r>
        </a:p>
      </dgm:t>
    </dgm:pt>
    <dgm:pt modelId="{EF4BF5ED-6762-41D0-9824-DC111D0B3BB0}" type="parTrans" cxnId="{446AF2C7-CB5E-4973-9838-F9C53E9681A6}">
      <dgm:prSet/>
      <dgm:spPr/>
      <dgm:t>
        <a:bodyPr/>
        <a:lstStyle/>
        <a:p>
          <a:endParaRPr lang="es-ES"/>
        </a:p>
      </dgm:t>
    </dgm:pt>
    <dgm:pt modelId="{798747C4-A41C-4D02-9ED8-CC1B83308CBD}" type="sibTrans" cxnId="{446AF2C7-CB5E-4973-9838-F9C53E9681A6}">
      <dgm:prSet/>
      <dgm:spPr/>
      <dgm:t>
        <a:bodyPr/>
        <a:lstStyle/>
        <a:p>
          <a:endParaRPr lang="es-ES"/>
        </a:p>
      </dgm:t>
    </dgm:pt>
    <dgm:pt modelId="{6F372476-C94D-4D3C-BD0F-A14FEACBF44F}" type="pres">
      <dgm:prSet presAssocID="{88453B61-792B-48D3-A2B3-461000887C7B}" presName="Name0" presStyleCnt="0">
        <dgm:presLayoutVars>
          <dgm:dir/>
          <dgm:animLvl val="lvl"/>
          <dgm:resizeHandles val="exact"/>
        </dgm:presLayoutVars>
      </dgm:prSet>
      <dgm:spPr/>
    </dgm:pt>
    <dgm:pt modelId="{C51557AA-AAD6-43E4-9BE6-F4438549B894}" type="pres">
      <dgm:prSet presAssocID="{3C08C1CD-E109-4AEE-A97F-54C435ED1BC3}" presName="composite" presStyleCnt="0"/>
      <dgm:spPr/>
    </dgm:pt>
    <dgm:pt modelId="{E8DA9D5B-CFA1-40F1-9689-1AC77E0B1BF6}" type="pres">
      <dgm:prSet presAssocID="{3C08C1CD-E109-4AEE-A97F-54C435ED1BC3}" presName="parTx" presStyleLbl="node1" presStyleIdx="0" presStyleCnt="4">
        <dgm:presLayoutVars>
          <dgm:chMax val="0"/>
          <dgm:chPref val="0"/>
          <dgm:bulletEnabled val="1"/>
        </dgm:presLayoutVars>
      </dgm:prSet>
      <dgm:spPr/>
    </dgm:pt>
    <dgm:pt modelId="{8BBBA088-DF55-4B48-A0F7-98047E1522BC}" type="pres">
      <dgm:prSet presAssocID="{3C08C1CD-E109-4AEE-A97F-54C435ED1BC3}" presName="desTx" presStyleLbl="revTx" presStyleIdx="0" presStyleCnt="4">
        <dgm:presLayoutVars>
          <dgm:bulletEnabled val="1"/>
        </dgm:presLayoutVars>
      </dgm:prSet>
      <dgm:spPr/>
    </dgm:pt>
    <dgm:pt modelId="{11E443AF-FB3A-4C01-BF0B-047EC579D7BC}" type="pres">
      <dgm:prSet presAssocID="{20295D44-272D-4081-BABD-5F60EDFCE8D2}" presName="space" presStyleCnt="0"/>
      <dgm:spPr/>
    </dgm:pt>
    <dgm:pt modelId="{DD279DD2-4335-4386-A198-824664CCAB72}" type="pres">
      <dgm:prSet presAssocID="{B2EDF16E-4871-43BF-BF46-22F823826DE2}" presName="composite" presStyleCnt="0"/>
      <dgm:spPr/>
    </dgm:pt>
    <dgm:pt modelId="{856BD50A-316B-4209-B850-0C51613511A0}" type="pres">
      <dgm:prSet presAssocID="{B2EDF16E-4871-43BF-BF46-22F823826DE2}" presName="parTx" presStyleLbl="node1" presStyleIdx="1" presStyleCnt="4">
        <dgm:presLayoutVars>
          <dgm:chMax val="0"/>
          <dgm:chPref val="0"/>
          <dgm:bulletEnabled val="1"/>
        </dgm:presLayoutVars>
      </dgm:prSet>
      <dgm:spPr/>
    </dgm:pt>
    <dgm:pt modelId="{8661F058-E4BA-42F9-B816-B069A1EFD944}" type="pres">
      <dgm:prSet presAssocID="{B2EDF16E-4871-43BF-BF46-22F823826DE2}" presName="desTx" presStyleLbl="revTx" presStyleIdx="1" presStyleCnt="4">
        <dgm:presLayoutVars>
          <dgm:bulletEnabled val="1"/>
        </dgm:presLayoutVars>
      </dgm:prSet>
      <dgm:spPr/>
    </dgm:pt>
    <dgm:pt modelId="{73E7A965-FEC6-4B12-9751-B2E645B0718A}" type="pres">
      <dgm:prSet presAssocID="{0CD7F236-5BD2-4233-98A8-EB1D73647820}" presName="space" presStyleCnt="0"/>
      <dgm:spPr/>
    </dgm:pt>
    <dgm:pt modelId="{B36E10B9-DB52-4139-A9B0-1023E4A8AC58}" type="pres">
      <dgm:prSet presAssocID="{846DCD67-1BCC-4364-8A22-A89F43D7C985}" presName="composite" presStyleCnt="0"/>
      <dgm:spPr/>
    </dgm:pt>
    <dgm:pt modelId="{7917DEEF-41A2-460A-8B8C-89C3C656C894}" type="pres">
      <dgm:prSet presAssocID="{846DCD67-1BCC-4364-8A22-A89F43D7C985}" presName="parTx" presStyleLbl="node1" presStyleIdx="2" presStyleCnt="4">
        <dgm:presLayoutVars>
          <dgm:chMax val="0"/>
          <dgm:chPref val="0"/>
          <dgm:bulletEnabled val="1"/>
        </dgm:presLayoutVars>
      </dgm:prSet>
      <dgm:spPr/>
    </dgm:pt>
    <dgm:pt modelId="{487FCB66-D3BE-4E22-8396-73B0EB662848}" type="pres">
      <dgm:prSet presAssocID="{846DCD67-1BCC-4364-8A22-A89F43D7C985}" presName="desTx" presStyleLbl="revTx" presStyleIdx="2" presStyleCnt="4">
        <dgm:presLayoutVars>
          <dgm:bulletEnabled val="1"/>
        </dgm:presLayoutVars>
      </dgm:prSet>
      <dgm:spPr/>
    </dgm:pt>
    <dgm:pt modelId="{05A663E8-94AB-45E7-A239-664F63A9034E}" type="pres">
      <dgm:prSet presAssocID="{91B31BF5-3C28-40B3-9E3F-0EB9E881D365}" presName="space" presStyleCnt="0"/>
      <dgm:spPr/>
    </dgm:pt>
    <dgm:pt modelId="{DEED0B47-737C-4864-AB96-B90C72088041}" type="pres">
      <dgm:prSet presAssocID="{66A7E15F-39B2-43CD-BCAD-DF9C63388709}" presName="composite" presStyleCnt="0"/>
      <dgm:spPr/>
    </dgm:pt>
    <dgm:pt modelId="{0A55BDE6-B174-4893-BEEB-A668CD6C0CC0}" type="pres">
      <dgm:prSet presAssocID="{66A7E15F-39B2-43CD-BCAD-DF9C63388709}" presName="parTx" presStyleLbl="node1" presStyleIdx="3" presStyleCnt="4">
        <dgm:presLayoutVars>
          <dgm:chMax val="0"/>
          <dgm:chPref val="0"/>
          <dgm:bulletEnabled val="1"/>
        </dgm:presLayoutVars>
      </dgm:prSet>
      <dgm:spPr/>
    </dgm:pt>
    <dgm:pt modelId="{71E02D34-369F-4240-B05D-610E51267B54}" type="pres">
      <dgm:prSet presAssocID="{66A7E15F-39B2-43CD-BCAD-DF9C63388709}" presName="desTx" presStyleLbl="revTx" presStyleIdx="3" presStyleCnt="4">
        <dgm:presLayoutVars>
          <dgm:bulletEnabled val="1"/>
        </dgm:presLayoutVars>
      </dgm:prSet>
      <dgm:spPr/>
    </dgm:pt>
  </dgm:ptLst>
  <dgm:cxnLst>
    <dgm:cxn modelId="{B6850E05-357C-4D4C-ADCE-7AF313DE9159}" type="presOf" srcId="{FB7A7128-AE6E-4B03-A131-52DF88B44FF6}" destId="{8661F058-E4BA-42F9-B816-B069A1EFD944}" srcOrd="0" destOrd="0" presId="urn:microsoft.com/office/officeart/2005/8/layout/chevron1"/>
    <dgm:cxn modelId="{0ECE5606-5B0C-4FA4-B700-BD0BBE217134}" type="presOf" srcId="{846DCD67-1BCC-4364-8A22-A89F43D7C985}" destId="{7917DEEF-41A2-460A-8B8C-89C3C656C894}" srcOrd="0" destOrd="0" presId="urn:microsoft.com/office/officeart/2005/8/layout/chevron1"/>
    <dgm:cxn modelId="{24791A07-9DEB-443E-84A5-08046357D57D}" type="presOf" srcId="{94B49017-57B0-46CD-8350-035F23BD154E}" destId="{8661F058-E4BA-42F9-B816-B069A1EFD944}" srcOrd="0" destOrd="1" presId="urn:microsoft.com/office/officeart/2005/8/layout/chevron1"/>
    <dgm:cxn modelId="{B0F46512-3804-449B-8FE0-50267F6B351E}" srcId="{88453B61-792B-48D3-A2B3-461000887C7B}" destId="{B2EDF16E-4871-43BF-BF46-22F823826DE2}" srcOrd="1" destOrd="0" parTransId="{D9DF8C13-C423-41F1-BED9-66E1B49D6AA3}" sibTransId="{0CD7F236-5BD2-4233-98A8-EB1D73647820}"/>
    <dgm:cxn modelId="{17DB8A15-0FF1-4F0A-ABDB-27318102781B}" srcId="{B2EDF16E-4871-43BF-BF46-22F823826DE2}" destId="{FB7A7128-AE6E-4B03-A131-52DF88B44FF6}" srcOrd="0" destOrd="0" parTransId="{E85AB652-6930-4051-BE0E-B95100B861C0}" sibTransId="{E9781BD0-3D34-4CF7-947F-C2F85917A51B}"/>
    <dgm:cxn modelId="{A7857219-7106-4A45-B1DF-B3FEBFCB325D}" srcId="{88453B61-792B-48D3-A2B3-461000887C7B}" destId="{66A7E15F-39B2-43CD-BCAD-DF9C63388709}" srcOrd="3" destOrd="0" parTransId="{F3D6E5F6-326F-42B2-8046-1C1D3190555E}" sibTransId="{90ACD567-EC99-48D6-8A5B-CEBA60EF86B2}"/>
    <dgm:cxn modelId="{4D0E1D2B-A1AE-49CF-856F-26FA4D263A09}" srcId="{88453B61-792B-48D3-A2B3-461000887C7B}" destId="{3C08C1CD-E109-4AEE-A97F-54C435ED1BC3}" srcOrd="0" destOrd="0" parTransId="{D1F0B103-A0A0-4AB0-8181-2E8529F65A7C}" sibTransId="{20295D44-272D-4081-BABD-5F60EDFCE8D2}"/>
    <dgm:cxn modelId="{04427F2B-CBD6-45B3-AD6F-16932615E7F5}" type="presOf" srcId="{E44941FA-1124-4B36-8C16-B7F76718DC99}" destId="{71E02D34-369F-4240-B05D-610E51267B54}" srcOrd="0" destOrd="1" presId="urn:microsoft.com/office/officeart/2005/8/layout/chevron1"/>
    <dgm:cxn modelId="{2CDD0938-B0AF-4EDF-BE5A-EC3168DFB681}" type="presOf" srcId="{3C08C1CD-E109-4AEE-A97F-54C435ED1BC3}" destId="{E8DA9D5B-CFA1-40F1-9689-1AC77E0B1BF6}" srcOrd="0" destOrd="0" presId="urn:microsoft.com/office/officeart/2005/8/layout/chevron1"/>
    <dgm:cxn modelId="{B1263238-5413-4D29-8D6F-19D9618B9403}" type="presOf" srcId="{0045CFFF-D3E5-4316-BEBC-9CE40EB3B650}" destId="{71E02D34-369F-4240-B05D-610E51267B54}" srcOrd="0" destOrd="2" presId="urn:microsoft.com/office/officeart/2005/8/layout/chevron1"/>
    <dgm:cxn modelId="{6B8A9D38-C6A0-4684-834F-7B77B4D92CA3}" type="presOf" srcId="{B479F4C7-F402-4B5E-BAE9-008ABA31FCF0}" destId="{8BBBA088-DF55-4B48-A0F7-98047E1522BC}" srcOrd="0" destOrd="2" presId="urn:microsoft.com/office/officeart/2005/8/layout/chevron1"/>
    <dgm:cxn modelId="{EB1A1F5F-4A58-4E79-BB40-7500D06928AF}" srcId="{66A7E15F-39B2-43CD-BCAD-DF9C63388709}" destId="{610562FB-8041-47F3-8813-DD4CB4517821}" srcOrd="0" destOrd="0" parTransId="{EE43605A-E21A-4CB0-B87E-21B3BF95BE5C}" sibTransId="{67F87D2F-C1C7-4D82-A012-EC5CEF72BC99}"/>
    <dgm:cxn modelId="{47DF7E67-10C6-40A1-8FD0-022356359DD9}" type="presOf" srcId="{B67504E3-B65E-485B-ADEF-1EE956D07917}" destId="{8BBBA088-DF55-4B48-A0F7-98047E1522BC}" srcOrd="0" destOrd="1" presId="urn:microsoft.com/office/officeart/2005/8/layout/chevron1"/>
    <dgm:cxn modelId="{B3A1634B-BBA7-4510-BE71-62FFEB2F1E99}" type="presOf" srcId="{8EABD740-2053-40E3-A574-D72F9ACEA048}" destId="{8BBBA088-DF55-4B48-A0F7-98047E1522BC}" srcOrd="0" destOrd="0" presId="urn:microsoft.com/office/officeart/2005/8/layout/chevron1"/>
    <dgm:cxn modelId="{613F6C6D-0B4D-4099-BF90-18223C025244}" srcId="{AC9E6F34-7136-489E-AB44-B475EB9CF9C1}" destId="{4E74E28D-8C5E-43FA-AFB8-17C505F85B52}" srcOrd="1" destOrd="0" parTransId="{9F080C53-1FAE-4DEB-8E28-03BDE18F25D7}" sibTransId="{0624045E-C023-4D66-9D42-B2FE38970831}"/>
    <dgm:cxn modelId="{A2878B4E-C9E4-4C1D-B92C-41794B8D9C8F}" type="presOf" srcId="{66A7E15F-39B2-43CD-BCAD-DF9C63388709}" destId="{0A55BDE6-B174-4893-BEEB-A668CD6C0CC0}" srcOrd="0" destOrd="0" presId="urn:microsoft.com/office/officeart/2005/8/layout/chevron1"/>
    <dgm:cxn modelId="{54C5E257-468F-4107-9238-171914EE2B58}" srcId="{3C08C1CD-E109-4AEE-A97F-54C435ED1BC3}" destId="{B479F4C7-F402-4B5E-BAE9-008ABA31FCF0}" srcOrd="2" destOrd="0" parTransId="{9D4DBC6D-2200-4FBE-9CE4-9CBCB4D4E54D}" sibTransId="{6DB17796-347F-4B5E-BB37-DFF2B0163A5A}"/>
    <dgm:cxn modelId="{0C207C84-617C-4171-888B-2738A096E54F}" type="presOf" srcId="{AC9E6F34-7136-489E-AB44-B475EB9CF9C1}" destId="{487FCB66-D3BE-4E22-8396-73B0EB662848}" srcOrd="0" destOrd="1" presId="urn:microsoft.com/office/officeart/2005/8/layout/chevron1"/>
    <dgm:cxn modelId="{CB91E084-22AA-4B22-B5B8-D42BD6C2D8A9}" type="presOf" srcId="{A9C5D4FC-569C-48EC-A544-7D3C069C5912}" destId="{487FCB66-D3BE-4E22-8396-73B0EB662848}" srcOrd="0" destOrd="5" presId="urn:microsoft.com/office/officeart/2005/8/layout/chevron1"/>
    <dgm:cxn modelId="{59B37886-619F-4805-B756-86EE2B1A2988}" srcId="{3C08C1CD-E109-4AEE-A97F-54C435ED1BC3}" destId="{8EABD740-2053-40E3-A574-D72F9ACEA048}" srcOrd="0" destOrd="0" parTransId="{56020CB3-3B71-471E-A7A7-787A8AD165C8}" sibTransId="{C0D6D401-8F6E-4EC5-B0AF-9AF24C73C2E5}"/>
    <dgm:cxn modelId="{19F45692-D6A2-479D-B3E4-B0400BD9B304}" type="presOf" srcId="{88453B61-792B-48D3-A2B3-461000887C7B}" destId="{6F372476-C94D-4D3C-BD0F-A14FEACBF44F}" srcOrd="0" destOrd="0" presId="urn:microsoft.com/office/officeart/2005/8/layout/chevron1"/>
    <dgm:cxn modelId="{20A32A9A-E915-4DCC-9AA7-94A9B77CE26A}" srcId="{AC9E6F34-7136-489E-AB44-B475EB9CF9C1}" destId="{1FAEF9CE-B56B-4236-A8BD-FC745AA07760}" srcOrd="0" destOrd="0" parTransId="{578CE26F-E5ED-471D-847F-3187DE85D275}" sibTransId="{2E1708D7-6689-4648-BA38-BA03A258AB79}"/>
    <dgm:cxn modelId="{F417DCAF-18B4-49A6-8BAE-9DC299725E85}" type="presOf" srcId="{9F1447F4-08C3-4045-AC00-3C22187B01C3}" destId="{8661F058-E4BA-42F9-B816-B069A1EFD944}" srcOrd="0" destOrd="2" presId="urn:microsoft.com/office/officeart/2005/8/layout/chevron1"/>
    <dgm:cxn modelId="{2529CDB0-05EE-415F-8A12-3B102869EB16}" srcId="{88453B61-792B-48D3-A2B3-461000887C7B}" destId="{846DCD67-1BCC-4364-8A22-A89F43D7C985}" srcOrd="2" destOrd="0" parTransId="{8BC1F5DF-62E0-49CF-B10F-A7A703D5779C}" sibTransId="{91B31BF5-3C28-40B3-9E3F-0EB9E881D365}"/>
    <dgm:cxn modelId="{38515EB5-77F5-4DD3-B0B4-3986F413C6D2}" srcId="{66A7E15F-39B2-43CD-BCAD-DF9C63388709}" destId="{E44941FA-1124-4B36-8C16-B7F76718DC99}" srcOrd="1" destOrd="0" parTransId="{CF28CDB8-B762-4909-9754-B10DF892B7EA}" sibTransId="{D9D90032-AF14-4BB5-88BF-0E80FBC55CD3}"/>
    <dgm:cxn modelId="{D7A0F1B9-7F06-42BA-BB5E-3AC77BAF6F3A}" srcId="{B7E89828-1F68-4E0F-880B-AAF182F89145}" destId="{A9C5D4FC-569C-48EC-A544-7D3C069C5912}" srcOrd="0" destOrd="0" parTransId="{75C7C93B-D18A-4CE9-9A90-2DBC43492A2E}" sibTransId="{60854DA5-7237-4E81-A60E-AF540CCCD387}"/>
    <dgm:cxn modelId="{DB4CF0BE-B7BB-48DB-AB8D-5B009C3F3437}" type="presOf" srcId="{1FAEF9CE-B56B-4236-A8BD-FC745AA07760}" destId="{487FCB66-D3BE-4E22-8396-73B0EB662848}" srcOrd="0" destOrd="2" presId="urn:microsoft.com/office/officeart/2005/8/layout/chevron1"/>
    <dgm:cxn modelId="{446AF2C7-CB5E-4973-9838-F9C53E9681A6}" srcId="{66A7E15F-39B2-43CD-BCAD-DF9C63388709}" destId="{0045CFFF-D3E5-4316-BEBC-9CE40EB3B650}" srcOrd="2" destOrd="0" parTransId="{EF4BF5ED-6762-41D0-9824-DC111D0B3BB0}" sibTransId="{798747C4-A41C-4D02-9ED8-CC1B83308CBD}"/>
    <dgm:cxn modelId="{10E61CCE-0167-4492-8BB6-F36B126CB0C3}" srcId="{B2EDF16E-4871-43BF-BF46-22F823826DE2}" destId="{9F1447F4-08C3-4045-AC00-3C22187B01C3}" srcOrd="2" destOrd="0" parTransId="{DF636E25-F7C9-49F7-B6BC-A97A61159F3C}" sibTransId="{9CAE83C3-185E-47F9-91A5-12D583AF65CD}"/>
    <dgm:cxn modelId="{F7A653CE-C86A-4FEC-92FA-63F233482FA2}" type="presOf" srcId="{C6FAEB90-C0BA-4F1D-A09E-E081B35AE3D8}" destId="{487FCB66-D3BE-4E22-8396-73B0EB662848}" srcOrd="0" destOrd="0" presId="urn:microsoft.com/office/officeart/2005/8/layout/chevron1"/>
    <dgm:cxn modelId="{878717D0-A2F0-4829-8011-50D5887CCBC6}" type="presOf" srcId="{610562FB-8041-47F3-8813-DD4CB4517821}" destId="{71E02D34-369F-4240-B05D-610E51267B54}" srcOrd="0" destOrd="0" presId="urn:microsoft.com/office/officeart/2005/8/layout/chevron1"/>
    <dgm:cxn modelId="{FE3978D4-8D92-493A-B215-482F5CFCA6EB}" srcId="{3C08C1CD-E109-4AEE-A97F-54C435ED1BC3}" destId="{B67504E3-B65E-485B-ADEF-1EE956D07917}" srcOrd="1" destOrd="0" parTransId="{0BA1FC6A-3B77-4E5B-BFA5-4E375D80B78B}" sibTransId="{34BDE9B3-D486-47AA-AE39-FB3A7AD2C503}"/>
    <dgm:cxn modelId="{4D1D88D6-EA45-4EFE-86E0-C81F9EED7A2B}" type="presOf" srcId="{B7E89828-1F68-4E0F-880B-AAF182F89145}" destId="{487FCB66-D3BE-4E22-8396-73B0EB662848}" srcOrd="0" destOrd="4" presId="urn:microsoft.com/office/officeart/2005/8/layout/chevron1"/>
    <dgm:cxn modelId="{D36AA0DD-EBB4-4516-A054-901F0259B9D0}" srcId="{846DCD67-1BCC-4364-8A22-A89F43D7C985}" destId="{B7E89828-1F68-4E0F-880B-AAF182F89145}" srcOrd="2" destOrd="0" parTransId="{28DD99BA-B61C-4E86-8414-0BCF3EE3A052}" sibTransId="{EA0010A6-1B11-428E-84BB-7413701E5B51}"/>
    <dgm:cxn modelId="{19E59EE4-9D68-4A96-ABA4-DB568564CA7B}" type="presOf" srcId="{4E74E28D-8C5E-43FA-AFB8-17C505F85B52}" destId="{487FCB66-D3BE-4E22-8396-73B0EB662848}" srcOrd="0" destOrd="3" presId="urn:microsoft.com/office/officeart/2005/8/layout/chevron1"/>
    <dgm:cxn modelId="{F270A2EC-EC48-4821-AFC0-D2B4486713FF}" srcId="{846DCD67-1BCC-4364-8A22-A89F43D7C985}" destId="{AC9E6F34-7136-489E-AB44-B475EB9CF9C1}" srcOrd="1" destOrd="0" parTransId="{0F3CECBB-8411-4370-BF92-A98EE2D37007}" sibTransId="{E89455F5-C4D4-4DBE-B5F8-12AFC3560FE5}"/>
    <dgm:cxn modelId="{BE8C4FF1-D4EB-4625-A507-9AECD7C436A5}" srcId="{B2EDF16E-4871-43BF-BF46-22F823826DE2}" destId="{94B49017-57B0-46CD-8350-035F23BD154E}" srcOrd="1" destOrd="0" parTransId="{0AE4BEED-CF1E-4110-904E-C92DCB938F74}" sibTransId="{CD468B08-2A99-4AEA-80CE-D5B1DDF681D3}"/>
    <dgm:cxn modelId="{24C8A3FA-DDFF-4C42-9B33-B68267E58B77}" srcId="{846DCD67-1BCC-4364-8A22-A89F43D7C985}" destId="{C6FAEB90-C0BA-4F1D-A09E-E081B35AE3D8}" srcOrd="0" destOrd="0" parTransId="{015EAC77-C7DA-4177-9D40-FE8A6CE47AE8}" sibTransId="{6B5086B5-F2A5-4802-94A8-EB28DC917C52}"/>
    <dgm:cxn modelId="{F82FACFF-893D-4AC8-8F07-9799DA24091A}" type="presOf" srcId="{B2EDF16E-4871-43BF-BF46-22F823826DE2}" destId="{856BD50A-316B-4209-B850-0C51613511A0}" srcOrd="0" destOrd="0" presId="urn:microsoft.com/office/officeart/2005/8/layout/chevron1"/>
    <dgm:cxn modelId="{DA219B20-9A0E-4374-8040-807C146156A0}" type="presParOf" srcId="{6F372476-C94D-4D3C-BD0F-A14FEACBF44F}" destId="{C51557AA-AAD6-43E4-9BE6-F4438549B894}" srcOrd="0" destOrd="0" presId="urn:microsoft.com/office/officeart/2005/8/layout/chevron1"/>
    <dgm:cxn modelId="{56935F8A-AEA7-45DE-91D3-3EAC5E618B81}" type="presParOf" srcId="{C51557AA-AAD6-43E4-9BE6-F4438549B894}" destId="{E8DA9D5B-CFA1-40F1-9689-1AC77E0B1BF6}" srcOrd="0" destOrd="0" presId="urn:microsoft.com/office/officeart/2005/8/layout/chevron1"/>
    <dgm:cxn modelId="{89A3AA73-28A6-4133-8300-18B52269AF7F}" type="presParOf" srcId="{C51557AA-AAD6-43E4-9BE6-F4438549B894}" destId="{8BBBA088-DF55-4B48-A0F7-98047E1522BC}" srcOrd="1" destOrd="0" presId="urn:microsoft.com/office/officeart/2005/8/layout/chevron1"/>
    <dgm:cxn modelId="{D859673A-9E87-4CC3-BB9A-3A98EFF55E3C}" type="presParOf" srcId="{6F372476-C94D-4D3C-BD0F-A14FEACBF44F}" destId="{11E443AF-FB3A-4C01-BF0B-047EC579D7BC}" srcOrd="1" destOrd="0" presId="urn:microsoft.com/office/officeart/2005/8/layout/chevron1"/>
    <dgm:cxn modelId="{2DB35CA3-1C74-40B8-9A6E-485523625E99}" type="presParOf" srcId="{6F372476-C94D-4D3C-BD0F-A14FEACBF44F}" destId="{DD279DD2-4335-4386-A198-824664CCAB72}" srcOrd="2" destOrd="0" presId="urn:microsoft.com/office/officeart/2005/8/layout/chevron1"/>
    <dgm:cxn modelId="{D28EDF37-6C24-4FAB-8014-0713AC8C6ABD}" type="presParOf" srcId="{DD279DD2-4335-4386-A198-824664CCAB72}" destId="{856BD50A-316B-4209-B850-0C51613511A0}" srcOrd="0" destOrd="0" presId="urn:microsoft.com/office/officeart/2005/8/layout/chevron1"/>
    <dgm:cxn modelId="{3B1E9593-9C45-4AB8-A532-11AEA24E03B5}" type="presParOf" srcId="{DD279DD2-4335-4386-A198-824664CCAB72}" destId="{8661F058-E4BA-42F9-B816-B069A1EFD944}" srcOrd="1" destOrd="0" presId="urn:microsoft.com/office/officeart/2005/8/layout/chevron1"/>
    <dgm:cxn modelId="{6C72E830-7797-4598-BC13-6D44AE4946A9}" type="presParOf" srcId="{6F372476-C94D-4D3C-BD0F-A14FEACBF44F}" destId="{73E7A965-FEC6-4B12-9751-B2E645B0718A}" srcOrd="3" destOrd="0" presId="urn:microsoft.com/office/officeart/2005/8/layout/chevron1"/>
    <dgm:cxn modelId="{61F263F1-0253-46AB-95F2-3038AE569403}" type="presParOf" srcId="{6F372476-C94D-4D3C-BD0F-A14FEACBF44F}" destId="{B36E10B9-DB52-4139-A9B0-1023E4A8AC58}" srcOrd="4" destOrd="0" presId="urn:microsoft.com/office/officeart/2005/8/layout/chevron1"/>
    <dgm:cxn modelId="{7E4C8BF6-8D79-44FF-B3B5-3129DF545DF7}" type="presParOf" srcId="{B36E10B9-DB52-4139-A9B0-1023E4A8AC58}" destId="{7917DEEF-41A2-460A-8B8C-89C3C656C894}" srcOrd="0" destOrd="0" presId="urn:microsoft.com/office/officeart/2005/8/layout/chevron1"/>
    <dgm:cxn modelId="{2AA93FD5-067A-436F-ACB3-B7AE35D5A01A}" type="presParOf" srcId="{B36E10B9-DB52-4139-A9B0-1023E4A8AC58}" destId="{487FCB66-D3BE-4E22-8396-73B0EB662848}" srcOrd="1" destOrd="0" presId="urn:microsoft.com/office/officeart/2005/8/layout/chevron1"/>
    <dgm:cxn modelId="{901F55A3-131A-4478-963A-AD45F1107631}" type="presParOf" srcId="{6F372476-C94D-4D3C-BD0F-A14FEACBF44F}" destId="{05A663E8-94AB-45E7-A239-664F63A9034E}" srcOrd="5" destOrd="0" presId="urn:microsoft.com/office/officeart/2005/8/layout/chevron1"/>
    <dgm:cxn modelId="{61E59D1E-EF13-445C-8936-D2540ABA933F}" type="presParOf" srcId="{6F372476-C94D-4D3C-BD0F-A14FEACBF44F}" destId="{DEED0B47-737C-4864-AB96-B90C72088041}" srcOrd="6" destOrd="0" presId="urn:microsoft.com/office/officeart/2005/8/layout/chevron1"/>
    <dgm:cxn modelId="{51BABCB6-0940-40D3-A1FB-A0D8B5543D0B}" type="presParOf" srcId="{DEED0B47-737C-4864-AB96-B90C72088041}" destId="{0A55BDE6-B174-4893-BEEB-A668CD6C0CC0}" srcOrd="0" destOrd="0" presId="urn:microsoft.com/office/officeart/2005/8/layout/chevron1"/>
    <dgm:cxn modelId="{7C764300-1DD3-4FB0-A893-300EA7CE0716}" type="presParOf" srcId="{DEED0B47-737C-4864-AB96-B90C72088041}" destId="{71E02D34-369F-4240-B05D-610E51267B54}"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62296531-D112-485D-A1EE-B97A032DDD8F}" type="doc">
      <dgm:prSet loTypeId="urn:microsoft.com/office/officeart/2005/8/layout/bList2" loCatId="list" qsTypeId="urn:microsoft.com/office/officeart/2005/8/quickstyle/simple1" qsCatId="simple" csTypeId="urn:microsoft.com/office/officeart/2005/8/colors/accent1_2" csCatId="accent1" phldr="1"/>
      <dgm:spPr/>
      <dgm:t>
        <a:bodyPr/>
        <a:lstStyle/>
        <a:p>
          <a:endParaRPr lang="es-ES"/>
        </a:p>
      </dgm:t>
    </dgm:pt>
    <dgm:pt modelId="{C76F4802-C717-41F0-A63C-0BCF9F4C9721}">
      <dgm:prSet phldrT="[Texto]"/>
      <dgm:spPr/>
      <dgm:t>
        <a:bodyPr/>
        <a:lstStyle/>
        <a:p>
          <a:r>
            <a:rPr lang="es-ES" dirty="0"/>
            <a:t>Funciones Hash</a:t>
          </a:r>
        </a:p>
      </dgm:t>
    </dgm:pt>
    <dgm:pt modelId="{C23DA14B-C130-46C4-87FE-2AEA962B3627}" type="parTrans" cxnId="{0B436FEA-F1C3-40C9-832A-8A197443570D}">
      <dgm:prSet/>
      <dgm:spPr/>
      <dgm:t>
        <a:bodyPr/>
        <a:lstStyle/>
        <a:p>
          <a:endParaRPr lang="es-ES"/>
        </a:p>
      </dgm:t>
    </dgm:pt>
    <dgm:pt modelId="{9DEB5DEC-CA24-4D1F-997D-E3EA94354AED}" type="sibTrans" cxnId="{0B436FEA-F1C3-40C9-832A-8A197443570D}">
      <dgm:prSet/>
      <dgm:spPr/>
      <dgm:t>
        <a:bodyPr/>
        <a:lstStyle/>
        <a:p>
          <a:endParaRPr lang="es-ES"/>
        </a:p>
      </dgm:t>
    </dgm:pt>
    <dgm:pt modelId="{ADE83F52-1384-401D-A316-6A6312614E46}">
      <dgm:prSet/>
      <dgm:spPr/>
      <dgm:t>
        <a:bodyPr/>
        <a:lstStyle/>
        <a:p>
          <a:r>
            <a:rPr lang="es-ES" dirty="0">
              <a:highlight>
                <a:srgbClr val="00FF00"/>
              </a:highlight>
            </a:rPr>
            <a:t>Entrada:</a:t>
          </a:r>
          <a:r>
            <a:rPr lang="es-ES" dirty="0"/>
            <a:t> un conjunto de elementos, que suelen ser cadenas de información</a:t>
          </a:r>
        </a:p>
      </dgm:t>
    </dgm:pt>
    <dgm:pt modelId="{E638D4F9-289A-42B5-B2AA-65E3C89039D8}" type="parTrans" cxnId="{0E182A3D-30EC-4C97-99D8-AF43571A84E4}">
      <dgm:prSet/>
      <dgm:spPr/>
      <dgm:t>
        <a:bodyPr/>
        <a:lstStyle/>
        <a:p>
          <a:endParaRPr lang="es-ES"/>
        </a:p>
      </dgm:t>
    </dgm:pt>
    <dgm:pt modelId="{00AAAF37-1A12-4D75-9308-72C655894F53}" type="sibTrans" cxnId="{0E182A3D-30EC-4C97-99D8-AF43571A84E4}">
      <dgm:prSet/>
      <dgm:spPr/>
      <dgm:t>
        <a:bodyPr/>
        <a:lstStyle/>
        <a:p>
          <a:endParaRPr lang="es-ES"/>
        </a:p>
      </dgm:t>
    </dgm:pt>
    <dgm:pt modelId="{364C255C-3C39-4851-A39E-972FF4F97BE1}">
      <dgm:prSet/>
      <dgm:spPr/>
      <dgm:t>
        <a:bodyPr/>
        <a:lstStyle/>
        <a:p>
          <a:r>
            <a:rPr lang="es-ES" u="none" dirty="0">
              <a:highlight>
                <a:srgbClr val="00FF00"/>
              </a:highlight>
            </a:rPr>
            <a:t>Salida:</a:t>
          </a:r>
          <a:r>
            <a:rPr lang="es-ES" u="none" dirty="0"/>
            <a:t> Los </a:t>
          </a:r>
          <a:r>
            <a:rPr lang="es-ES" dirty="0"/>
            <a:t>convierte normalmente en cadenas de longitud fija. Normalmente 64 caracteres hexadecimales.</a:t>
          </a:r>
        </a:p>
      </dgm:t>
    </dgm:pt>
    <dgm:pt modelId="{7CC343BE-395D-4340-A4C0-226EB2AF7C50}" type="parTrans" cxnId="{B8EF2CBB-38BC-4C1C-BFA9-67654989B0A7}">
      <dgm:prSet/>
      <dgm:spPr/>
      <dgm:t>
        <a:bodyPr/>
        <a:lstStyle/>
        <a:p>
          <a:endParaRPr lang="es-ES"/>
        </a:p>
      </dgm:t>
    </dgm:pt>
    <dgm:pt modelId="{55F4F20D-96F3-4BB6-944A-16AE83287E18}" type="sibTrans" cxnId="{B8EF2CBB-38BC-4C1C-BFA9-67654989B0A7}">
      <dgm:prSet/>
      <dgm:spPr/>
      <dgm:t>
        <a:bodyPr/>
        <a:lstStyle/>
        <a:p>
          <a:endParaRPr lang="es-ES"/>
        </a:p>
      </dgm:t>
    </dgm:pt>
    <dgm:pt modelId="{55FBF782-D537-4D84-BE8E-880FABA8FEC2}">
      <dgm:prSet/>
      <dgm:spPr/>
      <dgm:t>
        <a:bodyPr/>
        <a:lstStyle/>
        <a:p>
          <a:r>
            <a:rPr lang="es-ES" dirty="0"/>
            <a:t>Seguridad Jurídica</a:t>
          </a:r>
        </a:p>
      </dgm:t>
    </dgm:pt>
    <dgm:pt modelId="{92E0EFE2-2DAF-47DC-AC67-D43CFA8A4245}" type="parTrans" cxnId="{5249B7F6-C6D1-4FC2-9877-ADC3F49734F0}">
      <dgm:prSet/>
      <dgm:spPr/>
      <dgm:t>
        <a:bodyPr/>
        <a:lstStyle/>
        <a:p>
          <a:endParaRPr lang="es-ES"/>
        </a:p>
      </dgm:t>
    </dgm:pt>
    <dgm:pt modelId="{498303D8-30C8-4027-A129-21361342B21E}" type="sibTrans" cxnId="{5249B7F6-C6D1-4FC2-9877-ADC3F49734F0}">
      <dgm:prSet/>
      <dgm:spPr/>
      <dgm:t>
        <a:bodyPr/>
        <a:lstStyle/>
        <a:p>
          <a:endParaRPr lang="es-ES"/>
        </a:p>
      </dgm:t>
    </dgm:pt>
    <dgm:pt modelId="{0C372DA5-A5FE-4557-A32C-FDE7C71E811E}">
      <dgm:prSet/>
      <dgm:spPr/>
      <dgm:t>
        <a:bodyPr/>
        <a:lstStyle/>
        <a:p>
          <a:r>
            <a:rPr lang="es-ES" dirty="0"/>
            <a:t>European council regulation </a:t>
          </a:r>
          <a:r>
            <a:rPr lang="es-ES" dirty="0">
              <a:highlight>
                <a:srgbClr val="00FF00"/>
              </a:highlight>
            </a:rPr>
            <a:t>MICA</a:t>
          </a:r>
          <a:r>
            <a:rPr lang="es-ES" dirty="0"/>
            <a:t>	</a:t>
          </a:r>
        </a:p>
      </dgm:t>
    </dgm:pt>
    <dgm:pt modelId="{09FE1D48-6D8A-43F8-9ED7-878E1735F597}" type="parTrans" cxnId="{D10302DD-352F-4A93-B0B0-A546750858D5}">
      <dgm:prSet/>
      <dgm:spPr/>
      <dgm:t>
        <a:bodyPr/>
        <a:lstStyle/>
        <a:p>
          <a:endParaRPr lang="es-ES"/>
        </a:p>
      </dgm:t>
    </dgm:pt>
    <dgm:pt modelId="{B6FAE136-1B7B-4AC8-B15B-E23904F04809}" type="sibTrans" cxnId="{D10302DD-352F-4A93-B0B0-A546750858D5}">
      <dgm:prSet/>
      <dgm:spPr/>
      <dgm:t>
        <a:bodyPr/>
        <a:lstStyle/>
        <a:p>
          <a:endParaRPr lang="es-ES"/>
        </a:p>
      </dgm:t>
    </dgm:pt>
    <dgm:pt modelId="{EFE61A13-BEAC-4104-BDDF-2EB281A98139}">
      <dgm:prSet/>
      <dgm:spPr/>
      <dgm:t>
        <a:bodyPr/>
        <a:lstStyle/>
        <a:p>
          <a:r>
            <a:rPr lang="es-ES" dirty="0"/>
            <a:t>A las funciones qué </a:t>
          </a:r>
          <a:r>
            <a:rPr lang="es-ES" dirty="0">
              <a:highlight>
                <a:srgbClr val="00FF00"/>
              </a:highlight>
            </a:rPr>
            <a:t>generan Tokens se les llama funciones hash</a:t>
          </a:r>
          <a:r>
            <a:rPr lang="es-ES" dirty="0"/>
            <a:t> (otros funciones digest).​​​</a:t>
          </a:r>
        </a:p>
      </dgm:t>
    </dgm:pt>
    <dgm:pt modelId="{0E6230EB-6906-4F56-A05A-CBBF7427FC41}" type="parTrans" cxnId="{8590CF88-DCD0-402F-B5BD-47525BE708EA}">
      <dgm:prSet/>
      <dgm:spPr/>
    </dgm:pt>
    <dgm:pt modelId="{3988F23A-0AAE-4B20-9B86-FEBBA242BACB}" type="sibTrans" cxnId="{8590CF88-DCD0-402F-B5BD-47525BE708EA}">
      <dgm:prSet/>
      <dgm:spPr/>
    </dgm:pt>
    <dgm:pt modelId="{AE76642A-1A50-4A00-BC26-7D5822C2AC87}">
      <dgm:prSet/>
      <dgm:spPr/>
      <dgm:t>
        <a:bodyPr/>
        <a:lstStyle/>
        <a:p>
          <a:r>
            <a:rPr lang="es-ES" dirty="0"/>
            <a:t>Esta función mediante un algoritmo: Habitual la función </a:t>
          </a:r>
          <a:r>
            <a:rPr lang="es-ES" dirty="0">
              <a:highlight>
                <a:srgbClr val="00FF00"/>
              </a:highlight>
            </a:rPr>
            <a:t>SHA 256</a:t>
          </a:r>
          <a:r>
            <a:rPr lang="es-ES" dirty="0"/>
            <a:t>.</a:t>
          </a:r>
        </a:p>
      </dgm:t>
    </dgm:pt>
    <dgm:pt modelId="{16DD3ABB-9567-436D-8BD5-540B3FA2CC7C}" type="parTrans" cxnId="{ECFC48C3-6228-47AC-AFFF-7230F8D2B0B9}">
      <dgm:prSet/>
      <dgm:spPr/>
    </dgm:pt>
    <dgm:pt modelId="{34DD7990-F0DC-4815-8B0D-8B9047CA2646}" type="sibTrans" cxnId="{ECFC48C3-6228-47AC-AFFF-7230F8D2B0B9}">
      <dgm:prSet/>
      <dgm:spPr/>
    </dgm:pt>
    <dgm:pt modelId="{F20DC5B3-BDF0-4784-B587-F4DDDA7E5EB5}" type="pres">
      <dgm:prSet presAssocID="{62296531-D112-485D-A1EE-B97A032DDD8F}" presName="diagram" presStyleCnt="0">
        <dgm:presLayoutVars>
          <dgm:dir/>
          <dgm:animLvl val="lvl"/>
          <dgm:resizeHandles val="exact"/>
        </dgm:presLayoutVars>
      </dgm:prSet>
      <dgm:spPr/>
    </dgm:pt>
    <dgm:pt modelId="{F3C9E433-2821-4877-839E-76AD50B9E3D5}" type="pres">
      <dgm:prSet presAssocID="{C76F4802-C717-41F0-A63C-0BCF9F4C9721}" presName="compNode" presStyleCnt="0"/>
      <dgm:spPr/>
    </dgm:pt>
    <dgm:pt modelId="{473EA2D8-FE02-4830-91C9-244DC6A9C1B6}" type="pres">
      <dgm:prSet presAssocID="{C76F4802-C717-41F0-A63C-0BCF9F4C9721}" presName="childRect" presStyleLbl="bgAcc1" presStyleIdx="0" presStyleCnt="2">
        <dgm:presLayoutVars>
          <dgm:bulletEnabled val="1"/>
        </dgm:presLayoutVars>
      </dgm:prSet>
      <dgm:spPr/>
    </dgm:pt>
    <dgm:pt modelId="{34659587-778E-4E35-8F4F-BA8697D50137}" type="pres">
      <dgm:prSet presAssocID="{C76F4802-C717-41F0-A63C-0BCF9F4C9721}" presName="parentText" presStyleLbl="node1" presStyleIdx="0" presStyleCnt="0">
        <dgm:presLayoutVars>
          <dgm:chMax val="0"/>
          <dgm:bulletEnabled val="1"/>
        </dgm:presLayoutVars>
      </dgm:prSet>
      <dgm:spPr/>
    </dgm:pt>
    <dgm:pt modelId="{D9A1CACE-3034-4AEB-B1D8-5DD257FFCF55}" type="pres">
      <dgm:prSet presAssocID="{C76F4802-C717-41F0-A63C-0BCF9F4C9721}" presName="parentRect" presStyleLbl="alignNode1" presStyleIdx="0" presStyleCnt="2"/>
      <dgm:spPr/>
    </dgm:pt>
    <dgm:pt modelId="{E388A1C7-EBF3-41A4-B111-603242F7E426}" type="pres">
      <dgm:prSet presAssocID="{C76F4802-C717-41F0-A63C-0BCF9F4C9721}" presName="adorn" presStyleLbl="fgAccFollowNod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dgm:spPr>
    </dgm:pt>
    <dgm:pt modelId="{90021587-872D-4FA2-A876-9405F53EA10F}" type="pres">
      <dgm:prSet presAssocID="{9DEB5DEC-CA24-4D1F-997D-E3EA94354AED}" presName="sibTrans" presStyleLbl="sibTrans2D1" presStyleIdx="0" presStyleCnt="0"/>
      <dgm:spPr/>
    </dgm:pt>
    <dgm:pt modelId="{FCCAE197-C3BC-404A-B96E-A2C01B9E6AB8}" type="pres">
      <dgm:prSet presAssocID="{55FBF782-D537-4D84-BE8E-880FABA8FEC2}" presName="compNode" presStyleCnt="0"/>
      <dgm:spPr/>
    </dgm:pt>
    <dgm:pt modelId="{0049C4EB-A946-48B3-B318-58B91C8D2E31}" type="pres">
      <dgm:prSet presAssocID="{55FBF782-D537-4D84-BE8E-880FABA8FEC2}" presName="childRect" presStyleLbl="bgAcc1" presStyleIdx="1" presStyleCnt="2">
        <dgm:presLayoutVars>
          <dgm:bulletEnabled val="1"/>
        </dgm:presLayoutVars>
      </dgm:prSet>
      <dgm:spPr/>
    </dgm:pt>
    <dgm:pt modelId="{959FBFEF-C5F3-4C9A-90F0-A1AB700D6F3D}" type="pres">
      <dgm:prSet presAssocID="{55FBF782-D537-4D84-BE8E-880FABA8FEC2}" presName="parentText" presStyleLbl="node1" presStyleIdx="0" presStyleCnt="0">
        <dgm:presLayoutVars>
          <dgm:chMax val="0"/>
          <dgm:bulletEnabled val="1"/>
        </dgm:presLayoutVars>
      </dgm:prSet>
      <dgm:spPr/>
    </dgm:pt>
    <dgm:pt modelId="{71F20EF1-983E-493F-9321-D32C0D222AE6}" type="pres">
      <dgm:prSet presAssocID="{55FBF782-D537-4D84-BE8E-880FABA8FEC2}" presName="parentRect" presStyleLbl="alignNode1" presStyleIdx="1" presStyleCnt="2"/>
      <dgm:spPr/>
    </dgm:pt>
    <dgm:pt modelId="{708102CA-D999-423C-B78D-F346E451DABA}" type="pres">
      <dgm:prSet presAssocID="{55FBF782-D537-4D84-BE8E-880FABA8FEC2}" presName="adorn" presStyleLbl="fgAccFollowNode1" presStyleIdx="1" presStyleCnt="2"/>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21917" b="21917"/>
          </a:stretch>
        </a:blipFill>
      </dgm:spPr>
    </dgm:pt>
  </dgm:ptLst>
  <dgm:cxnLst>
    <dgm:cxn modelId="{7C948716-09C0-42A4-AFB3-5999A4DD562C}" type="presOf" srcId="{55FBF782-D537-4D84-BE8E-880FABA8FEC2}" destId="{959FBFEF-C5F3-4C9A-90F0-A1AB700D6F3D}" srcOrd="0" destOrd="0" presId="urn:microsoft.com/office/officeart/2005/8/layout/bList2"/>
    <dgm:cxn modelId="{32656824-4C78-49DC-9794-2E6A1B9106EA}" type="presOf" srcId="{AE76642A-1A50-4A00-BC26-7D5822C2AC87}" destId="{473EA2D8-FE02-4830-91C9-244DC6A9C1B6}" srcOrd="0" destOrd="1" presId="urn:microsoft.com/office/officeart/2005/8/layout/bList2"/>
    <dgm:cxn modelId="{7249D024-F2C9-4121-97DB-2A10CC23B199}" type="presOf" srcId="{C76F4802-C717-41F0-A63C-0BCF9F4C9721}" destId="{34659587-778E-4E35-8F4F-BA8697D50137}" srcOrd="0" destOrd="0" presId="urn:microsoft.com/office/officeart/2005/8/layout/bList2"/>
    <dgm:cxn modelId="{0E182A3D-30EC-4C97-99D8-AF43571A84E4}" srcId="{C76F4802-C717-41F0-A63C-0BCF9F4C9721}" destId="{ADE83F52-1384-401D-A316-6A6312614E46}" srcOrd="2" destOrd="0" parTransId="{E638D4F9-289A-42B5-B2AA-65E3C89039D8}" sibTransId="{00AAAF37-1A12-4D75-9308-72C655894F53}"/>
    <dgm:cxn modelId="{5D525760-6216-480A-9F9B-C88D16411244}" type="presOf" srcId="{62296531-D112-485D-A1EE-B97A032DDD8F}" destId="{F20DC5B3-BDF0-4784-B587-F4DDDA7E5EB5}" srcOrd="0" destOrd="0" presId="urn:microsoft.com/office/officeart/2005/8/layout/bList2"/>
    <dgm:cxn modelId="{8590CF88-DCD0-402F-B5BD-47525BE708EA}" srcId="{C76F4802-C717-41F0-A63C-0BCF9F4C9721}" destId="{EFE61A13-BEAC-4104-BDDF-2EB281A98139}" srcOrd="0" destOrd="0" parTransId="{0E6230EB-6906-4F56-A05A-CBBF7427FC41}" sibTransId="{3988F23A-0AAE-4B20-9B86-FEBBA242BACB}"/>
    <dgm:cxn modelId="{A272188B-D1FE-4245-A7E4-063C4C0D9842}" type="presOf" srcId="{9DEB5DEC-CA24-4D1F-997D-E3EA94354AED}" destId="{90021587-872D-4FA2-A876-9405F53EA10F}" srcOrd="0" destOrd="0" presId="urn:microsoft.com/office/officeart/2005/8/layout/bList2"/>
    <dgm:cxn modelId="{8D48EDA0-DA6D-4FAA-AE05-2FF7D69B04AB}" type="presOf" srcId="{C76F4802-C717-41F0-A63C-0BCF9F4C9721}" destId="{D9A1CACE-3034-4AEB-B1D8-5DD257FFCF55}" srcOrd="1" destOrd="0" presId="urn:microsoft.com/office/officeart/2005/8/layout/bList2"/>
    <dgm:cxn modelId="{DD3384AA-C2F3-4BDB-9BC2-19BF58A14A77}" type="presOf" srcId="{ADE83F52-1384-401D-A316-6A6312614E46}" destId="{473EA2D8-FE02-4830-91C9-244DC6A9C1B6}" srcOrd="0" destOrd="2" presId="urn:microsoft.com/office/officeart/2005/8/layout/bList2"/>
    <dgm:cxn modelId="{B8EF2CBB-38BC-4C1C-BFA9-67654989B0A7}" srcId="{C76F4802-C717-41F0-A63C-0BCF9F4C9721}" destId="{364C255C-3C39-4851-A39E-972FF4F97BE1}" srcOrd="3" destOrd="0" parTransId="{7CC343BE-395D-4340-A4C0-226EB2AF7C50}" sibTransId="{55F4F20D-96F3-4BB6-944A-16AE83287E18}"/>
    <dgm:cxn modelId="{F81CE6BD-46DA-464D-9490-7D96DBD6BCD0}" type="presOf" srcId="{0C372DA5-A5FE-4557-A32C-FDE7C71E811E}" destId="{0049C4EB-A946-48B3-B318-58B91C8D2E31}" srcOrd="0" destOrd="0" presId="urn:microsoft.com/office/officeart/2005/8/layout/bList2"/>
    <dgm:cxn modelId="{ECFC48C3-6228-47AC-AFFF-7230F8D2B0B9}" srcId="{C76F4802-C717-41F0-A63C-0BCF9F4C9721}" destId="{AE76642A-1A50-4A00-BC26-7D5822C2AC87}" srcOrd="1" destOrd="0" parTransId="{16DD3ABB-9567-436D-8BD5-540B3FA2CC7C}" sibTransId="{34DD7990-F0DC-4815-8B0D-8B9047CA2646}"/>
    <dgm:cxn modelId="{ABBBD7CB-9760-4176-A918-6B63DB37B55F}" type="presOf" srcId="{EFE61A13-BEAC-4104-BDDF-2EB281A98139}" destId="{473EA2D8-FE02-4830-91C9-244DC6A9C1B6}" srcOrd="0" destOrd="0" presId="urn:microsoft.com/office/officeart/2005/8/layout/bList2"/>
    <dgm:cxn modelId="{FB0A35D6-7712-44B6-B6B0-AFEF9904B23B}" type="presOf" srcId="{364C255C-3C39-4851-A39E-972FF4F97BE1}" destId="{473EA2D8-FE02-4830-91C9-244DC6A9C1B6}" srcOrd="0" destOrd="3" presId="urn:microsoft.com/office/officeart/2005/8/layout/bList2"/>
    <dgm:cxn modelId="{D10302DD-352F-4A93-B0B0-A546750858D5}" srcId="{55FBF782-D537-4D84-BE8E-880FABA8FEC2}" destId="{0C372DA5-A5FE-4557-A32C-FDE7C71E811E}" srcOrd="0" destOrd="0" parTransId="{09FE1D48-6D8A-43F8-9ED7-878E1735F597}" sibTransId="{B6FAE136-1B7B-4AC8-B15B-E23904F04809}"/>
    <dgm:cxn modelId="{0B436FEA-F1C3-40C9-832A-8A197443570D}" srcId="{62296531-D112-485D-A1EE-B97A032DDD8F}" destId="{C76F4802-C717-41F0-A63C-0BCF9F4C9721}" srcOrd="0" destOrd="0" parTransId="{C23DA14B-C130-46C4-87FE-2AEA962B3627}" sibTransId="{9DEB5DEC-CA24-4D1F-997D-E3EA94354AED}"/>
    <dgm:cxn modelId="{5249B7F6-C6D1-4FC2-9877-ADC3F49734F0}" srcId="{62296531-D112-485D-A1EE-B97A032DDD8F}" destId="{55FBF782-D537-4D84-BE8E-880FABA8FEC2}" srcOrd="1" destOrd="0" parTransId="{92E0EFE2-2DAF-47DC-AC67-D43CFA8A4245}" sibTransId="{498303D8-30C8-4027-A129-21361342B21E}"/>
    <dgm:cxn modelId="{E7E140FE-20D1-4CC9-9FA4-88B0E9F64F89}" type="presOf" srcId="{55FBF782-D537-4D84-BE8E-880FABA8FEC2}" destId="{71F20EF1-983E-493F-9321-D32C0D222AE6}" srcOrd="1" destOrd="0" presId="urn:microsoft.com/office/officeart/2005/8/layout/bList2"/>
    <dgm:cxn modelId="{42B2CCBB-F3E7-4F36-A442-B6E40271C0B9}" type="presParOf" srcId="{F20DC5B3-BDF0-4784-B587-F4DDDA7E5EB5}" destId="{F3C9E433-2821-4877-839E-76AD50B9E3D5}" srcOrd="0" destOrd="0" presId="urn:microsoft.com/office/officeart/2005/8/layout/bList2"/>
    <dgm:cxn modelId="{859CEE4D-6CC2-485F-9F66-79E7E76B9028}" type="presParOf" srcId="{F3C9E433-2821-4877-839E-76AD50B9E3D5}" destId="{473EA2D8-FE02-4830-91C9-244DC6A9C1B6}" srcOrd="0" destOrd="0" presId="urn:microsoft.com/office/officeart/2005/8/layout/bList2"/>
    <dgm:cxn modelId="{0CBFA06E-8C1E-4988-B095-829C568B7AEB}" type="presParOf" srcId="{F3C9E433-2821-4877-839E-76AD50B9E3D5}" destId="{34659587-778E-4E35-8F4F-BA8697D50137}" srcOrd="1" destOrd="0" presId="urn:microsoft.com/office/officeart/2005/8/layout/bList2"/>
    <dgm:cxn modelId="{631276E4-5490-4EEF-9140-FED5E41CAB47}" type="presParOf" srcId="{F3C9E433-2821-4877-839E-76AD50B9E3D5}" destId="{D9A1CACE-3034-4AEB-B1D8-5DD257FFCF55}" srcOrd="2" destOrd="0" presId="urn:microsoft.com/office/officeart/2005/8/layout/bList2"/>
    <dgm:cxn modelId="{BCA1C502-154F-4C7A-9844-49331752F7CB}" type="presParOf" srcId="{F3C9E433-2821-4877-839E-76AD50B9E3D5}" destId="{E388A1C7-EBF3-41A4-B111-603242F7E426}" srcOrd="3" destOrd="0" presId="urn:microsoft.com/office/officeart/2005/8/layout/bList2"/>
    <dgm:cxn modelId="{4038B315-CB70-49F5-ADA3-BA30B3CBE463}" type="presParOf" srcId="{F20DC5B3-BDF0-4784-B587-F4DDDA7E5EB5}" destId="{90021587-872D-4FA2-A876-9405F53EA10F}" srcOrd="1" destOrd="0" presId="urn:microsoft.com/office/officeart/2005/8/layout/bList2"/>
    <dgm:cxn modelId="{12A2C10B-1380-4BBC-86F9-CBCF9529B442}" type="presParOf" srcId="{F20DC5B3-BDF0-4784-B587-F4DDDA7E5EB5}" destId="{FCCAE197-C3BC-404A-B96E-A2C01B9E6AB8}" srcOrd="2" destOrd="0" presId="urn:microsoft.com/office/officeart/2005/8/layout/bList2"/>
    <dgm:cxn modelId="{89509DB3-1006-4E14-B7B3-FBD81F0ABD2D}" type="presParOf" srcId="{FCCAE197-C3BC-404A-B96E-A2C01B9E6AB8}" destId="{0049C4EB-A946-48B3-B318-58B91C8D2E31}" srcOrd="0" destOrd="0" presId="urn:microsoft.com/office/officeart/2005/8/layout/bList2"/>
    <dgm:cxn modelId="{256B17F9-7988-44D6-BF04-19CB8975B228}" type="presParOf" srcId="{FCCAE197-C3BC-404A-B96E-A2C01B9E6AB8}" destId="{959FBFEF-C5F3-4C9A-90F0-A1AB700D6F3D}" srcOrd="1" destOrd="0" presId="urn:microsoft.com/office/officeart/2005/8/layout/bList2"/>
    <dgm:cxn modelId="{35DEFA8F-5EF4-48C4-92C9-D8BA5C805CD6}" type="presParOf" srcId="{FCCAE197-C3BC-404A-B96E-A2C01B9E6AB8}" destId="{71F20EF1-983E-493F-9321-D32C0D222AE6}" srcOrd="2" destOrd="0" presId="urn:microsoft.com/office/officeart/2005/8/layout/bList2"/>
    <dgm:cxn modelId="{C1BE2020-A494-4243-82AF-A5F3A1CDC329}" type="presParOf" srcId="{FCCAE197-C3BC-404A-B96E-A2C01B9E6AB8}" destId="{708102CA-D999-423C-B78D-F346E451DABA}"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99826EEC-C25A-4ACA-A334-A95410840C9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s-ES"/>
        </a:p>
      </dgm:t>
    </dgm:pt>
    <dgm:pt modelId="{EFD7B5E4-B91B-4F54-A9F1-42C6D6348271}">
      <dgm:prSet phldrT="[Texto]"/>
      <dgm:spPr/>
      <dgm:t>
        <a:bodyPr/>
        <a:lstStyle/>
        <a:p>
          <a:r>
            <a:rPr lang="es-ES" dirty="0"/>
            <a:t>Tipos</a:t>
          </a:r>
        </a:p>
      </dgm:t>
    </dgm:pt>
    <dgm:pt modelId="{7CC98438-ECF4-4A92-AF7F-3A2C3C7F2557}" type="parTrans" cxnId="{FECA482F-FF4F-452C-B48B-0A164100212E}">
      <dgm:prSet/>
      <dgm:spPr/>
      <dgm:t>
        <a:bodyPr/>
        <a:lstStyle/>
        <a:p>
          <a:endParaRPr lang="es-ES"/>
        </a:p>
      </dgm:t>
    </dgm:pt>
    <dgm:pt modelId="{DFE2723D-3F02-4062-8B1C-DDEBDE329E1A}" type="sibTrans" cxnId="{FECA482F-FF4F-452C-B48B-0A164100212E}">
      <dgm:prSet/>
      <dgm:spPr/>
      <dgm:t>
        <a:bodyPr/>
        <a:lstStyle/>
        <a:p>
          <a:endParaRPr lang="es-ES"/>
        </a:p>
      </dgm:t>
    </dgm:pt>
    <dgm:pt modelId="{93B594C5-2011-4740-B942-F29C40523FB5}">
      <dgm:prSet/>
      <dgm:spPr/>
      <dgm:t>
        <a:bodyPr/>
        <a:lstStyle/>
        <a:p>
          <a:r>
            <a:rPr lang="es-ES" dirty="0">
              <a:highlight>
                <a:srgbClr val="00FF00"/>
              </a:highlight>
            </a:rPr>
            <a:t>Investment</a:t>
          </a:r>
          <a:r>
            <a:rPr lang="es-ES" dirty="0"/>
            <a:t> Tokens</a:t>
          </a:r>
        </a:p>
      </dgm:t>
    </dgm:pt>
    <dgm:pt modelId="{CFAD4F83-96D3-4061-9DB7-F84D6D4DBB65}" type="parTrans" cxnId="{A9916781-057C-4238-B710-90A7D8CD389C}">
      <dgm:prSet/>
      <dgm:spPr/>
      <dgm:t>
        <a:bodyPr/>
        <a:lstStyle/>
        <a:p>
          <a:endParaRPr lang="es-ES"/>
        </a:p>
      </dgm:t>
    </dgm:pt>
    <dgm:pt modelId="{7D2DB4AE-F4FB-474F-B280-DE26D8AF295C}" type="sibTrans" cxnId="{A9916781-057C-4238-B710-90A7D8CD389C}">
      <dgm:prSet/>
      <dgm:spPr/>
      <dgm:t>
        <a:bodyPr/>
        <a:lstStyle/>
        <a:p>
          <a:endParaRPr lang="es-ES"/>
        </a:p>
      </dgm:t>
    </dgm:pt>
    <dgm:pt modelId="{8F72CE64-CE7B-4EDB-9031-FDF156C944AF}">
      <dgm:prSet/>
      <dgm:spPr/>
      <dgm:t>
        <a:bodyPr/>
        <a:lstStyle/>
        <a:p>
          <a:r>
            <a:rPr lang="es-ES" dirty="0">
              <a:highlight>
                <a:srgbClr val="00FF00"/>
              </a:highlight>
            </a:rPr>
            <a:t>Utility</a:t>
          </a:r>
          <a:r>
            <a:rPr lang="es-ES" dirty="0"/>
            <a:t> tokens</a:t>
          </a:r>
        </a:p>
      </dgm:t>
    </dgm:pt>
    <dgm:pt modelId="{2B0131F4-DBE8-498D-82C1-84A57BE1DA60}" type="parTrans" cxnId="{263755B4-33CB-4C26-A505-2714FC64EC86}">
      <dgm:prSet/>
      <dgm:spPr/>
      <dgm:t>
        <a:bodyPr/>
        <a:lstStyle/>
        <a:p>
          <a:endParaRPr lang="es-ES"/>
        </a:p>
      </dgm:t>
    </dgm:pt>
    <dgm:pt modelId="{9E716212-4CEF-4243-B1BE-926A20E22C6B}" type="sibTrans" cxnId="{263755B4-33CB-4C26-A505-2714FC64EC86}">
      <dgm:prSet/>
      <dgm:spPr/>
      <dgm:t>
        <a:bodyPr/>
        <a:lstStyle/>
        <a:p>
          <a:endParaRPr lang="es-ES"/>
        </a:p>
      </dgm:t>
    </dgm:pt>
    <dgm:pt modelId="{27545B5C-CC9B-4C93-AE85-4DE4180D3671}">
      <dgm:prSet/>
      <dgm:spPr/>
      <dgm:t>
        <a:bodyPr/>
        <a:lstStyle/>
        <a:p>
          <a:r>
            <a:rPr lang="es-ES" dirty="0">
              <a:highlight>
                <a:srgbClr val="00FF00"/>
              </a:highlight>
            </a:rPr>
            <a:t>Payments</a:t>
          </a:r>
          <a:r>
            <a:rPr lang="es-ES" dirty="0"/>
            <a:t> tokens.</a:t>
          </a:r>
        </a:p>
      </dgm:t>
    </dgm:pt>
    <dgm:pt modelId="{0A8A5D6B-027A-4FDB-B4AF-CD554924322F}" type="parTrans" cxnId="{C5AD45B1-C48A-42CF-A84B-1B3577AE6EE6}">
      <dgm:prSet/>
      <dgm:spPr/>
      <dgm:t>
        <a:bodyPr/>
        <a:lstStyle/>
        <a:p>
          <a:endParaRPr lang="es-ES"/>
        </a:p>
      </dgm:t>
    </dgm:pt>
    <dgm:pt modelId="{A0E8619C-4A53-4A0A-823D-00AD69CFAD89}" type="sibTrans" cxnId="{C5AD45B1-C48A-42CF-A84B-1B3577AE6EE6}">
      <dgm:prSet/>
      <dgm:spPr/>
      <dgm:t>
        <a:bodyPr/>
        <a:lstStyle/>
        <a:p>
          <a:endParaRPr lang="es-ES"/>
        </a:p>
      </dgm:t>
    </dgm:pt>
    <dgm:pt modelId="{713F5B30-1D01-492B-8600-15C18921B5C7}">
      <dgm:prSet/>
      <dgm:spPr/>
      <dgm:t>
        <a:bodyPr/>
        <a:lstStyle/>
        <a:p>
          <a:r>
            <a:rPr lang="es-ES" dirty="0"/>
            <a:t>Por su mutabilidad</a:t>
          </a:r>
        </a:p>
      </dgm:t>
    </dgm:pt>
    <dgm:pt modelId="{FCCCCE63-BDA2-4951-8A03-7BAD31DACA56}" type="parTrans" cxnId="{319E35DC-C325-4299-A80E-DBDA8CD1C1CC}">
      <dgm:prSet/>
      <dgm:spPr/>
      <dgm:t>
        <a:bodyPr/>
        <a:lstStyle/>
        <a:p>
          <a:endParaRPr lang="es-ES"/>
        </a:p>
      </dgm:t>
    </dgm:pt>
    <dgm:pt modelId="{F9CDB21E-EA76-4E8B-9844-2937F0084189}" type="sibTrans" cxnId="{319E35DC-C325-4299-A80E-DBDA8CD1C1CC}">
      <dgm:prSet/>
      <dgm:spPr/>
      <dgm:t>
        <a:bodyPr/>
        <a:lstStyle/>
        <a:p>
          <a:endParaRPr lang="es-ES"/>
        </a:p>
      </dgm:t>
    </dgm:pt>
    <dgm:pt modelId="{00993223-AF92-4408-8A29-88C4F22BFE89}">
      <dgm:prSet/>
      <dgm:spPr/>
      <dgm:t>
        <a:bodyPr/>
        <a:lstStyle/>
        <a:p>
          <a:r>
            <a:rPr lang="es-ES" dirty="0">
              <a:highlight>
                <a:srgbClr val="00FF00"/>
              </a:highlight>
            </a:rPr>
            <a:t>Fungibles</a:t>
          </a:r>
          <a:r>
            <a:rPr lang="es-ES" dirty="0"/>
            <a:t> o mutables</a:t>
          </a:r>
        </a:p>
      </dgm:t>
    </dgm:pt>
    <dgm:pt modelId="{58F3D51B-38EC-4595-B3B5-223666B25093}" type="parTrans" cxnId="{E2A61B1E-8CED-4AE5-91A6-7EA2A46BDAEE}">
      <dgm:prSet/>
      <dgm:spPr/>
      <dgm:t>
        <a:bodyPr/>
        <a:lstStyle/>
        <a:p>
          <a:endParaRPr lang="es-ES"/>
        </a:p>
      </dgm:t>
    </dgm:pt>
    <dgm:pt modelId="{FB98EE3C-1A81-4681-B949-6E5A3AC0D11C}" type="sibTrans" cxnId="{E2A61B1E-8CED-4AE5-91A6-7EA2A46BDAEE}">
      <dgm:prSet/>
      <dgm:spPr/>
      <dgm:t>
        <a:bodyPr/>
        <a:lstStyle/>
        <a:p>
          <a:endParaRPr lang="es-ES"/>
        </a:p>
      </dgm:t>
    </dgm:pt>
    <dgm:pt modelId="{BA5B7C72-46B7-4599-80C2-3F31F6B93A99}">
      <dgm:prSet/>
      <dgm:spPr/>
      <dgm:t>
        <a:bodyPr/>
        <a:lstStyle/>
        <a:p>
          <a:r>
            <a:rPr lang="es-ES" dirty="0"/>
            <a:t>Pagos, Utility, Security</a:t>
          </a:r>
        </a:p>
      </dgm:t>
    </dgm:pt>
    <dgm:pt modelId="{55605C9E-A75E-4B18-9323-D86AE9BA70AC}" type="parTrans" cxnId="{90EFACE5-562A-4DEC-BE01-A68B11F225D7}">
      <dgm:prSet/>
      <dgm:spPr/>
      <dgm:t>
        <a:bodyPr/>
        <a:lstStyle/>
        <a:p>
          <a:endParaRPr lang="es-ES"/>
        </a:p>
      </dgm:t>
    </dgm:pt>
    <dgm:pt modelId="{0C15D8F1-C7DD-4421-B2E7-0BBAAF20021E}" type="sibTrans" cxnId="{90EFACE5-562A-4DEC-BE01-A68B11F225D7}">
      <dgm:prSet/>
      <dgm:spPr/>
      <dgm:t>
        <a:bodyPr/>
        <a:lstStyle/>
        <a:p>
          <a:endParaRPr lang="es-ES"/>
        </a:p>
      </dgm:t>
    </dgm:pt>
    <dgm:pt modelId="{6660016F-B964-40A1-BF35-0C7B4905746B}">
      <dgm:prSet/>
      <dgm:spPr/>
      <dgm:t>
        <a:bodyPr/>
        <a:lstStyle/>
        <a:p>
          <a:r>
            <a:rPr lang="es-ES" dirty="0">
              <a:highlight>
                <a:srgbClr val="00FF00"/>
              </a:highlight>
            </a:rPr>
            <a:t>No fungibles</a:t>
          </a:r>
          <a:r>
            <a:rPr lang="es-ES" dirty="0"/>
            <a:t> o inmutables </a:t>
          </a:r>
          <a:r>
            <a:rPr lang="es-ES" dirty="0">
              <a:highlight>
                <a:srgbClr val="00FF00"/>
              </a:highlight>
            </a:rPr>
            <a:t>(NFT)</a:t>
          </a:r>
        </a:p>
      </dgm:t>
    </dgm:pt>
    <dgm:pt modelId="{15605AA8-D038-406A-BC9C-660C4671E3E3}" type="parTrans" cxnId="{52FA0588-7802-455C-8E22-FDA374024A33}">
      <dgm:prSet/>
      <dgm:spPr/>
      <dgm:t>
        <a:bodyPr/>
        <a:lstStyle/>
        <a:p>
          <a:endParaRPr lang="es-ES"/>
        </a:p>
      </dgm:t>
    </dgm:pt>
    <dgm:pt modelId="{E6FF0D6B-9DD2-4E46-93A9-273305E231D4}" type="sibTrans" cxnId="{52FA0588-7802-455C-8E22-FDA374024A33}">
      <dgm:prSet/>
      <dgm:spPr/>
      <dgm:t>
        <a:bodyPr/>
        <a:lstStyle/>
        <a:p>
          <a:endParaRPr lang="es-ES"/>
        </a:p>
      </dgm:t>
    </dgm:pt>
    <dgm:pt modelId="{F49E6712-1B7A-4C1B-8194-CCFCE874A51B}">
      <dgm:prSet/>
      <dgm:spPr/>
      <dgm:t>
        <a:bodyPr/>
        <a:lstStyle/>
        <a:p>
          <a:r>
            <a:rPr lang="es-ES" dirty="0"/>
            <a:t>Por su naturaleza:</a:t>
          </a:r>
        </a:p>
      </dgm:t>
    </dgm:pt>
    <dgm:pt modelId="{C6C73755-0AA7-42CA-94A3-530264DFE397}" type="parTrans" cxnId="{CBD96FF6-EC0F-431D-90E6-AF2D27A843D8}">
      <dgm:prSet/>
      <dgm:spPr/>
      <dgm:t>
        <a:bodyPr/>
        <a:lstStyle/>
        <a:p>
          <a:endParaRPr lang="es-ES"/>
        </a:p>
      </dgm:t>
    </dgm:pt>
    <dgm:pt modelId="{264C57EB-194C-49AC-BBB8-FECAB9EAA6C6}" type="sibTrans" cxnId="{CBD96FF6-EC0F-431D-90E6-AF2D27A843D8}">
      <dgm:prSet/>
      <dgm:spPr/>
      <dgm:t>
        <a:bodyPr/>
        <a:lstStyle/>
        <a:p>
          <a:endParaRPr lang="es-ES"/>
        </a:p>
      </dgm:t>
    </dgm:pt>
    <dgm:pt modelId="{14087072-1561-4A14-A38C-2F2CE6CF41D2}">
      <dgm:prSet/>
      <dgm:spPr/>
      <dgm:t>
        <a:bodyPr/>
        <a:lstStyle/>
        <a:p>
          <a:r>
            <a:rPr lang="es-ES" dirty="0">
              <a:highlight>
                <a:srgbClr val="00FF00"/>
              </a:highlight>
            </a:rPr>
            <a:t>Intangibles</a:t>
          </a:r>
        </a:p>
      </dgm:t>
    </dgm:pt>
    <dgm:pt modelId="{733797E6-2991-4209-BC4D-F9E745FE1A68}" type="parTrans" cxnId="{BE892060-6DF1-4F91-A089-78A6A6730ABA}">
      <dgm:prSet/>
      <dgm:spPr/>
      <dgm:t>
        <a:bodyPr/>
        <a:lstStyle/>
        <a:p>
          <a:endParaRPr lang="es-ES"/>
        </a:p>
      </dgm:t>
    </dgm:pt>
    <dgm:pt modelId="{46365F04-B6AA-4AF0-8DB2-6648417958A4}" type="sibTrans" cxnId="{BE892060-6DF1-4F91-A089-78A6A6730ABA}">
      <dgm:prSet/>
      <dgm:spPr/>
      <dgm:t>
        <a:bodyPr/>
        <a:lstStyle/>
        <a:p>
          <a:endParaRPr lang="es-ES"/>
        </a:p>
      </dgm:t>
    </dgm:pt>
    <dgm:pt modelId="{9E18F284-F790-41A8-92A5-3DF4A3C21312}">
      <dgm:prSet/>
      <dgm:spPr/>
      <dgm:t>
        <a:bodyPr/>
        <a:lstStyle/>
        <a:p>
          <a:r>
            <a:rPr lang="es-ES" dirty="0">
              <a:highlight>
                <a:srgbClr val="00FF00"/>
              </a:highlight>
            </a:rPr>
            <a:t>Tangibles</a:t>
          </a:r>
        </a:p>
      </dgm:t>
    </dgm:pt>
    <dgm:pt modelId="{B6B74ABC-D4D3-47DA-96D4-64366A7CA386}" type="parTrans" cxnId="{B4EC2C14-5968-4B78-8DCD-6235E7BE83BC}">
      <dgm:prSet/>
      <dgm:spPr/>
      <dgm:t>
        <a:bodyPr/>
        <a:lstStyle/>
        <a:p>
          <a:endParaRPr lang="es-ES"/>
        </a:p>
      </dgm:t>
    </dgm:pt>
    <dgm:pt modelId="{27AE7948-5F46-4539-983F-4FC75D44C202}" type="sibTrans" cxnId="{B4EC2C14-5968-4B78-8DCD-6235E7BE83BC}">
      <dgm:prSet/>
      <dgm:spPr/>
      <dgm:t>
        <a:bodyPr/>
        <a:lstStyle/>
        <a:p>
          <a:endParaRPr lang="es-ES"/>
        </a:p>
      </dgm:t>
    </dgm:pt>
    <dgm:pt modelId="{5BB2D9A2-03AA-45D9-8B1C-885707ACD4C0}">
      <dgm:prSet/>
      <dgm:spPr/>
      <dgm:t>
        <a:bodyPr/>
        <a:lstStyle/>
        <a:p>
          <a:r>
            <a:rPr lang="es-ES" dirty="0"/>
            <a:t>(Dinero, commodities)</a:t>
          </a:r>
        </a:p>
      </dgm:t>
    </dgm:pt>
    <dgm:pt modelId="{FF221492-85E2-418E-A52A-2E62BC64A746}" type="parTrans" cxnId="{EECED0D8-EBA2-4762-BED6-BC1A757A2D44}">
      <dgm:prSet/>
      <dgm:spPr/>
      <dgm:t>
        <a:bodyPr/>
        <a:lstStyle/>
        <a:p>
          <a:endParaRPr lang="es-ES"/>
        </a:p>
      </dgm:t>
    </dgm:pt>
    <dgm:pt modelId="{115E3E1B-63E8-43FD-88E8-37AE5238EFB2}" type="sibTrans" cxnId="{EECED0D8-EBA2-4762-BED6-BC1A757A2D44}">
      <dgm:prSet/>
      <dgm:spPr/>
      <dgm:t>
        <a:bodyPr/>
        <a:lstStyle/>
        <a:p>
          <a:endParaRPr lang="es-ES"/>
        </a:p>
      </dgm:t>
    </dgm:pt>
    <dgm:pt modelId="{A1487BD3-7CD9-4613-89EA-44BF26A402B3}">
      <dgm:prSet/>
      <dgm:spPr/>
      <dgm:t>
        <a:bodyPr/>
        <a:lstStyle/>
        <a:p>
          <a:r>
            <a:rPr lang="es-ES" dirty="0"/>
            <a:t>Arte</a:t>
          </a:r>
        </a:p>
      </dgm:t>
    </dgm:pt>
    <dgm:pt modelId="{611E5609-4F29-49C9-AF2B-B48CBE6A2E98}" type="parTrans" cxnId="{266E570E-9A15-496B-93B6-DE7E4FFABDEC}">
      <dgm:prSet/>
      <dgm:spPr/>
      <dgm:t>
        <a:bodyPr/>
        <a:lstStyle/>
        <a:p>
          <a:endParaRPr lang="es-ES"/>
        </a:p>
      </dgm:t>
    </dgm:pt>
    <dgm:pt modelId="{6481B39F-DB90-4C90-AA5C-0BC08B87F2A0}" type="sibTrans" cxnId="{266E570E-9A15-496B-93B6-DE7E4FFABDEC}">
      <dgm:prSet/>
      <dgm:spPr/>
      <dgm:t>
        <a:bodyPr/>
        <a:lstStyle/>
        <a:p>
          <a:endParaRPr lang="es-ES"/>
        </a:p>
      </dgm:t>
    </dgm:pt>
    <dgm:pt modelId="{CE3B9EF9-0D8E-49D1-B897-4C3222FC873D}">
      <dgm:prSet/>
      <dgm:spPr/>
      <dgm:t>
        <a:bodyPr/>
        <a:lstStyle/>
        <a:p>
          <a:r>
            <a:rPr lang="es-ES" dirty="0"/>
            <a:t>Bienes: Aceite, vino…</a:t>
          </a:r>
        </a:p>
      </dgm:t>
    </dgm:pt>
    <dgm:pt modelId="{24E5DEE2-236F-4A2C-AEB9-1DF3515CA50D}" type="parTrans" cxnId="{46AB78D7-8132-4520-ABDA-5087EAFC72F1}">
      <dgm:prSet/>
      <dgm:spPr/>
      <dgm:t>
        <a:bodyPr/>
        <a:lstStyle/>
        <a:p>
          <a:endParaRPr lang="es-ES"/>
        </a:p>
      </dgm:t>
    </dgm:pt>
    <dgm:pt modelId="{F0A8F1D2-950D-4DFC-B436-1349F7B58458}" type="sibTrans" cxnId="{46AB78D7-8132-4520-ABDA-5087EAFC72F1}">
      <dgm:prSet/>
      <dgm:spPr/>
      <dgm:t>
        <a:bodyPr/>
        <a:lstStyle/>
        <a:p>
          <a:endParaRPr lang="es-ES"/>
        </a:p>
      </dgm:t>
    </dgm:pt>
    <dgm:pt modelId="{D366CD0F-A66D-401F-856F-76DDE06D348C}">
      <dgm:prSet/>
      <dgm:spPr/>
      <dgm:t>
        <a:bodyPr/>
        <a:lstStyle/>
        <a:p>
          <a:r>
            <a:rPr lang="es-ES" dirty="0"/>
            <a:t>(atención que puede haber MiFID II).</a:t>
          </a:r>
        </a:p>
      </dgm:t>
    </dgm:pt>
    <dgm:pt modelId="{88693765-F9A8-45A7-8AE3-DEB1C9F0AA3F}" type="parTrans" cxnId="{7807EC3C-933D-4D38-A774-62D4E471122C}">
      <dgm:prSet/>
      <dgm:spPr/>
      <dgm:t>
        <a:bodyPr/>
        <a:lstStyle/>
        <a:p>
          <a:endParaRPr lang="es-ES"/>
        </a:p>
      </dgm:t>
    </dgm:pt>
    <dgm:pt modelId="{7966DC22-2801-4DAE-8EEF-FAA56DE4B5A1}" type="sibTrans" cxnId="{7807EC3C-933D-4D38-A774-62D4E471122C}">
      <dgm:prSet/>
      <dgm:spPr/>
      <dgm:t>
        <a:bodyPr/>
        <a:lstStyle/>
        <a:p>
          <a:endParaRPr lang="es-ES"/>
        </a:p>
      </dgm:t>
    </dgm:pt>
    <dgm:pt modelId="{0DE66712-2B82-4753-B0E5-2C44041AC2FB}">
      <dgm:prSet/>
      <dgm:spPr/>
      <dgm:t>
        <a:bodyPr/>
        <a:lstStyle/>
        <a:p>
          <a:r>
            <a:rPr lang="es-ES" dirty="0"/>
            <a:t>Derechos de autor</a:t>
          </a:r>
        </a:p>
      </dgm:t>
    </dgm:pt>
    <dgm:pt modelId="{A9C3EDDB-54FE-42D9-A1D8-39D45FA4E28E}" type="parTrans" cxnId="{1BDDE7C4-0E29-444A-B344-DF92D11F4052}">
      <dgm:prSet/>
      <dgm:spPr/>
      <dgm:t>
        <a:bodyPr/>
        <a:lstStyle/>
        <a:p>
          <a:endParaRPr lang="es-ES"/>
        </a:p>
      </dgm:t>
    </dgm:pt>
    <dgm:pt modelId="{16CA4208-16AC-4398-8847-7E6403998E28}" type="sibTrans" cxnId="{1BDDE7C4-0E29-444A-B344-DF92D11F4052}">
      <dgm:prSet/>
      <dgm:spPr/>
      <dgm:t>
        <a:bodyPr/>
        <a:lstStyle/>
        <a:p>
          <a:endParaRPr lang="es-ES"/>
        </a:p>
      </dgm:t>
    </dgm:pt>
    <dgm:pt modelId="{1ECC9DAD-666A-488B-A9B1-B43FA64723E1}">
      <dgm:prSet/>
      <dgm:spPr/>
      <dgm:t>
        <a:bodyPr/>
        <a:lstStyle/>
        <a:p>
          <a:r>
            <a:rPr lang="es-ES" dirty="0"/>
            <a:t>Patentes</a:t>
          </a:r>
        </a:p>
      </dgm:t>
    </dgm:pt>
    <dgm:pt modelId="{C1AC8D62-5E2F-4DE1-94C9-2A597B3AE405}" type="parTrans" cxnId="{AF0566F0-E520-4D82-A45A-F6AC7E59BA6C}">
      <dgm:prSet/>
      <dgm:spPr/>
      <dgm:t>
        <a:bodyPr/>
        <a:lstStyle/>
        <a:p>
          <a:endParaRPr lang="es-ES"/>
        </a:p>
      </dgm:t>
    </dgm:pt>
    <dgm:pt modelId="{72612531-783D-4C35-8451-708019D96401}" type="sibTrans" cxnId="{AF0566F0-E520-4D82-A45A-F6AC7E59BA6C}">
      <dgm:prSet/>
      <dgm:spPr/>
      <dgm:t>
        <a:bodyPr/>
        <a:lstStyle/>
        <a:p>
          <a:endParaRPr lang="es-ES"/>
        </a:p>
      </dgm:t>
    </dgm:pt>
    <dgm:pt modelId="{89FC366A-01D5-49EC-94EF-82F2659C0403}">
      <dgm:prSet/>
      <dgm:spPr/>
      <dgm:t>
        <a:bodyPr/>
        <a:lstStyle/>
        <a:p>
          <a:r>
            <a:rPr lang="es-ES" dirty="0"/>
            <a:t>Activos físicos.</a:t>
          </a:r>
        </a:p>
      </dgm:t>
    </dgm:pt>
    <dgm:pt modelId="{0D4E6FD3-BAB0-4DBD-81A7-7691BBE3B30E}" type="parTrans" cxnId="{5F63DAFA-6DF2-47AA-ACB1-BCC7A32F250D}">
      <dgm:prSet/>
      <dgm:spPr/>
      <dgm:t>
        <a:bodyPr/>
        <a:lstStyle/>
        <a:p>
          <a:endParaRPr lang="es-ES"/>
        </a:p>
      </dgm:t>
    </dgm:pt>
    <dgm:pt modelId="{D2E75104-58CE-46A9-BF14-3884E620C75F}" type="sibTrans" cxnId="{5F63DAFA-6DF2-47AA-ACB1-BCC7A32F250D}">
      <dgm:prSet/>
      <dgm:spPr/>
      <dgm:t>
        <a:bodyPr/>
        <a:lstStyle/>
        <a:p>
          <a:endParaRPr lang="es-ES"/>
        </a:p>
      </dgm:t>
    </dgm:pt>
    <dgm:pt modelId="{1499FDE4-E6E3-4547-A9C6-56CF1153117C}">
      <dgm:prSet/>
      <dgm:spPr/>
      <dgm:t>
        <a:bodyPr/>
        <a:lstStyle/>
        <a:p>
          <a:r>
            <a:rPr lang="es-ES" dirty="0"/>
            <a:t>Reconocimiento de marca</a:t>
          </a:r>
        </a:p>
      </dgm:t>
    </dgm:pt>
    <dgm:pt modelId="{1E6F7C5F-547D-410F-81B1-4B6D3BAB7B7F}" type="parTrans" cxnId="{4457686D-A15A-4266-82E8-599905D35C32}">
      <dgm:prSet/>
      <dgm:spPr/>
    </dgm:pt>
    <dgm:pt modelId="{123FB9C0-885C-4B45-8C2F-588DB73BDBBB}" type="sibTrans" cxnId="{4457686D-A15A-4266-82E8-599905D35C32}">
      <dgm:prSet/>
      <dgm:spPr/>
    </dgm:pt>
    <dgm:pt modelId="{81AB911D-A527-48DE-B136-A8A099908803}" type="pres">
      <dgm:prSet presAssocID="{99826EEC-C25A-4ACA-A334-A95410840C90}" presName="Name0" presStyleCnt="0">
        <dgm:presLayoutVars>
          <dgm:dir/>
          <dgm:animLvl val="lvl"/>
          <dgm:resizeHandles val="exact"/>
        </dgm:presLayoutVars>
      </dgm:prSet>
      <dgm:spPr/>
    </dgm:pt>
    <dgm:pt modelId="{06EB5031-3CBF-4057-BCDF-EA3B2B5D2913}" type="pres">
      <dgm:prSet presAssocID="{EFD7B5E4-B91B-4F54-A9F1-42C6D6348271}" presName="composite" presStyleCnt="0"/>
      <dgm:spPr/>
    </dgm:pt>
    <dgm:pt modelId="{6C358208-CFAC-4689-8B07-F63A09DD727A}" type="pres">
      <dgm:prSet presAssocID="{EFD7B5E4-B91B-4F54-A9F1-42C6D6348271}" presName="parTx" presStyleLbl="alignNode1" presStyleIdx="0" presStyleCnt="3">
        <dgm:presLayoutVars>
          <dgm:chMax val="0"/>
          <dgm:chPref val="0"/>
          <dgm:bulletEnabled val="1"/>
        </dgm:presLayoutVars>
      </dgm:prSet>
      <dgm:spPr/>
    </dgm:pt>
    <dgm:pt modelId="{F605190E-A0EA-4C04-AA91-3AFA7E169F06}" type="pres">
      <dgm:prSet presAssocID="{EFD7B5E4-B91B-4F54-A9F1-42C6D6348271}" presName="desTx" presStyleLbl="alignAccFollowNode1" presStyleIdx="0" presStyleCnt="3">
        <dgm:presLayoutVars>
          <dgm:bulletEnabled val="1"/>
        </dgm:presLayoutVars>
      </dgm:prSet>
      <dgm:spPr/>
    </dgm:pt>
    <dgm:pt modelId="{F53EE240-1713-439B-9F21-30ED86B8FEFC}" type="pres">
      <dgm:prSet presAssocID="{DFE2723D-3F02-4062-8B1C-DDEBDE329E1A}" presName="space" presStyleCnt="0"/>
      <dgm:spPr/>
    </dgm:pt>
    <dgm:pt modelId="{098B27A9-2136-432D-99A7-18ADC1FE2E09}" type="pres">
      <dgm:prSet presAssocID="{713F5B30-1D01-492B-8600-15C18921B5C7}" presName="composite" presStyleCnt="0"/>
      <dgm:spPr/>
    </dgm:pt>
    <dgm:pt modelId="{5E7BC163-C38E-40EB-9735-5DF856F0302C}" type="pres">
      <dgm:prSet presAssocID="{713F5B30-1D01-492B-8600-15C18921B5C7}" presName="parTx" presStyleLbl="alignNode1" presStyleIdx="1" presStyleCnt="3">
        <dgm:presLayoutVars>
          <dgm:chMax val="0"/>
          <dgm:chPref val="0"/>
          <dgm:bulletEnabled val="1"/>
        </dgm:presLayoutVars>
      </dgm:prSet>
      <dgm:spPr/>
    </dgm:pt>
    <dgm:pt modelId="{094ADE85-FE5F-46FD-B16B-093CD692DCF6}" type="pres">
      <dgm:prSet presAssocID="{713F5B30-1D01-492B-8600-15C18921B5C7}" presName="desTx" presStyleLbl="alignAccFollowNode1" presStyleIdx="1" presStyleCnt="3">
        <dgm:presLayoutVars>
          <dgm:bulletEnabled val="1"/>
        </dgm:presLayoutVars>
      </dgm:prSet>
      <dgm:spPr/>
    </dgm:pt>
    <dgm:pt modelId="{7A0A07EA-D68E-4443-8FED-48044B3D5664}" type="pres">
      <dgm:prSet presAssocID="{F9CDB21E-EA76-4E8B-9844-2937F0084189}" presName="space" presStyleCnt="0"/>
      <dgm:spPr/>
    </dgm:pt>
    <dgm:pt modelId="{F4138552-7C0A-4180-AFF4-3D302C14ADDD}" type="pres">
      <dgm:prSet presAssocID="{F49E6712-1B7A-4C1B-8194-CCFCE874A51B}" presName="composite" presStyleCnt="0"/>
      <dgm:spPr/>
    </dgm:pt>
    <dgm:pt modelId="{94B2575B-BEF4-44D7-82E9-2E3169B4BE7C}" type="pres">
      <dgm:prSet presAssocID="{F49E6712-1B7A-4C1B-8194-CCFCE874A51B}" presName="parTx" presStyleLbl="alignNode1" presStyleIdx="2" presStyleCnt="3">
        <dgm:presLayoutVars>
          <dgm:chMax val="0"/>
          <dgm:chPref val="0"/>
          <dgm:bulletEnabled val="1"/>
        </dgm:presLayoutVars>
      </dgm:prSet>
      <dgm:spPr/>
    </dgm:pt>
    <dgm:pt modelId="{3492B318-6454-455D-8ACD-50143EA00E52}" type="pres">
      <dgm:prSet presAssocID="{F49E6712-1B7A-4C1B-8194-CCFCE874A51B}" presName="desTx" presStyleLbl="alignAccFollowNode1" presStyleIdx="2" presStyleCnt="3">
        <dgm:presLayoutVars>
          <dgm:bulletEnabled val="1"/>
        </dgm:presLayoutVars>
      </dgm:prSet>
      <dgm:spPr/>
    </dgm:pt>
  </dgm:ptLst>
  <dgm:cxnLst>
    <dgm:cxn modelId="{7F90680D-02D5-4EC4-97C1-CA06CD513161}" type="presOf" srcId="{BA5B7C72-46B7-4599-80C2-3F31F6B93A99}" destId="{094ADE85-FE5F-46FD-B16B-093CD692DCF6}" srcOrd="0" destOrd="2" presId="urn:microsoft.com/office/officeart/2005/8/layout/hList1"/>
    <dgm:cxn modelId="{266E570E-9A15-496B-93B6-DE7E4FFABDEC}" srcId="{6660016F-B964-40A1-BF35-0C7B4905746B}" destId="{A1487BD3-7CD9-4613-89EA-44BF26A402B3}" srcOrd="0" destOrd="0" parTransId="{611E5609-4F29-49C9-AF2B-B48CBE6A2E98}" sibTransId="{6481B39F-DB90-4C90-AA5C-0BC08B87F2A0}"/>
    <dgm:cxn modelId="{B4EC2C14-5968-4B78-8DCD-6235E7BE83BC}" srcId="{F49E6712-1B7A-4C1B-8194-CCFCE874A51B}" destId="{9E18F284-F790-41A8-92A5-3DF4A3C21312}" srcOrd="1" destOrd="0" parTransId="{B6B74ABC-D4D3-47DA-96D4-64366A7CA386}" sibTransId="{27AE7948-5F46-4539-983F-4FC75D44C202}"/>
    <dgm:cxn modelId="{2B464418-98A6-4F89-AEBE-F7C12074A6AC}" type="presOf" srcId="{27545B5C-CC9B-4C93-AE85-4DE4180D3671}" destId="{F605190E-A0EA-4C04-AA91-3AFA7E169F06}" srcOrd="0" destOrd="3" presId="urn:microsoft.com/office/officeart/2005/8/layout/hList1"/>
    <dgm:cxn modelId="{E561B61B-E9D8-421F-9FDF-9DEB9D6B95E3}" type="presOf" srcId="{D366CD0F-A66D-401F-856F-76DDE06D348C}" destId="{F605190E-A0EA-4C04-AA91-3AFA7E169F06}" srcOrd="0" destOrd="1" presId="urn:microsoft.com/office/officeart/2005/8/layout/hList1"/>
    <dgm:cxn modelId="{E2A61B1E-8CED-4AE5-91A6-7EA2A46BDAEE}" srcId="{713F5B30-1D01-492B-8600-15C18921B5C7}" destId="{00993223-AF92-4408-8A29-88C4F22BFE89}" srcOrd="0" destOrd="0" parTransId="{58F3D51B-38EC-4595-B3B5-223666B25093}" sibTransId="{FB98EE3C-1A81-4681-B949-6E5A3AC0D11C}"/>
    <dgm:cxn modelId="{8BFFA02E-7BBD-402A-A25C-D1A92CC029A9}" type="presOf" srcId="{9E18F284-F790-41A8-92A5-3DF4A3C21312}" destId="{3492B318-6454-455D-8ACD-50143EA00E52}" srcOrd="0" destOrd="4" presId="urn:microsoft.com/office/officeart/2005/8/layout/hList1"/>
    <dgm:cxn modelId="{FECA482F-FF4F-452C-B48B-0A164100212E}" srcId="{99826EEC-C25A-4ACA-A334-A95410840C90}" destId="{EFD7B5E4-B91B-4F54-A9F1-42C6D6348271}" srcOrd="0" destOrd="0" parTransId="{7CC98438-ECF4-4A92-AF7F-3A2C3C7F2557}" sibTransId="{DFE2723D-3F02-4062-8B1C-DDEBDE329E1A}"/>
    <dgm:cxn modelId="{0CE38432-1988-4EAE-A1E4-40C384F3246B}" type="presOf" srcId="{6660016F-B964-40A1-BF35-0C7B4905746B}" destId="{094ADE85-FE5F-46FD-B16B-093CD692DCF6}" srcOrd="0" destOrd="3" presId="urn:microsoft.com/office/officeart/2005/8/layout/hList1"/>
    <dgm:cxn modelId="{7ECC1A3C-850A-44F5-8EA7-0B515378195E}" type="presOf" srcId="{EFD7B5E4-B91B-4F54-A9F1-42C6D6348271}" destId="{6C358208-CFAC-4689-8B07-F63A09DD727A}" srcOrd="0" destOrd="0" presId="urn:microsoft.com/office/officeart/2005/8/layout/hList1"/>
    <dgm:cxn modelId="{7807EC3C-933D-4D38-A774-62D4E471122C}" srcId="{93B594C5-2011-4740-B942-F29C40523FB5}" destId="{D366CD0F-A66D-401F-856F-76DDE06D348C}" srcOrd="0" destOrd="0" parTransId="{88693765-F9A8-45A7-8AE3-DEB1C9F0AA3F}" sibTransId="{7966DC22-2801-4DAE-8EEF-FAA56DE4B5A1}"/>
    <dgm:cxn modelId="{57D7BE3E-BCBA-41BB-8F0B-569EE2F71FB1}" type="presOf" srcId="{8F72CE64-CE7B-4EDB-9031-FDF156C944AF}" destId="{F605190E-A0EA-4C04-AA91-3AFA7E169F06}" srcOrd="0" destOrd="2" presId="urn:microsoft.com/office/officeart/2005/8/layout/hList1"/>
    <dgm:cxn modelId="{BE892060-6DF1-4F91-A089-78A6A6730ABA}" srcId="{F49E6712-1B7A-4C1B-8194-CCFCE874A51B}" destId="{14087072-1561-4A14-A38C-2F2CE6CF41D2}" srcOrd="0" destOrd="0" parTransId="{733797E6-2991-4209-BC4D-F9E745FE1A68}" sibTransId="{46365F04-B6AA-4AF0-8DB2-6648417958A4}"/>
    <dgm:cxn modelId="{2A282760-8E70-453C-9BDE-BB0B3D6CE6E8}" type="presOf" srcId="{89FC366A-01D5-49EC-94EF-82F2659C0403}" destId="{3492B318-6454-455D-8ACD-50143EA00E52}" srcOrd="0" destOrd="5" presId="urn:microsoft.com/office/officeart/2005/8/layout/hList1"/>
    <dgm:cxn modelId="{4457686D-A15A-4266-82E8-599905D35C32}" srcId="{14087072-1561-4A14-A38C-2F2CE6CF41D2}" destId="{1499FDE4-E6E3-4547-A9C6-56CF1153117C}" srcOrd="2" destOrd="0" parTransId="{1E6F7C5F-547D-410F-81B1-4B6D3BAB7B7F}" sibTransId="{123FB9C0-885C-4B45-8C2F-588DB73BDBBB}"/>
    <dgm:cxn modelId="{9BD57D6E-1B1E-4E75-BF55-1EF4B04E2885}" type="presOf" srcId="{93B594C5-2011-4740-B942-F29C40523FB5}" destId="{F605190E-A0EA-4C04-AA91-3AFA7E169F06}" srcOrd="0" destOrd="0" presId="urn:microsoft.com/office/officeart/2005/8/layout/hList1"/>
    <dgm:cxn modelId="{A9916781-057C-4238-B710-90A7D8CD389C}" srcId="{EFD7B5E4-B91B-4F54-A9F1-42C6D6348271}" destId="{93B594C5-2011-4740-B942-F29C40523FB5}" srcOrd="0" destOrd="0" parTransId="{CFAD4F83-96D3-4061-9DB7-F84D6D4DBB65}" sibTransId="{7D2DB4AE-F4FB-474F-B280-DE26D8AF295C}"/>
    <dgm:cxn modelId="{9487AF87-6E45-4BF6-8BE0-8779586378BB}" type="presOf" srcId="{F49E6712-1B7A-4C1B-8194-CCFCE874A51B}" destId="{94B2575B-BEF4-44D7-82E9-2E3169B4BE7C}" srcOrd="0" destOrd="0" presId="urn:microsoft.com/office/officeart/2005/8/layout/hList1"/>
    <dgm:cxn modelId="{52FA0588-7802-455C-8E22-FDA374024A33}" srcId="{713F5B30-1D01-492B-8600-15C18921B5C7}" destId="{6660016F-B964-40A1-BF35-0C7B4905746B}" srcOrd="1" destOrd="0" parTransId="{15605AA8-D038-406A-BC9C-660C4671E3E3}" sibTransId="{E6FF0D6B-9DD2-4E46-93A9-273305E231D4}"/>
    <dgm:cxn modelId="{175E6C97-7A10-4E0C-B902-8048453165A4}" type="presOf" srcId="{713F5B30-1D01-492B-8600-15C18921B5C7}" destId="{5E7BC163-C38E-40EB-9735-5DF856F0302C}" srcOrd="0" destOrd="0" presId="urn:microsoft.com/office/officeart/2005/8/layout/hList1"/>
    <dgm:cxn modelId="{768AAE9F-8C51-41CA-A524-52ADF8C4E66F}" type="presOf" srcId="{A1487BD3-7CD9-4613-89EA-44BF26A402B3}" destId="{094ADE85-FE5F-46FD-B16B-093CD692DCF6}" srcOrd="0" destOrd="4" presId="urn:microsoft.com/office/officeart/2005/8/layout/hList1"/>
    <dgm:cxn modelId="{C5AD45B1-C48A-42CF-A84B-1B3577AE6EE6}" srcId="{EFD7B5E4-B91B-4F54-A9F1-42C6D6348271}" destId="{27545B5C-CC9B-4C93-AE85-4DE4180D3671}" srcOrd="2" destOrd="0" parTransId="{0A8A5D6B-027A-4FDB-B4AF-CD554924322F}" sibTransId="{A0E8619C-4A53-4A0A-823D-00AD69CFAD89}"/>
    <dgm:cxn modelId="{5009D2B3-81FF-4FF5-B54D-249971BEE418}" type="presOf" srcId="{1499FDE4-E6E3-4547-A9C6-56CF1153117C}" destId="{3492B318-6454-455D-8ACD-50143EA00E52}" srcOrd="0" destOrd="3" presId="urn:microsoft.com/office/officeart/2005/8/layout/hList1"/>
    <dgm:cxn modelId="{263755B4-33CB-4C26-A505-2714FC64EC86}" srcId="{EFD7B5E4-B91B-4F54-A9F1-42C6D6348271}" destId="{8F72CE64-CE7B-4EDB-9031-FDF156C944AF}" srcOrd="1" destOrd="0" parTransId="{2B0131F4-DBE8-498D-82C1-84A57BE1DA60}" sibTransId="{9E716212-4CEF-4243-B1BE-926A20E22C6B}"/>
    <dgm:cxn modelId="{E6496AB7-2852-4B0E-BF5E-F86C91992384}" type="presOf" srcId="{CE3B9EF9-0D8E-49D1-B897-4C3222FC873D}" destId="{094ADE85-FE5F-46FD-B16B-093CD692DCF6}" srcOrd="0" destOrd="5" presId="urn:microsoft.com/office/officeart/2005/8/layout/hList1"/>
    <dgm:cxn modelId="{2B664BC2-4FB3-42A8-8740-EF05C32CECCB}" type="presOf" srcId="{1ECC9DAD-666A-488B-A9B1-B43FA64723E1}" destId="{3492B318-6454-455D-8ACD-50143EA00E52}" srcOrd="0" destOrd="2" presId="urn:microsoft.com/office/officeart/2005/8/layout/hList1"/>
    <dgm:cxn modelId="{9EBBF0C2-A77B-4E5B-97B1-E7AF20C69992}" type="presOf" srcId="{0DE66712-2B82-4753-B0E5-2C44041AC2FB}" destId="{3492B318-6454-455D-8ACD-50143EA00E52}" srcOrd="0" destOrd="1" presId="urn:microsoft.com/office/officeart/2005/8/layout/hList1"/>
    <dgm:cxn modelId="{1BDDE7C4-0E29-444A-B344-DF92D11F4052}" srcId="{14087072-1561-4A14-A38C-2F2CE6CF41D2}" destId="{0DE66712-2B82-4753-B0E5-2C44041AC2FB}" srcOrd="0" destOrd="0" parTransId="{A9C3EDDB-54FE-42D9-A1D8-39D45FA4E28E}" sibTransId="{16CA4208-16AC-4398-8847-7E6403998E28}"/>
    <dgm:cxn modelId="{AEA458CB-EF71-4049-B0C4-6E6FC3A51CEB}" type="presOf" srcId="{14087072-1561-4A14-A38C-2F2CE6CF41D2}" destId="{3492B318-6454-455D-8ACD-50143EA00E52}" srcOrd="0" destOrd="0" presId="urn:microsoft.com/office/officeart/2005/8/layout/hList1"/>
    <dgm:cxn modelId="{BDC561CD-6BEE-4545-A1E0-35FC0501D54D}" type="presOf" srcId="{5BB2D9A2-03AA-45D9-8B1C-885707ACD4C0}" destId="{094ADE85-FE5F-46FD-B16B-093CD692DCF6}" srcOrd="0" destOrd="1" presId="urn:microsoft.com/office/officeart/2005/8/layout/hList1"/>
    <dgm:cxn modelId="{F9341CD4-3651-4D08-978B-49584EDD14C7}" type="presOf" srcId="{99826EEC-C25A-4ACA-A334-A95410840C90}" destId="{81AB911D-A527-48DE-B136-A8A099908803}" srcOrd="0" destOrd="0" presId="urn:microsoft.com/office/officeart/2005/8/layout/hList1"/>
    <dgm:cxn modelId="{46AB78D7-8132-4520-ABDA-5087EAFC72F1}" srcId="{6660016F-B964-40A1-BF35-0C7B4905746B}" destId="{CE3B9EF9-0D8E-49D1-B897-4C3222FC873D}" srcOrd="1" destOrd="0" parTransId="{24E5DEE2-236F-4A2C-AEB9-1DF3515CA50D}" sibTransId="{F0A8F1D2-950D-4DFC-B436-1349F7B58458}"/>
    <dgm:cxn modelId="{EECED0D8-EBA2-4762-BED6-BC1A757A2D44}" srcId="{00993223-AF92-4408-8A29-88C4F22BFE89}" destId="{5BB2D9A2-03AA-45D9-8B1C-885707ACD4C0}" srcOrd="0" destOrd="0" parTransId="{FF221492-85E2-418E-A52A-2E62BC64A746}" sibTransId="{115E3E1B-63E8-43FD-88E8-37AE5238EFB2}"/>
    <dgm:cxn modelId="{319E35DC-C325-4299-A80E-DBDA8CD1C1CC}" srcId="{99826EEC-C25A-4ACA-A334-A95410840C90}" destId="{713F5B30-1D01-492B-8600-15C18921B5C7}" srcOrd="1" destOrd="0" parTransId="{FCCCCE63-BDA2-4951-8A03-7BAD31DACA56}" sibTransId="{F9CDB21E-EA76-4E8B-9844-2937F0084189}"/>
    <dgm:cxn modelId="{90EFACE5-562A-4DEC-BE01-A68B11F225D7}" srcId="{00993223-AF92-4408-8A29-88C4F22BFE89}" destId="{BA5B7C72-46B7-4599-80C2-3F31F6B93A99}" srcOrd="1" destOrd="0" parTransId="{55605C9E-A75E-4B18-9323-D86AE9BA70AC}" sibTransId="{0C15D8F1-C7DD-4421-B2E7-0BBAAF20021E}"/>
    <dgm:cxn modelId="{AF0566F0-E520-4D82-A45A-F6AC7E59BA6C}" srcId="{14087072-1561-4A14-A38C-2F2CE6CF41D2}" destId="{1ECC9DAD-666A-488B-A9B1-B43FA64723E1}" srcOrd="1" destOrd="0" parTransId="{C1AC8D62-5E2F-4DE1-94C9-2A597B3AE405}" sibTransId="{72612531-783D-4C35-8451-708019D96401}"/>
    <dgm:cxn modelId="{8C09FEF2-AA0C-4631-A98E-69A7069E9A65}" type="presOf" srcId="{00993223-AF92-4408-8A29-88C4F22BFE89}" destId="{094ADE85-FE5F-46FD-B16B-093CD692DCF6}" srcOrd="0" destOrd="0" presId="urn:microsoft.com/office/officeart/2005/8/layout/hList1"/>
    <dgm:cxn modelId="{CBD96FF6-EC0F-431D-90E6-AF2D27A843D8}" srcId="{99826EEC-C25A-4ACA-A334-A95410840C90}" destId="{F49E6712-1B7A-4C1B-8194-CCFCE874A51B}" srcOrd="2" destOrd="0" parTransId="{C6C73755-0AA7-42CA-94A3-530264DFE397}" sibTransId="{264C57EB-194C-49AC-BBB8-FECAB9EAA6C6}"/>
    <dgm:cxn modelId="{5F63DAFA-6DF2-47AA-ACB1-BCC7A32F250D}" srcId="{9E18F284-F790-41A8-92A5-3DF4A3C21312}" destId="{89FC366A-01D5-49EC-94EF-82F2659C0403}" srcOrd="0" destOrd="0" parTransId="{0D4E6FD3-BAB0-4DBD-81A7-7691BBE3B30E}" sibTransId="{D2E75104-58CE-46A9-BF14-3884E620C75F}"/>
    <dgm:cxn modelId="{657F5275-4AF9-45FF-A8A1-8F18B074F42E}" type="presParOf" srcId="{81AB911D-A527-48DE-B136-A8A099908803}" destId="{06EB5031-3CBF-4057-BCDF-EA3B2B5D2913}" srcOrd="0" destOrd="0" presId="urn:microsoft.com/office/officeart/2005/8/layout/hList1"/>
    <dgm:cxn modelId="{086C8CA5-1F85-431F-9B13-42CE6F53E56D}" type="presParOf" srcId="{06EB5031-3CBF-4057-BCDF-EA3B2B5D2913}" destId="{6C358208-CFAC-4689-8B07-F63A09DD727A}" srcOrd="0" destOrd="0" presId="urn:microsoft.com/office/officeart/2005/8/layout/hList1"/>
    <dgm:cxn modelId="{0F8511D4-6435-47CD-90C1-D8744B3EB162}" type="presParOf" srcId="{06EB5031-3CBF-4057-BCDF-EA3B2B5D2913}" destId="{F605190E-A0EA-4C04-AA91-3AFA7E169F06}" srcOrd="1" destOrd="0" presId="urn:microsoft.com/office/officeart/2005/8/layout/hList1"/>
    <dgm:cxn modelId="{656EA306-D7E9-4293-8177-718F149B7AE8}" type="presParOf" srcId="{81AB911D-A527-48DE-B136-A8A099908803}" destId="{F53EE240-1713-439B-9F21-30ED86B8FEFC}" srcOrd="1" destOrd="0" presId="urn:microsoft.com/office/officeart/2005/8/layout/hList1"/>
    <dgm:cxn modelId="{EC7572A9-A5ED-4723-8C2D-4FE05E35BC81}" type="presParOf" srcId="{81AB911D-A527-48DE-B136-A8A099908803}" destId="{098B27A9-2136-432D-99A7-18ADC1FE2E09}" srcOrd="2" destOrd="0" presId="urn:microsoft.com/office/officeart/2005/8/layout/hList1"/>
    <dgm:cxn modelId="{0482C3B7-93FA-4BDD-91F1-690C431FEF45}" type="presParOf" srcId="{098B27A9-2136-432D-99A7-18ADC1FE2E09}" destId="{5E7BC163-C38E-40EB-9735-5DF856F0302C}" srcOrd="0" destOrd="0" presId="urn:microsoft.com/office/officeart/2005/8/layout/hList1"/>
    <dgm:cxn modelId="{9140C3B4-A427-4D5B-ACEC-EF5F4306F63A}" type="presParOf" srcId="{098B27A9-2136-432D-99A7-18ADC1FE2E09}" destId="{094ADE85-FE5F-46FD-B16B-093CD692DCF6}" srcOrd="1" destOrd="0" presId="urn:microsoft.com/office/officeart/2005/8/layout/hList1"/>
    <dgm:cxn modelId="{9A2D7187-7223-4189-B9B2-BFA3E7A2AD5A}" type="presParOf" srcId="{81AB911D-A527-48DE-B136-A8A099908803}" destId="{7A0A07EA-D68E-4443-8FED-48044B3D5664}" srcOrd="3" destOrd="0" presId="urn:microsoft.com/office/officeart/2005/8/layout/hList1"/>
    <dgm:cxn modelId="{83FCE9DE-8EF0-4C18-813E-5FE2BB56414E}" type="presParOf" srcId="{81AB911D-A527-48DE-B136-A8A099908803}" destId="{F4138552-7C0A-4180-AFF4-3D302C14ADDD}" srcOrd="4" destOrd="0" presId="urn:microsoft.com/office/officeart/2005/8/layout/hList1"/>
    <dgm:cxn modelId="{9D384B31-A0AF-40F8-BBBC-57CC5C874917}" type="presParOf" srcId="{F4138552-7C0A-4180-AFF4-3D302C14ADDD}" destId="{94B2575B-BEF4-44D7-82E9-2E3169B4BE7C}" srcOrd="0" destOrd="0" presId="urn:microsoft.com/office/officeart/2005/8/layout/hList1"/>
    <dgm:cxn modelId="{529A56F2-FDA2-4027-B110-EBA627879FCA}" type="presParOf" srcId="{F4138552-7C0A-4180-AFF4-3D302C14ADDD}" destId="{3492B318-6454-455D-8ACD-50143EA00E5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195E889C-FD7E-4317-8109-9603A84E230B}"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s-ES"/>
        </a:p>
      </dgm:t>
    </dgm:pt>
    <dgm:pt modelId="{31E3752C-E35A-4919-9CD4-95F1F00BD533}">
      <dgm:prSet phldrT="[Texto]" custT="1"/>
      <dgm:spPr/>
      <dgm:t>
        <a:bodyPr/>
        <a:lstStyle/>
        <a:p>
          <a:r>
            <a:rPr lang="es-ES" sz="1800" b="1" dirty="0">
              <a:highlight>
                <a:srgbClr val="FFCDCC"/>
              </a:highlight>
              <a:latin typeface="+mn-lt"/>
            </a:rPr>
            <a:t>Banca: </a:t>
          </a:r>
        </a:p>
      </dgm:t>
    </dgm:pt>
    <dgm:pt modelId="{19E8709B-B646-479D-8C3D-2E98C4AA2EEE}" type="parTrans" cxnId="{7DCB8D5A-687B-4B11-B4FF-8E7A4E15BB58}">
      <dgm:prSet/>
      <dgm:spPr/>
      <dgm:t>
        <a:bodyPr/>
        <a:lstStyle/>
        <a:p>
          <a:endParaRPr lang="es-ES" sz="2800">
            <a:latin typeface="+mn-lt"/>
          </a:endParaRPr>
        </a:p>
      </dgm:t>
    </dgm:pt>
    <dgm:pt modelId="{E3E17149-B75C-40EA-B5FC-3340ED9BB23D}" type="sibTrans" cxnId="{7DCB8D5A-687B-4B11-B4FF-8E7A4E15BB58}">
      <dgm:prSet/>
      <dgm:spPr/>
      <dgm:t>
        <a:bodyPr/>
        <a:lstStyle/>
        <a:p>
          <a:endParaRPr lang="es-ES" sz="2800">
            <a:latin typeface="+mn-lt"/>
          </a:endParaRPr>
        </a:p>
      </dgm:t>
    </dgm:pt>
    <dgm:pt modelId="{18E7B10F-58FA-41A9-8977-2E793AEA4B2B}">
      <dgm:prSet custT="1"/>
      <dgm:spPr/>
      <dgm:t>
        <a:bodyPr/>
        <a:lstStyle/>
        <a:p>
          <a:r>
            <a:rPr lang="es-ES" sz="1600" dirty="0">
              <a:latin typeface="+mn-lt"/>
            </a:rPr>
            <a:t>Contratos inteligentes para:</a:t>
          </a:r>
        </a:p>
      </dgm:t>
    </dgm:pt>
    <dgm:pt modelId="{28180973-C0C9-4893-AD94-CAF80AD60ACE}" type="parTrans" cxnId="{63E71F23-4828-4137-B83A-70F6DDD019F1}">
      <dgm:prSet/>
      <dgm:spPr/>
      <dgm:t>
        <a:bodyPr/>
        <a:lstStyle/>
        <a:p>
          <a:endParaRPr lang="es-ES" sz="2800">
            <a:latin typeface="+mn-lt"/>
          </a:endParaRPr>
        </a:p>
      </dgm:t>
    </dgm:pt>
    <dgm:pt modelId="{143C873F-8930-466D-BC7B-22045AE26D85}" type="sibTrans" cxnId="{63E71F23-4828-4137-B83A-70F6DDD019F1}">
      <dgm:prSet/>
      <dgm:spPr/>
      <dgm:t>
        <a:bodyPr/>
        <a:lstStyle/>
        <a:p>
          <a:endParaRPr lang="es-ES" sz="2800">
            <a:latin typeface="+mn-lt"/>
          </a:endParaRPr>
        </a:p>
      </dgm:t>
    </dgm:pt>
    <dgm:pt modelId="{6917E0C5-49DB-4D43-828B-2F274FF7BECA}">
      <dgm:prSet custT="1"/>
      <dgm:spPr/>
      <dgm: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Administración: </a:t>
          </a:r>
        </a:p>
      </dgm:t>
    </dgm:pt>
    <dgm:pt modelId="{8CF5D212-9C2E-4BE8-9DF9-42B384D3F93A}" type="parTrans" cxnId="{0B64EB62-AADF-4EDE-84A9-B69332C850BD}">
      <dgm:prSet/>
      <dgm:spPr/>
      <dgm:t>
        <a:bodyPr/>
        <a:lstStyle/>
        <a:p>
          <a:endParaRPr lang="es-ES" sz="2800">
            <a:latin typeface="+mn-lt"/>
          </a:endParaRPr>
        </a:p>
      </dgm:t>
    </dgm:pt>
    <dgm:pt modelId="{AC5107B2-CB29-457D-A89D-D5CED4A44112}" type="sibTrans" cxnId="{0B64EB62-AADF-4EDE-84A9-B69332C850BD}">
      <dgm:prSet/>
      <dgm:spPr/>
      <dgm:t>
        <a:bodyPr/>
        <a:lstStyle/>
        <a:p>
          <a:endParaRPr lang="es-ES" sz="2800">
            <a:latin typeface="+mn-lt"/>
          </a:endParaRPr>
        </a:p>
      </dgm:t>
    </dgm:pt>
    <dgm:pt modelId="{A580082A-DD24-4A61-B564-48F2FF025707}">
      <dgm:prSet custT="1"/>
      <dgm:spPr/>
      <dgm:t>
        <a:bodyPr/>
        <a:lstStyle/>
        <a:p>
          <a:pPr marL="114300" lvl="1" indent="0" algn="l" defTabSz="533400">
            <a:lnSpc>
              <a:spcPct val="90000"/>
            </a:lnSpc>
            <a:spcBef>
              <a:spcPct val="0"/>
            </a:spcBef>
            <a:spcAft>
              <a:spcPct val="15000"/>
            </a:spcAft>
          </a:pPr>
          <a:r>
            <a:rPr lang="es-ES" sz="1600" kern="1200" dirty="0">
              <a:latin typeface="+mn-lt"/>
            </a:rPr>
            <a:t>Eliminación de fraude</a:t>
          </a:r>
        </a:p>
      </dgm:t>
    </dgm:pt>
    <dgm:pt modelId="{B84E9998-C236-4EEE-ACBF-DFF1DE1EC552}" type="parTrans" cxnId="{AD84BF86-2C91-4D13-91C0-F5A9DEAE07F3}">
      <dgm:prSet/>
      <dgm:spPr/>
      <dgm:t>
        <a:bodyPr/>
        <a:lstStyle/>
        <a:p>
          <a:endParaRPr lang="es-ES" sz="2800">
            <a:latin typeface="+mn-lt"/>
          </a:endParaRPr>
        </a:p>
      </dgm:t>
    </dgm:pt>
    <dgm:pt modelId="{2355DB0B-DD0A-4F51-B7DE-49001C8640D4}" type="sibTrans" cxnId="{AD84BF86-2C91-4D13-91C0-F5A9DEAE07F3}">
      <dgm:prSet/>
      <dgm:spPr/>
      <dgm:t>
        <a:bodyPr/>
        <a:lstStyle/>
        <a:p>
          <a:endParaRPr lang="es-ES" sz="2800">
            <a:latin typeface="+mn-lt"/>
          </a:endParaRPr>
        </a:p>
      </dgm:t>
    </dgm:pt>
    <dgm:pt modelId="{1DC7161A-AFF3-4DA4-8BD9-78C101748741}">
      <dgm:prSet custT="1"/>
      <dgm:spPr/>
      <dgm: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Servicio de Registro: </a:t>
          </a:r>
        </a:p>
      </dgm:t>
    </dgm:pt>
    <dgm:pt modelId="{ED0CE89F-F4CA-424A-95E6-F729901DDFCA}" type="parTrans" cxnId="{AD1FB82C-0105-40B4-85FD-7FD8EC57A6C0}">
      <dgm:prSet/>
      <dgm:spPr/>
      <dgm:t>
        <a:bodyPr/>
        <a:lstStyle/>
        <a:p>
          <a:endParaRPr lang="es-ES" sz="2800">
            <a:latin typeface="+mn-lt"/>
          </a:endParaRPr>
        </a:p>
      </dgm:t>
    </dgm:pt>
    <dgm:pt modelId="{9A2B37F6-A68E-46D5-838E-D9825AB9101A}" type="sibTrans" cxnId="{AD1FB82C-0105-40B4-85FD-7FD8EC57A6C0}">
      <dgm:prSet/>
      <dgm:spPr/>
      <dgm:t>
        <a:bodyPr/>
        <a:lstStyle/>
        <a:p>
          <a:endParaRPr lang="es-ES" sz="2800">
            <a:latin typeface="+mn-lt"/>
          </a:endParaRPr>
        </a:p>
      </dgm:t>
    </dgm:pt>
    <dgm:pt modelId="{5A7387D7-741A-4606-AFD5-A763CAE84BF6}">
      <dgm:prSet custT="1"/>
      <dgm:spPr/>
      <dgm:t>
        <a:bodyPr/>
        <a:lstStyle/>
        <a:p>
          <a:pPr marL="114300" lvl="1" indent="0" algn="l" defTabSz="533400">
            <a:lnSpc>
              <a:spcPct val="90000"/>
            </a:lnSpc>
            <a:spcBef>
              <a:spcPct val="0"/>
            </a:spcBef>
            <a:spcAft>
              <a:spcPct val="15000"/>
            </a:spcAft>
          </a:pPr>
          <a:r>
            <a:rPr lang="es-ES" sz="1600" kern="1200" dirty="0">
              <a:latin typeface="+mn-lt"/>
            </a:rPr>
            <a:t>Dando fe de una operación (Notario electrónico).</a:t>
          </a:r>
        </a:p>
      </dgm:t>
    </dgm:pt>
    <dgm:pt modelId="{FE5BF5CC-DB7D-4773-A455-FCAC48B01E03}" type="parTrans" cxnId="{29C21256-0149-4D15-BE58-0662BE9AEEE7}">
      <dgm:prSet/>
      <dgm:spPr/>
      <dgm:t>
        <a:bodyPr/>
        <a:lstStyle/>
        <a:p>
          <a:endParaRPr lang="es-ES" sz="2800">
            <a:latin typeface="+mn-lt"/>
          </a:endParaRPr>
        </a:p>
      </dgm:t>
    </dgm:pt>
    <dgm:pt modelId="{85868BA1-8CD3-4165-B182-AA3F5CA6DBD3}" type="sibTrans" cxnId="{29C21256-0149-4D15-BE58-0662BE9AEEE7}">
      <dgm:prSet/>
      <dgm:spPr/>
      <dgm:t>
        <a:bodyPr/>
        <a:lstStyle/>
        <a:p>
          <a:endParaRPr lang="es-ES" sz="2800">
            <a:latin typeface="+mn-lt"/>
          </a:endParaRPr>
        </a:p>
      </dgm:t>
    </dgm:pt>
    <dgm:pt modelId="{34B7B4EB-4414-4B76-BACF-AB48ADB93079}">
      <dgm:prSet custT="1"/>
      <dgm:spPr/>
      <dgm: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Metaverso: </a:t>
          </a:r>
        </a:p>
      </dgm:t>
    </dgm:pt>
    <dgm:pt modelId="{0AB7C07F-1078-4B50-B226-A5CD625DA5F5}" type="parTrans" cxnId="{EC73A5CA-148B-47D8-AEEA-11E1A6C6A01E}">
      <dgm:prSet/>
      <dgm:spPr/>
      <dgm:t>
        <a:bodyPr/>
        <a:lstStyle/>
        <a:p>
          <a:endParaRPr lang="es-ES" sz="2800">
            <a:latin typeface="+mn-lt"/>
          </a:endParaRPr>
        </a:p>
      </dgm:t>
    </dgm:pt>
    <dgm:pt modelId="{7EB06F5E-66DC-4130-9127-244340FF7A20}" type="sibTrans" cxnId="{EC73A5CA-148B-47D8-AEEA-11E1A6C6A01E}">
      <dgm:prSet/>
      <dgm:spPr/>
      <dgm:t>
        <a:bodyPr/>
        <a:lstStyle/>
        <a:p>
          <a:endParaRPr lang="es-ES" sz="2800">
            <a:latin typeface="+mn-lt"/>
          </a:endParaRPr>
        </a:p>
      </dgm:t>
    </dgm:pt>
    <dgm:pt modelId="{CB635C53-624F-4816-94B9-B1FB567B1283}">
      <dgm:prSet custT="1"/>
      <dgm:spPr/>
      <dgm:t>
        <a:bodyPr/>
        <a:lstStyle/>
        <a:p>
          <a:pPr marL="114300" lvl="1" indent="0" algn="l" defTabSz="533400">
            <a:lnSpc>
              <a:spcPct val="90000"/>
            </a:lnSpc>
            <a:spcBef>
              <a:spcPct val="0"/>
            </a:spcBef>
            <a:spcAft>
              <a:spcPct val="15000"/>
            </a:spcAft>
          </a:pPr>
          <a:r>
            <a:rPr lang="es-ES" sz="1600" kern="1200" dirty="0">
              <a:latin typeface="+mn-lt"/>
            </a:rPr>
            <a:t>Cryptokitties y dar fe de las transacciones.</a:t>
          </a:r>
        </a:p>
      </dgm:t>
    </dgm:pt>
    <dgm:pt modelId="{3B41132D-6BD6-4540-8891-D735BB31452A}" type="parTrans" cxnId="{E40A99FD-AFBF-4005-8947-5C2EDB6B8518}">
      <dgm:prSet/>
      <dgm:spPr/>
      <dgm:t>
        <a:bodyPr/>
        <a:lstStyle/>
        <a:p>
          <a:endParaRPr lang="es-ES" sz="2800">
            <a:latin typeface="+mn-lt"/>
          </a:endParaRPr>
        </a:p>
      </dgm:t>
    </dgm:pt>
    <dgm:pt modelId="{D4811793-2570-4A11-A201-88F84156DC06}" type="sibTrans" cxnId="{E40A99FD-AFBF-4005-8947-5C2EDB6B8518}">
      <dgm:prSet/>
      <dgm:spPr/>
      <dgm:t>
        <a:bodyPr/>
        <a:lstStyle/>
        <a:p>
          <a:endParaRPr lang="es-ES" sz="2800">
            <a:latin typeface="+mn-lt"/>
          </a:endParaRPr>
        </a:p>
      </dgm:t>
    </dgm:pt>
    <dgm:pt modelId="{F9076396-E2DB-4FB1-88C7-50E3D4B1CB87}">
      <dgm:prSet custT="1"/>
      <dgm:spPr/>
      <dgm:t>
        <a:bodyPr/>
        <a:lstStyle/>
        <a:p>
          <a:pPr marL="114300" lvl="1" indent="0" algn="l" defTabSz="533400">
            <a:lnSpc>
              <a:spcPct val="90000"/>
            </a:lnSpc>
            <a:spcBef>
              <a:spcPct val="0"/>
            </a:spcBef>
            <a:spcAft>
              <a:spcPct val="15000"/>
            </a:spcAft>
          </a:pPr>
          <a:r>
            <a:rPr lang="es-ES" sz="1600" kern="1200" dirty="0">
              <a:latin typeface="+mn-lt"/>
            </a:rPr>
            <a:t>Binance se integra en metaverso con NFT y Blockchain</a:t>
          </a:r>
        </a:p>
      </dgm:t>
    </dgm:pt>
    <dgm:pt modelId="{8BCB5F77-1A78-4560-80A2-D75E45BE35EE}" type="parTrans" cxnId="{C300A94B-361A-4E0E-B3F5-DDFF78E11AB3}">
      <dgm:prSet/>
      <dgm:spPr/>
      <dgm:t>
        <a:bodyPr/>
        <a:lstStyle/>
        <a:p>
          <a:endParaRPr lang="es-ES" sz="2800">
            <a:latin typeface="+mn-lt"/>
          </a:endParaRPr>
        </a:p>
      </dgm:t>
    </dgm:pt>
    <dgm:pt modelId="{D930C699-C26D-40E2-A13A-39B7DD8DD01B}" type="sibTrans" cxnId="{C300A94B-361A-4E0E-B3F5-DDFF78E11AB3}">
      <dgm:prSet/>
      <dgm:spPr/>
      <dgm:t>
        <a:bodyPr/>
        <a:lstStyle/>
        <a:p>
          <a:endParaRPr lang="es-ES" sz="2800">
            <a:latin typeface="+mn-lt"/>
          </a:endParaRPr>
        </a:p>
      </dgm:t>
    </dgm:pt>
    <dgm:pt modelId="{9221D715-10BB-483B-AC86-CA5A83F5614A}">
      <dgm:prSet custT="1"/>
      <dgm:spPr/>
      <dgm: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Juegos: </a:t>
          </a:r>
        </a:p>
      </dgm:t>
    </dgm:pt>
    <dgm:pt modelId="{B0FE9896-2922-433B-92C7-A2E8DD0A8B18}" type="parTrans" cxnId="{142A666D-C05B-4D44-9488-2CCF9402D724}">
      <dgm:prSet/>
      <dgm:spPr/>
      <dgm:t>
        <a:bodyPr/>
        <a:lstStyle/>
        <a:p>
          <a:endParaRPr lang="es-ES" sz="2800">
            <a:latin typeface="+mn-lt"/>
          </a:endParaRPr>
        </a:p>
      </dgm:t>
    </dgm:pt>
    <dgm:pt modelId="{7C7CE47F-D8DB-4BF3-87C5-47E047CD9642}" type="sibTrans" cxnId="{142A666D-C05B-4D44-9488-2CCF9402D724}">
      <dgm:prSet/>
      <dgm:spPr/>
      <dgm:t>
        <a:bodyPr/>
        <a:lstStyle/>
        <a:p>
          <a:endParaRPr lang="es-ES" sz="2800">
            <a:latin typeface="+mn-lt"/>
          </a:endParaRPr>
        </a:p>
      </dgm:t>
    </dgm:pt>
    <dgm:pt modelId="{0CA6F07B-BB46-42E8-A1E9-F055193A8E87}">
      <dgm:prSet custT="1"/>
      <dgm:spPr/>
      <dgm:t>
        <a:bodyPr/>
        <a:lstStyle/>
        <a:p>
          <a:pPr marL="114300" lvl="1" indent="0" algn="l" defTabSz="533400">
            <a:lnSpc>
              <a:spcPct val="90000"/>
            </a:lnSpc>
            <a:spcBef>
              <a:spcPct val="0"/>
            </a:spcBef>
            <a:spcAft>
              <a:spcPct val="15000"/>
            </a:spcAft>
          </a:pPr>
          <a:r>
            <a:rPr lang="es-ES" sz="1600" kern="1200" dirty="0">
              <a:latin typeface="+mn-lt"/>
            </a:rPr>
            <a:t>Comprar equipamiento y puntos.</a:t>
          </a:r>
        </a:p>
      </dgm:t>
    </dgm:pt>
    <dgm:pt modelId="{9ED722BF-EA13-41CF-A8DE-3E38C97D468D}" type="parTrans" cxnId="{C8125569-66DE-4ED7-A6E5-12BD53B20507}">
      <dgm:prSet/>
      <dgm:spPr/>
      <dgm:t>
        <a:bodyPr/>
        <a:lstStyle/>
        <a:p>
          <a:endParaRPr lang="es-ES" sz="2800">
            <a:latin typeface="+mn-lt"/>
          </a:endParaRPr>
        </a:p>
      </dgm:t>
    </dgm:pt>
    <dgm:pt modelId="{D6959945-8830-4A8E-B6A1-6F79EF4B1245}" type="sibTrans" cxnId="{C8125569-66DE-4ED7-A6E5-12BD53B20507}">
      <dgm:prSet/>
      <dgm:spPr/>
      <dgm:t>
        <a:bodyPr/>
        <a:lstStyle/>
        <a:p>
          <a:endParaRPr lang="es-ES" sz="2800">
            <a:latin typeface="+mn-lt"/>
          </a:endParaRPr>
        </a:p>
      </dgm:t>
    </dgm:pt>
    <dgm:pt modelId="{46E77AE5-51D9-40C5-93D2-3A5A622D0129}">
      <dgm:prSet custT="1"/>
      <dgm:spPr/>
      <dgm: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Pymes:</a:t>
          </a:r>
        </a:p>
      </dgm:t>
    </dgm:pt>
    <dgm:pt modelId="{471B4164-0B23-4184-9F39-99A4AA7F785E}" type="parTrans" cxnId="{5EA23CB5-178B-452B-9495-6E2EBEAA5A9F}">
      <dgm:prSet/>
      <dgm:spPr/>
      <dgm:t>
        <a:bodyPr/>
        <a:lstStyle/>
        <a:p>
          <a:endParaRPr lang="es-ES" sz="2800">
            <a:latin typeface="+mn-lt"/>
          </a:endParaRPr>
        </a:p>
      </dgm:t>
    </dgm:pt>
    <dgm:pt modelId="{515BD4D1-5306-48B7-AE4E-1D46EFCCC51F}" type="sibTrans" cxnId="{5EA23CB5-178B-452B-9495-6E2EBEAA5A9F}">
      <dgm:prSet/>
      <dgm:spPr/>
      <dgm:t>
        <a:bodyPr/>
        <a:lstStyle/>
        <a:p>
          <a:endParaRPr lang="es-ES" sz="2800">
            <a:latin typeface="+mn-lt"/>
          </a:endParaRPr>
        </a:p>
      </dgm:t>
    </dgm:pt>
    <dgm:pt modelId="{F44FA41B-7D11-4C7F-AF39-06EC5C8EA987}">
      <dgm:prSet custT="1"/>
      <dgm:spPr/>
      <dgm:t>
        <a:bodyPr/>
        <a:lstStyle/>
        <a:p>
          <a:pPr marL="114300" lvl="1" indent="0" algn="l" defTabSz="533400">
            <a:lnSpc>
              <a:spcPct val="90000"/>
            </a:lnSpc>
            <a:spcBef>
              <a:spcPct val="0"/>
            </a:spcBef>
            <a:spcAft>
              <a:spcPct val="15000"/>
            </a:spcAft>
          </a:pPr>
          <a:r>
            <a:rPr lang="es-ES" sz="1600" kern="1200" dirty="0">
              <a:latin typeface="+mn-lt"/>
            </a:rPr>
            <a:t>Casa de Alba, ha tokenizado las memorias de Colón a los Reyes Católicos.</a:t>
          </a:r>
        </a:p>
      </dgm:t>
    </dgm:pt>
    <dgm:pt modelId="{73C018BB-1234-4716-A83F-4EB87CEDD7BA}" type="parTrans" cxnId="{77636343-3DDB-4513-9860-B3FD2E8C6A81}">
      <dgm:prSet/>
      <dgm:spPr/>
      <dgm:t>
        <a:bodyPr/>
        <a:lstStyle/>
        <a:p>
          <a:endParaRPr lang="es-ES" sz="2800">
            <a:latin typeface="+mn-lt"/>
          </a:endParaRPr>
        </a:p>
      </dgm:t>
    </dgm:pt>
    <dgm:pt modelId="{C4DF011F-0CAB-4051-A430-A748A357C684}" type="sibTrans" cxnId="{77636343-3DDB-4513-9860-B3FD2E8C6A81}">
      <dgm:prSet/>
      <dgm:spPr/>
      <dgm:t>
        <a:bodyPr/>
        <a:lstStyle/>
        <a:p>
          <a:endParaRPr lang="es-ES" sz="2800">
            <a:latin typeface="+mn-lt"/>
          </a:endParaRPr>
        </a:p>
      </dgm:t>
    </dgm:pt>
    <dgm:pt modelId="{2945C7B2-4BE9-4A51-B5DC-7E44915609C2}">
      <dgm:prSet custT="1"/>
      <dgm:spPr/>
      <dgm:t>
        <a:bodyPr/>
        <a:lstStyle/>
        <a:p>
          <a:pPr marL="114300" lvl="1" indent="0" algn="l" defTabSz="533400">
            <a:lnSpc>
              <a:spcPct val="90000"/>
            </a:lnSpc>
            <a:spcBef>
              <a:spcPct val="0"/>
            </a:spcBef>
            <a:spcAft>
              <a:spcPct val="15000"/>
            </a:spcAft>
          </a:pPr>
          <a:r>
            <a:rPr lang="es-ES" sz="1600" kern="1200" dirty="0">
              <a:latin typeface="+mn-lt"/>
            </a:rPr>
            <a:t>Algún club de golf sustituye las acciones por NFT.</a:t>
          </a:r>
        </a:p>
      </dgm:t>
    </dgm:pt>
    <dgm:pt modelId="{011AFEAF-C00C-4FFB-8154-DB315E3284B3}" type="parTrans" cxnId="{00411AB9-E92F-492B-8750-B7A9C2C56D48}">
      <dgm:prSet/>
      <dgm:spPr/>
      <dgm:t>
        <a:bodyPr/>
        <a:lstStyle/>
        <a:p>
          <a:endParaRPr lang="es-ES" sz="2800">
            <a:latin typeface="+mn-lt"/>
          </a:endParaRPr>
        </a:p>
      </dgm:t>
    </dgm:pt>
    <dgm:pt modelId="{108C9F12-98BA-4474-A17F-6FDAA3A8202D}" type="sibTrans" cxnId="{00411AB9-E92F-492B-8750-B7A9C2C56D48}">
      <dgm:prSet/>
      <dgm:spPr/>
      <dgm:t>
        <a:bodyPr/>
        <a:lstStyle/>
        <a:p>
          <a:endParaRPr lang="es-ES" sz="2800">
            <a:latin typeface="+mn-lt"/>
          </a:endParaRPr>
        </a:p>
      </dgm:t>
    </dgm:pt>
    <dgm:pt modelId="{CD2E3846-EA79-48C9-B0FF-12022FD2FDCA}">
      <dgm:prSet custT="1"/>
      <dgm:spPr/>
      <dgm:t>
        <a:bodyPr/>
        <a:lstStyle/>
        <a:p>
          <a:r>
            <a:rPr lang="es-ES" sz="1600" dirty="0">
              <a:latin typeface="+mn-lt"/>
            </a:rPr>
            <a:t>Pagos, financiación, activos digitales (derechos a emitir).</a:t>
          </a:r>
        </a:p>
      </dgm:t>
    </dgm:pt>
    <dgm:pt modelId="{B28DF41F-8889-48F5-817F-F1916D622296}" type="parTrans" cxnId="{B202C161-83F3-47D1-A568-F150F99789D2}">
      <dgm:prSet/>
      <dgm:spPr/>
      <dgm:t>
        <a:bodyPr/>
        <a:lstStyle/>
        <a:p>
          <a:endParaRPr lang="es-ES" sz="2800">
            <a:latin typeface="+mn-lt"/>
          </a:endParaRPr>
        </a:p>
      </dgm:t>
    </dgm:pt>
    <dgm:pt modelId="{B695CDCD-14EF-4D38-A009-A087318E90A9}" type="sibTrans" cxnId="{B202C161-83F3-47D1-A568-F150F99789D2}">
      <dgm:prSet/>
      <dgm:spPr/>
      <dgm:t>
        <a:bodyPr/>
        <a:lstStyle/>
        <a:p>
          <a:endParaRPr lang="es-ES" sz="2800">
            <a:latin typeface="+mn-lt"/>
          </a:endParaRPr>
        </a:p>
      </dgm:t>
    </dgm:pt>
    <dgm:pt modelId="{2A91E156-F905-4682-8E1B-28483ED0D530}" type="pres">
      <dgm:prSet presAssocID="{195E889C-FD7E-4317-8109-9603A84E230B}" presName="diagram" presStyleCnt="0">
        <dgm:presLayoutVars>
          <dgm:dir/>
          <dgm:resizeHandles val="exact"/>
        </dgm:presLayoutVars>
      </dgm:prSet>
      <dgm:spPr/>
    </dgm:pt>
    <dgm:pt modelId="{9E366DDD-63D9-40F0-9B9B-677455243401}" type="pres">
      <dgm:prSet presAssocID="{31E3752C-E35A-4919-9CD4-95F1F00BD533}" presName="node" presStyleLbl="node1" presStyleIdx="0" presStyleCnt="6">
        <dgm:presLayoutVars>
          <dgm:bulletEnabled val="1"/>
        </dgm:presLayoutVars>
      </dgm:prSet>
      <dgm:spPr/>
    </dgm:pt>
    <dgm:pt modelId="{23BA3D35-2D57-4FE9-A001-A58DCD5A5335}" type="pres">
      <dgm:prSet presAssocID="{E3E17149-B75C-40EA-B5FC-3340ED9BB23D}" presName="sibTrans" presStyleCnt="0"/>
      <dgm:spPr/>
    </dgm:pt>
    <dgm:pt modelId="{4EA53999-7030-4A5A-BB71-B9F14440A681}" type="pres">
      <dgm:prSet presAssocID="{6917E0C5-49DB-4D43-828B-2F274FF7BECA}" presName="node" presStyleLbl="node1" presStyleIdx="1" presStyleCnt="6">
        <dgm:presLayoutVars>
          <dgm:bulletEnabled val="1"/>
        </dgm:presLayoutVars>
      </dgm:prSet>
      <dgm:spPr/>
    </dgm:pt>
    <dgm:pt modelId="{1976EE47-D3AA-453B-B989-655B84920983}" type="pres">
      <dgm:prSet presAssocID="{AC5107B2-CB29-457D-A89D-D5CED4A44112}" presName="sibTrans" presStyleCnt="0"/>
      <dgm:spPr/>
    </dgm:pt>
    <dgm:pt modelId="{1BFD0E69-3359-4013-BE7E-E6F663E623B3}" type="pres">
      <dgm:prSet presAssocID="{1DC7161A-AFF3-4DA4-8BD9-78C101748741}" presName="node" presStyleLbl="node1" presStyleIdx="2" presStyleCnt="6">
        <dgm:presLayoutVars>
          <dgm:bulletEnabled val="1"/>
        </dgm:presLayoutVars>
      </dgm:prSet>
      <dgm:spPr/>
    </dgm:pt>
    <dgm:pt modelId="{E692D524-C80D-441C-B8D6-B588F8C57D58}" type="pres">
      <dgm:prSet presAssocID="{9A2B37F6-A68E-46D5-838E-D9825AB9101A}" presName="sibTrans" presStyleCnt="0"/>
      <dgm:spPr/>
    </dgm:pt>
    <dgm:pt modelId="{7E8EAD82-737A-4A21-A433-CFBD6AF4804B}" type="pres">
      <dgm:prSet presAssocID="{34B7B4EB-4414-4B76-BACF-AB48ADB93079}" presName="node" presStyleLbl="node1" presStyleIdx="3" presStyleCnt="6">
        <dgm:presLayoutVars>
          <dgm:bulletEnabled val="1"/>
        </dgm:presLayoutVars>
      </dgm:prSet>
      <dgm:spPr/>
    </dgm:pt>
    <dgm:pt modelId="{2935C7DD-3D85-4DE5-9241-CFDD6E3489B1}" type="pres">
      <dgm:prSet presAssocID="{7EB06F5E-66DC-4130-9127-244340FF7A20}" presName="sibTrans" presStyleCnt="0"/>
      <dgm:spPr/>
    </dgm:pt>
    <dgm:pt modelId="{0944FF49-28E4-4851-9273-360F4749C705}" type="pres">
      <dgm:prSet presAssocID="{9221D715-10BB-483B-AC86-CA5A83F5614A}" presName="node" presStyleLbl="node1" presStyleIdx="4" presStyleCnt="6">
        <dgm:presLayoutVars>
          <dgm:bulletEnabled val="1"/>
        </dgm:presLayoutVars>
      </dgm:prSet>
      <dgm:spPr/>
    </dgm:pt>
    <dgm:pt modelId="{356F2A46-928E-4CB5-A0E4-320FA9146150}" type="pres">
      <dgm:prSet presAssocID="{7C7CE47F-D8DB-4BF3-87C5-47E047CD9642}" presName="sibTrans" presStyleCnt="0"/>
      <dgm:spPr/>
    </dgm:pt>
    <dgm:pt modelId="{C12C3F86-44C4-4C96-8FCE-A05350E4E164}" type="pres">
      <dgm:prSet presAssocID="{46E77AE5-51D9-40C5-93D2-3A5A622D0129}" presName="node" presStyleLbl="node1" presStyleIdx="5" presStyleCnt="6">
        <dgm:presLayoutVars>
          <dgm:bulletEnabled val="1"/>
        </dgm:presLayoutVars>
      </dgm:prSet>
      <dgm:spPr/>
    </dgm:pt>
  </dgm:ptLst>
  <dgm:cxnLst>
    <dgm:cxn modelId="{2AAE6006-BF96-4E5C-98F8-2A510EAE01F9}" type="presOf" srcId="{9221D715-10BB-483B-AC86-CA5A83F5614A}" destId="{0944FF49-28E4-4851-9273-360F4749C705}" srcOrd="0" destOrd="0" presId="urn:microsoft.com/office/officeart/2005/8/layout/default"/>
    <dgm:cxn modelId="{7FBE4016-0D77-4D9C-849A-27F8B530AB6E}" type="presOf" srcId="{34B7B4EB-4414-4B76-BACF-AB48ADB93079}" destId="{7E8EAD82-737A-4A21-A433-CFBD6AF4804B}" srcOrd="0" destOrd="0" presId="urn:microsoft.com/office/officeart/2005/8/layout/default"/>
    <dgm:cxn modelId="{A16C791D-73CD-4D72-838B-DF9B09110FE7}" type="presOf" srcId="{2945C7B2-4BE9-4A51-B5DC-7E44915609C2}" destId="{C12C3F86-44C4-4C96-8FCE-A05350E4E164}" srcOrd="0" destOrd="2" presId="urn:microsoft.com/office/officeart/2005/8/layout/default"/>
    <dgm:cxn modelId="{25F78F21-CA68-4C7B-9CBD-41CB497DF11C}" type="presOf" srcId="{F44FA41B-7D11-4C7F-AF39-06EC5C8EA987}" destId="{C12C3F86-44C4-4C96-8FCE-A05350E4E164}" srcOrd="0" destOrd="1" presId="urn:microsoft.com/office/officeart/2005/8/layout/default"/>
    <dgm:cxn modelId="{3194AB22-23A4-4194-942E-48186696CC30}" type="presOf" srcId="{46E77AE5-51D9-40C5-93D2-3A5A622D0129}" destId="{C12C3F86-44C4-4C96-8FCE-A05350E4E164}" srcOrd="0" destOrd="0" presId="urn:microsoft.com/office/officeart/2005/8/layout/default"/>
    <dgm:cxn modelId="{63E71F23-4828-4137-B83A-70F6DDD019F1}" srcId="{31E3752C-E35A-4919-9CD4-95F1F00BD533}" destId="{18E7B10F-58FA-41A9-8977-2E793AEA4B2B}" srcOrd="0" destOrd="0" parTransId="{28180973-C0C9-4893-AD94-CAF80AD60ACE}" sibTransId="{143C873F-8930-466D-BC7B-22045AE26D85}"/>
    <dgm:cxn modelId="{AD1FB82C-0105-40B4-85FD-7FD8EC57A6C0}" srcId="{195E889C-FD7E-4317-8109-9603A84E230B}" destId="{1DC7161A-AFF3-4DA4-8BD9-78C101748741}" srcOrd="2" destOrd="0" parTransId="{ED0CE89F-F4CA-424A-95E6-F729901DDFCA}" sibTransId="{9A2B37F6-A68E-46D5-838E-D9825AB9101A}"/>
    <dgm:cxn modelId="{435A942F-64E4-4F5F-AC90-41ECD500501A}" type="presOf" srcId="{195E889C-FD7E-4317-8109-9603A84E230B}" destId="{2A91E156-F905-4682-8E1B-28483ED0D530}" srcOrd="0" destOrd="0" presId="urn:microsoft.com/office/officeart/2005/8/layout/default"/>
    <dgm:cxn modelId="{B202C161-83F3-47D1-A568-F150F99789D2}" srcId="{31E3752C-E35A-4919-9CD4-95F1F00BD533}" destId="{CD2E3846-EA79-48C9-B0FF-12022FD2FDCA}" srcOrd="1" destOrd="0" parTransId="{B28DF41F-8889-48F5-817F-F1916D622296}" sibTransId="{B695CDCD-14EF-4D38-A009-A087318E90A9}"/>
    <dgm:cxn modelId="{0B64EB62-AADF-4EDE-84A9-B69332C850BD}" srcId="{195E889C-FD7E-4317-8109-9603A84E230B}" destId="{6917E0C5-49DB-4D43-828B-2F274FF7BECA}" srcOrd="1" destOrd="0" parTransId="{8CF5D212-9C2E-4BE8-9DF9-42B384D3F93A}" sibTransId="{AC5107B2-CB29-457D-A89D-D5CED4A44112}"/>
    <dgm:cxn modelId="{3BE35D63-D3D1-4ACE-B9F8-530D1318693E}" type="presOf" srcId="{18E7B10F-58FA-41A9-8977-2E793AEA4B2B}" destId="{9E366DDD-63D9-40F0-9B9B-677455243401}" srcOrd="0" destOrd="1" presId="urn:microsoft.com/office/officeart/2005/8/layout/default"/>
    <dgm:cxn modelId="{77636343-3DDB-4513-9860-B3FD2E8C6A81}" srcId="{46E77AE5-51D9-40C5-93D2-3A5A622D0129}" destId="{F44FA41B-7D11-4C7F-AF39-06EC5C8EA987}" srcOrd="0" destOrd="0" parTransId="{73C018BB-1234-4716-A83F-4EB87CEDD7BA}" sibTransId="{C4DF011F-0CAB-4051-A430-A748A357C684}"/>
    <dgm:cxn modelId="{C8125569-66DE-4ED7-A6E5-12BD53B20507}" srcId="{9221D715-10BB-483B-AC86-CA5A83F5614A}" destId="{0CA6F07B-BB46-42E8-A1E9-F055193A8E87}" srcOrd="0" destOrd="0" parTransId="{9ED722BF-EA13-41CF-A8DE-3E38C97D468D}" sibTransId="{D6959945-8830-4A8E-B6A1-6F79EF4B1245}"/>
    <dgm:cxn modelId="{C300A94B-361A-4E0E-B3F5-DDFF78E11AB3}" srcId="{34B7B4EB-4414-4B76-BACF-AB48ADB93079}" destId="{F9076396-E2DB-4FB1-88C7-50E3D4B1CB87}" srcOrd="1" destOrd="0" parTransId="{8BCB5F77-1A78-4560-80A2-D75E45BE35EE}" sibTransId="{D930C699-C26D-40E2-A13A-39B7DD8DD01B}"/>
    <dgm:cxn modelId="{142A666D-C05B-4D44-9488-2CCF9402D724}" srcId="{195E889C-FD7E-4317-8109-9603A84E230B}" destId="{9221D715-10BB-483B-AC86-CA5A83F5614A}" srcOrd="4" destOrd="0" parTransId="{B0FE9896-2922-433B-92C7-A2E8DD0A8B18}" sibTransId="{7C7CE47F-D8DB-4BF3-87C5-47E047CD9642}"/>
    <dgm:cxn modelId="{A697BB6E-8A22-4C55-917E-1CF54D8BF3E8}" type="presOf" srcId="{F9076396-E2DB-4FB1-88C7-50E3D4B1CB87}" destId="{7E8EAD82-737A-4A21-A433-CFBD6AF4804B}" srcOrd="0" destOrd="2" presId="urn:microsoft.com/office/officeart/2005/8/layout/default"/>
    <dgm:cxn modelId="{29C21256-0149-4D15-BE58-0662BE9AEEE7}" srcId="{1DC7161A-AFF3-4DA4-8BD9-78C101748741}" destId="{5A7387D7-741A-4606-AFD5-A763CAE84BF6}" srcOrd="0" destOrd="0" parTransId="{FE5BF5CC-DB7D-4773-A455-FCAC48B01E03}" sibTransId="{85868BA1-8CD3-4165-B182-AA3F5CA6DBD3}"/>
    <dgm:cxn modelId="{7DCB8D5A-687B-4B11-B4FF-8E7A4E15BB58}" srcId="{195E889C-FD7E-4317-8109-9603A84E230B}" destId="{31E3752C-E35A-4919-9CD4-95F1F00BD533}" srcOrd="0" destOrd="0" parTransId="{19E8709B-B646-479D-8C3D-2E98C4AA2EEE}" sibTransId="{E3E17149-B75C-40EA-B5FC-3340ED9BB23D}"/>
    <dgm:cxn modelId="{DFA1B47B-3C87-4B92-9BBE-47EDD4CBB9A7}" type="presOf" srcId="{6917E0C5-49DB-4D43-828B-2F274FF7BECA}" destId="{4EA53999-7030-4A5A-BB71-B9F14440A681}" srcOrd="0" destOrd="0" presId="urn:microsoft.com/office/officeart/2005/8/layout/default"/>
    <dgm:cxn modelId="{AD84BF86-2C91-4D13-91C0-F5A9DEAE07F3}" srcId="{6917E0C5-49DB-4D43-828B-2F274FF7BECA}" destId="{A580082A-DD24-4A61-B564-48F2FF025707}" srcOrd="0" destOrd="0" parTransId="{B84E9998-C236-4EEE-ACBF-DFF1DE1EC552}" sibTransId="{2355DB0B-DD0A-4F51-B7DE-49001C8640D4}"/>
    <dgm:cxn modelId="{A2D6008A-28B6-4E1B-84AF-417F593CDBB5}" type="presOf" srcId="{1DC7161A-AFF3-4DA4-8BD9-78C101748741}" destId="{1BFD0E69-3359-4013-BE7E-E6F663E623B3}" srcOrd="0" destOrd="0" presId="urn:microsoft.com/office/officeart/2005/8/layout/default"/>
    <dgm:cxn modelId="{4E16F2AE-EC07-4AE2-9ED2-968ECCF08A89}" type="presOf" srcId="{0CA6F07B-BB46-42E8-A1E9-F055193A8E87}" destId="{0944FF49-28E4-4851-9273-360F4749C705}" srcOrd="0" destOrd="1" presId="urn:microsoft.com/office/officeart/2005/8/layout/default"/>
    <dgm:cxn modelId="{8467B0B4-7B7A-4295-8AFD-BA57A0474249}" type="presOf" srcId="{31E3752C-E35A-4919-9CD4-95F1F00BD533}" destId="{9E366DDD-63D9-40F0-9B9B-677455243401}" srcOrd="0" destOrd="0" presId="urn:microsoft.com/office/officeart/2005/8/layout/default"/>
    <dgm:cxn modelId="{5EA23CB5-178B-452B-9495-6E2EBEAA5A9F}" srcId="{195E889C-FD7E-4317-8109-9603A84E230B}" destId="{46E77AE5-51D9-40C5-93D2-3A5A622D0129}" srcOrd="5" destOrd="0" parTransId="{471B4164-0B23-4184-9F39-99A4AA7F785E}" sibTransId="{515BD4D1-5306-48B7-AE4E-1D46EFCCC51F}"/>
    <dgm:cxn modelId="{33B024B6-A88A-488D-A0E8-71DD9962CFDE}" type="presOf" srcId="{5A7387D7-741A-4606-AFD5-A763CAE84BF6}" destId="{1BFD0E69-3359-4013-BE7E-E6F663E623B3}" srcOrd="0" destOrd="1" presId="urn:microsoft.com/office/officeart/2005/8/layout/default"/>
    <dgm:cxn modelId="{00411AB9-E92F-492B-8750-B7A9C2C56D48}" srcId="{46E77AE5-51D9-40C5-93D2-3A5A622D0129}" destId="{2945C7B2-4BE9-4A51-B5DC-7E44915609C2}" srcOrd="1" destOrd="0" parTransId="{011AFEAF-C00C-4FFB-8154-DB315E3284B3}" sibTransId="{108C9F12-98BA-4474-A17F-6FDAA3A8202D}"/>
    <dgm:cxn modelId="{EC73A5CA-148B-47D8-AEEA-11E1A6C6A01E}" srcId="{195E889C-FD7E-4317-8109-9603A84E230B}" destId="{34B7B4EB-4414-4B76-BACF-AB48ADB93079}" srcOrd="3" destOrd="0" parTransId="{0AB7C07F-1078-4B50-B226-A5CD625DA5F5}" sibTransId="{7EB06F5E-66DC-4130-9127-244340FF7A20}"/>
    <dgm:cxn modelId="{38D40BD4-63AC-4040-BE8C-D8A91115E3DE}" type="presOf" srcId="{CD2E3846-EA79-48C9-B0FF-12022FD2FDCA}" destId="{9E366DDD-63D9-40F0-9B9B-677455243401}" srcOrd="0" destOrd="2" presId="urn:microsoft.com/office/officeart/2005/8/layout/default"/>
    <dgm:cxn modelId="{9AD042E0-C932-4716-A9AE-4213D765A3C9}" type="presOf" srcId="{A580082A-DD24-4A61-B564-48F2FF025707}" destId="{4EA53999-7030-4A5A-BB71-B9F14440A681}" srcOrd="0" destOrd="1" presId="urn:microsoft.com/office/officeart/2005/8/layout/default"/>
    <dgm:cxn modelId="{03079CE7-9A58-435C-9B03-86A4083F191B}" type="presOf" srcId="{CB635C53-624F-4816-94B9-B1FB567B1283}" destId="{7E8EAD82-737A-4A21-A433-CFBD6AF4804B}" srcOrd="0" destOrd="1" presId="urn:microsoft.com/office/officeart/2005/8/layout/default"/>
    <dgm:cxn modelId="{E40A99FD-AFBF-4005-8947-5C2EDB6B8518}" srcId="{34B7B4EB-4414-4B76-BACF-AB48ADB93079}" destId="{CB635C53-624F-4816-94B9-B1FB567B1283}" srcOrd="0" destOrd="0" parTransId="{3B41132D-6BD6-4540-8891-D735BB31452A}" sibTransId="{D4811793-2570-4A11-A201-88F84156DC06}"/>
    <dgm:cxn modelId="{FF717C88-F796-460F-9CCC-88442CEBCD18}" type="presParOf" srcId="{2A91E156-F905-4682-8E1B-28483ED0D530}" destId="{9E366DDD-63D9-40F0-9B9B-677455243401}" srcOrd="0" destOrd="0" presId="urn:microsoft.com/office/officeart/2005/8/layout/default"/>
    <dgm:cxn modelId="{E94185B3-121C-4C02-8CC8-A6C97EA752EB}" type="presParOf" srcId="{2A91E156-F905-4682-8E1B-28483ED0D530}" destId="{23BA3D35-2D57-4FE9-A001-A58DCD5A5335}" srcOrd="1" destOrd="0" presId="urn:microsoft.com/office/officeart/2005/8/layout/default"/>
    <dgm:cxn modelId="{BDD92AF6-389D-4722-8CAD-9A53CD9BCD35}" type="presParOf" srcId="{2A91E156-F905-4682-8E1B-28483ED0D530}" destId="{4EA53999-7030-4A5A-BB71-B9F14440A681}" srcOrd="2" destOrd="0" presId="urn:microsoft.com/office/officeart/2005/8/layout/default"/>
    <dgm:cxn modelId="{B4196FE8-1402-47AA-8D6D-755AA04C5708}" type="presParOf" srcId="{2A91E156-F905-4682-8E1B-28483ED0D530}" destId="{1976EE47-D3AA-453B-B989-655B84920983}" srcOrd="3" destOrd="0" presId="urn:microsoft.com/office/officeart/2005/8/layout/default"/>
    <dgm:cxn modelId="{18B5994A-9D4C-421E-A8B1-7C53881C7DAC}" type="presParOf" srcId="{2A91E156-F905-4682-8E1B-28483ED0D530}" destId="{1BFD0E69-3359-4013-BE7E-E6F663E623B3}" srcOrd="4" destOrd="0" presId="urn:microsoft.com/office/officeart/2005/8/layout/default"/>
    <dgm:cxn modelId="{58A31B75-77AE-4612-9FC6-D7FA02B1CC78}" type="presParOf" srcId="{2A91E156-F905-4682-8E1B-28483ED0D530}" destId="{E692D524-C80D-441C-B8D6-B588F8C57D58}" srcOrd="5" destOrd="0" presId="urn:microsoft.com/office/officeart/2005/8/layout/default"/>
    <dgm:cxn modelId="{5DB09F9E-F495-4A9C-85BD-39BB6C79D9C4}" type="presParOf" srcId="{2A91E156-F905-4682-8E1B-28483ED0D530}" destId="{7E8EAD82-737A-4A21-A433-CFBD6AF4804B}" srcOrd="6" destOrd="0" presId="urn:microsoft.com/office/officeart/2005/8/layout/default"/>
    <dgm:cxn modelId="{BB31013A-09DF-4516-8272-1DAAD9A12984}" type="presParOf" srcId="{2A91E156-F905-4682-8E1B-28483ED0D530}" destId="{2935C7DD-3D85-4DE5-9241-CFDD6E3489B1}" srcOrd="7" destOrd="0" presId="urn:microsoft.com/office/officeart/2005/8/layout/default"/>
    <dgm:cxn modelId="{FFF61789-D13F-4B7C-80C0-039FD417818B}" type="presParOf" srcId="{2A91E156-F905-4682-8E1B-28483ED0D530}" destId="{0944FF49-28E4-4851-9273-360F4749C705}" srcOrd="8" destOrd="0" presId="urn:microsoft.com/office/officeart/2005/8/layout/default"/>
    <dgm:cxn modelId="{D9A23B8E-D68E-442F-9FFE-E6E87CEF1101}" type="presParOf" srcId="{2A91E156-F905-4682-8E1B-28483ED0D530}" destId="{356F2A46-928E-4CB5-A0E4-320FA9146150}" srcOrd="9" destOrd="0" presId="urn:microsoft.com/office/officeart/2005/8/layout/default"/>
    <dgm:cxn modelId="{B26A5186-83BA-46D6-B0EA-92D829122E6B}" type="presParOf" srcId="{2A91E156-F905-4682-8E1B-28483ED0D530}" destId="{C12C3F86-44C4-4C96-8FCE-A05350E4E164}"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8F266BC5-1D7A-4ABF-8ABD-423F0139FF7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ES"/>
        </a:p>
      </dgm:t>
    </dgm:pt>
    <dgm:pt modelId="{143ABEC7-7B0B-4B7A-9996-0AE964FC5D98}">
      <dgm:prSet phldrT="[Texto]" custT="1"/>
      <dgm:spPr/>
      <dgm:t>
        <a:bodyPr/>
        <a:lstStyle/>
        <a:p>
          <a:r>
            <a:rPr lang="es-ES" sz="1600" dirty="0"/>
            <a:t>DEOLEO</a:t>
          </a:r>
        </a:p>
      </dgm:t>
    </dgm:pt>
    <dgm:pt modelId="{DCE44994-5D4C-423B-9B73-C5296EAF9393}" type="parTrans" cxnId="{7B48BE14-B813-481F-B571-B7B7B7169C64}">
      <dgm:prSet/>
      <dgm:spPr/>
      <dgm:t>
        <a:bodyPr/>
        <a:lstStyle/>
        <a:p>
          <a:endParaRPr lang="es-ES" sz="2000"/>
        </a:p>
      </dgm:t>
    </dgm:pt>
    <dgm:pt modelId="{8790A2FF-0FD3-4E91-B9ED-73459137092B}" type="sibTrans" cxnId="{7B48BE14-B813-481F-B571-B7B7B7169C64}">
      <dgm:prSet/>
      <dgm:spPr/>
      <dgm:t>
        <a:bodyPr/>
        <a:lstStyle/>
        <a:p>
          <a:endParaRPr lang="es-ES" sz="2000"/>
        </a:p>
      </dgm:t>
    </dgm:pt>
    <dgm:pt modelId="{9D769B64-3DAD-45C5-BC6B-C428A81D8731}">
      <dgm:prSet custT="1"/>
      <dgm:spPr/>
      <dgm:t>
        <a:bodyPr/>
        <a:lstStyle/>
        <a:p>
          <a:r>
            <a:rPr lang="es-ES" sz="1600" dirty="0"/>
            <a:t>Vende al por mayor y al minorista Aceite de Oliva</a:t>
          </a:r>
        </a:p>
      </dgm:t>
    </dgm:pt>
    <dgm:pt modelId="{E28532C7-B411-4C0F-82A8-4FEC0B5F762A}" type="parTrans" cxnId="{93446DC0-49E0-410B-8746-729BA5EC0DB4}">
      <dgm:prSet/>
      <dgm:spPr/>
      <dgm:t>
        <a:bodyPr/>
        <a:lstStyle/>
        <a:p>
          <a:endParaRPr lang="es-ES" sz="2000"/>
        </a:p>
      </dgm:t>
    </dgm:pt>
    <dgm:pt modelId="{26C54D5C-774E-48FB-8F8B-7B53CA05D3EE}" type="sibTrans" cxnId="{93446DC0-49E0-410B-8746-729BA5EC0DB4}">
      <dgm:prSet/>
      <dgm:spPr/>
      <dgm:t>
        <a:bodyPr/>
        <a:lstStyle/>
        <a:p>
          <a:endParaRPr lang="es-ES" sz="2000"/>
        </a:p>
      </dgm:t>
    </dgm:pt>
    <dgm:pt modelId="{EB21FBDF-202A-4253-91D1-1D16491877D1}">
      <dgm:prSet custT="1"/>
      <dgm:spPr/>
      <dgm:t>
        <a:bodyPr/>
        <a:lstStyle/>
        <a:p>
          <a:r>
            <a:rPr lang="es-ES" sz="1600" dirty="0"/>
            <a:t>No produce suficiente</a:t>
          </a:r>
        </a:p>
      </dgm:t>
    </dgm:pt>
    <dgm:pt modelId="{2A60748F-76C0-4818-BFAA-71F13B2A0EDA}" type="parTrans" cxnId="{48127A43-8A8E-458C-862E-F3B4979E1206}">
      <dgm:prSet/>
      <dgm:spPr/>
      <dgm:t>
        <a:bodyPr/>
        <a:lstStyle/>
        <a:p>
          <a:endParaRPr lang="es-ES" sz="2000"/>
        </a:p>
      </dgm:t>
    </dgm:pt>
    <dgm:pt modelId="{E25B7406-8B62-4AE2-A3BE-74293AA66C29}" type="sibTrans" cxnId="{48127A43-8A8E-458C-862E-F3B4979E1206}">
      <dgm:prSet/>
      <dgm:spPr/>
      <dgm:t>
        <a:bodyPr/>
        <a:lstStyle/>
        <a:p>
          <a:endParaRPr lang="es-ES" sz="2000"/>
        </a:p>
      </dgm:t>
    </dgm:pt>
    <dgm:pt modelId="{FA16EDA2-1F5E-458C-B156-9C1D148A1230}">
      <dgm:prSet custT="1"/>
      <dgm:spPr/>
      <dgm:t>
        <a:bodyPr/>
        <a:lstStyle/>
        <a:p>
          <a:r>
            <a:rPr lang="es-ES" sz="1600" dirty="0"/>
            <a:t>Tiene que comprar a terceros</a:t>
          </a:r>
        </a:p>
      </dgm:t>
    </dgm:pt>
    <dgm:pt modelId="{8E0D48CD-E76E-4130-87B1-9416EBDB784B}" type="parTrans" cxnId="{EAD479D3-1E23-4104-8F98-044BF19150C5}">
      <dgm:prSet/>
      <dgm:spPr/>
      <dgm:t>
        <a:bodyPr/>
        <a:lstStyle/>
        <a:p>
          <a:endParaRPr lang="es-ES" sz="2000"/>
        </a:p>
      </dgm:t>
    </dgm:pt>
    <dgm:pt modelId="{708D5EC9-0766-4459-901C-8307C3C57403}" type="sibTrans" cxnId="{EAD479D3-1E23-4104-8F98-044BF19150C5}">
      <dgm:prSet/>
      <dgm:spPr/>
      <dgm:t>
        <a:bodyPr/>
        <a:lstStyle/>
        <a:p>
          <a:endParaRPr lang="es-ES" sz="2000"/>
        </a:p>
      </dgm:t>
    </dgm:pt>
    <dgm:pt modelId="{BFBC68E0-5479-452D-BD01-332077321FB2}">
      <dgm:prSet custT="1"/>
      <dgm:spPr/>
      <dgm:t>
        <a:bodyPr/>
        <a:lstStyle/>
        <a:p>
          <a:r>
            <a:rPr lang="es-ES" sz="1600" dirty="0"/>
            <a:t>La almazara Española: </a:t>
          </a:r>
        </a:p>
      </dgm:t>
    </dgm:pt>
    <dgm:pt modelId="{22CA7EAE-35AF-4CB6-808B-59B9D0A9D1BB}" type="parTrans" cxnId="{D80AFB5C-1301-477A-A0FA-940F3A3D8D5D}">
      <dgm:prSet/>
      <dgm:spPr/>
      <dgm:t>
        <a:bodyPr/>
        <a:lstStyle/>
        <a:p>
          <a:endParaRPr lang="es-ES" sz="2000"/>
        </a:p>
      </dgm:t>
    </dgm:pt>
    <dgm:pt modelId="{701FC836-0126-41BD-927D-B8D53D4544CD}" type="sibTrans" cxnId="{D80AFB5C-1301-477A-A0FA-940F3A3D8D5D}">
      <dgm:prSet/>
      <dgm:spPr/>
      <dgm:t>
        <a:bodyPr/>
        <a:lstStyle/>
        <a:p>
          <a:endParaRPr lang="es-ES" sz="2000"/>
        </a:p>
      </dgm:t>
    </dgm:pt>
    <dgm:pt modelId="{AF3F1EA4-313C-42D5-84C1-B00B40F9FD27}">
      <dgm:prSet custT="1"/>
      <dgm:spPr/>
      <dgm:t>
        <a:bodyPr/>
        <a:lstStyle/>
        <a:p>
          <a:r>
            <a:rPr lang="es-ES" sz="1600" dirty="0"/>
            <a:t>Produce, pero no vende bien.</a:t>
          </a:r>
        </a:p>
      </dgm:t>
    </dgm:pt>
    <dgm:pt modelId="{E13FE749-5652-4273-B17F-768FFF769F3E}" type="parTrans" cxnId="{94C2EE0A-6012-4B8C-806D-605FE69D2B5A}">
      <dgm:prSet/>
      <dgm:spPr/>
      <dgm:t>
        <a:bodyPr/>
        <a:lstStyle/>
        <a:p>
          <a:endParaRPr lang="es-ES" sz="2000"/>
        </a:p>
      </dgm:t>
    </dgm:pt>
    <dgm:pt modelId="{322FA4A6-6FEA-40BE-B9E8-6E1F051DAE3A}" type="sibTrans" cxnId="{94C2EE0A-6012-4B8C-806D-605FE69D2B5A}">
      <dgm:prSet/>
      <dgm:spPr/>
      <dgm:t>
        <a:bodyPr/>
        <a:lstStyle/>
        <a:p>
          <a:endParaRPr lang="es-ES" sz="2000"/>
        </a:p>
      </dgm:t>
    </dgm:pt>
    <dgm:pt modelId="{6FD8A154-983B-4164-B4CE-5FF5FEE84151}">
      <dgm:prSet custT="1"/>
      <dgm:spPr/>
      <dgm:t>
        <a:bodyPr/>
        <a:lstStyle/>
        <a:p>
          <a:r>
            <a:rPr lang="es-ES" sz="1600" dirty="0"/>
            <a:t>Andalucía el 85%, Castilla La-Mancha (6,60%), Extremadura (2,70%), Cataluña(2,20%) y Aragón (1%).</a:t>
          </a:r>
        </a:p>
      </dgm:t>
    </dgm:pt>
    <dgm:pt modelId="{34A6F7C2-039F-4CFC-B4F6-5588BC231221}" type="parTrans" cxnId="{B37E5E56-6E64-4614-AA61-871E9AAA22CA}">
      <dgm:prSet/>
      <dgm:spPr/>
      <dgm:t>
        <a:bodyPr/>
        <a:lstStyle/>
        <a:p>
          <a:endParaRPr lang="es-ES" sz="2000"/>
        </a:p>
      </dgm:t>
    </dgm:pt>
    <dgm:pt modelId="{36726929-0B11-48A4-96F2-824F7AB11831}" type="sibTrans" cxnId="{B37E5E56-6E64-4614-AA61-871E9AAA22CA}">
      <dgm:prSet/>
      <dgm:spPr/>
      <dgm:t>
        <a:bodyPr/>
        <a:lstStyle/>
        <a:p>
          <a:endParaRPr lang="es-ES" sz="2000"/>
        </a:p>
      </dgm:t>
    </dgm:pt>
    <dgm:pt modelId="{0328295F-9085-47E4-B04B-07DA93AE0E11}">
      <dgm:prSet custT="1"/>
      <dgm:spPr/>
      <dgm:t>
        <a:bodyPr/>
        <a:lstStyle/>
        <a:p>
          <a:r>
            <a:rPr lang="es-ES" sz="1600" dirty="0"/>
            <a:t>Italiano: </a:t>
          </a:r>
        </a:p>
      </dgm:t>
    </dgm:pt>
    <dgm:pt modelId="{DFA4EEA6-B632-4E01-9681-5A6B1CBEBF47}" type="parTrans" cxnId="{8E1A3745-C82F-4EFD-947D-2FDEA157B2AB}">
      <dgm:prSet/>
      <dgm:spPr/>
      <dgm:t>
        <a:bodyPr/>
        <a:lstStyle/>
        <a:p>
          <a:endParaRPr lang="es-ES" sz="2000"/>
        </a:p>
      </dgm:t>
    </dgm:pt>
    <dgm:pt modelId="{FC4DC1CF-483A-4A48-A1E9-A29F7672CF5B}" type="sibTrans" cxnId="{8E1A3745-C82F-4EFD-947D-2FDEA157B2AB}">
      <dgm:prSet/>
      <dgm:spPr/>
      <dgm:t>
        <a:bodyPr/>
        <a:lstStyle/>
        <a:p>
          <a:endParaRPr lang="es-ES" sz="2000"/>
        </a:p>
      </dgm:t>
    </dgm:pt>
    <dgm:pt modelId="{AEB42D87-9089-4582-B2BE-F26D91A3EF6C}">
      <dgm:prSet custT="1"/>
      <dgm:spPr/>
      <dgm:t>
        <a:bodyPr/>
        <a:lstStyle/>
        <a:p>
          <a:r>
            <a:rPr lang="es-ES" sz="1600" dirty="0"/>
            <a:t>Yo te compro sí me demuestras que tú aceite es DOVE (Denominación de origen Virgen Extra)</a:t>
          </a:r>
        </a:p>
      </dgm:t>
    </dgm:pt>
    <dgm:pt modelId="{8BAC6AAA-B91E-486E-939B-AF8C9424AD67}" type="parTrans" cxnId="{3BD26717-5691-4C7A-9921-022C571A3042}">
      <dgm:prSet/>
      <dgm:spPr/>
      <dgm:t>
        <a:bodyPr/>
        <a:lstStyle/>
        <a:p>
          <a:endParaRPr lang="es-ES" sz="2000"/>
        </a:p>
      </dgm:t>
    </dgm:pt>
    <dgm:pt modelId="{D4D8A510-F5AB-475F-A599-7681506AEB24}" type="sibTrans" cxnId="{3BD26717-5691-4C7A-9921-022C571A3042}">
      <dgm:prSet/>
      <dgm:spPr/>
      <dgm:t>
        <a:bodyPr/>
        <a:lstStyle/>
        <a:p>
          <a:endParaRPr lang="es-ES" sz="2000"/>
        </a:p>
      </dgm:t>
    </dgm:pt>
    <dgm:pt modelId="{BA32845D-746D-4824-8B0C-191073266D43}">
      <dgm:prSet custT="1"/>
      <dgm:spPr/>
      <dgm:t>
        <a:bodyPr/>
        <a:lstStyle/>
        <a:p>
          <a:r>
            <a:rPr lang="es-ES" sz="1600" dirty="0"/>
            <a:t>Español:</a:t>
          </a:r>
        </a:p>
      </dgm:t>
    </dgm:pt>
    <dgm:pt modelId="{8ED49640-6B8C-4707-AACC-B67896AC43F5}" type="parTrans" cxnId="{1A5DDBBC-5697-4BFD-90AB-B187AD302884}">
      <dgm:prSet/>
      <dgm:spPr/>
      <dgm:t>
        <a:bodyPr/>
        <a:lstStyle/>
        <a:p>
          <a:endParaRPr lang="es-ES" sz="2000"/>
        </a:p>
      </dgm:t>
    </dgm:pt>
    <dgm:pt modelId="{A841BCC7-27BF-460C-8AA7-1ACDF8518054}" type="sibTrans" cxnId="{1A5DDBBC-5697-4BFD-90AB-B187AD302884}">
      <dgm:prSet/>
      <dgm:spPr/>
      <dgm:t>
        <a:bodyPr/>
        <a:lstStyle/>
        <a:p>
          <a:endParaRPr lang="es-ES" sz="2000"/>
        </a:p>
      </dgm:t>
    </dgm:pt>
    <dgm:pt modelId="{B9DEF069-7B56-48F8-942E-433015BACB63}">
      <dgm:prSet custT="1"/>
      <dgm:spPr/>
      <dgm:t>
        <a:bodyPr/>
        <a:lstStyle/>
        <a:p>
          <a:r>
            <a:rPr lang="es-ES" sz="1600" dirty="0"/>
            <a:t>¿Cómo te demuestro yo: Lugar, abono, condiciones atmosféricas, tractoreo, recogida, primer prensado en frío, almacenamiento, transporte?</a:t>
          </a:r>
        </a:p>
      </dgm:t>
    </dgm:pt>
    <dgm:pt modelId="{ED5D2C1F-12CB-4A1F-9554-284FC6144FDB}" type="parTrans" cxnId="{0BE54F8A-6CF9-44AB-872E-D64152E2B436}">
      <dgm:prSet/>
      <dgm:spPr/>
      <dgm:t>
        <a:bodyPr/>
        <a:lstStyle/>
        <a:p>
          <a:endParaRPr lang="es-ES" sz="2000"/>
        </a:p>
      </dgm:t>
    </dgm:pt>
    <dgm:pt modelId="{CA42E3D0-E612-46B5-A649-E82342ECDC79}" type="sibTrans" cxnId="{0BE54F8A-6CF9-44AB-872E-D64152E2B436}">
      <dgm:prSet/>
      <dgm:spPr/>
      <dgm:t>
        <a:bodyPr/>
        <a:lstStyle/>
        <a:p>
          <a:endParaRPr lang="es-ES" sz="2000"/>
        </a:p>
      </dgm:t>
    </dgm:pt>
    <dgm:pt modelId="{6C501314-D1A8-49BE-8830-C10DC4155F5E}" type="pres">
      <dgm:prSet presAssocID="{8F266BC5-1D7A-4ABF-8ABD-423F0139FF7A}" presName="linear" presStyleCnt="0">
        <dgm:presLayoutVars>
          <dgm:dir/>
          <dgm:animLvl val="lvl"/>
          <dgm:resizeHandles val="exact"/>
        </dgm:presLayoutVars>
      </dgm:prSet>
      <dgm:spPr/>
    </dgm:pt>
    <dgm:pt modelId="{97FD555E-1BE6-45AD-9493-91FE381FEE5B}" type="pres">
      <dgm:prSet presAssocID="{143ABEC7-7B0B-4B7A-9996-0AE964FC5D98}" presName="parentLin" presStyleCnt="0"/>
      <dgm:spPr/>
    </dgm:pt>
    <dgm:pt modelId="{B7452AB4-6796-44FF-9210-3DFB4FCCE7B7}" type="pres">
      <dgm:prSet presAssocID="{143ABEC7-7B0B-4B7A-9996-0AE964FC5D98}" presName="parentLeftMargin" presStyleLbl="node1" presStyleIdx="0" presStyleCnt="4"/>
      <dgm:spPr/>
    </dgm:pt>
    <dgm:pt modelId="{39E506AB-F042-4E94-AE8A-6428F8FB8596}" type="pres">
      <dgm:prSet presAssocID="{143ABEC7-7B0B-4B7A-9996-0AE964FC5D98}" presName="parentText" presStyleLbl="node1" presStyleIdx="0" presStyleCnt="4">
        <dgm:presLayoutVars>
          <dgm:chMax val="0"/>
          <dgm:bulletEnabled val="1"/>
        </dgm:presLayoutVars>
      </dgm:prSet>
      <dgm:spPr/>
    </dgm:pt>
    <dgm:pt modelId="{FFCEFDEE-F753-4D22-860C-DFC9F4314842}" type="pres">
      <dgm:prSet presAssocID="{143ABEC7-7B0B-4B7A-9996-0AE964FC5D98}" presName="negativeSpace" presStyleCnt="0"/>
      <dgm:spPr/>
    </dgm:pt>
    <dgm:pt modelId="{C9E0A008-051C-47A0-BB3F-81F54D140866}" type="pres">
      <dgm:prSet presAssocID="{143ABEC7-7B0B-4B7A-9996-0AE964FC5D98}" presName="childText" presStyleLbl="conFgAcc1" presStyleIdx="0" presStyleCnt="4">
        <dgm:presLayoutVars>
          <dgm:bulletEnabled val="1"/>
        </dgm:presLayoutVars>
      </dgm:prSet>
      <dgm:spPr/>
    </dgm:pt>
    <dgm:pt modelId="{637531C7-8556-44F8-946E-C879176F386C}" type="pres">
      <dgm:prSet presAssocID="{8790A2FF-0FD3-4E91-B9ED-73459137092B}" presName="spaceBetweenRectangles" presStyleCnt="0"/>
      <dgm:spPr/>
    </dgm:pt>
    <dgm:pt modelId="{01CEC592-14A7-4B2A-A813-7E1F8315FB25}" type="pres">
      <dgm:prSet presAssocID="{BFBC68E0-5479-452D-BD01-332077321FB2}" presName="parentLin" presStyleCnt="0"/>
      <dgm:spPr/>
    </dgm:pt>
    <dgm:pt modelId="{6303CCCF-586C-4389-844B-5908669B71CF}" type="pres">
      <dgm:prSet presAssocID="{BFBC68E0-5479-452D-BD01-332077321FB2}" presName="parentLeftMargin" presStyleLbl="node1" presStyleIdx="0" presStyleCnt="4"/>
      <dgm:spPr/>
    </dgm:pt>
    <dgm:pt modelId="{5881B1FF-FA8C-4B76-810C-558312AFA4FB}" type="pres">
      <dgm:prSet presAssocID="{BFBC68E0-5479-452D-BD01-332077321FB2}" presName="parentText" presStyleLbl="node1" presStyleIdx="1" presStyleCnt="4">
        <dgm:presLayoutVars>
          <dgm:chMax val="0"/>
          <dgm:bulletEnabled val="1"/>
        </dgm:presLayoutVars>
      </dgm:prSet>
      <dgm:spPr/>
    </dgm:pt>
    <dgm:pt modelId="{CA8A7D88-611F-408B-AFE9-C7929E0B65F1}" type="pres">
      <dgm:prSet presAssocID="{BFBC68E0-5479-452D-BD01-332077321FB2}" presName="negativeSpace" presStyleCnt="0"/>
      <dgm:spPr/>
    </dgm:pt>
    <dgm:pt modelId="{3D80CE5C-4428-4F00-AD93-99D66FBE6C44}" type="pres">
      <dgm:prSet presAssocID="{BFBC68E0-5479-452D-BD01-332077321FB2}" presName="childText" presStyleLbl="conFgAcc1" presStyleIdx="1" presStyleCnt="4">
        <dgm:presLayoutVars>
          <dgm:bulletEnabled val="1"/>
        </dgm:presLayoutVars>
      </dgm:prSet>
      <dgm:spPr/>
    </dgm:pt>
    <dgm:pt modelId="{0467A299-DF55-4E2C-BB06-2F2D2330984B}" type="pres">
      <dgm:prSet presAssocID="{701FC836-0126-41BD-927D-B8D53D4544CD}" presName="spaceBetweenRectangles" presStyleCnt="0"/>
      <dgm:spPr/>
    </dgm:pt>
    <dgm:pt modelId="{E95B4F4B-8168-4E4E-9CDE-6046065C4B44}" type="pres">
      <dgm:prSet presAssocID="{0328295F-9085-47E4-B04B-07DA93AE0E11}" presName="parentLin" presStyleCnt="0"/>
      <dgm:spPr/>
    </dgm:pt>
    <dgm:pt modelId="{9180F205-1C2B-4DDB-8659-05B0EC38C7F2}" type="pres">
      <dgm:prSet presAssocID="{0328295F-9085-47E4-B04B-07DA93AE0E11}" presName="parentLeftMargin" presStyleLbl="node1" presStyleIdx="1" presStyleCnt="4"/>
      <dgm:spPr/>
    </dgm:pt>
    <dgm:pt modelId="{78C30E61-8134-4C11-82FA-28C8D7339C42}" type="pres">
      <dgm:prSet presAssocID="{0328295F-9085-47E4-B04B-07DA93AE0E11}" presName="parentText" presStyleLbl="node1" presStyleIdx="2" presStyleCnt="4">
        <dgm:presLayoutVars>
          <dgm:chMax val="0"/>
          <dgm:bulletEnabled val="1"/>
        </dgm:presLayoutVars>
      </dgm:prSet>
      <dgm:spPr/>
    </dgm:pt>
    <dgm:pt modelId="{B92AAEB0-5502-43FF-BE35-BE68C1C099BE}" type="pres">
      <dgm:prSet presAssocID="{0328295F-9085-47E4-B04B-07DA93AE0E11}" presName="negativeSpace" presStyleCnt="0"/>
      <dgm:spPr/>
    </dgm:pt>
    <dgm:pt modelId="{AFC1F8A6-D22B-4B45-90FB-BBE5BEF24C6E}" type="pres">
      <dgm:prSet presAssocID="{0328295F-9085-47E4-B04B-07DA93AE0E11}" presName="childText" presStyleLbl="conFgAcc1" presStyleIdx="2" presStyleCnt="4">
        <dgm:presLayoutVars>
          <dgm:bulletEnabled val="1"/>
        </dgm:presLayoutVars>
      </dgm:prSet>
      <dgm:spPr/>
    </dgm:pt>
    <dgm:pt modelId="{EB462393-5893-4870-9791-15DC7A0169A2}" type="pres">
      <dgm:prSet presAssocID="{FC4DC1CF-483A-4A48-A1E9-A29F7672CF5B}" presName="spaceBetweenRectangles" presStyleCnt="0"/>
      <dgm:spPr/>
    </dgm:pt>
    <dgm:pt modelId="{9A7710F3-F6F8-4A6F-AC5A-7608DA31051E}" type="pres">
      <dgm:prSet presAssocID="{BA32845D-746D-4824-8B0C-191073266D43}" presName="parentLin" presStyleCnt="0"/>
      <dgm:spPr/>
    </dgm:pt>
    <dgm:pt modelId="{E44D4848-1A31-4DF2-9AD2-5A5E83F6B1BB}" type="pres">
      <dgm:prSet presAssocID="{BA32845D-746D-4824-8B0C-191073266D43}" presName="parentLeftMargin" presStyleLbl="node1" presStyleIdx="2" presStyleCnt="4"/>
      <dgm:spPr/>
    </dgm:pt>
    <dgm:pt modelId="{56C57F0B-57E9-4FA5-B0BE-C0B4A6406FCB}" type="pres">
      <dgm:prSet presAssocID="{BA32845D-746D-4824-8B0C-191073266D43}" presName="parentText" presStyleLbl="node1" presStyleIdx="3" presStyleCnt="4">
        <dgm:presLayoutVars>
          <dgm:chMax val="0"/>
          <dgm:bulletEnabled val="1"/>
        </dgm:presLayoutVars>
      </dgm:prSet>
      <dgm:spPr/>
    </dgm:pt>
    <dgm:pt modelId="{967D8C8C-E5C4-4F6B-BA78-0FED88E94BFF}" type="pres">
      <dgm:prSet presAssocID="{BA32845D-746D-4824-8B0C-191073266D43}" presName="negativeSpace" presStyleCnt="0"/>
      <dgm:spPr/>
    </dgm:pt>
    <dgm:pt modelId="{75BFCC40-7B54-4837-8BCA-E07C17AAF00C}" type="pres">
      <dgm:prSet presAssocID="{BA32845D-746D-4824-8B0C-191073266D43}" presName="childText" presStyleLbl="conFgAcc1" presStyleIdx="3" presStyleCnt="4">
        <dgm:presLayoutVars>
          <dgm:bulletEnabled val="1"/>
        </dgm:presLayoutVars>
      </dgm:prSet>
      <dgm:spPr/>
    </dgm:pt>
  </dgm:ptLst>
  <dgm:cxnLst>
    <dgm:cxn modelId="{BC2A0C00-26B7-4197-A92B-8FD9C412056B}" type="presOf" srcId="{EB21FBDF-202A-4253-91D1-1D16491877D1}" destId="{C9E0A008-051C-47A0-BB3F-81F54D140866}" srcOrd="0" destOrd="1" presId="urn:microsoft.com/office/officeart/2005/8/layout/list1"/>
    <dgm:cxn modelId="{A90C3C02-ED0A-4EB2-A7B3-FE1AA5B76A7C}" type="presOf" srcId="{BFBC68E0-5479-452D-BD01-332077321FB2}" destId="{6303CCCF-586C-4389-844B-5908669B71CF}" srcOrd="0" destOrd="0" presId="urn:microsoft.com/office/officeart/2005/8/layout/list1"/>
    <dgm:cxn modelId="{94C2EE0A-6012-4B8C-806D-605FE69D2B5A}" srcId="{BFBC68E0-5479-452D-BD01-332077321FB2}" destId="{AF3F1EA4-313C-42D5-84C1-B00B40F9FD27}" srcOrd="0" destOrd="0" parTransId="{E13FE749-5652-4273-B17F-768FFF769F3E}" sibTransId="{322FA4A6-6FEA-40BE-B9E8-6E1F051DAE3A}"/>
    <dgm:cxn modelId="{7B48BE14-B813-481F-B571-B7B7B7169C64}" srcId="{8F266BC5-1D7A-4ABF-8ABD-423F0139FF7A}" destId="{143ABEC7-7B0B-4B7A-9996-0AE964FC5D98}" srcOrd="0" destOrd="0" parTransId="{DCE44994-5D4C-423B-9B73-C5296EAF9393}" sibTransId="{8790A2FF-0FD3-4E91-B9ED-73459137092B}"/>
    <dgm:cxn modelId="{3BD26717-5691-4C7A-9921-022C571A3042}" srcId="{0328295F-9085-47E4-B04B-07DA93AE0E11}" destId="{AEB42D87-9089-4582-B2BE-F26D91A3EF6C}" srcOrd="0" destOrd="0" parTransId="{8BAC6AAA-B91E-486E-939B-AF8C9424AD67}" sibTransId="{D4D8A510-F5AB-475F-A599-7681506AEB24}"/>
    <dgm:cxn modelId="{EB459235-2319-4F6A-A477-8BEAC03B8321}" type="presOf" srcId="{AF3F1EA4-313C-42D5-84C1-B00B40F9FD27}" destId="{3D80CE5C-4428-4F00-AD93-99D66FBE6C44}" srcOrd="0" destOrd="0" presId="urn:microsoft.com/office/officeart/2005/8/layout/list1"/>
    <dgm:cxn modelId="{D80AFB5C-1301-477A-A0FA-940F3A3D8D5D}" srcId="{8F266BC5-1D7A-4ABF-8ABD-423F0139FF7A}" destId="{BFBC68E0-5479-452D-BD01-332077321FB2}" srcOrd="1" destOrd="0" parTransId="{22CA7EAE-35AF-4CB6-808B-59B9D0A9D1BB}" sibTransId="{701FC836-0126-41BD-927D-B8D53D4544CD}"/>
    <dgm:cxn modelId="{48127A43-8A8E-458C-862E-F3B4979E1206}" srcId="{143ABEC7-7B0B-4B7A-9996-0AE964FC5D98}" destId="{EB21FBDF-202A-4253-91D1-1D16491877D1}" srcOrd="1" destOrd="0" parTransId="{2A60748F-76C0-4818-BFAA-71F13B2A0EDA}" sibTransId="{E25B7406-8B62-4AE2-A3BE-74293AA66C29}"/>
    <dgm:cxn modelId="{8E1A3745-C82F-4EFD-947D-2FDEA157B2AB}" srcId="{8F266BC5-1D7A-4ABF-8ABD-423F0139FF7A}" destId="{0328295F-9085-47E4-B04B-07DA93AE0E11}" srcOrd="2" destOrd="0" parTransId="{DFA4EEA6-B632-4E01-9681-5A6B1CBEBF47}" sibTransId="{FC4DC1CF-483A-4A48-A1E9-A29F7672CF5B}"/>
    <dgm:cxn modelId="{4E825367-691F-4EF3-A734-23EA6DAA7931}" type="presOf" srcId="{143ABEC7-7B0B-4B7A-9996-0AE964FC5D98}" destId="{39E506AB-F042-4E94-AE8A-6428F8FB8596}" srcOrd="1" destOrd="0" presId="urn:microsoft.com/office/officeart/2005/8/layout/list1"/>
    <dgm:cxn modelId="{C4DC6D6B-151C-4EA7-9328-402B5DB51B5A}" type="presOf" srcId="{0328295F-9085-47E4-B04B-07DA93AE0E11}" destId="{9180F205-1C2B-4DDB-8659-05B0EC38C7F2}" srcOrd="0" destOrd="0" presId="urn:microsoft.com/office/officeart/2005/8/layout/list1"/>
    <dgm:cxn modelId="{002F0C70-7727-4EF7-91C6-46BA861E4104}" type="presOf" srcId="{BA32845D-746D-4824-8B0C-191073266D43}" destId="{E44D4848-1A31-4DF2-9AD2-5A5E83F6B1BB}" srcOrd="0" destOrd="0" presId="urn:microsoft.com/office/officeart/2005/8/layout/list1"/>
    <dgm:cxn modelId="{B37E5E56-6E64-4614-AA61-871E9AAA22CA}" srcId="{BFBC68E0-5479-452D-BD01-332077321FB2}" destId="{6FD8A154-983B-4164-B4CE-5FF5FEE84151}" srcOrd="1" destOrd="0" parTransId="{34A6F7C2-039F-4CFC-B4F6-5588BC231221}" sibTransId="{36726929-0B11-48A4-96F2-824F7AB11831}"/>
    <dgm:cxn modelId="{2D09847A-DFFF-4772-A853-4415F52AC342}" type="presOf" srcId="{6FD8A154-983B-4164-B4CE-5FF5FEE84151}" destId="{3D80CE5C-4428-4F00-AD93-99D66FBE6C44}" srcOrd="0" destOrd="1" presId="urn:microsoft.com/office/officeart/2005/8/layout/list1"/>
    <dgm:cxn modelId="{00115F7E-B17F-4C8B-AD3C-988C553738BE}" type="presOf" srcId="{8F266BC5-1D7A-4ABF-8ABD-423F0139FF7A}" destId="{6C501314-D1A8-49BE-8830-C10DC4155F5E}" srcOrd="0" destOrd="0" presId="urn:microsoft.com/office/officeart/2005/8/layout/list1"/>
    <dgm:cxn modelId="{8F128B81-3D14-4B2F-82EF-4B6190DEE8AC}" type="presOf" srcId="{BFBC68E0-5479-452D-BD01-332077321FB2}" destId="{5881B1FF-FA8C-4B76-810C-558312AFA4FB}" srcOrd="1" destOrd="0" presId="urn:microsoft.com/office/officeart/2005/8/layout/list1"/>
    <dgm:cxn modelId="{B7B38982-8245-4111-8D7F-A978BBE2BE7B}" type="presOf" srcId="{0328295F-9085-47E4-B04B-07DA93AE0E11}" destId="{78C30E61-8134-4C11-82FA-28C8D7339C42}" srcOrd="1" destOrd="0" presId="urn:microsoft.com/office/officeart/2005/8/layout/list1"/>
    <dgm:cxn modelId="{1A49F983-2945-4E87-AE8F-3091F8B9AF7E}" type="presOf" srcId="{B9DEF069-7B56-48F8-942E-433015BACB63}" destId="{75BFCC40-7B54-4837-8BCA-E07C17AAF00C}" srcOrd="0" destOrd="0" presId="urn:microsoft.com/office/officeart/2005/8/layout/list1"/>
    <dgm:cxn modelId="{0BE54F8A-6CF9-44AB-872E-D64152E2B436}" srcId="{BA32845D-746D-4824-8B0C-191073266D43}" destId="{B9DEF069-7B56-48F8-942E-433015BACB63}" srcOrd="0" destOrd="0" parTransId="{ED5D2C1F-12CB-4A1F-9554-284FC6144FDB}" sibTransId="{CA42E3D0-E612-46B5-A649-E82342ECDC79}"/>
    <dgm:cxn modelId="{1EF1C7A1-2CA2-42FF-A3B5-4573DF0BEA82}" type="presOf" srcId="{BA32845D-746D-4824-8B0C-191073266D43}" destId="{56C57F0B-57E9-4FA5-B0BE-C0B4A6406FCB}" srcOrd="1" destOrd="0" presId="urn:microsoft.com/office/officeart/2005/8/layout/list1"/>
    <dgm:cxn modelId="{818550B6-8056-4B36-BC5B-02444CF3C3DE}" type="presOf" srcId="{9D769B64-3DAD-45C5-BC6B-C428A81D8731}" destId="{C9E0A008-051C-47A0-BB3F-81F54D140866}" srcOrd="0" destOrd="0" presId="urn:microsoft.com/office/officeart/2005/8/layout/list1"/>
    <dgm:cxn modelId="{1A5DDBBC-5697-4BFD-90AB-B187AD302884}" srcId="{8F266BC5-1D7A-4ABF-8ABD-423F0139FF7A}" destId="{BA32845D-746D-4824-8B0C-191073266D43}" srcOrd="3" destOrd="0" parTransId="{8ED49640-6B8C-4707-AACC-B67896AC43F5}" sibTransId="{A841BCC7-27BF-460C-8AA7-1ACDF8518054}"/>
    <dgm:cxn modelId="{93446DC0-49E0-410B-8746-729BA5EC0DB4}" srcId="{143ABEC7-7B0B-4B7A-9996-0AE964FC5D98}" destId="{9D769B64-3DAD-45C5-BC6B-C428A81D8731}" srcOrd="0" destOrd="0" parTransId="{E28532C7-B411-4C0F-82A8-4FEC0B5F762A}" sibTransId="{26C54D5C-774E-48FB-8F8B-7B53CA05D3EE}"/>
    <dgm:cxn modelId="{5B3D1AC6-7231-47CB-AA9B-5D6CCCC1C25D}" type="presOf" srcId="{AEB42D87-9089-4582-B2BE-F26D91A3EF6C}" destId="{AFC1F8A6-D22B-4B45-90FB-BBE5BEF24C6E}" srcOrd="0" destOrd="0" presId="urn:microsoft.com/office/officeart/2005/8/layout/list1"/>
    <dgm:cxn modelId="{148312CF-1219-4864-8B5D-6DA956A32534}" type="presOf" srcId="{FA16EDA2-1F5E-458C-B156-9C1D148A1230}" destId="{C9E0A008-051C-47A0-BB3F-81F54D140866}" srcOrd="0" destOrd="2" presId="urn:microsoft.com/office/officeart/2005/8/layout/list1"/>
    <dgm:cxn modelId="{EAD479D3-1E23-4104-8F98-044BF19150C5}" srcId="{143ABEC7-7B0B-4B7A-9996-0AE964FC5D98}" destId="{FA16EDA2-1F5E-458C-B156-9C1D148A1230}" srcOrd="2" destOrd="0" parTransId="{8E0D48CD-E76E-4130-87B1-9416EBDB784B}" sibTransId="{708D5EC9-0766-4459-901C-8307C3C57403}"/>
    <dgm:cxn modelId="{A81091DA-B0A4-4807-8480-79427F5463F2}" type="presOf" srcId="{143ABEC7-7B0B-4B7A-9996-0AE964FC5D98}" destId="{B7452AB4-6796-44FF-9210-3DFB4FCCE7B7}" srcOrd="0" destOrd="0" presId="urn:microsoft.com/office/officeart/2005/8/layout/list1"/>
    <dgm:cxn modelId="{C5A5B6E3-EA22-46EA-B953-DBF7B07DD205}" type="presParOf" srcId="{6C501314-D1A8-49BE-8830-C10DC4155F5E}" destId="{97FD555E-1BE6-45AD-9493-91FE381FEE5B}" srcOrd="0" destOrd="0" presId="urn:microsoft.com/office/officeart/2005/8/layout/list1"/>
    <dgm:cxn modelId="{72BCE873-88DC-4E16-A94D-662688FF681B}" type="presParOf" srcId="{97FD555E-1BE6-45AD-9493-91FE381FEE5B}" destId="{B7452AB4-6796-44FF-9210-3DFB4FCCE7B7}" srcOrd="0" destOrd="0" presId="urn:microsoft.com/office/officeart/2005/8/layout/list1"/>
    <dgm:cxn modelId="{0BD7BF82-26E5-40B4-8A15-123E2592063F}" type="presParOf" srcId="{97FD555E-1BE6-45AD-9493-91FE381FEE5B}" destId="{39E506AB-F042-4E94-AE8A-6428F8FB8596}" srcOrd="1" destOrd="0" presId="urn:microsoft.com/office/officeart/2005/8/layout/list1"/>
    <dgm:cxn modelId="{FB82B7D8-CD95-43B8-A9D7-B450FFFF114F}" type="presParOf" srcId="{6C501314-D1A8-49BE-8830-C10DC4155F5E}" destId="{FFCEFDEE-F753-4D22-860C-DFC9F4314842}" srcOrd="1" destOrd="0" presId="urn:microsoft.com/office/officeart/2005/8/layout/list1"/>
    <dgm:cxn modelId="{38B96B7A-98DE-497B-B9A7-A199B7AB03F9}" type="presParOf" srcId="{6C501314-D1A8-49BE-8830-C10DC4155F5E}" destId="{C9E0A008-051C-47A0-BB3F-81F54D140866}" srcOrd="2" destOrd="0" presId="urn:microsoft.com/office/officeart/2005/8/layout/list1"/>
    <dgm:cxn modelId="{F91F4618-97E6-4232-B957-ACB32923275C}" type="presParOf" srcId="{6C501314-D1A8-49BE-8830-C10DC4155F5E}" destId="{637531C7-8556-44F8-946E-C879176F386C}" srcOrd="3" destOrd="0" presId="urn:microsoft.com/office/officeart/2005/8/layout/list1"/>
    <dgm:cxn modelId="{2DFE1106-9646-4E40-BB81-ED43091FC916}" type="presParOf" srcId="{6C501314-D1A8-49BE-8830-C10DC4155F5E}" destId="{01CEC592-14A7-4B2A-A813-7E1F8315FB25}" srcOrd="4" destOrd="0" presId="urn:microsoft.com/office/officeart/2005/8/layout/list1"/>
    <dgm:cxn modelId="{8303BCCC-089F-4126-B26B-EAF4224E7C80}" type="presParOf" srcId="{01CEC592-14A7-4B2A-A813-7E1F8315FB25}" destId="{6303CCCF-586C-4389-844B-5908669B71CF}" srcOrd="0" destOrd="0" presId="urn:microsoft.com/office/officeart/2005/8/layout/list1"/>
    <dgm:cxn modelId="{221EC93B-2335-4461-8833-87ADFF41536E}" type="presParOf" srcId="{01CEC592-14A7-4B2A-A813-7E1F8315FB25}" destId="{5881B1FF-FA8C-4B76-810C-558312AFA4FB}" srcOrd="1" destOrd="0" presId="urn:microsoft.com/office/officeart/2005/8/layout/list1"/>
    <dgm:cxn modelId="{D6C8F6F6-76B6-4B14-A415-5E5B23B25371}" type="presParOf" srcId="{6C501314-D1A8-49BE-8830-C10DC4155F5E}" destId="{CA8A7D88-611F-408B-AFE9-C7929E0B65F1}" srcOrd="5" destOrd="0" presId="urn:microsoft.com/office/officeart/2005/8/layout/list1"/>
    <dgm:cxn modelId="{5368D53B-B6C7-489D-8321-553BB9C674A6}" type="presParOf" srcId="{6C501314-D1A8-49BE-8830-C10DC4155F5E}" destId="{3D80CE5C-4428-4F00-AD93-99D66FBE6C44}" srcOrd="6" destOrd="0" presId="urn:microsoft.com/office/officeart/2005/8/layout/list1"/>
    <dgm:cxn modelId="{DF22A261-49DB-46B0-B154-A94A2408AD74}" type="presParOf" srcId="{6C501314-D1A8-49BE-8830-C10DC4155F5E}" destId="{0467A299-DF55-4E2C-BB06-2F2D2330984B}" srcOrd="7" destOrd="0" presId="urn:microsoft.com/office/officeart/2005/8/layout/list1"/>
    <dgm:cxn modelId="{D6413F9D-516D-4D24-BCED-378C54DED910}" type="presParOf" srcId="{6C501314-D1A8-49BE-8830-C10DC4155F5E}" destId="{E95B4F4B-8168-4E4E-9CDE-6046065C4B44}" srcOrd="8" destOrd="0" presId="urn:microsoft.com/office/officeart/2005/8/layout/list1"/>
    <dgm:cxn modelId="{7B44F6BB-6D56-402E-8132-AE3837775A58}" type="presParOf" srcId="{E95B4F4B-8168-4E4E-9CDE-6046065C4B44}" destId="{9180F205-1C2B-4DDB-8659-05B0EC38C7F2}" srcOrd="0" destOrd="0" presId="urn:microsoft.com/office/officeart/2005/8/layout/list1"/>
    <dgm:cxn modelId="{2DF4395B-C86A-4206-BF9A-0B9ABBC7BAD9}" type="presParOf" srcId="{E95B4F4B-8168-4E4E-9CDE-6046065C4B44}" destId="{78C30E61-8134-4C11-82FA-28C8D7339C42}" srcOrd="1" destOrd="0" presId="urn:microsoft.com/office/officeart/2005/8/layout/list1"/>
    <dgm:cxn modelId="{AC7B81DF-6EE1-44AB-A627-DEADDFC43F4C}" type="presParOf" srcId="{6C501314-D1A8-49BE-8830-C10DC4155F5E}" destId="{B92AAEB0-5502-43FF-BE35-BE68C1C099BE}" srcOrd="9" destOrd="0" presId="urn:microsoft.com/office/officeart/2005/8/layout/list1"/>
    <dgm:cxn modelId="{839B3701-9807-4433-8AB7-8765B9075A17}" type="presParOf" srcId="{6C501314-D1A8-49BE-8830-C10DC4155F5E}" destId="{AFC1F8A6-D22B-4B45-90FB-BBE5BEF24C6E}" srcOrd="10" destOrd="0" presId="urn:microsoft.com/office/officeart/2005/8/layout/list1"/>
    <dgm:cxn modelId="{F971BE98-8B31-47B2-81B7-183D3B18F989}" type="presParOf" srcId="{6C501314-D1A8-49BE-8830-C10DC4155F5E}" destId="{EB462393-5893-4870-9791-15DC7A0169A2}" srcOrd="11" destOrd="0" presId="urn:microsoft.com/office/officeart/2005/8/layout/list1"/>
    <dgm:cxn modelId="{F36570F3-DF12-4D75-B251-D1A41660FACE}" type="presParOf" srcId="{6C501314-D1A8-49BE-8830-C10DC4155F5E}" destId="{9A7710F3-F6F8-4A6F-AC5A-7608DA31051E}" srcOrd="12" destOrd="0" presId="urn:microsoft.com/office/officeart/2005/8/layout/list1"/>
    <dgm:cxn modelId="{E045C759-F1DB-4963-AA1F-AE9090F42C92}" type="presParOf" srcId="{9A7710F3-F6F8-4A6F-AC5A-7608DA31051E}" destId="{E44D4848-1A31-4DF2-9AD2-5A5E83F6B1BB}" srcOrd="0" destOrd="0" presId="urn:microsoft.com/office/officeart/2005/8/layout/list1"/>
    <dgm:cxn modelId="{447837BC-4990-4015-A26F-1AE1CEA64482}" type="presParOf" srcId="{9A7710F3-F6F8-4A6F-AC5A-7608DA31051E}" destId="{56C57F0B-57E9-4FA5-B0BE-C0B4A6406FCB}" srcOrd="1" destOrd="0" presId="urn:microsoft.com/office/officeart/2005/8/layout/list1"/>
    <dgm:cxn modelId="{A5EB7492-9463-4973-B687-080FA541204F}" type="presParOf" srcId="{6C501314-D1A8-49BE-8830-C10DC4155F5E}" destId="{967D8C8C-E5C4-4F6B-BA78-0FED88E94BFF}" srcOrd="13" destOrd="0" presId="urn:microsoft.com/office/officeart/2005/8/layout/list1"/>
    <dgm:cxn modelId="{AB244188-A72D-4433-BA69-7EA32E65C0A3}" type="presParOf" srcId="{6C501314-D1A8-49BE-8830-C10DC4155F5E}" destId="{75BFCC40-7B54-4837-8BCA-E07C17AAF00C}" srcOrd="14"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8801608C-5C3C-4B66-AC32-6A64AE01C1E4}" type="doc">
      <dgm:prSet loTypeId="urn:microsoft.com/office/officeart/2005/8/layout/chevron1" loCatId="process" qsTypeId="urn:microsoft.com/office/officeart/2005/8/quickstyle/simple1" qsCatId="simple" csTypeId="urn:microsoft.com/office/officeart/2005/8/colors/colorful2" csCatId="colorful" phldr="1"/>
      <dgm:spPr/>
      <dgm:t>
        <a:bodyPr/>
        <a:lstStyle/>
        <a:p>
          <a:endParaRPr lang="es-ES"/>
        </a:p>
      </dgm:t>
    </dgm:pt>
    <dgm:pt modelId="{6A2C521F-72F9-44D2-A94B-F0D08C8649D3}">
      <dgm:prSet phldrT="[Texto]"/>
      <dgm:spPr/>
      <dgm:t>
        <a:bodyPr/>
        <a:lstStyle/>
        <a:p>
          <a:r>
            <a:rPr lang="es-ES" dirty="0"/>
            <a:t>Día 1</a:t>
          </a:r>
        </a:p>
      </dgm:t>
    </dgm:pt>
    <dgm:pt modelId="{51E3493B-4394-4440-8583-22DA77F635C7}" type="parTrans" cxnId="{C9C02145-1FFF-4DAE-BDAE-94F2690F551B}">
      <dgm:prSet/>
      <dgm:spPr/>
      <dgm:t>
        <a:bodyPr/>
        <a:lstStyle/>
        <a:p>
          <a:endParaRPr lang="es-ES"/>
        </a:p>
      </dgm:t>
    </dgm:pt>
    <dgm:pt modelId="{F4DBBFCB-C5C2-4984-81C5-3AAB938F4655}" type="sibTrans" cxnId="{C9C02145-1FFF-4DAE-BDAE-94F2690F551B}">
      <dgm:prSet/>
      <dgm:spPr/>
      <dgm:t>
        <a:bodyPr/>
        <a:lstStyle/>
        <a:p>
          <a:endParaRPr lang="es-ES"/>
        </a:p>
      </dgm:t>
    </dgm:pt>
    <dgm:pt modelId="{832DE405-23AB-49F8-87CB-3602CBEA75A4}">
      <dgm:prSet phldrT="[Texto]"/>
      <dgm:spPr/>
      <dgm:t>
        <a:bodyPr/>
        <a:lstStyle/>
        <a:p>
          <a:r>
            <a:rPr lang="es-ES" dirty="0"/>
            <a:t>Día 365</a:t>
          </a:r>
        </a:p>
      </dgm:t>
    </dgm:pt>
    <dgm:pt modelId="{ABC0AD41-0DC7-4FFF-AC2E-1F81881A60C7}" type="parTrans" cxnId="{F9F68818-3E5B-488C-969A-7EA19CDEEE67}">
      <dgm:prSet/>
      <dgm:spPr/>
      <dgm:t>
        <a:bodyPr/>
        <a:lstStyle/>
        <a:p>
          <a:endParaRPr lang="es-ES"/>
        </a:p>
      </dgm:t>
    </dgm:pt>
    <dgm:pt modelId="{A287B5D8-7819-42B0-AEC5-57B42F65D5AF}" type="sibTrans" cxnId="{F9F68818-3E5B-488C-969A-7EA19CDEEE67}">
      <dgm:prSet/>
      <dgm:spPr/>
      <dgm:t>
        <a:bodyPr/>
        <a:lstStyle/>
        <a:p>
          <a:endParaRPr lang="es-ES"/>
        </a:p>
      </dgm:t>
    </dgm:pt>
    <dgm:pt modelId="{3C5EECCE-1185-4F9B-A76F-20AB459C2271}">
      <dgm:prSet phldrT="[Texto]"/>
      <dgm:spPr/>
      <dgm:t>
        <a:bodyPr/>
        <a:lstStyle/>
        <a:p>
          <a:r>
            <a:rPr lang="es-ES" dirty="0"/>
            <a:t>Día 83</a:t>
          </a:r>
        </a:p>
      </dgm:t>
    </dgm:pt>
    <dgm:pt modelId="{965E2606-8317-4D77-936A-BCB9CA47EA67}" type="parTrans" cxnId="{DF1D50D6-8740-426A-962E-651ED45A475D}">
      <dgm:prSet/>
      <dgm:spPr/>
      <dgm:t>
        <a:bodyPr/>
        <a:lstStyle/>
        <a:p>
          <a:endParaRPr lang="es-ES"/>
        </a:p>
      </dgm:t>
    </dgm:pt>
    <dgm:pt modelId="{DB4C0245-B393-4CA2-8D22-6D155DD3FCD7}" type="sibTrans" cxnId="{DF1D50D6-8740-426A-962E-651ED45A475D}">
      <dgm:prSet/>
      <dgm:spPr/>
      <dgm:t>
        <a:bodyPr/>
        <a:lstStyle/>
        <a:p>
          <a:endParaRPr lang="es-ES"/>
        </a:p>
      </dgm:t>
    </dgm:pt>
    <dgm:pt modelId="{E3DDAA0C-DCDF-497C-B5D9-3EE39306A379}">
      <dgm:prSet phldrT="[Texto]"/>
      <dgm:spPr>
        <a:solidFill>
          <a:schemeClr val="accent2">
            <a:lumMod val="40000"/>
            <a:lumOff val="60000"/>
          </a:schemeClr>
        </a:solidFill>
      </dgm:spPr>
      <dgm:t>
        <a:bodyPr/>
        <a:lstStyle/>
        <a:p>
          <a:r>
            <a:rPr lang="es-ES" dirty="0">
              <a:solidFill>
                <a:schemeClr val="accent5">
                  <a:lumMod val="50000"/>
                </a:schemeClr>
              </a:solidFill>
            </a:rPr>
            <a:t>Dia …</a:t>
          </a:r>
        </a:p>
      </dgm:t>
    </dgm:pt>
    <dgm:pt modelId="{FD5747FC-30AE-4655-9EDF-37329EB30565}" type="parTrans" cxnId="{0D006C6D-28F3-4A75-B6CE-54706522BCED}">
      <dgm:prSet/>
      <dgm:spPr/>
      <dgm:t>
        <a:bodyPr/>
        <a:lstStyle/>
        <a:p>
          <a:endParaRPr lang="es-ES"/>
        </a:p>
      </dgm:t>
    </dgm:pt>
    <dgm:pt modelId="{FB918186-5CD3-4D36-A488-A8713E11755E}" type="sibTrans" cxnId="{0D006C6D-28F3-4A75-B6CE-54706522BCED}">
      <dgm:prSet/>
      <dgm:spPr/>
      <dgm:t>
        <a:bodyPr/>
        <a:lstStyle/>
        <a:p>
          <a:endParaRPr lang="es-ES"/>
        </a:p>
      </dgm:t>
    </dgm:pt>
    <dgm:pt modelId="{CAC112B1-14E8-46BF-BE1E-4DA585141F0C}">
      <dgm:prSet phldrT="[Texto]"/>
      <dgm:spPr>
        <a:solidFill>
          <a:schemeClr val="accent2">
            <a:lumMod val="40000"/>
            <a:lumOff val="60000"/>
          </a:schemeClr>
        </a:solidFill>
      </dgm:spPr>
      <dgm:t>
        <a:bodyPr/>
        <a:lstStyle/>
        <a:p>
          <a:r>
            <a:rPr lang="es-ES" dirty="0">
              <a:solidFill>
                <a:schemeClr val="accent5">
                  <a:lumMod val="50000"/>
                </a:schemeClr>
              </a:solidFill>
            </a:rPr>
            <a:t>Día …</a:t>
          </a:r>
        </a:p>
      </dgm:t>
    </dgm:pt>
    <dgm:pt modelId="{57D0AA1B-79E4-4B66-BBEC-45F555745703}" type="parTrans" cxnId="{C0C34609-9360-4CBB-9528-2671B47B1755}">
      <dgm:prSet/>
      <dgm:spPr/>
      <dgm:t>
        <a:bodyPr/>
        <a:lstStyle/>
        <a:p>
          <a:endParaRPr lang="es-ES"/>
        </a:p>
      </dgm:t>
    </dgm:pt>
    <dgm:pt modelId="{C4EA7BBA-F9CB-4F68-8F68-79F33D0D4ABF}" type="sibTrans" cxnId="{C0C34609-9360-4CBB-9528-2671B47B1755}">
      <dgm:prSet/>
      <dgm:spPr/>
      <dgm:t>
        <a:bodyPr/>
        <a:lstStyle/>
        <a:p>
          <a:endParaRPr lang="es-ES"/>
        </a:p>
      </dgm:t>
    </dgm:pt>
    <dgm:pt modelId="{3E5A4507-99D8-4691-B1E3-8D3DE77E92D6}" type="pres">
      <dgm:prSet presAssocID="{8801608C-5C3C-4B66-AC32-6A64AE01C1E4}" presName="Name0" presStyleCnt="0">
        <dgm:presLayoutVars>
          <dgm:dir/>
          <dgm:animLvl val="lvl"/>
          <dgm:resizeHandles val="exact"/>
        </dgm:presLayoutVars>
      </dgm:prSet>
      <dgm:spPr/>
    </dgm:pt>
    <dgm:pt modelId="{59F89D90-DB0F-4717-BEB5-EA9A3524A803}" type="pres">
      <dgm:prSet presAssocID="{6A2C521F-72F9-44D2-A94B-F0D08C8649D3}" presName="parTxOnly" presStyleLbl="node1" presStyleIdx="0" presStyleCnt="5">
        <dgm:presLayoutVars>
          <dgm:chMax val="0"/>
          <dgm:chPref val="0"/>
          <dgm:bulletEnabled val="1"/>
        </dgm:presLayoutVars>
      </dgm:prSet>
      <dgm:spPr/>
    </dgm:pt>
    <dgm:pt modelId="{8B78B6D9-85EF-4C97-B624-C1E4AFC56094}" type="pres">
      <dgm:prSet presAssocID="{F4DBBFCB-C5C2-4984-81C5-3AAB938F4655}" presName="parTxOnlySpace" presStyleCnt="0"/>
      <dgm:spPr/>
    </dgm:pt>
    <dgm:pt modelId="{E1558D32-9566-44BD-8A5B-E83CF4804E43}" type="pres">
      <dgm:prSet presAssocID="{E3DDAA0C-DCDF-497C-B5D9-3EE39306A379}" presName="parTxOnly" presStyleLbl="node1" presStyleIdx="1" presStyleCnt="5">
        <dgm:presLayoutVars>
          <dgm:chMax val="0"/>
          <dgm:chPref val="0"/>
          <dgm:bulletEnabled val="1"/>
        </dgm:presLayoutVars>
      </dgm:prSet>
      <dgm:spPr/>
    </dgm:pt>
    <dgm:pt modelId="{038F7E30-2DCB-4D81-855B-B886B8406782}" type="pres">
      <dgm:prSet presAssocID="{FB918186-5CD3-4D36-A488-A8713E11755E}" presName="parTxOnlySpace" presStyleCnt="0"/>
      <dgm:spPr/>
    </dgm:pt>
    <dgm:pt modelId="{B391E9BF-5F32-45B9-9BCD-33CA8A7FBFAF}" type="pres">
      <dgm:prSet presAssocID="{3C5EECCE-1185-4F9B-A76F-20AB459C2271}" presName="parTxOnly" presStyleLbl="node1" presStyleIdx="2" presStyleCnt="5">
        <dgm:presLayoutVars>
          <dgm:chMax val="0"/>
          <dgm:chPref val="0"/>
          <dgm:bulletEnabled val="1"/>
        </dgm:presLayoutVars>
      </dgm:prSet>
      <dgm:spPr/>
    </dgm:pt>
    <dgm:pt modelId="{25640A20-BB70-4426-A87B-D43DC318A8E9}" type="pres">
      <dgm:prSet presAssocID="{DB4C0245-B393-4CA2-8D22-6D155DD3FCD7}" presName="parTxOnlySpace" presStyleCnt="0"/>
      <dgm:spPr/>
    </dgm:pt>
    <dgm:pt modelId="{B8B89C3F-832D-44D5-AEE4-E511C26B1C60}" type="pres">
      <dgm:prSet presAssocID="{CAC112B1-14E8-46BF-BE1E-4DA585141F0C}" presName="parTxOnly" presStyleLbl="node1" presStyleIdx="3" presStyleCnt="5">
        <dgm:presLayoutVars>
          <dgm:chMax val="0"/>
          <dgm:chPref val="0"/>
          <dgm:bulletEnabled val="1"/>
        </dgm:presLayoutVars>
      </dgm:prSet>
      <dgm:spPr/>
    </dgm:pt>
    <dgm:pt modelId="{D2BD760D-3959-4C4A-B085-67A734918321}" type="pres">
      <dgm:prSet presAssocID="{C4EA7BBA-F9CB-4F68-8F68-79F33D0D4ABF}" presName="parTxOnlySpace" presStyleCnt="0"/>
      <dgm:spPr/>
    </dgm:pt>
    <dgm:pt modelId="{A962575C-4341-4F05-84C4-15E82F2F1A26}" type="pres">
      <dgm:prSet presAssocID="{832DE405-23AB-49F8-87CB-3602CBEA75A4}" presName="parTxOnly" presStyleLbl="node1" presStyleIdx="4" presStyleCnt="5">
        <dgm:presLayoutVars>
          <dgm:chMax val="0"/>
          <dgm:chPref val="0"/>
          <dgm:bulletEnabled val="1"/>
        </dgm:presLayoutVars>
      </dgm:prSet>
      <dgm:spPr/>
    </dgm:pt>
  </dgm:ptLst>
  <dgm:cxnLst>
    <dgm:cxn modelId="{C0C34609-9360-4CBB-9528-2671B47B1755}" srcId="{8801608C-5C3C-4B66-AC32-6A64AE01C1E4}" destId="{CAC112B1-14E8-46BF-BE1E-4DA585141F0C}" srcOrd="3" destOrd="0" parTransId="{57D0AA1B-79E4-4B66-BBEC-45F555745703}" sibTransId="{C4EA7BBA-F9CB-4F68-8F68-79F33D0D4ABF}"/>
    <dgm:cxn modelId="{F9F68818-3E5B-488C-969A-7EA19CDEEE67}" srcId="{8801608C-5C3C-4B66-AC32-6A64AE01C1E4}" destId="{832DE405-23AB-49F8-87CB-3602CBEA75A4}" srcOrd="4" destOrd="0" parTransId="{ABC0AD41-0DC7-4FFF-AC2E-1F81881A60C7}" sibTransId="{A287B5D8-7819-42B0-AEC5-57B42F65D5AF}"/>
    <dgm:cxn modelId="{2A5A542E-AF25-4682-AFED-5B8E42E2EB49}" type="presOf" srcId="{3C5EECCE-1185-4F9B-A76F-20AB459C2271}" destId="{B391E9BF-5F32-45B9-9BCD-33CA8A7FBFAF}" srcOrd="0" destOrd="0" presId="urn:microsoft.com/office/officeart/2005/8/layout/chevron1"/>
    <dgm:cxn modelId="{76FA3536-9097-47EA-B8D8-03E723E10150}" type="presOf" srcId="{6A2C521F-72F9-44D2-A94B-F0D08C8649D3}" destId="{59F89D90-DB0F-4717-BEB5-EA9A3524A803}" srcOrd="0" destOrd="0" presId="urn:microsoft.com/office/officeart/2005/8/layout/chevron1"/>
    <dgm:cxn modelId="{436CF43D-1ACB-40BE-B531-0F8808F7F6D9}" type="presOf" srcId="{E3DDAA0C-DCDF-497C-B5D9-3EE39306A379}" destId="{E1558D32-9566-44BD-8A5B-E83CF4804E43}" srcOrd="0" destOrd="0" presId="urn:microsoft.com/office/officeart/2005/8/layout/chevron1"/>
    <dgm:cxn modelId="{C9C02145-1FFF-4DAE-BDAE-94F2690F551B}" srcId="{8801608C-5C3C-4B66-AC32-6A64AE01C1E4}" destId="{6A2C521F-72F9-44D2-A94B-F0D08C8649D3}" srcOrd="0" destOrd="0" parTransId="{51E3493B-4394-4440-8583-22DA77F635C7}" sibTransId="{F4DBBFCB-C5C2-4984-81C5-3AAB938F4655}"/>
    <dgm:cxn modelId="{0D006C6D-28F3-4A75-B6CE-54706522BCED}" srcId="{8801608C-5C3C-4B66-AC32-6A64AE01C1E4}" destId="{E3DDAA0C-DCDF-497C-B5D9-3EE39306A379}" srcOrd="1" destOrd="0" parTransId="{FD5747FC-30AE-4655-9EDF-37329EB30565}" sibTransId="{FB918186-5CD3-4D36-A488-A8713E11755E}"/>
    <dgm:cxn modelId="{4A4CC159-F3CA-49A8-AE05-119C5D0FEEC2}" type="presOf" srcId="{CAC112B1-14E8-46BF-BE1E-4DA585141F0C}" destId="{B8B89C3F-832D-44D5-AEE4-E511C26B1C60}" srcOrd="0" destOrd="0" presId="urn:microsoft.com/office/officeart/2005/8/layout/chevron1"/>
    <dgm:cxn modelId="{63DE9BC0-3B03-463C-887E-2B8AA7AE0790}" type="presOf" srcId="{8801608C-5C3C-4B66-AC32-6A64AE01C1E4}" destId="{3E5A4507-99D8-4691-B1E3-8D3DE77E92D6}" srcOrd="0" destOrd="0" presId="urn:microsoft.com/office/officeart/2005/8/layout/chevron1"/>
    <dgm:cxn modelId="{368F4BC9-BD22-4DC0-84B3-0D8EBD2B78AC}" type="presOf" srcId="{832DE405-23AB-49F8-87CB-3602CBEA75A4}" destId="{A962575C-4341-4F05-84C4-15E82F2F1A26}" srcOrd="0" destOrd="0" presId="urn:microsoft.com/office/officeart/2005/8/layout/chevron1"/>
    <dgm:cxn modelId="{DF1D50D6-8740-426A-962E-651ED45A475D}" srcId="{8801608C-5C3C-4B66-AC32-6A64AE01C1E4}" destId="{3C5EECCE-1185-4F9B-A76F-20AB459C2271}" srcOrd="2" destOrd="0" parTransId="{965E2606-8317-4D77-936A-BCB9CA47EA67}" sibTransId="{DB4C0245-B393-4CA2-8D22-6D155DD3FCD7}"/>
    <dgm:cxn modelId="{08C053F3-E9B6-4C63-8EE4-51217DFE2C77}" type="presParOf" srcId="{3E5A4507-99D8-4691-B1E3-8D3DE77E92D6}" destId="{59F89D90-DB0F-4717-BEB5-EA9A3524A803}" srcOrd="0" destOrd="0" presId="urn:microsoft.com/office/officeart/2005/8/layout/chevron1"/>
    <dgm:cxn modelId="{A07E7942-70A6-4AE0-90C5-7E43A227C108}" type="presParOf" srcId="{3E5A4507-99D8-4691-B1E3-8D3DE77E92D6}" destId="{8B78B6D9-85EF-4C97-B624-C1E4AFC56094}" srcOrd="1" destOrd="0" presId="urn:microsoft.com/office/officeart/2005/8/layout/chevron1"/>
    <dgm:cxn modelId="{34A268CA-D624-47D1-88F9-CFB3F6A748B0}" type="presParOf" srcId="{3E5A4507-99D8-4691-B1E3-8D3DE77E92D6}" destId="{E1558D32-9566-44BD-8A5B-E83CF4804E43}" srcOrd="2" destOrd="0" presId="urn:microsoft.com/office/officeart/2005/8/layout/chevron1"/>
    <dgm:cxn modelId="{890C9B84-3279-4A48-8A68-B5F0F8ABBDE2}" type="presParOf" srcId="{3E5A4507-99D8-4691-B1E3-8D3DE77E92D6}" destId="{038F7E30-2DCB-4D81-855B-B886B8406782}" srcOrd="3" destOrd="0" presId="urn:microsoft.com/office/officeart/2005/8/layout/chevron1"/>
    <dgm:cxn modelId="{BC2DB417-108D-4F78-9475-3D14E987A3A3}" type="presParOf" srcId="{3E5A4507-99D8-4691-B1E3-8D3DE77E92D6}" destId="{B391E9BF-5F32-45B9-9BCD-33CA8A7FBFAF}" srcOrd="4" destOrd="0" presId="urn:microsoft.com/office/officeart/2005/8/layout/chevron1"/>
    <dgm:cxn modelId="{E6D09077-E4E1-4E96-9028-EB49DD15384E}" type="presParOf" srcId="{3E5A4507-99D8-4691-B1E3-8D3DE77E92D6}" destId="{25640A20-BB70-4426-A87B-D43DC318A8E9}" srcOrd="5" destOrd="0" presId="urn:microsoft.com/office/officeart/2005/8/layout/chevron1"/>
    <dgm:cxn modelId="{ADE3E460-4D82-4094-B5FC-CEECEB6632C8}" type="presParOf" srcId="{3E5A4507-99D8-4691-B1E3-8D3DE77E92D6}" destId="{B8B89C3F-832D-44D5-AEE4-E511C26B1C60}" srcOrd="6" destOrd="0" presId="urn:microsoft.com/office/officeart/2005/8/layout/chevron1"/>
    <dgm:cxn modelId="{1693F95B-9A08-4EBC-9549-8066ED39FCBD}" type="presParOf" srcId="{3E5A4507-99D8-4691-B1E3-8D3DE77E92D6}" destId="{D2BD760D-3959-4C4A-B085-67A734918321}" srcOrd="7" destOrd="0" presId="urn:microsoft.com/office/officeart/2005/8/layout/chevron1"/>
    <dgm:cxn modelId="{5392761E-C6C1-4488-8C08-D0529683E409}" type="presParOf" srcId="{3E5A4507-99D8-4691-B1E3-8D3DE77E92D6}" destId="{A962575C-4341-4F05-84C4-15E82F2F1A26}"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8801608C-5C3C-4B66-AC32-6A64AE01C1E4}" type="doc">
      <dgm:prSet loTypeId="urn:microsoft.com/office/officeart/2005/8/layout/chevron1" loCatId="process" qsTypeId="urn:microsoft.com/office/officeart/2005/8/quickstyle/simple1" qsCatId="simple" csTypeId="urn:microsoft.com/office/officeart/2005/8/colors/accent1_3" csCatId="accent1" phldr="1"/>
      <dgm:spPr/>
      <dgm:t>
        <a:bodyPr/>
        <a:lstStyle/>
        <a:p>
          <a:endParaRPr lang="es-ES"/>
        </a:p>
      </dgm:t>
    </dgm:pt>
    <dgm:pt modelId="{6A2C521F-72F9-44D2-A94B-F0D08C8649D3}">
      <dgm:prSet phldrT="[Texto]"/>
      <dgm:spPr/>
      <dgm:t>
        <a:bodyPr/>
        <a:lstStyle/>
        <a:p>
          <a:r>
            <a:rPr lang="es-ES" dirty="0"/>
            <a:t>Día 1</a:t>
          </a:r>
        </a:p>
      </dgm:t>
    </dgm:pt>
    <dgm:pt modelId="{51E3493B-4394-4440-8583-22DA77F635C7}" type="parTrans" cxnId="{C9C02145-1FFF-4DAE-BDAE-94F2690F551B}">
      <dgm:prSet/>
      <dgm:spPr/>
      <dgm:t>
        <a:bodyPr/>
        <a:lstStyle/>
        <a:p>
          <a:endParaRPr lang="es-ES"/>
        </a:p>
      </dgm:t>
    </dgm:pt>
    <dgm:pt modelId="{F4DBBFCB-C5C2-4984-81C5-3AAB938F4655}" type="sibTrans" cxnId="{C9C02145-1FFF-4DAE-BDAE-94F2690F551B}">
      <dgm:prSet/>
      <dgm:spPr/>
      <dgm:t>
        <a:bodyPr/>
        <a:lstStyle/>
        <a:p>
          <a:endParaRPr lang="es-ES"/>
        </a:p>
      </dgm:t>
    </dgm:pt>
    <dgm:pt modelId="{832DE405-23AB-49F8-87CB-3602CBEA75A4}">
      <dgm:prSet phldrT="[Texto]"/>
      <dgm:spPr/>
      <dgm:t>
        <a:bodyPr/>
        <a:lstStyle/>
        <a:p>
          <a:r>
            <a:rPr lang="es-ES" dirty="0"/>
            <a:t>Día 365</a:t>
          </a:r>
        </a:p>
      </dgm:t>
    </dgm:pt>
    <dgm:pt modelId="{ABC0AD41-0DC7-4FFF-AC2E-1F81881A60C7}" type="parTrans" cxnId="{F9F68818-3E5B-488C-969A-7EA19CDEEE67}">
      <dgm:prSet/>
      <dgm:spPr/>
      <dgm:t>
        <a:bodyPr/>
        <a:lstStyle/>
        <a:p>
          <a:endParaRPr lang="es-ES"/>
        </a:p>
      </dgm:t>
    </dgm:pt>
    <dgm:pt modelId="{A287B5D8-7819-42B0-AEC5-57B42F65D5AF}" type="sibTrans" cxnId="{F9F68818-3E5B-488C-969A-7EA19CDEEE67}">
      <dgm:prSet/>
      <dgm:spPr/>
      <dgm:t>
        <a:bodyPr/>
        <a:lstStyle/>
        <a:p>
          <a:endParaRPr lang="es-ES"/>
        </a:p>
      </dgm:t>
    </dgm:pt>
    <dgm:pt modelId="{3C5EECCE-1185-4F9B-A76F-20AB459C2271}">
      <dgm:prSet phldrT="[Texto]"/>
      <dgm:spPr/>
      <dgm:t>
        <a:bodyPr/>
        <a:lstStyle/>
        <a:p>
          <a:r>
            <a:rPr lang="es-ES" dirty="0"/>
            <a:t>Día 83</a:t>
          </a:r>
        </a:p>
      </dgm:t>
    </dgm:pt>
    <dgm:pt modelId="{965E2606-8317-4D77-936A-BCB9CA47EA67}" type="parTrans" cxnId="{DF1D50D6-8740-426A-962E-651ED45A475D}">
      <dgm:prSet/>
      <dgm:spPr/>
      <dgm:t>
        <a:bodyPr/>
        <a:lstStyle/>
        <a:p>
          <a:endParaRPr lang="es-ES"/>
        </a:p>
      </dgm:t>
    </dgm:pt>
    <dgm:pt modelId="{DB4C0245-B393-4CA2-8D22-6D155DD3FCD7}" type="sibTrans" cxnId="{DF1D50D6-8740-426A-962E-651ED45A475D}">
      <dgm:prSet/>
      <dgm:spPr/>
      <dgm:t>
        <a:bodyPr/>
        <a:lstStyle/>
        <a:p>
          <a:endParaRPr lang="es-ES"/>
        </a:p>
      </dgm:t>
    </dgm:pt>
    <dgm:pt modelId="{E3DDAA0C-DCDF-497C-B5D9-3EE39306A379}">
      <dgm:prSet phldrT="[Texto]"/>
      <dgm:spPr/>
      <dgm:t>
        <a:bodyPr/>
        <a:lstStyle/>
        <a:p>
          <a:r>
            <a:rPr lang="es-ES" dirty="0"/>
            <a:t>Dia …</a:t>
          </a:r>
        </a:p>
      </dgm:t>
    </dgm:pt>
    <dgm:pt modelId="{FD5747FC-30AE-4655-9EDF-37329EB30565}" type="parTrans" cxnId="{0D006C6D-28F3-4A75-B6CE-54706522BCED}">
      <dgm:prSet/>
      <dgm:spPr/>
      <dgm:t>
        <a:bodyPr/>
        <a:lstStyle/>
        <a:p>
          <a:endParaRPr lang="es-ES"/>
        </a:p>
      </dgm:t>
    </dgm:pt>
    <dgm:pt modelId="{FB918186-5CD3-4D36-A488-A8713E11755E}" type="sibTrans" cxnId="{0D006C6D-28F3-4A75-B6CE-54706522BCED}">
      <dgm:prSet/>
      <dgm:spPr/>
      <dgm:t>
        <a:bodyPr/>
        <a:lstStyle/>
        <a:p>
          <a:endParaRPr lang="es-ES"/>
        </a:p>
      </dgm:t>
    </dgm:pt>
    <dgm:pt modelId="{CAC112B1-14E8-46BF-BE1E-4DA585141F0C}">
      <dgm:prSet phldrT="[Texto]"/>
      <dgm:spPr/>
      <dgm:t>
        <a:bodyPr/>
        <a:lstStyle/>
        <a:p>
          <a:r>
            <a:rPr lang="es-ES" dirty="0"/>
            <a:t>Día …</a:t>
          </a:r>
        </a:p>
      </dgm:t>
    </dgm:pt>
    <dgm:pt modelId="{57D0AA1B-79E4-4B66-BBEC-45F555745703}" type="parTrans" cxnId="{C0C34609-9360-4CBB-9528-2671B47B1755}">
      <dgm:prSet/>
      <dgm:spPr/>
      <dgm:t>
        <a:bodyPr/>
        <a:lstStyle/>
        <a:p>
          <a:endParaRPr lang="es-ES"/>
        </a:p>
      </dgm:t>
    </dgm:pt>
    <dgm:pt modelId="{C4EA7BBA-F9CB-4F68-8F68-79F33D0D4ABF}" type="sibTrans" cxnId="{C0C34609-9360-4CBB-9528-2671B47B1755}">
      <dgm:prSet/>
      <dgm:spPr/>
      <dgm:t>
        <a:bodyPr/>
        <a:lstStyle/>
        <a:p>
          <a:endParaRPr lang="es-ES"/>
        </a:p>
      </dgm:t>
    </dgm:pt>
    <dgm:pt modelId="{3E5A4507-99D8-4691-B1E3-8D3DE77E92D6}" type="pres">
      <dgm:prSet presAssocID="{8801608C-5C3C-4B66-AC32-6A64AE01C1E4}" presName="Name0" presStyleCnt="0">
        <dgm:presLayoutVars>
          <dgm:dir/>
          <dgm:animLvl val="lvl"/>
          <dgm:resizeHandles val="exact"/>
        </dgm:presLayoutVars>
      </dgm:prSet>
      <dgm:spPr/>
    </dgm:pt>
    <dgm:pt modelId="{59F89D90-DB0F-4717-BEB5-EA9A3524A803}" type="pres">
      <dgm:prSet presAssocID="{6A2C521F-72F9-44D2-A94B-F0D08C8649D3}" presName="parTxOnly" presStyleLbl="node1" presStyleIdx="0" presStyleCnt="5">
        <dgm:presLayoutVars>
          <dgm:chMax val="0"/>
          <dgm:chPref val="0"/>
          <dgm:bulletEnabled val="1"/>
        </dgm:presLayoutVars>
      </dgm:prSet>
      <dgm:spPr/>
    </dgm:pt>
    <dgm:pt modelId="{8B78B6D9-85EF-4C97-B624-C1E4AFC56094}" type="pres">
      <dgm:prSet presAssocID="{F4DBBFCB-C5C2-4984-81C5-3AAB938F4655}" presName="parTxOnlySpace" presStyleCnt="0"/>
      <dgm:spPr/>
    </dgm:pt>
    <dgm:pt modelId="{E1558D32-9566-44BD-8A5B-E83CF4804E43}" type="pres">
      <dgm:prSet presAssocID="{E3DDAA0C-DCDF-497C-B5D9-3EE39306A379}" presName="parTxOnly" presStyleLbl="node1" presStyleIdx="1" presStyleCnt="5">
        <dgm:presLayoutVars>
          <dgm:chMax val="0"/>
          <dgm:chPref val="0"/>
          <dgm:bulletEnabled val="1"/>
        </dgm:presLayoutVars>
      </dgm:prSet>
      <dgm:spPr/>
    </dgm:pt>
    <dgm:pt modelId="{038F7E30-2DCB-4D81-855B-B886B8406782}" type="pres">
      <dgm:prSet presAssocID="{FB918186-5CD3-4D36-A488-A8713E11755E}" presName="parTxOnlySpace" presStyleCnt="0"/>
      <dgm:spPr/>
    </dgm:pt>
    <dgm:pt modelId="{B391E9BF-5F32-45B9-9BCD-33CA8A7FBFAF}" type="pres">
      <dgm:prSet presAssocID="{3C5EECCE-1185-4F9B-A76F-20AB459C2271}" presName="parTxOnly" presStyleLbl="node1" presStyleIdx="2" presStyleCnt="5">
        <dgm:presLayoutVars>
          <dgm:chMax val="0"/>
          <dgm:chPref val="0"/>
          <dgm:bulletEnabled val="1"/>
        </dgm:presLayoutVars>
      </dgm:prSet>
      <dgm:spPr/>
    </dgm:pt>
    <dgm:pt modelId="{25640A20-BB70-4426-A87B-D43DC318A8E9}" type="pres">
      <dgm:prSet presAssocID="{DB4C0245-B393-4CA2-8D22-6D155DD3FCD7}" presName="parTxOnlySpace" presStyleCnt="0"/>
      <dgm:spPr/>
    </dgm:pt>
    <dgm:pt modelId="{B8B89C3F-832D-44D5-AEE4-E511C26B1C60}" type="pres">
      <dgm:prSet presAssocID="{CAC112B1-14E8-46BF-BE1E-4DA585141F0C}" presName="parTxOnly" presStyleLbl="node1" presStyleIdx="3" presStyleCnt="5">
        <dgm:presLayoutVars>
          <dgm:chMax val="0"/>
          <dgm:chPref val="0"/>
          <dgm:bulletEnabled val="1"/>
        </dgm:presLayoutVars>
      </dgm:prSet>
      <dgm:spPr/>
    </dgm:pt>
    <dgm:pt modelId="{D2BD760D-3959-4C4A-B085-67A734918321}" type="pres">
      <dgm:prSet presAssocID="{C4EA7BBA-F9CB-4F68-8F68-79F33D0D4ABF}" presName="parTxOnlySpace" presStyleCnt="0"/>
      <dgm:spPr/>
    </dgm:pt>
    <dgm:pt modelId="{A962575C-4341-4F05-84C4-15E82F2F1A26}" type="pres">
      <dgm:prSet presAssocID="{832DE405-23AB-49F8-87CB-3602CBEA75A4}" presName="parTxOnly" presStyleLbl="node1" presStyleIdx="4" presStyleCnt="5">
        <dgm:presLayoutVars>
          <dgm:chMax val="0"/>
          <dgm:chPref val="0"/>
          <dgm:bulletEnabled val="1"/>
        </dgm:presLayoutVars>
      </dgm:prSet>
      <dgm:spPr/>
    </dgm:pt>
  </dgm:ptLst>
  <dgm:cxnLst>
    <dgm:cxn modelId="{C0C34609-9360-4CBB-9528-2671B47B1755}" srcId="{8801608C-5C3C-4B66-AC32-6A64AE01C1E4}" destId="{CAC112B1-14E8-46BF-BE1E-4DA585141F0C}" srcOrd="3" destOrd="0" parTransId="{57D0AA1B-79E4-4B66-BBEC-45F555745703}" sibTransId="{C4EA7BBA-F9CB-4F68-8F68-79F33D0D4ABF}"/>
    <dgm:cxn modelId="{F9F68818-3E5B-488C-969A-7EA19CDEEE67}" srcId="{8801608C-5C3C-4B66-AC32-6A64AE01C1E4}" destId="{832DE405-23AB-49F8-87CB-3602CBEA75A4}" srcOrd="4" destOrd="0" parTransId="{ABC0AD41-0DC7-4FFF-AC2E-1F81881A60C7}" sibTransId="{A287B5D8-7819-42B0-AEC5-57B42F65D5AF}"/>
    <dgm:cxn modelId="{2A5A542E-AF25-4682-AFED-5B8E42E2EB49}" type="presOf" srcId="{3C5EECCE-1185-4F9B-A76F-20AB459C2271}" destId="{B391E9BF-5F32-45B9-9BCD-33CA8A7FBFAF}" srcOrd="0" destOrd="0" presId="urn:microsoft.com/office/officeart/2005/8/layout/chevron1"/>
    <dgm:cxn modelId="{76FA3536-9097-47EA-B8D8-03E723E10150}" type="presOf" srcId="{6A2C521F-72F9-44D2-A94B-F0D08C8649D3}" destId="{59F89D90-DB0F-4717-BEB5-EA9A3524A803}" srcOrd="0" destOrd="0" presId="urn:microsoft.com/office/officeart/2005/8/layout/chevron1"/>
    <dgm:cxn modelId="{436CF43D-1ACB-40BE-B531-0F8808F7F6D9}" type="presOf" srcId="{E3DDAA0C-DCDF-497C-B5D9-3EE39306A379}" destId="{E1558D32-9566-44BD-8A5B-E83CF4804E43}" srcOrd="0" destOrd="0" presId="urn:microsoft.com/office/officeart/2005/8/layout/chevron1"/>
    <dgm:cxn modelId="{C9C02145-1FFF-4DAE-BDAE-94F2690F551B}" srcId="{8801608C-5C3C-4B66-AC32-6A64AE01C1E4}" destId="{6A2C521F-72F9-44D2-A94B-F0D08C8649D3}" srcOrd="0" destOrd="0" parTransId="{51E3493B-4394-4440-8583-22DA77F635C7}" sibTransId="{F4DBBFCB-C5C2-4984-81C5-3AAB938F4655}"/>
    <dgm:cxn modelId="{0D006C6D-28F3-4A75-B6CE-54706522BCED}" srcId="{8801608C-5C3C-4B66-AC32-6A64AE01C1E4}" destId="{E3DDAA0C-DCDF-497C-B5D9-3EE39306A379}" srcOrd="1" destOrd="0" parTransId="{FD5747FC-30AE-4655-9EDF-37329EB30565}" sibTransId="{FB918186-5CD3-4D36-A488-A8713E11755E}"/>
    <dgm:cxn modelId="{4A4CC159-F3CA-49A8-AE05-119C5D0FEEC2}" type="presOf" srcId="{CAC112B1-14E8-46BF-BE1E-4DA585141F0C}" destId="{B8B89C3F-832D-44D5-AEE4-E511C26B1C60}" srcOrd="0" destOrd="0" presId="urn:microsoft.com/office/officeart/2005/8/layout/chevron1"/>
    <dgm:cxn modelId="{63DE9BC0-3B03-463C-887E-2B8AA7AE0790}" type="presOf" srcId="{8801608C-5C3C-4B66-AC32-6A64AE01C1E4}" destId="{3E5A4507-99D8-4691-B1E3-8D3DE77E92D6}" srcOrd="0" destOrd="0" presId="urn:microsoft.com/office/officeart/2005/8/layout/chevron1"/>
    <dgm:cxn modelId="{368F4BC9-BD22-4DC0-84B3-0D8EBD2B78AC}" type="presOf" srcId="{832DE405-23AB-49F8-87CB-3602CBEA75A4}" destId="{A962575C-4341-4F05-84C4-15E82F2F1A26}" srcOrd="0" destOrd="0" presId="urn:microsoft.com/office/officeart/2005/8/layout/chevron1"/>
    <dgm:cxn modelId="{DF1D50D6-8740-426A-962E-651ED45A475D}" srcId="{8801608C-5C3C-4B66-AC32-6A64AE01C1E4}" destId="{3C5EECCE-1185-4F9B-A76F-20AB459C2271}" srcOrd="2" destOrd="0" parTransId="{965E2606-8317-4D77-936A-BCB9CA47EA67}" sibTransId="{DB4C0245-B393-4CA2-8D22-6D155DD3FCD7}"/>
    <dgm:cxn modelId="{08C053F3-E9B6-4C63-8EE4-51217DFE2C77}" type="presParOf" srcId="{3E5A4507-99D8-4691-B1E3-8D3DE77E92D6}" destId="{59F89D90-DB0F-4717-BEB5-EA9A3524A803}" srcOrd="0" destOrd="0" presId="urn:microsoft.com/office/officeart/2005/8/layout/chevron1"/>
    <dgm:cxn modelId="{A07E7942-70A6-4AE0-90C5-7E43A227C108}" type="presParOf" srcId="{3E5A4507-99D8-4691-B1E3-8D3DE77E92D6}" destId="{8B78B6D9-85EF-4C97-B624-C1E4AFC56094}" srcOrd="1" destOrd="0" presId="urn:microsoft.com/office/officeart/2005/8/layout/chevron1"/>
    <dgm:cxn modelId="{34A268CA-D624-47D1-88F9-CFB3F6A748B0}" type="presParOf" srcId="{3E5A4507-99D8-4691-B1E3-8D3DE77E92D6}" destId="{E1558D32-9566-44BD-8A5B-E83CF4804E43}" srcOrd="2" destOrd="0" presId="urn:microsoft.com/office/officeart/2005/8/layout/chevron1"/>
    <dgm:cxn modelId="{890C9B84-3279-4A48-8A68-B5F0F8ABBDE2}" type="presParOf" srcId="{3E5A4507-99D8-4691-B1E3-8D3DE77E92D6}" destId="{038F7E30-2DCB-4D81-855B-B886B8406782}" srcOrd="3" destOrd="0" presId="urn:microsoft.com/office/officeart/2005/8/layout/chevron1"/>
    <dgm:cxn modelId="{BC2DB417-108D-4F78-9475-3D14E987A3A3}" type="presParOf" srcId="{3E5A4507-99D8-4691-B1E3-8D3DE77E92D6}" destId="{B391E9BF-5F32-45B9-9BCD-33CA8A7FBFAF}" srcOrd="4" destOrd="0" presId="urn:microsoft.com/office/officeart/2005/8/layout/chevron1"/>
    <dgm:cxn modelId="{E6D09077-E4E1-4E96-9028-EB49DD15384E}" type="presParOf" srcId="{3E5A4507-99D8-4691-B1E3-8D3DE77E92D6}" destId="{25640A20-BB70-4426-A87B-D43DC318A8E9}" srcOrd="5" destOrd="0" presId="urn:microsoft.com/office/officeart/2005/8/layout/chevron1"/>
    <dgm:cxn modelId="{ADE3E460-4D82-4094-B5FC-CEECEB6632C8}" type="presParOf" srcId="{3E5A4507-99D8-4691-B1E3-8D3DE77E92D6}" destId="{B8B89C3F-832D-44D5-AEE4-E511C26B1C60}" srcOrd="6" destOrd="0" presId="urn:microsoft.com/office/officeart/2005/8/layout/chevron1"/>
    <dgm:cxn modelId="{1693F95B-9A08-4EBC-9549-8066ED39FCBD}" type="presParOf" srcId="{3E5A4507-99D8-4691-B1E3-8D3DE77E92D6}" destId="{D2BD760D-3959-4C4A-B085-67A734918321}" srcOrd="7" destOrd="0" presId="urn:microsoft.com/office/officeart/2005/8/layout/chevron1"/>
    <dgm:cxn modelId="{5392761E-C6C1-4488-8C08-D0529683E409}" type="presParOf" srcId="{3E5A4507-99D8-4691-B1E3-8D3DE77E92D6}" destId="{A962575C-4341-4F05-84C4-15E82F2F1A26}"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DC7C381A-8A2D-48BA-891B-ADAB82FAE957}" type="doc">
      <dgm:prSet loTypeId="urn:microsoft.com/office/officeart/2005/8/layout/default" loCatId="list" qsTypeId="urn:microsoft.com/office/officeart/2005/8/quickstyle/simple1" qsCatId="simple" csTypeId="urn:microsoft.com/office/officeart/2005/8/colors/accent3_3" csCatId="accent3" phldr="1"/>
      <dgm:spPr/>
      <dgm:t>
        <a:bodyPr/>
        <a:lstStyle/>
        <a:p>
          <a:endParaRPr lang="es-ES"/>
        </a:p>
      </dgm:t>
    </dgm:pt>
    <dgm:pt modelId="{4476F6BA-E791-4428-BA94-BC69121C86E4}">
      <dgm:prSet phldrT="[Texto]"/>
      <dgm:spPr/>
      <dgm:t>
        <a:bodyPr/>
        <a:lstStyle/>
        <a:p>
          <a:r>
            <a:rPr lang="es-ES" dirty="0"/>
            <a:t>Un histórico de operaciones = Trazable</a:t>
          </a:r>
        </a:p>
      </dgm:t>
    </dgm:pt>
    <dgm:pt modelId="{B2D8A91C-32B7-4CA3-95EC-888526E439C5}" type="parTrans" cxnId="{E1D86635-4297-4F14-9EB2-3A058C37B8A3}">
      <dgm:prSet/>
      <dgm:spPr/>
      <dgm:t>
        <a:bodyPr/>
        <a:lstStyle/>
        <a:p>
          <a:endParaRPr lang="es-ES"/>
        </a:p>
      </dgm:t>
    </dgm:pt>
    <dgm:pt modelId="{60B7B2AB-C4EF-4028-AEB4-0ADEA42D1BD9}" type="sibTrans" cxnId="{E1D86635-4297-4F14-9EB2-3A058C37B8A3}">
      <dgm:prSet/>
      <dgm:spPr/>
      <dgm:t>
        <a:bodyPr/>
        <a:lstStyle/>
        <a:p>
          <a:endParaRPr lang="es-ES"/>
        </a:p>
      </dgm:t>
    </dgm:pt>
    <dgm:pt modelId="{DBEDB0F5-08A8-421B-A357-65FA37C8F31F}">
      <dgm:prSet/>
      <dgm:spPr/>
      <dgm:t>
        <a:bodyPr/>
        <a:lstStyle/>
        <a:p>
          <a:r>
            <a:rPr lang="es-ES" dirty="0"/>
            <a:t>Por cada porción del histórico (Bloque)</a:t>
          </a:r>
        </a:p>
      </dgm:t>
    </dgm:pt>
    <dgm:pt modelId="{4364EB77-267E-4C77-AF87-23D2294B9910}" type="parTrans" cxnId="{36534E8E-6319-41FE-96A8-C1D2D198558F}">
      <dgm:prSet/>
      <dgm:spPr/>
      <dgm:t>
        <a:bodyPr/>
        <a:lstStyle/>
        <a:p>
          <a:endParaRPr lang="es-ES"/>
        </a:p>
      </dgm:t>
    </dgm:pt>
    <dgm:pt modelId="{5CC28AD4-921E-44D1-ABA5-D361DDBE08E1}" type="sibTrans" cxnId="{36534E8E-6319-41FE-96A8-C1D2D198558F}">
      <dgm:prSet/>
      <dgm:spPr/>
      <dgm:t>
        <a:bodyPr/>
        <a:lstStyle/>
        <a:p>
          <a:endParaRPr lang="es-ES"/>
        </a:p>
      </dgm:t>
    </dgm:pt>
    <dgm:pt modelId="{23D4DD93-2B86-4D01-880F-E02DDA0DFA95}">
      <dgm:prSet/>
      <dgm:spPr/>
      <dgm:t>
        <a:bodyPr/>
        <a:lstStyle/>
        <a:p>
          <a:r>
            <a:rPr lang="es-ES" dirty="0"/>
            <a:t>Ponemos una clave del bloque anterior + clave para todo el bloque + Encriptamos = Inviolable</a:t>
          </a:r>
        </a:p>
      </dgm:t>
    </dgm:pt>
    <dgm:pt modelId="{4421965F-EE73-4A1E-936A-A7A8AD210B3D}" type="parTrans" cxnId="{D229FF0A-2988-4E9E-88CB-661EB5ADA04C}">
      <dgm:prSet/>
      <dgm:spPr/>
      <dgm:t>
        <a:bodyPr/>
        <a:lstStyle/>
        <a:p>
          <a:endParaRPr lang="es-ES"/>
        </a:p>
      </dgm:t>
    </dgm:pt>
    <dgm:pt modelId="{4F5EDB55-5304-4DFE-A775-35E1BF37E1D7}" type="sibTrans" cxnId="{D229FF0A-2988-4E9E-88CB-661EB5ADA04C}">
      <dgm:prSet/>
      <dgm:spPr/>
      <dgm:t>
        <a:bodyPr/>
        <a:lstStyle/>
        <a:p>
          <a:endParaRPr lang="es-ES"/>
        </a:p>
      </dgm:t>
    </dgm:pt>
    <dgm:pt modelId="{50B7E78E-22C7-4E20-9CC6-CB66636A0D77}">
      <dgm:prSet/>
      <dgm:spPr/>
      <dgm:t>
        <a:bodyPr/>
        <a:lstStyle/>
        <a:p>
          <a:r>
            <a:rPr lang="es-ES" dirty="0"/>
            <a:t>A disposición de todos los participantes = Confiable</a:t>
          </a:r>
        </a:p>
      </dgm:t>
    </dgm:pt>
    <dgm:pt modelId="{12FF5644-635A-4AD0-BAC4-DF67D0643423}" type="parTrans" cxnId="{B023A164-722C-408B-B6BE-E19ABDA56DB6}">
      <dgm:prSet/>
      <dgm:spPr/>
      <dgm:t>
        <a:bodyPr/>
        <a:lstStyle/>
        <a:p>
          <a:endParaRPr lang="es-ES"/>
        </a:p>
      </dgm:t>
    </dgm:pt>
    <dgm:pt modelId="{F6C5F798-275C-4758-834A-46F26B5D728E}" type="sibTrans" cxnId="{B023A164-722C-408B-B6BE-E19ABDA56DB6}">
      <dgm:prSet/>
      <dgm:spPr/>
      <dgm:t>
        <a:bodyPr/>
        <a:lstStyle/>
        <a:p>
          <a:endParaRPr lang="es-ES"/>
        </a:p>
      </dgm:t>
    </dgm:pt>
    <dgm:pt modelId="{78BC58B0-95C3-41B2-A797-8C593296478F}">
      <dgm:prSet/>
      <dgm:spPr/>
      <dgm:t>
        <a:bodyPr/>
        <a:lstStyle/>
        <a:p>
          <a:r>
            <a:rPr lang="es-ES" dirty="0"/>
            <a:t>Con un sistema de verificación de cada nueva operación = Seguro</a:t>
          </a:r>
          <a:endParaRPr lang="es-ES" baseline="30000" dirty="0"/>
        </a:p>
      </dgm:t>
    </dgm:pt>
    <dgm:pt modelId="{555455A4-55B7-4731-8925-4A30B18AD820}" type="parTrans" cxnId="{64FE02DB-8FD4-4CB0-BF9A-2CE4EEB93C41}">
      <dgm:prSet/>
      <dgm:spPr/>
      <dgm:t>
        <a:bodyPr/>
        <a:lstStyle/>
        <a:p>
          <a:endParaRPr lang="es-ES"/>
        </a:p>
      </dgm:t>
    </dgm:pt>
    <dgm:pt modelId="{8A694037-D283-4731-A802-F1F7D5A5ACAB}" type="sibTrans" cxnId="{64FE02DB-8FD4-4CB0-BF9A-2CE4EEB93C41}">
      <dgm:prSet/>
      <dgm:spPr/>
      <dgm:t>
        <a:bodyPr/>
        <a:lstStyle/>
        <a:p>
          <a:endParaRPr lang="es-ES"/>
        </a:p>
      </dgm:t>
    </dgm:pt>
    <dgm:pt modelId="{1882380A-B22A-4AF0-A2E1-7E47F734EA8B}">
      <dgm:prSet/>
      <dgm:spPr/>
      <dgm:t>
        <a:bodyPr/>
        <a:lstStyle/>
        <a:p>
          <a:r>
            <a:rPr lang="es-ES" dirty="0"/>
            <a:t>Con un sistema de consulta = Confiable</a:t>
          </a:r>
          <a:r>
            <a:rPr lang="es-ES" baseline="30000" dirty="0"/>
            <a:t>2</a:t>
          </a:r>
        </a:p>
      </dgm:t>
    </dgm:pt>
    <dgm:pt modelId="{4412E1C8-392E-42FC-B5A6-50719C15AF95}" type="parTrans" cxnId="{95ECB300-066F-4C40-BC5B-0D5DBA2D11B0}">
      <dgm:prSet/>
      <dgm:spPr/>
      <dgm:t>
        <a:bodyPr/>
        <a:lstStyle/>
        <a:p>
          <a:endParaRPr lang="es-ES"/>
        </a:p>
      </dgm:t>
    </dgm:pt>
    <dgm:pt modelId="{BF939CAC-AE10-4A30-AED1-BDFBCD5EB2DF}" type="sibTrans" cxnId="{95ECB300-066F-4C40-BC5B-0D5DBA2D11B0}">
      <dgm:prSet/>
      <dgm:spPr/>
      <dgm:t>
        <a:bodyPr/>
        <a:lstStyle/>
        <a:p>
          <a:endParaRPr lang="es-ES"/>
        </a:p>
      </dgm:t>
    </dgm:pt>
    <dgm:pt modelId="{9C8856F8-23B6-45FC-9FC7-B262E9F3A78D}" type="pres">
      <dgm:prSet presAssocID="{DC7C381A-8A2D-48BA-891B-ADAB82FAE957}" presName="diagram" presStyleCnt="0">
        <dgm:presLayoutVars>
          <dgm:dir/>
          <dgm:resizeHandles val="exact"/>
        </dgm:presLayoutVars>
      </dgm:prSet>
      <dgm:spPr/>
    </dgm:pt>
    <dgm:pt modelId="{2F080036-D364-4623-804A-695B0AB8C503}" type="pres">
      <dgm:prSet presAssocID="{4476F6BA-E791-4428-BA94-BC69121C86E4}" presName="node" presStyleLbl="node1" presStyleIdx="0" presStyleCnt="6">
        <dgm:presLayoutVars>
          <dgm:bulletEnabled val="1"/>
        </dgm:presLayoutVars>
      </dgm:prSet>
      <dgm:spPr/>
    </dgm:pt>
    <dgm:pt modelId="{6AC7BF5D-EF2F-4785-8537-DDF2BA7E3ABB}" type="pres">
      <dgm:prSet presAssocID="{60B7B2AB-C4EF-4028-AEB4-0ADEA42D1BD9}" presName="sibTrans" presStyleCnt="0"/>
      <dgm:spPr/>
    </dgm:pt>
    <dgm:pt modelId="{6F50A47B-9434-4383-9C77-55CF615BBCF7}" type="pres">
      <dgm:prSet presAssocID="{78BC58B0-95C3-41B2-A797-8C593296478F}" presName="node" presStyleLbl="node1" presStyleIdx="1" presStyleCnt="6">
        <dgm:presLayoutVars>
          <dgm:bulletEnabled val="1"/>
        </dgm:presLayoutVars>
      </dgm:prSet>
      <dgm:spPr/>
    </dgm:pt>
    <dgm:pt modelId="{A5340191-4A89-4E72-9A76-2C042D1FC90F}" type="pres">
      <dgm:prSet presAssocID="{8A694037-D283-4731-A802-F1F7D5A5ACAB}" presName="sibTrans" presStyleCnt="0"/>
      <dgm:spPr/>
    </dgm:pt>
    <dgm:pt modelId="{C83DC467-D1C0-4145-B8F3-7C4372532DDB}" type="pres">
      <dgm:prSet presAssocID="{DBEDB0F5-08A8-421B-A357-65FA37C8F31F}" presName="node" presStyleLbl="node1" presStyleIdx="2" presStyleCnt="6">
        <dgm:presLayoutVars>
          <dgm:bulletEnabled val="1"/>
        </dgm:presLayoutVars>
      </dgm:prSet>
      <dgm:spPr/>
    </dgm:pt>
    <dgm:pt modelId="{F2D5E36E-FF96-4D89-95FF-6F477877AE17}" type="pres">
      <dgm:prSet presAssocID="{5CC28AD4-921E-44D1-ABA5-D361DDBE08E1}" presName="sibTrans" presStyleCnt="0"/>
      <dgm:spPr/>
    </dgm:pt>
    <dgm:pt modelId="{652318C9-7121-40F1-BA0A-8E504903A9BF}" type="pres">
      <dgm:prSet presAssocID="{23D4DD93-2B86-4D01-880F-E02DDA0DFA95}" presName="node" presStyleLbl="node1" presStyleIdx="3" presStyleCnt="6">
        <dgm:presLayoutVars>
          <dgm:bulletEnabled val="1"/>
        </dgm:presLayoutVars>
      </dgm:prSet>
      <dgm:spPr/>
    </dgm:pt>
    <dgm:pt modelId="{D3DB064A-DA15-4E3E-8AF6-DCE0A28559E1}" type="pres">
      <dgm:prSet presAssocID="{4F5EDB55-5304-4DFE-A775-35E1BF37E1D7}" presName="sibTrans" presStyleCnt="0"/>
      <dgm:spPr/>
    </dgm:pt>
    <dgm:pt modelId="{489221B8-35D3-4290-9D33-3A1422889658}" type="pres">
      <dgm:prSet presAssocID="{50B7E78E-22C7-4E20-9CC6-CB66636A0D77}" presName="node" presStyleLbl="node1" presStyleIdx="4" presStyleCnt="6">
        <dgm:presLayoutVars>
          <dgm:bulletEnabled val="1"/>
        </dgm:presLayoutVars>
      </dgm:prSet>
      <dgm:spPr/>
    </dgm:pt>
    <dgm:pt modelId="{27A65155-F0FD-4EB2-B847-6594AFD85F0A}" type="pres">
      <dgm:prSet presAssocID="{F6C5F798-275C-4758-834A-46F26B5D728E}" presName="sibTrans" presStyleCnt="0"/>
      <dgm:spPr/>
    </dgm:pt>
    <dgm:pt modelId="{5765C76D-DA52-4787-9BF6-4CB1D37E6335}" type="pres">
      <dgm:prSet presAssocID="{1882380A-B22A-4AF0-A2E1-7E47F734EA8B}" presName="node" presStyleLbl="node1" presStyleIdx="5" presStyleCnt="6">
        <dgm:presLayoutVars>
          <dgm:bulletEnabled val="1"/>
        </dgm:presLayoutVars>
      </dgm:prSet>
      <dgm:spPr/>
    </dgm:pt>
  </dgm:ptLst>
  <dgm:cxnLst>
    <dgm:cxn modelId="{95ECB300-066F-4C40-BC5B-0D5DBA2D11B0}" srcId="{DC7C381A-8A2D-48BA-891B-ADAB82FAE957}" destId="{1882380A-B22A-4AF0-A2E1-7E47F734EA8B}" srcOrd="5" destOrd="0" parTransId="{4412E1C8-392E-42FC-B5A6-50719C15AF95}" sibTransId="{BF939CAC-AE10-4A30-AED1-BDFBCD5EB2DF}"/>
    <dgm:cxn modelId="{D229FF0A-2988-4E9E-88CB-661EB5ADA04C}" srcId="{DC7C381A-8A2D-48BA-891B-ADAB82FAE957}" destId="{23D4DD93-2B86-4D01-880F-E02DDA0DFA95}" srcOrd="3" destOrd="0" parTransId="{4421965F-EE73-4A1E-936A-A7A8AD210B3D}" sibTransId="{4F5EDB55-5304-4DFE-A775-35E1BF37E1D7}"/>
    <dgm:cxn modelId="{34F75C19-9111-41FD-A1C0-B5D7509FF24E}" type="presOf" srcId="{78BC58B0-95C3-41B2-A797-8C593296478F}" destId="{6F50A47B-9434-4383-9C77-55CF615BBCF7}" srcOrd="0" destOrd="0" presId="urn:microsoft.com/office/officeart/2005/8/layout/default"/>
    <dgm:cxn modelId="{2B69E732-F275-41B4-918F-AFC98AE4B959}" type="presOf" srcId="{1882380A-B22A-4AF0-A2E1-7E47F734EA8B}" destId="{5765C76D-DA52-4787-9BF6-4CB1D37E6335}" srcOrd="0" destOrd="0" presId="urn:microsoft.com/office/officeart/2005/8/layout/default"/>
    <dgm:cxn modelId="{E1D86635-4297-4F14-9EB2-3A058C37B8A3}" srcId="{DC7C381A-8A2D-48BA-891B-ADAB82FAE957}" destId="{4476F6BA-E791-4428-BA94-BC69121C86E4}" srcOrd="0" destOrd="0" parTransId="{B2D8A91C-32B7-4CA3-95EC-888526E439C5}" sibTransId="{60B7B2AB-C4EF-4028-AEB4-0ADEA42D1BD9}"/>
    <dgm:cxn modelId="{4486C73A-5944-4028-BFAC-E877200F589D}" type="presOf" srcId="{DC7C381A-8A2D-48BA-891B-ADAB82FAE957}" destId="{9C8856F8-23B6-45FC-9FC7-B262E9F3A78D}" srcOrd="0" destOrd="0" presId="urn:microsoft.com/office/officeart/2005/8/layout/default"/>
    <dgm:cxn modelId="{B023A164-722C-408B-B6BE-E19ABDA56DB6}" srcId="{DC7C381A-8A2D-48BA-891B-ADAB82FAE957}" destId="{50B7E78E-22C7-4E20-9CC6-CB66636A0D77}" srcOrd="4" destOrd="0" parTransId="{12FF5644-635A-4AD0-BAC4-DF67D0643423}" sibTransId="{F6C5F798-275C-4758-834A-46F26B5D728E}"/>
    <dgm:cxn modelId="{A840397E-C450-4326-A909-26E53DC701F0}" type="presOf" srcId="{4476F6BA-E791-4428-BA94-BC69121C86E4}" destId="{2F080036-D364-4623-804A-695B0AB8C503}" srcOrd="0" destOrd="0" presId="urn:microsoft.com/office/officeart/2005/8/layout/default"/>
    <dgm:cxn modelId="{36534E8E-6319-41FE-96A8-C1D2D198558F}" srcId="{DC7C381A-8A2D-48BA-891B-ADAB82FAE957}" destId="{DBEDB0F5-08A8-421B-A357-65FA37C8F31F}" srcOrd="2" destOrd="0" parTransId="{4364EB77-267E-4C77-AF87-23D2294B9910}" sibTransId="{5CC28AD4-921E-44D1-ABA5-D361DDBE08E1}"/>
    <dgm:cxn modelId="{7B9C6FAB-7E41-4475-A9EE-5DC4BFD4B635}" type="presOf" srcId="{50B7E78E-22C7-4E20-9CC6-CB66636A0D77}" destId="{489221B8-35D3-4290-9D33-3A1422889658}" srcOrd="0" destOrd="0" presId="urn:microsoft.com/office/officeart/2005/8/layout/default"/>
    <dgm:cxn modelId="{CDBE58CD-0478-4396-A7F5-0AF775A0E903}" type="presOf" srcId="{DBEDB0F5-08A8-421B-A357-65FA37C8F31F}" destId="{C83DC467-D1C0-4145-B8F3-7C4372532DDB}" srcOrd="0" destOrd="0" presId="urn:microsoft.com/office/officeart/2005/8/layout/default"/>
    <dgm:cxn modelId="{64FE02DB-8FD4-4CB0-BF9A-2CE4EEB93C41}" srcId="{DC7C381A-8A2D-48BA-891B-ADAB82FAE957}" destId="{78BC58B0-95C3-41B2-A797-8C593296478F}" srcOrd="1" destOrd="0" parTransId="{555455A4-55B7-4731-8925-4A30B18AD820}" sibTransId="{8A694037-D283-4731-A802-F1F7D5A5ACAB}"/>
    <dgm:cxn modelId="{77870AFC-96FA-4448-8F43-0BD81EAAA5B6}" type="presOf" srcId="{23D4DD93-2B86-4D01-880F-E02DDA0DFA95}" destId="{652318C9-7121-40F1-BA0A-8E504903A9BF}" srcOrd="0" destOrd="0" presId="urn:microsoft.com/office/officeart/2005/8/layout/default"/>
    <dgm:cxn modelId="{9BA94E16-25D7-426F-800A-6167BCDA7DF6}" type="presParOf" srcId="{9C8856F8-23B6-45FC-9FC7-B262E9F3A78D}" destId="{2F080036-D364-4623-804A-695B0AB8C503}" srcOrd="0" destOrd="0" presId="urn:microsoft.com/office/officeart/2005/8/layout/default"/>
    <dgm:cxn modelId="{3FF4D491-E32C-4A0B-A907-A07A65995DDA}" type="presParOf" srcId="{9C8856F8-23B6-45FC-9FC7-B262E9F3A78D}" destId="{6AC7BF5D-EF2F-4785-8537-DDF2BA7E3ABB}" srcOrd="1" destOrd="0" presId="urn:microsoft.com/office/officeart/2005/8/layout/default"/>
    <dgm:cxn modelId="{1AF0CDC9-E029-40F4-9073-2F0116B4E75A}" type="presParOf" srcId="{9C8856F8-23B6-45FC-9FC7-B262E9F3A78D}" destId="{6F50A47B-9434-4383-9C77-55CF615BBCF7}" srcOrd="2" destOrd="0" presId="urn:microsoft.com/office/officeart/2005/8/layout/default"/>
    <dgm:cxn modelId="{025E08F6-90E9-4853-9D2C-0F91398E1053}" type="presParOf" srcId="{9C8856F8-23B6-45FC-9FC7-B262E9F3A78D}" destId="{A5340191-4A89-4E72-9A76-2C042D1FC90F}" srcOrd="3" destOrd="0" presId="urn:microsoft.com/office/officeart/2005/8/layout/default"/>
    <dgm:cxn modelId="{567434A6-EF67-4D88-861C-70222B890B0C}" type="presParOf" srcId="{9C8856F8-23B6-45FC-9FC7-B262E9F3A78D}" destId="{C83DC467-D1C0-4145-B8F3-7C4372532DDB}" srcOrd="4" destOrd="0" presId="urn:microsoft.com/office/officeart/2005/8/layout/default"/>
    <dgm:cxn modelId="{8B16F2DC-EB79-4C59-A646-1B834E7A6378}" type="presParOf" srcId="{9C8856F8-23B6-45FC-9FC7-B262E9F3A78D}" destId="{F2D5E36E-FF96-4D89-95FF-6F477877AE17}" srcOrd="5" destOrd="0" presId="urn:microsoft.com/office/officeart/2005/8/layout/default"/>
    <dgm:cxn modelId="{D495B8FA-8B26-4B14-B9AC-83A121FC9A43}" type="presParOf" srcId="{9C8856F8-23B6-45FC-9FC7-B262E9F3A78D}" destId="{652318C9-7121-40F1-BA0A-8E504903A9BF}" srcOrd="6" destOrd="0" presId="urn:microsoft.com/office/officeart/2005/8/layout/default"/>
    <dgm:cxn modelId="{744B3C7D-1B74-4A72-9EA7-A17D920DFAF1}" type="presParOf" srcId="{9C8856F8-23B6-45FC-9FC7-B262E9F3A78D}" destId="{D3DB064A-DA15-4E3E-8AF6-DCE0A28559E1}" srcOrd="7" destOrd="0" presId="urn:microsoft.com/office/officeart/2005/8/layout/default"/>
    <dgm:cxn modelId="{7C1CCAC9-8C7F-4647-AD80-19C09DEEC3D6}" type="presParOf" srcId="{9C8856F8-23B6-45FC-9FC7-B262E9F3A78D}" destId="{489221B8-35D3-4290-9D33-3A1422889658}" srcOrd="8" destOrd="0" presId="urn:microsoft.com/office/officeart/2005/8/layout/default"/>
    <dgm:cxn modelId="{E3ED4822-F37D-4C62-B3D4-6990F0662D59}" type="presParOf" srcId="{9C8856F8-23B6-45FC-9FC7-B262E9F3A78D}" destId="{27A65155-F0FD-4EB2-B847-6594AFD85F0A}" srcOrd="9" destOrd="0" presId="urn:microsoft.com/office/officeart/2005/8/layout/default"/>
    <dgm:cxn modelId="{B5D1FF4B-FEC4-4F61-A624-70A1788985F9}" type="presParOf" srcId="{9C8856F8-23B6-45FC-9FC7-B262E9F3A78D}" destId="{5765C76D-DA52-4787-9BF6-4CB1D37E6335}"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D6202A80-5E0E-45FE-AF47-B77047446AC1}" type="doc">
      <dgm:prSet loTypeId="urn:microsoft.com/office/officeart/2005/8/layout/vList2" loCatId="list" qsTypeId="urn:microsoft.com/office/officeart/2005/8/quickstyle/simple1" qsCatId="simple" csTypeId="urn:microsoft.com/office/officeart/2005/8/colors/accent3_4" csCatId="accent3" phldr="1"/>
      <dgm:spPr/>
      <dgm:t>
        <a:bodyPr/>
        <a:lstStyle/>
        <a:p>
          <a:endParaRPr lang="es-ES"/>
        </a:p>
      </dgm:t>
    </dgm:pt>
    <dgm:pt modelId="{27B015C6-C56F-43F8-91BD-2248F7694845}">
      <dgm:prSet phldrT="[Texto]"/>
      <dgm:spPr/>
      <dgm:t>
        <a:bodyPr/>
        <a:lstStyle/>
        <a:p>
          <a:r>
            <a:rPr lang="es-ES" b="1" noProof="0" dirty="0"/>
            <a:t>Ex Ante. </a:t>
          </a:r>
          <a:endParaRPr lang="es-ES" dirty="0"/>
        </a:p>
      </dgm:t>
    </dgm:pt>
    <dgm:pt modelId="{CBD5DE8E-490A-4FBD-B46D-681F42DDDAEA}" type="parTrans" cxnId="{AF9BE444-C55D-44F5-855F-2B8903BBE801}">
      <dgm:prSet/>
      <dgm:spPr/>
      <dgm:t>
        <a:bodyPr/>
        <a:lstStyle/>
        <a:p>
          <a:endParaRPr lang="es-ES"/>
        </a:p>
      </dgm:t>
    </dgm:pt>
    <dgm:pt modelId="{4BD672C9-B4C8-4760-BD12-14BA8C1FAE6F}" type="sibTrans" cxnId="{AF9BE444-C55D-44F5-855F-2B8903BBE801}">
      <dgm:prSet/>
      <dgm:spPr/>
      <dgm:t>
        <a:bodyPr/>
        <a:lstStyle/>
        <a:p>
          <a:endParaRPr lang="es-ES"/>
        </a:p>
      </dgm:t>
    </dgm:pt>
    <dgm:pt modelId="{50FAC8E1-954A-4DAD-9400-52FA2F770611}">
      <dgm:prSet/>
      <dgm:spPr/>
      <dgm:t>
        <a:bodyPr/>
        <a:lstStyle/>
        <a:p>
          <a:r>
            <a:rPr lang="es-ES" noProof="0" dirty="0"/>
            <a:t>Conocer donde y cuando hay que barrer.</a:t>
          </a:r>
        </a:p>
      </dgm:t>
    </dgm:pt>
    <dgm:pt modelId="{D2B26253-89AA-4A8F-9C65-AC803B33187C}" type="parTrans" cxnId="{954640A4-EADA-421F-B58B-E782224535EA}">
      <dgm:prSet/>
      <dgm:spPr/>
      <dgm:t>
        <a:bodyPr/>
        <a:lstStyle/>
        <a:p>
          <a:endParaRPr lang="es-ES"/>
        </a:p>
      </dgm:t>
    </dgm:pt>
    <dgm:pt modelId="{AF19D62F-61F1-4DBA-9914-E0DE26396243}" type="sibTrans" cxnId="{954640A4-EADA-421F-B58B-E782224535EA}">
      <dgm:prSet/>
      <dgm:spPr/>
      <dgm:t>
        <a:bodyPr/>
        <a:lstStyle/>
        <a:p>
          <a:endParaRPr lang="es-ES"/>
        </a:p>
      </dgm:t>
    </dgm:pt>
    <dgm:pt modelId="{8151851E-2E91-4BD2-96D3-8310E188E903}">
      <dgm:prSet/>
      <dgm:spPr/>
      <dgm:t>
        <a:bodyPr/>
        <a:lstStyle/>
        <a:p>
          <a:r>
            <a:rPr lang="es-ES" noProof="0" dirty="0"/>
            <a:t>Enviar a la barredora. Par ordenado: [Situación x Idoneidad].</a:t>
          </a:r>
        </a:p>
      </dgm:t>
    </dgm:pt>
    <dgm:pt modelId="{A9231483-5313-4C61-87F7-DEE023390851}" type="parTrans" cxnId="{862547AC-8F5E-425F-9BBA-D1481A21F505}">
      <dgm:prSet/>
      <dgm:spPr/>
      <dgm:t>
        <a:bodyPr/>
        <a:lstStyle/>
        <a:p>
          <a:endParaRPr lang="es-ES"/>
        </a:p>
      </dgm:t>
    </dgm:pt>
    <dgm:pt modelId="{C4FC0D04-6936-4259-A1B6-B36212F2328C}" type="sibTrans" cxnId="{862547AC-8F5E-425F-9BBA-D1481A21F505}">
      <dgm:prSet/>
      <dgm:spPr/>
      <dgm:t>
        <a:bodyPr/>
        <a:lstStyle/>
        <a:p>
          <a:endParaRPr lang="es-ES"/>
        </a:p>
      </dgm:t>
    </dgm:pt>
    <dgm:pt modelId="{A89E6DF5-2F2F-4D5E-843B-11F5B12AE71A}">
      <dgm:prSet/>
      <dgm:spPr/>
      <dgm:t>
        <a:bodyPr/>
        <a:lstStyle/>
        <a:p>
          <a:r>
            <a:rPr lang="es-ES" noProof="0" dirty="0"/>
            <a:t>Dirigir la barredora.</a:t>
          </a:r>
        </a:p>
      </dgm:t>
    </dgm:pt>
    <dgm:pt modelId="{D574BA21-DD36-4B84-838C-E41F382BEA6E}" type="parTrans" cxnId="{20E6E925-3484-4C51-A270-7DFB96D1CA1F}">
      <dgm:prSet/>
      <dgm:spPr/>
      <dgm:t>
        <a:bodyPr/>
        <a:lstStyle/>
        <a:p>
          <a:endParaRPr lang="es-ES"/>
        </a:p>
      </dgm:t>
    </dgm:pt>
    <dgm:pt modelId="{D93768C0-64C5-453F-A292-AA638328E28F}" type="sibTrans" cxnId="{20E6E925-3484-4C51-A270-7DFB96D1CA1F}">
      <dgm:prSet/>
      <dgm:spPr/>
      <dgm:t>
        <a:bodyPr/>
        <a:lstStyle/>
        <a:p>
          <a:endParaRPr lang="es-ES"/>
        </a:p>
      </dgm:t>
    </dgm:pt>
    <dgm:pt modelId="{8DC761F3-47A6-4E60-BD0A-FF2D0A894A98}">
      <dgm:prSet/>
      <dgm:spPr/>
      <dgm:t>
        <a:bodyPr/>
        <a:lstStyle/>
        <a:p>
          <a:r>
            <a:rPr lang="es-ES" b="1" noProof="0" dirty="0"/>
            <a:t>Ex post. </a:t>
          </a:r>
        </a:p>
      </dgm:t>
    </dgm:pt>
    <dgm:pt modelId="{8CD46CB4-0481-4F8A-9003-F06A24B15536}" type="parTrans" cxnId="{D4979669-5E6C-4BFF-B4A6-D633C0A0A98A}">
      <dgm:prSet/>
      <dgm:spPr/>
      <dgm:t>
        <a:bodyPr/>
        <a:lstStyle/>
        <a:p>
          <a:endParaRPr lang="es-ES"/>
        </a:p>
      </dgm:t>
    </dgm:pt>
    <dgm:pt modelId="{A9EE319F-3C65-4006-8C90-0B8AF0971E81}" type="sibTrans" cxnId="{D4979669-5E6C-4BFF-B4A6-D633C0A0A98A}">
      <dgm:prSet/>
      <dgm:spPr/>
      <dgm:t>
        <a:bodyPr/>
        <a:lstStyle/>
        <a:p>
          <a:endParaRPr lang="es-ES"/>
        </a:p>
      </dgm:t>
    </dgm:pt>
    <dgm:pt modelId="{312E3BF8-4B4E-4879-A1D7-34A54C518C43}">
      <dgm:prSet/>
      <dgm:spPr/>
      <dgm:t>
        <a:bodyPr/>
        <a:lstStyle/>
        <a:p>
          <a:r>
            <a:rPr lang="es-ES" noProof="0" dirty="0"/>
            <a:t>Comprobar los resultados</a:t>
          </a:r>
        </a:p>
      </dgm:t>
    </dgm:pt>
    <dgm:pt modelId="{225E9178-761A-4983-813F-420744834AFD}" type="parTrans" cxnId="{8F1F1FA9-69FE-4F46-8428-8BFE03FE0B19}">
      <dgm:prSet/>
      <dgm:spPr/>
      <dgm:t>
        <a:bodyPr/>
        <a:lstStyle/>
        <a:p>
          <a:endParaRPr lang="es-ES"/>
        </a:p>
      </dgm:t>
    </dgm:pt>
    <dgm:pt modelId="{F0A352AD-7308-4DD3-8DED-DE2103D27123}" type="sibTrans" cxnId="{8F1F1FA9-69FE-4F46-8428-8BFE03FE0B19}">
      <dgm:prSet/>
      <dgm:spPr/>
      <dgm:t>
        <a:bodyPr/>
        <a:lstStyle/>
        <a:p>
          <a:endParaRPr lang="es-ES"/>
        </a:p>
      </dgm:t>
    </dgm:pt>
    <dgm:pt modelId="{DC5B70F8-A7A8-4B74-8722-5E0E45282BC1}">
      <dgm:prSet/>
      <dgm:spPr/>
      <dgm:t>
        <a:bodyPr/>
        <a:lstStyle/>
        <a:p>
          <a:r>
            <a:rPr lang="es-ES" b="1" noProof="0" dirty="0"/>
            <a:t>Fuentes de información: </a:t>
          </a:r>
        </a:p>
      </dgm:t>
    </dgm:pt>
    <dgm:pt modelId="{DCF6C5B6-6676-4E61-A99E-C945467A497E}" type="parTrans" cxnId="{FB300F1D-F000-414E-9EF4-689D2609B858}">
      <dgm:prSet/>
      <dgm:spPr/>
      <dgm:t>
        <a:bodyPr/>
        <a:lstStyle/>
        <a:p>
          <a:endParaRPr lang="es-ES"/>
        </a:p>
      </dgm:t>
    </dgm:pt>
    <dgm:pt modelId="{93481604-9E59-4D12-9F84-A86385D83DB8}" type="sibTrans" cxnId="{FB300F1D-F000-414E-9EF4-689D2609B858}">
      <dgm:prSet/>
      <dgm:spPr/>
      <dgm:t>
        <a:bodyPr/>
        <a:lstStyle/>
        <a:p>
          <a:endParaRPr lang="es-ES"/>
        </a:p>
      </dgm:t>
    </dgm:pt>
    <dgm:pt modelId="{38C2563E-B295-4D5A-ABA2-F444F53472BA}">
      <dgm:prSet/>
      <dgm:spPr/>
      <dgm:t>
        <a:bodyPr/>
        <a:lstStyle/>
        <a:p>
          <a:r>
            <a:rPr lang="es-ES" noProof="0" dirty="0"/>
            <a:t>Cámaras, sensores y social media de forma amplia.</a:t>
          </a:r>
        </a:p>
      </dgm:t>
    </dgm:pt>
    <dgm:pt modelId="{779CD6E9-150E-486A-BE2D-F09C4C02A8DF}" type="parTrans" cxnId="{93AA620E-5B46-4534-B6EE-94ED6226B7D7}">
      <dgm:prSet/>
      <dgm:spPr/>
      <dgm:t>
        <a:bodyPr/>
        <a:lstStyle/>
        <a:p>
          <a:endParaRPr lang="es-ES"/>
        </a:p>
      </dgm:t>
    </dgm:pt>
    <dgm:pt modelId="{D1E74A20-B7FE-4ECA-9EF3-EAAAD2391776}" type="sibTrans" cxnId="{93AA620E-5B46-4534-B6EE-94ED6226B7D7}">
      <dgm:prSet/>
      <dgm:spPr/>
      <dgm:t>
        <a:bodyPr/>
        <a:lstStyle/>
        <a:p>
          <a:endParaRPr lang="es-ES"/>
        </a:p>
      </dgm:t>
    </dgm:pt>
    <dgm:pt modelId="{42072956-A4D4-4702-866B-BCA530C7A8F5}">
      <dgm:prSet/>
      <dgm:spPr/>
      <dgm:t>
        <a:bodyPr/>
        <a:lstStyle/>
        <a:p>
          <a:r>
            <a:rPr lang="es-ES" b="1" noProof="0" dirty="0"/>
            <a:t>Futuro: </a:t>
          </a:r>
        </a:p>
      </dgm:t>
    </dgm:pt>
    <dgm:pt modelId="{A6D3A64E-EE5F-4D61-B055-A095AD7332E0}" type="parTrans" cxnId="{EC02C792-433B-4F54-A12E-B19A0CE7C4E0}">
      <dgm:prSet/>
      <dgm:spPr/>
      <dgm:t>
        <a:bodyPr/>
        <a:lstStyle/>
        <a:p>
          <a:endParaRPr lang="es-ES"/>
        </a:p>
      </dgm:t>
    </dgm:pt>
    <dgm:pt modelId="{895AF869-D072-412D-96C8-E4D49CA911B5}" type="sibTrans" cxnId="{EC02C792-433B-4F54-A12E-B19A0CE7C4E0}">
      <dgm:prSet/>
      <dgm:spPr/>
      <dgm:t>
        <a:bodyPr/>
        <a:lstStyle/>
        <a:p>
          <a:endParaRPr lang="es-ES"/>
        </a:p>
      </dgm:t>
    </dgm:pt>
    <dgm:pt modelId="{0ED0B32D-133B-46DC-ADDC-6B099E054B16}">
      <dgm:prSet/>
      <dgm:spPr/>
      <dgm:t>
        <a:bodyPr/>
        <a:lstStyle/>
        <a:p>
          <a:r>
            <a:rPr lang="es-ES" noProof="0" dirty="0"/>
            <a:t>Desde los resultados y mediante Blockchain y Smart contract de forma automática:</a:t>
          </a:r>
        </a:p>
      </dgm:t>
    </dgm:pt>
    <dgm:pt modelId="{5B6FFD91-6A14-4DBB-86BC-94EC49BEC8EB}" type="parTrans" cxnId="{036C1EF7-C39C-4B89-B581-C63BA536EE9E}">
      <dgm:prSet/>
      <dgm:spPr/>
      <dgm:t>
        <a:bodyPr/>
        <a:lstStyle/>
        <a:p>
          <a:endParaRPr lang="es-ES"/>
        </a:p>
      </dgm:t>
    </dgm:pt>
    <dgm:pt modelId="{6BE4CC2B-5759-4D11-9ABE-CCF423289E0E}" type="sibTrans" cxnId="{036C1EF7-C39C-4B89-B581-C63BA536EE9E}">
      <dgm:prSet/>
      <dgm:spPr/>
      <dgm:t>
        <a:bodyPr/>
        <a:lstStyle/>
        <a:p>
          <a:endParaRPr lang="es-ES"/>
        </a:p>
      </dgm:t>
    </dgm:pt>
    <dgm:pt modelId="{5859F68D-6DD7-4132-BBD0-2B561E511218}">
      <dgm:prSet/>
      <dgm:spPr/>
      <dgm:t>
        <a:bodyPr/>
        <a:lstStyle/>
        <a:p>
          <a:r>
            <a:rPr lang="es-ES" noProof="0" dirty="0"/>
            <a:t>Abonar el servicio a la contrata.</a:t>
          </a:r>
        </a:p>
      </dgm:t>
    </dgm:pt>
    <dgm:pt modelId="{987ECEC1-1675-4813-AF87-F30B0C7BF776}" type="parTrans" cxnId="{89984E74-8539-4248-A8D0-7480A0EFF402}">
      <dgm:prSet/>
      <dgm:spPr/>
      <dgm:t>
        <a:bodyPr/>
        <a:lstStyle/>
        <a:p>
          <a:endParaRPr lang="es-ES"/>
        </a:p>
      </dgm:t>
    </dgm:pt>
    <dgm:pt modelId="{FB318287-7852-4858-B341-C49B097702CF}" type="sibTrans" cxnId="{89984E74-8539-4248-A8D0-7480A0EFF402}">
      <dgm:prSet/>
      <dgm:spPr/>
      <dgm:t>
        <a:bodyPr/>
        <a:lstStyle/>
        <a:p>
          <a:endParaRPr lang="es-ES"/>
        </a:p>
      </dgm:t>
    </dgm:pt>
    <dgm:pt modelId="{6BE5963D-D238-4F89-AE34-A29ADAE10195}">
      <dgm:prSet/>
      <dgm:spPr/>
      <dgm:t>
        <a:bodyPr/>
        <a:lstStyle/>
        <a:p>
          <a:r>
            <a:rPr lang="es-ES" noProof="0" dirty="0"/>
            <a:t>Cargar penalizaciones a la contrata. </a:t>
          </a:r>
        </a:p>
      </dgm:t>
    </dgm:pt>
    <dgm:pt modelId="{C33861B9-87F7-4DEF-A804-AE755E0E3A8C}" type="parTrans" cxnId="{B358BF69-987E-4469-BB46-44CA85222BB6}">
      <dgm:prSet/>
      <dgm:spPr/>
      <dgm:t>
        <a:bodyPr/>
        <a:lstStyle/>
        <a:p>
          <a:endParaRPr lang="es-ES"/>
        </a:p>
      </dgm:t>
    </dgm:pt>
    <dgm:pt modelId="{84AB4AB9-9C7F-434D-9404-DB80DC333F0B}" type="sibTrans" cxnId="{B358BF69-987E-4469-BB46-44CA85222BB6}">
      <dgm:prSet/>
      <dgm:spPr/>
      <dgm:t>
        <a:bodyPr/>
        <a:lstStyle/>
        <a:p>
          <a:endParaRPr lang="es-ES"/>
        </a:p>
      </dgm:t>
    </dgm:pt>
    <dgm:pt modelId="{5DD96FB2-F1E1-4C66-B78C-767D1038BF73}" type="pres">
      <dgm:prSet presAssocID="{D6202A80-5E0E-45FE-AF47-B77047446AC1}" presName="linear" presStyleCnt="0">
        <dgm:presLayoutVars>
          <dgm:animLvl val="lvl"/>
          <dgm:resizeHandles val="exact"/>
        </dgm:presLayoutVars>
      </dgm:prSet>
      <dgm:spPr/>
    </dgm:pt>
    <dgm:pt modelId="{35DF0377-0299-4E6D-9BE2-F3109E419733}" type="pres">
      <dgm:prSet presAssocID="{27B015C6-C56F-43F8-91BD-2248F7694845}" presName="parentText" presStyleLbl="node1" presStyleIdx="0" presStyleCnt="4">
        <dgm:presLayoutVars>
          <dgm:chMax val="0"/>
          <dgm:bulletEnabled val="1"/>
        </dgm:presLayoutVars>
      </dgm:prSet>
      <dgm:spPr/>
    </dgm:pt>
    <dgm:pt modelId="{F15A3592-5F75-4ED0-9AAD-9796D865F9CA}" type="pres">
      <dgm:prSet presAssocID="{27B015C6-C56F-43F8-91BD-2248F7694845}" presName="childText" presStyleLbl="revTx" presStyleIdx="0" presStyleCnt="4">
        <dgm:presLayoutVars>
          <dgm:bulletEnabled val="1"/>
        </dgm:presLayoutVars>
      </dgm:prSet>
      <dgm:spPr/>
    </dgm:pt>
    <dgm:pt modelId="{374EB655-C399-4EE2-9A45-4D60C90B595E}" type="pres">
      <dgm:prSet presAssocID="{8DC761F3-47A6-4E60-BD0A-FF2D0A894A98}" presName="parentText" presStyleLbl="node1" presStyleIdx="1" presStyleCnt="4">
        <dgm:presLayoutVars>
          <dgm:chMax val="0"/>
          <dgm:bulletEnabled val="1"/>
        </dgm:presLayoutVars>
      </dgm:prSet>
      <dgm:spPr/>
    </dgm:pt>
    <dgm:pt modelId="{367F359D-CE96-45A0-9F1A-DEEAD0C2B2A2}" type="pres">
      <dgm:prSet presAssocID="{8DC761F3-47A6-4E60-BD0A-FF2D0A894A98}" presName="childText" presStyleLbl="revTx" presStyleIdx="1" presStyleCnt="4">
        <dgm:presLayoutVars>
          <dgm:bulletEnabled val="1"/>
        </dgm:presLayoutVars>
      </dgm:prSet>
      <dgm:spPr/>
    </dgm:pt>
    <dgm:pt modelId="{F08411B5-9B84-40AA-A451-9E7E5CF60F06}" type="pres">
      <dgm:prSet presAssocID="{DC5B70F8-A7A8-4B74-8722-5E0E45282BC1}" presName="parentText" presStyleLbl="node1" presStyleIdx="2" presStyleCnt="4">
        <dgm:presLayoutVars>
          <dgm:chMax val="0"/>
          <dgm:bulletEnabled val="1"/>
        </dgm:presLayoutVars>
      </dgm:prSet>
      <dgm:spPr/>
    </dgm:pt>
    <dgm:pt modelId="{8281B759-3617-418A-9031-0C5E64C30139}" type="pres">
      <dgm:prSet presAssocID="{DC5B70F8-A7A8-4B74-8722-5E0E45282BC1}" presName="childText" presStyleLbl="revTx" presStyleIdx="2" presStyleCnt="4">
        <dgm:presLayoutVars>
          <dgm:bulletEnabled val="1"/>
        </dgm:presLayoutVars>
      </dgm:prSet>
      <dgm:spPr/>
    </dgm:pt>
    <dgm:pt modelId="{52FE23E3-C808-4533-993A-B9C4550F1722}" type="pres">
      <dgm:prSet presAssocID="{42072956-A4D4-4702-866B-BCA530C7A8F5}" presName="parentText" presStyleLbl="node1" presStyleIdx="3" presStyleCnt="4">
        <dgm:presLayoutVars>
          <dgm:chMax val="0"/>
          <dgm:bulletEnabled val="1"/>
        </dgm:presLayoutVars>
      </dgm:prSet>
      <dgm:spPr/>
    </dgm:pt>
    <dgm:pt modelId="{A031C092-B61C-4E4A-A961-E3F4F11EAA8F}" type="pres">
      <dgm:prSet presAssocID="{42072956-A4D4-4702-866B-BCA530C7A8F5}" presName="childText" presStyleLbl="revTx" presStyleIdx="3" presStyleCnt="4">
        <dgm:presLayoutVars>
          <dgm:bulletEnabled val="1"/>
        </dgm:presLayoutVars>
      </dgm:prSet>
      <dgm:spPr/>
    </dgm:pt>
  </dgm:ptLst>
  <dgm:cxnLst>
    <dgm:cxn modelId="{ECA44900-4496-4A48-829A-FA6A82B1D798}" type="presOf" srcId="{A89E6DF5-2F2F-4D5E-843B-11F5B12AE71A}" destId="{F15A3592-5F75-4ED0-9AAD-9796D865F9CA}" srcOrd="0" destOrd="2" presId="urn:microsoft.com/office/officeart/2005/8/layout/vList2"/>
    <dgm:cxn modelId="{93AA620E-5B46-4534-B6EE-94ED6226B7D7}" srcId="{DC5B70F8-A7A8-4B74-8722-5E0E45282BC1}" destId="{38C2563E-B295-4D5A-ABA2-F444F53472BA}" srcOrd="0" destOrd="0" parTransId="{779CD6E9-150E-486A-BE2D-F09C4C02A8DF}" sibTransId="{D1E74A20-B7FE-4ECA-9EF3-EAAAD2391776}"/>
    <dgm:cxn modelId="{FB300F1D-F000-414E-9EF4-689D2609B858}" srcId="{D6202A80-5E0E-45FE-AF47-B77047446AC1}" destId="{DC5B70F8-A7A8-4B74-8722-5E0E45282BC1}" srcOrd="2" destOrd="0" parTransId="{DCF6C5B6-6676-4E61-A99E-C945467A497E}" sibTransId="{93481604-9E59-4D12-9F84-A86385D83DB8}"/>
    <dgm:cxn modelId="{9A8FF924-AC2F-4700-A04B-4B23B87D0E5B}" type="presOf" srcId="{42072956-A4D4-4702-866B-BCA530C7A8F5}" destId="{52FE23E3-C808-4533-993A-B9C4550F1722}" srcOrd="0" destOrd="0" presId="urn:microsoft.com/office/officeart/2005/8/layout/vList2"/>
    <dgm:cxn modelId="{20E6E925-3484-4C51-A270-7DFB96D1CA1F}" srcId="{27B015C6-C56F-43F8-91BD-2248F7694845}" destId="{A89E6DF5-2F2F-4D5E-843B-11F5B12AE71A}" srcOrd="2" destOrd="0" parTransId="{D574BA21-DD36-4B84-838C-E41F382BEA6E}" sibTransId="{D93768C0-64C5-453F-A292-AA638328E28F}"/>
    <dgm:cxn modelId="{5414FC38-032C-47A5-8D23-1A294C129088}" type="presOf" srcId="{27B015C6-C56F-43F8-91BD-2248F7694845}" destId="{35DF0377-0299-4E6D-9BE2-F3109E419733}" srcOrd="0" destOrd="0" presId="urn:microsoft.com/office/officeart/2005/8/layout/vList2"/>
    <dgm:cxn modelId="{AF9BE444-C55D-44F5-855F-2B8903BBE801}" srcId="{D6202A80-5E0E-45FE-AF47-B77047446AC1}" destId="{27B015C6-C56F-43F8-91BD-2248F7694845}" srcOrd="0" destOrd="0" parTransId="{CBD5DE8E-490A-4FBD-B46D-681F42DDDAEA}" sibTransId="{4BD672C9-B4C8-4760-BD12-14BA8C1FAE6F}"/>
    <dgm:cxn modelId="{D4979669-5E6C-4BFF-B4A6-D633C0A0A98A}" srcId="{D6202A80-5E0E-45FE-AF47-B77047446AC1}" destId="{8DC761F3-47A6-4E60-BD0A-FF2D0A894A98}" srcOrd="1" destOrd="0" parTransId="{8CD46CB4-0481-4F8A-9003-F06A24B15536}" sibTransId="{A9EE319F-3C65-4006-8C90-0B8AF0971E81}"/>
    <dgm:cxn modelId="{B358BF69-987E-4469-BB46-44CA85222BB6}" srcId="{42072956-A4D4-4702-866B-BCA530C7A8F5}" destId="{6BE5963D-D238-4F89-AE34-A29ADAE10195}" srcOrd="2" destOrd="0" parTransId="{C33861B9-87F7-4DEF-A804-AE755E0E3A8C}" sibTransId="{84AB4AB9-9C7F-434D-9404-DB80DC333F0B}"/>
    <dgm:cxn modelId="{89984E74-8539-4248-A8D0-7480A0EFF402}" srcId="{42072956-A4D4-4702-866B-BCA530C7A8F5}" destId="{5859F68D-6DD7-4132-BBD0-2B561E511218}" srcOrd="1" destOrd="0" parTransId="{987ECEC1-1675-4813-AF87-F30B0C7BF776}" sibTransId="{FB318287-7852-4858-B341-C49B097702CF}"/>
    <dgm:cxn modelId="{7F03E47C-5010-4DF0-B5DA-EB50421BB276}" type="presOf" srcId="{D6202A80-5E0E-45FE-AF47-B77047446AC1}" destId="{5DD96FB2-F1E1-4C66-B78C-767D1038BF73}" srcOrd="0" destOrd="0" presId="urn:microsoft.com/office/officeart/2005/8/layout/vList2"/>
    <dgm:cxn modelId="{EC02C792-433B-4F54-A12E-B19A0CE7C4E0}" srcId="{D6202A80-5E0E-45FE-AF47-B77047446AC1}" destId="{42072956-A4D4-4702-866B-BCA530C7A8F5}" srcOrd="3" destOrd="0" parTransId="{A6D3A64E-EE5F-4D61-B055-A095AD7332E0}" sibTransId="{895AF869-D072-412D-96C8-E4D49CA911B5}"/>
    <dgm:cxn modelId="{D9149794-C8C3-42FD-A5E6-8351605FF31A}" type="presOf" srcId="{5859F68D-6DD7-4132-BBD0-2B561E511218}" destId="{A031C092-B61C-4E4A-A961-E3F4F11EAA8F}" srcOrd="0" destOrd="1" presId="urn:microsoft.com/office/officeart/2005/8/layout/vList2"/>
    <dgm:cxn modelId="{FBB88C9D-5952-40E6-B3C0-3D45845C1597}" type="presOf" srcId="{DC5B70F8-A7A8-4B74-8722-5E0E45282BC1}" destId="{F08411B5-9B84-40AA-A451-9E7E5CF60F06}" srcOrd="0" destOrd="0" presId="urn:microsoft.com/office/officeart/2005/8/layout/vList2"/>
    <dgm:cxn modelId="{954640A4-EADA-421F-B58B-E782224535EA}" srcId="{27B015C6-C56F-43F8-91BD-2248F7694845}" destId="{50FAC8E1-954A-4DAD-9400-52FA2F770611}" srcOrd="0" destOrd="0" parTransId="{D2B26253-89AA-4A8F-9C65-AC803B33187C}" sibTransId="{AF19D62F-61F1-4DBA-9914-E0DE26396243}"/>
    <dgm:cxn modelId="{8F1F1FA9-69FE-4F46-8428-8BFE03FE0B19}" srcId="{8DC761F3-47A6-4E60-BD0A-FF2D0A894A98}" destId="{312E3BF8-4B4E-4879-A1D7-34A54C518C43}" srcOrd="0" destOrd="0" parTransId="{225E9178-761A-4983-813F-420744834AFD}" sibTransId="{F0A352AD-7308-4DD3-8DED-DE2103D27123}"/>
    <dgm:cxn modelId="{0BF93CAC-97D0-4CC5-8DDA-6D9BF93264A9}" type="presOf" srcId="{0ED0B32D-133B-46DC-ADDC-6B099E054B16}" destId="{A031C092-B61C-4E4A-A961-E3F4F11EAA8F}" srcOrd="0" destOrd="0" presId="urn:microsoft.com/office/officeart/2005/8/layout/vList2"/>
    <dgm:cxn modelId="{862547AC-8F5E-425F-9BBA-D1481A21F505}" srcId="{27B015C6-C56F-43F8-91BD-2248F7694845}" destId="{8151851E-2E91-4BD2-96D3-8310E188E903}" srcOrd="1" destOrd="0" parTransId="{A9231483-5313-4C61-87F7-DEE023390851}" sibTransId="{C4FC0D04-6936-4259-A1B6-B36212F2328C}"/>
    <dgm:cxn modelId="{98A297B1-1EC9-46AC-8406-249E1DE77C93}" type="presOf" srcId="{8DC761F3-47A6-4E60-BD0A-FF2D0A894A98}" destId="{374EB655-C399-4EE2-9A45-4D60C90B595E}" srcOrd="0" destOrd="0" presId="urn:microsoft.com/office/officeart/2005/8/layout/vList2"/>
    <dgm:cxn modelId="{278677B5-2948-40B1-8436-082D6B42EAC8}" type="presOf" srcId="{6BE5963D-D238-4F89-AE34-A29ADAE10195}" destId="{A031C092-B61C-4E4A-A961-E3F4F11EAA8F}" srcOrd="0" destOrd="2" presId="urn:microsoft.com/office/officeart/2005/8/layout/vList2"/>
    <dgm:cxn modelId="{E3379FB9-D467-4E16-8332-5F5C5964D6C6}" type="presOf" srcId="{38C2563E-B295-4D5A-ABA2-F444F53472BA}" destId="{8281B759-3617-418A-9031-0C5E64C30139}" srcOrd="0" destOrd="0" presId="urn:microsoft.com/office/officeart/2005/8/layout/vList2"/>
    <dgm:cxn modelId="{111030BF-B9D8-42E4-9CE5-1D5C5447B459}" type="presOf" srcId="{50FAC8E1-954A-4DAD-9400-52FA2F770611}" destId="{F15A3592-5F75-4ED0-9AAD-9796D865F9CA}" srcOrd="0" destOrd="0" presId="urn:microsoft.com/office/officeart/2005/8/layout/vList2"/>
    <dgm:cxn modelId="{67E6B5D0-B049-472C-A932-0889EA1927E9}" type="presOf" srcId="{312E3BF8-4B4E-4879-A1D7-34A54C518C43}" destId="{367F359D-CE96-45A0-9F1A-DEEAD0C2B2A2}" srcOrd="0" destOrd="0" presId="urn:microsoft.com/office/officeart/2005/8/layout/vList2"/>
    <dgm:cxn modelId="{519E3DEE-D4BF-4622-857A-05A7790E0529}" type="presOf" srcId="{8151851E-2E91-4BD2-96D3-8310E188E903}" destId="{F15A3592-5F75-4ED0-9AAD-9796D865F9CA}" srcOrd="0" destOrd="1" presId="urn:microsoft.com/office/officeart/2005/8/layout/vList2"/>
    <dgm:cxn modelId="{036C1EF7-C39C-4B89-B581-C63BA536EE9E}" srcId="{42072956-A4D4-4702-866B-BCA530C7A8F5}" destId="{0ED0B32D-133B-46DC-ADDC-6B099E054B16}" srcOrd="0" destOrd="0" parTransId="{5B6FFD91-6A14-4DBB-86BC-94EC49BEC8EB}" sibTransId="{6BE4CC2B-5759-4D11-9ABE-CCF423289E0E}"/>
    <dgm:cxn modelId="{3EBEB679-A8AF-4FBC-93D2-174ABCAA4760}" type="presParOf" srcId="{5DD96FB2-F1E1-4C66-B78C-767D1038BF73}" destId="{35DF0377-0299-4E6D-9BE2-F3109E419733}" srcOrd="0" destOrd="0" presId="urn:microsoft.com/office/officeart/2005/8/layout/vList2"/>
    <dgm:cxn modelId="{AFAF753E-8261-42B3-98B2-A845C3D578B0}" type="presParOf" srcId="{5DD96FB2-F1E1-4C66-B78C-767D1038BF73}" destId="{F15A3592-5F75-4ED0-9AAD-9796D865F9CA}" srcOrd="1" destOrd="0" presId="urn:microsoft.com/office/officeart/2005/8/layout/vList2"/>
    <dgm:cxn modelId="{B35F15BC-E818-4E6D-8B1A-C3EAD45930CD}" type="presParOf" srcId="{5DD96FB2-F1E1-4C66-B78C-767D1038BF73}" destId="{374EB655-C399-4EE2-9A45-4D60C90B595E}" srcOrd="2" destOrd="0" presId="urn:microsoft.com/office/officeart/2005/8/layout/vList2"/>
    <dgm:cxn modelId="{3C4B80C9-32C9-4AB5-BE10-AA401FDED721}" type="presParOf" srcId="{5DD96FB2-F1E1-4C66-B78C-767D1038BF73}" destId="{367F359D-CE96-45A0-9F1A-DEEAD0C2B2A2}" srcOrd="3" destOrd="0" presId="urn:microsoft.com/office/officeart/2005/8/layout/vList2"/>
    <dgm:cxn modelId="{4A53D77E-8226-4613-AA02-782FBD031680}" type="presParOf" srcId="{5DD96FB2-F1E1-4C66-B78C-767D1038BF73}" destId="{F08411B5-9B84-40AA-A451-9E7E5CF60F06}" srcOrd="4" destOrd="0" presId="urn:microsoft.com/office/officeart/2005/8/layout/vList2"/>
    <dgm:cxn modelId="{B2F0A5D7-B492-47A0-A6A3-BAA3D1D07A50}" type="presParOf" srcId="{5DD96FB2-F1E1-4C66-B78C-767D1038BF73}" destId="{8281B759-3617-418A-9031-0C5E64C30139}" srcOrd="5" destOrd="0" presId="urn:microsoft.com/office/officeart/2005/8/layout/vList2"/>
    <dgm:cxn modelId="{931A5986-E35E-460D-84CC-D05A00B0D1FA}" type="presParOf" srcId="{5DD96FB2-F1E1-4C66-B78C-767D1038BF73}" destId="{52FE23E3-C808-4533-993A-B9C4550F1722}" srcOrd="6" destOrd="0" presId="urn:microsoft.com/office/officeart/2005/8/layout/vList2"/>
    <dgm:cxn modelId="{85855FED-F174-4783-969A-EB9FCBD27A9D}" type="presParOf" srcId="{5DD96FB2-F1E1-4C66-B78C-767D1038BF73}" destId="{A031C092-B61C-4E4A-A961-E3F4F11EAA8F}"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2F405D93-7B0B-492B-9BD4-10282862212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s-ES"/>
        </a:p>
      </dgm:t>
    </dgm:pt>
    <dgm:pt modelId="{3216AAF8-E37B-4CBC-9C71-832230E80125}">
      <dgm:prSet phldrT="[Texto]"/>
      <dgm:spPr/>
      <dgm:t>
        <a:bodyPr/>
        <a:lstStyle/>
        <a:p>
          <a:r>
            <a:rPr lang="es-ES" dirty="0"/>
            <a:t>Finanzas: </a:t>
          </a:r>
        </a:p>
      </dgm:t>
    </dgm:pt>
    <dgm:pt modelId="{73C3A69F-4917-4372-A8FA-690E10AC2DCF}" type="parTrans" cxnId="{DD68725A-D6F8-4958-93AD-FEBB5221368D}">
      <dgm:prSet/>
      <dgm:spPr/>
      <dgm:t>
        <a:bodyPr/>
        <a:lstStyle/>
        <a:p>
          <a:endParaRPr lang="es-ES"/>
        </a:p>
      </dgm:t>
    </dgm:pt>
    <dgm:pt modelId="{730C527B-433D-436C-A4FB-FD66F70F6C3C}" type="sibTrans" cxnId="{DD68725A-D6F8-4958-93AD-FEBB5221368D}">
      <dgm:prSet/>
      <dgm:spPr/>
      <dgm:t>
        <a:bodyPr/>
        <a:lstStyle/>
        <a:p>
          <a:endParaRPr lang="es-ES"/>
        </a:p>
      </dgm:t>
    </dgm:pt>
    <dgm:pt modelId="{64C09A2F-F8C1-4179-B042-0697B5F72224}">
      <dgm:prSet/>
      <dgm:spPr/>
      <dgm:t>
        <a:bodyPr/>
        <a:lstStyle/>
        <a:p>
          <a:r>
            <a:rPr lang="es-ES" dirty="0"/>
            <a:t>Se usa para desarrollar nuevas aplicaciones financieras, p.ej criptomonedas, las remesas y los pagos transfronterizos.</a:t>
          </a:r>
        </a:p>
      </dgm:t>
    </dgm:pt>
    <dgm:pt modelId="{2B53C725-292E-499E-93A0-A20F12C2297A}" type="parTrans" cxnId="{476C828D-B941-4C6E-B896-6ED0AA4CC127}">
      <dgm:prSet/>
      <dgm:spPr/>
      <dgm:t>
        <a:bodyPr/>
        <a:lstStyle/>
        <a:p>
          <a:endParaRPr lang="es-ES"/>
        </a:p>
      </dgm:t>
    </dgm:pt>
    <dgm:pt modelId="{54136D28-7053-4B7D-B404-A628FC95487A}" type="sibTrans" cxnId="{476C828D-B941-4C6E-B896-6ED0AA4CC127}">
      <dgm:prSet/>
      <dgm:spPr/>
      <dgm:t>
        <a:bodyPr/>
        <a:lstStyle/>
        <a:p>
          <a:endParaRPr lang="es-ES"/>
        </a:p>
      </dgm:t>
    </dgm:pt>
    <dgm:pt modelId="{633ED92E-B7EE-436E-87C5-F1EC68555BF0}">
      <dgm:prSet/>
      <dgm:spPr/>
      <dgm:t>
        <a:bodyPr/>
        <a:lstStyle/>
        <a:p>
          <a:r>
            <a:rPr lang="es-ES" dirty="0"/>
            <a:t>Cadena de suministro: </a:t>
          </a:r>
        </a:p>
      </dgm:t>
    </dgm:pt>
    <dgm:pt modelId="{947FBA1E-56DB-4E6D-BA64-BE33315703D1}" type="parTrans" cxnId="{0E7405E7-4745-438E-957E-602521E5C0D7}">
      <dgm:prSet/>
      <dgm:spPr/>
      <dgm:t>
        <a:bodyPr/>
        <a:lstStyle/>
        <a:p>
          <a:endParaRPr lang="es-ES"/>
        </a:p>
      </dgm:t>
    </dgm:pt>
    <dgm:pt modelId="{03939D03-B9B5-4FB9-8FDA-39659D47E675}" type="sibTrans" cxnId="{0E7405E7-4745-438E-957E-602521E5C0D7}">
      <dgm:prSet/>
      <dgm:spPr/>
      <dgm:t>
        <a:bodyPr/>
        <a:lstStyle/>
        <a:p>
          <a:endParaRPr lang="es-ES"/>
        </a:p>
      </dgm:t>
    </dgm:pt>
    <dgm:pt modelId="{52546BF7-14AE-4CFE-A9C3-1CD62939A321}">
      <dgm:prSet/>
      <dgm:spPr/>
      <dgm:t>
        <a:bodyPr/>
        <a:lstStyle/>
        <a:p>
          <a:r>
            <a:rPr lang="es-ES" dirty="0"/>
            <a:t>Se está utilizando para mejorar la trazabilidad y la transparencia de las mismas.</a:t>
          </a:r>
        </a:p>
      </dgm:t>
    </dgm:pt>
    <dgm:pt modelId="{E8170C39-9452-4725-AE00-52B8DF684AF3}" type="parTrans" cxnId="{9AA6625D-7F6C-43FE-8E36-D037626A52B6}">
      <dgm:prSet/>
      <dgm:spPr/>
      <dgm:t>
        <a:bodyPr/>
        <a:lstStyle/>
        <a:p>
          <a:endParaRPr lang="es-ES"/>
        </a:p>
      </dgm:t>
    </dgm:pt>
    <dgm:pt modelId="{6309F0E2-FF5B-40E7-94DE-AB4D7034347E}" type="sibTrans" cxnId="{9AA6625D-7F6C-43FE-8E36-D037626A52B6}">
      <dgm:prSet/>
      <dgm:spPr/>
      <dgm:t>
        <a:bodyPr/>
        <a:lstStyle/>
        <a:p>
          <a:endParaRPr lang="es-ES"/>
        </a:p>
      </dgm:t>
    </dgm:pt>
    <dgm:pt modelId="{238D210D-D621-4824-863C-0AB6F7C5CED6}">
      <dgm:prSet/>
      <dgm:spPr/>
      <dgm:t>
        <a:bodyPr/>
        <a:lstStyle/>
        <a:p>
          <a:r>
            <a:rPr lang="es-ES" dirty="0"/>
            <a:t>Atención médica: </a:t>
          </a:r>
        </a:p>
      </dgm:t>
    </dgm:pt>
    <dgm:pt modelId="{C60FE5DB-A8B7-4E2D-806B-02F51AA2BB26}" type="parTrans" cxnId="{A5A3EF1E-72D5-4CDD-B0A8-3F805BDDB186}">
      <dgm:prSet/>
      <dgm:spPr/>
      <dgm:t>
        <a:bodyPr/>
        <a:lstStyle/>
        <a:p>
          <a:endParaRPr lang="es-ES"/>
        </a:p>
      </dgm:t>
    </dgm:pt>
    <dgm:pt modelId="{F322AB2B-189B-438D-BC76-DDF64FF0DCF0}" type="sibTrans" cxnId="{A5A3EF1E-72D5-4CDD-B0A8-3F805BDDB186}">
      <dgm:prSet/>
      <dgm:spPr/>
      <dgm:t>
        <a:bodyPr/>
        <a:lstStyle/>
        <a:p>
          <a:endParaRPr lang="es-ES"/>
        </a:p>
      </dgm:t>
    </dgm:pt>
    <dgm:pt modelId="{05F6DF67-04F0-4D1A-82CA-FB50CFC5C3CD}">
      <dgm:prSet/>
      <dgm:spPr/>
      <dgm:t>
        <a:bodyPr/>
        <a:lstStyle/>
        <a:p>
          <a:r>
            <a:rPr lang="es-ES" dirty="0"/>
            <a:t>Se está utilizando para compartir registros médicos de forma segura y eficiente.</a:t>
          </a:r>
        </a:p>
      </dgm:t>
    </dgm:pt>
    <dgm:pt modelId="{8BBE5581-FA81-4DDB-A6B9-6110E5441044}" type="parTrans" cxnId="{DD69CB89-7A13-4590-A7D2-B35980E03EB4}">
      <dgm:prSet/>
      <dgm:spPr/>
      <dgm:t>
        <a:bodyPr/>
        <a:lstStyle/>
        <a:p>
          <a:endParaRPr lang="es-ES"/>
        </a:p>
      </dgm:t>
    </dgm:pt>
    <dgm:pt modelId="{A75FE871-44B3-48E3-A385-E472218E3083}" type="sibTrans" cxnId="{DD69CB89-7A13-4590-A7D2-B35980E03EB4}">
      <dgm:prSet/>
      <dgm:spPr/>
      <dgm:t>
        <a:bodyPr/>
        <a:lstStyle/>
        <a:p>
          <a:endParaRPr lang="es-ES"/>
        </a:p>
      </dgm:t>
    </dgm:pt>
    <dgm:pt modelId="{BCB285FB-1700-491A-BC4A-AADCEB696107}">
      <dgm:prSet/>
      <dgm:spPr/>
      <dgm:t>
        <a:bodyPr/>
        <a:lstStyle/>
        <a:p>
          <a:r>
            <a:rPr lang="es-ES" dirty="0"/>
            <a:t>Gobierno: </a:t>
          </a:r>
        </a:p>
      </dgm:t>
    </dgm:pt>
    <dgm:pt modelId="{11248F84-2915-4FE9-A8F4-00CF1577E1EC}" type="parTrans" cxnId="{6EC9B0BD-552B-437A-83A8-C65843DD3B9F}">
      <dgm:prSet/>
      <dgm:spPr/>
      <dgm:t>
        <a:bodyPr/>
        <a:lstStyle/>
        <a:p>
          <a:endParaRPr lang="es-ES"/>
        </a:p>
      </dgm:t>
    </dgm:pt>
    <dgm:pt modelId="{5CA36190-CEF0-43AF-9918-27DA48B5E43C}" type="sibTrans" cxnId="{6EC9B0BD-552B-437A-83A8-C65843DD3B9F}">
      <dgm:prSet/>
      <dgm:spPr/>
      <dgm:t>
        <a:bodyPr/>
        <a:lstStyle/>
        <a:p>
          <a:endParaRPr lang="es-ES"/>
        </a:p>
      </dgm:t>
    </dgm:pt>
    <dgm:pt modelId="{9AC87F34-C75C-4ABB-B41F-6C323355D501}">
      <dgm:prSet/>
      <dgm:spPr/>
      <dgm:t>
        <a:bodyPr/>
        <a:lstStyle/>
        <a:p>
          <a:r>
            <a:rPr lang="es-ES" dirty="0"/>
            <a:t>Se está utilizando para desarrollar aplicaciones de gobierno electrónico, como la identidad digital y el voto electrónico.</a:t>
          </a:r>
        </a:p>
      </dgm:t>
    </dgm:pt>
    <dgm:pt modelId="{F40EF0EB-DF98-49BA-B2DA-8AF778D7E2AB}" type="parTrans" cxnId="{D3E0668F-85C9-4ACB-837A-1668F89CB84C}">
      <dgm:prSet/>
      <dgm:spPr/>
      <dgm:t>
        <a:bodyPr/>
        <a:lstStyle/>
        <a:p>
          <a:endParaRPr lang="es-ES"/>
        </a:p>
      </dgm:t>
    </dgm:pt>
    <dgm:pt modelId="{A07A811F-523C-4164-8363-B75D8F8EC8B9}" type="sibTrans" cxnId="{D3E0668F-85C9-4ACB-837A-1668F89CB84C}">
      <dgm:prSet/>
      <dgm:spPr/>
      <dgm:t>
        <a:bodyPr/>
        <a:lstStyle/>
        <a:p>
          <a:endParaRPr lang="es-ES"/>
        </a:p>
      </dgm:t>
    </dgm:pt>
    <dgm:pt modelId="{86A9ADF0-1BFF-4B78-9FCA-C30B30411174}" type="pres">
      <dgm:prSet presAssocID="{2F405D93-7B0B-492B-9BD4-102828622121}" presName="linear" presStyleCnt="0">
        <dgm:presLayoutVars>
          <dgm:animLvl val="lvl"/>
          <dgm:resizeHandles val="exact"/>
        </dgm:presLayoutVars>
      </dgm:prSet>
      <dgm:spPr/>
    </dgm:pt>
    <dgm:pt modelId="{A1600F63-463C-431B-9F25-6FC9773E67D8}" type="pres">
      <dgm:prSet presAssocID="{3216AAF8-E37B-4CBC-9C71-832230E80125}" presName="parentText" presStyleLbl="node1" presStyleIdx="0" presStyleCnt="4">
        <dgm:presLayoutVars>
          <dgm:chMax val="0"/>
          <dgm:bulletEnabled val="1"/>
        </dgm:presLayoutVars>
      </dgm:prSet>
      <dgm:spPr/>
    </dgm:pt>
    <dgm:pt modelId="{E38856C5-E548-45FD-9959-65AF3CAA69D6}" type="pres">
      <dgm:prSet presAssocID="{3216AAF8-E37B-4CBC-9C71-832230E80125}" presName="childText" presStyleLbl="revTx" presStyleIdx="0" presStyleCnt="4">
        <dgm:presLayoutVars>
          <dgm:bulletEnabled val="1"/>
        </dgm:presLayoutVars>
      </dgm:prSet>
      <dgm:spPr/>
    </dgm:pt>
    <dgm:pt modelId="{E2278566-93FF-427B-AFA1-A370C3DB7B2C}" type="pres">
      <dgm:prSet presAssocID="{633ED92E-B7EE-436E-87C5-F1EC68555BF0}" presName="parentText" presStyleLbl="node1" presStyleIdx="1" presStyleCnt="4">
        <dgm:presLayoutVars>
          <dgm:chMax val="0"/>
          <dgm:bulletEnabled val="1"/>
        </dgm:presLayoutVars>
      </dgm:prSet>
      <dgm:spPr/>
    </dgm:pt>
    <dgm:pt modelId="{3028CC36-4066-46B2-AB07-7B2193EEF57E}" type="pres">
      <dgm:prSet presAssocID="{633ED92E-B7EE-436E-87C5-F1EC68555BF0}" presName="childText" presStyleLbl="revTx" presStyleIdx="1" presStyleCnt="4">
        <dgm:presLayoutVars>
          <dgm:bulletEnabled val="1"/>
        </dgm:presLayoutVars>
      </dgm:prSet>
      <dgm:spPr/>
    </dgm:pt>
    <dgm:pt modelId="{D34B91A1-85AB-4077-98D1-1EBCCAA4EBE8}" type="pres">
      <dgm:prSet presAssocID="{238D210D-D621-4824-863C-0AB6F7C5CED6}" presName="parentText" presStyleLbl="node1" presStyleIdx="2" presStyleCnt="4">
        <dgm:presLayoutVars>
          <dgm:chMax val="0"/>
          <dgm:bulletEnabled val="1"/>
        </dgm:presLayoutVars>
      </dgm:prSet>
      <dgm:spPr/>
    </dgm:pt>
    <dgm:pt modelId="{68B0C3ED-4DFA-4BDE-8E9B-C94D8B352D1E}" type="pres">
      <dgm:prSet presAssocID="{238D210D-D621-4824-863C-0AB6F7C5CED6}" presName="childText" presStyleLbl="revTx" presStyleIdx="2" presStyleCnt="4">
        <dgm:presLayoutVars>
          <dgm:bulletEnabled val="1"/>
        </dgm:presLayoutVars>
      </dgm:prSet>
      <dgm:spPr/>
    </dgm:pt>
    <dgm:pt modelId="{054DC60E-250B-42D1-ACCF-CD2E634DE054}" type="pres">
      <dgm:prSet presAssocID="{BCB285FB-1700-491A-BC4A-AADCEB696107}" presName="parentText" presStyleLbl="node1" presStyleIdx="3" presStyleCnt="4">
        <dgm:presLayoutVars>
          <dgm:chMax val="0"/>
          <dgm:bulletEnabled val="1"/>
        </dgm:presLayoutVars>
      </dgm:prSet>
      <dgm:spPr/>
    </dgm:pt>
    <dgm:pt modelId="{C1733044-1576-46C4-B21A-84639D038D29}" type="pres">
      <dgm:prSet presAssocID="{BCB285FB-1700-491A-BC4A-AADCEB696107}" presName="childText" presStyleLbl="revTx" presStyleIdx="3" presStyleCnt="4">
        <dgm:presLayoutVars>
          <dgm:bulletEnabled val="1"/>
        </dgm:presLayoutVars>
      </dgm:prSet>
      <dgm:spPr/>
    </dgm:pt>
  </dgm:ptLst>
  <dgm:cxnLst>
    <dgm:cxn modelId="{2064E715-3DDC-47A8-AF64-E07B926975E3}" type="presOf" srcId="{BCB285FB-1700-491A-BC4A-AADCEB696107}" destId="{054DC60E-250B-42D1-ACCF-CD2E634DE054}" srcOrd="0" destOrd="0" presId="urn:microsoft.com/office/officeart/2005/8/layout/vList2"/>
    <dgm:cxn modelId="{A5A3EF1E-72D5-4CDD-B0A8-3F805BDDB186}" srcId="{2F405D93-7B0B-492B-9BD4-102828622121}" destId="{238D210D-D621-4824-863C-0AB6F7C5CED6}" srcOrd="2" destOrd="0" parTransId="{C60FE5DB-A8B7-4E2D-806B-02F51AA2BB26}" sibTransId="{F322AB2B-189B-438D-BC76-DDF64FF0DCF0}"/>
    <dgm:cxn modelId="{45834C2B-EC89-4A80-ADFF-B31AA108A2D0}" type="presOf" srcId="{64C09A2F-F8C1-4179-B042-0697B5F72224}" destId="{E38856C5-E548-45FD-9959-65AF3CAA69D6}" srcOrd="0" destOrd="0" presId="urn:microsoft.com/office/officeart/2005/8/layout/vList2"/>
    <dgm:cxn modelId="{9AA6625D-7F6C-43FE-8E36-D037626A52B6}" srcId="{633ED92E-B7EE-436E-87C5-F1EC68555BF0}" destId="{52546BF7-14AE-4CFE-A9C3-1CD62939A321}" srcOrd="0" destOrd="0" parTransId="{E8170C39-9452-4725-AE00-52B8DF684AF3}" sibTransId="{6309F0E2-FF5B-40E7-94DE-AB4D7034347E}"/>
    <dgm:cxn modelId="{F23BDC45-6232-4198-A086-95ECF4064FD1}" type="presOf" srcId="{52546BF7-14AE-4CFE-A9C3-1CD62939A321}" destId="{3028CC36-4066-46B2-AB07-7B2193EEF57E}" srcOrd="0" destOrd="0" presId="urn:microsoft.com/office/officeart/2005/8/layout/vList2"/>
    <dgm:cxn modelId="{43054967-0E7F-455B-BE5C-57754638DB19}" type="presOf" srcId="{2F405D93-7B0B-492B-9BD4-102828622121}" destId="{86A9ADF0-1BFF-4B78-9FCA-C30B30411174}" srcOrd="0" destOrd="0" presId="urn:microsoft.com/office/officeart/2005/8/layout/vList2"/>
    <dgm:cxn modelId="{DD68725A-D6F8-4958-93AD-FEBB5221368D}" srcId="{2F405D93-7B0B-492B-9BD4-102828622121}" destId="{3216AAF8-E37B-4CBC-9C71-832230E80125}" srcOrd="0" destOrd="0" parTransId="{73C3A69F-4917-4372-A8FA-690E10AC2DCF}" sibTransId="{730C527B-433D-436C-A4FB-FD66F70F6C3C}"/>
    <dgm:cxn modelId="{052B6583-5983-40EB-AAB1-C2E0873DC54A}" type="presOf" srcId="{633ED92E-B7EE-436E-87C5-F1EC68555BF0}" destId="{E2278566-93FF-427B-AFA1-A370C3DB7B2C}" srcOrd="0" destOrd="0" presId="urn:microsoft.com/office/officeart/2005/8/layout/vList2"/>
    <dgm:cxn modelId="{DD69CB89-7A13-4590-A7D2-B35980E03EB4}" srcId="{238D210D-D621-4824-863C-0AB6F7C5CED6}" destId="{05F6DF67-04F0-4D1A-82CA-FB50CFC5C3CD}" srcOrd="0" destOrd="0" parTransId="{8BBE5581-FA81-4DDB-A6B9-6110E5441044}" sibTransId="{A75FE871-44B3-48E3-A385-E472218E3083}"/>
    <dgm:cxn modelId="{476C828D-B941-4C6E-B896-6ED0AA4CC127}" srcId="{3216AAF8-E37B-4CBC-9C71-832230E80125}" destId="{64C09A2F-F8C1-4179-B042-0697B5F72224}" srcOrd="0" destOrd="0" parTransId="{2B53C725-292E-499E-93A0-A20F12C2297A}" sibTransId="{54136D28-7053-4B7D-B404-A628FC95487A}"/>
    <dgm:cxn modelId="{D3E0668F-85C9-4ACB-837A-1668F89CB84C}" srcId="{BCB285FB-1700-491A-BC4A-AADCEB696107}" destId="{9AC87F34-C75C-4ABB-B41F-6C323355D501}" srcOrd="0" destOrd="0" parTransId="{F40EF0EB-DF98-49BA-B2DA-8AF778D7E2AB}" sibTransId="{A07A811F-523C-4164-8363-B75D8F8EC8B9}"/>
    <dgm:cxn modelId="{F3D48795-CB9F-46BD-85BC-4D4B481CDEA2}" type="presOf" srcId="{05F6DF67-04F0-4D1A-82CA-FB50CFC5C3CD}" destId="{68B0C3ED-4DFA-4BDE-8E9B-C94D8B352D1E}" srcOrd="0" destOrd="0" presId="urn:microsoft.com/office/officeart/2005/8/layout/vList2"/>
    <dgm:cxn modelId="{6EC9B0BD-552B-437A-83A8-C65843DD3B9F}" srcId="{2F405D93-7B0B-492B-9BD4-102828622121}" destId="{BCB285FB-1700-491A-BC4A-AADCEB696107}" srcOrd="3" destOrd="0" parTransId="{11248F84-2915-4FE9-A8F4-00CF1577E1EC}" sibTransId="{5CA36190-CEF0-43AF-9918-27DA48B5E43C}"/>
    <dgm:cxn modelId="{0E7405E7-4745-438E-957E-602521E5C0D7}" srcId="{2F405D93-7B0B-492B-9BD4-102828622121}" destId="{633ED92E-B7EE-436E-87C5-F1EC68555BF0}" srcOrd="1" destOrd="0" parTransId="{947FBA1E-56DB-4E6D-BA64-BE33315703D1}" sibTransId="{03939D03-B9B5-4FB9-8FDA-39659D47E675}"/>
    <dgm:cxn modelId="{BC9BB5E9-1857-4ABA-8555-690B6A7EAEF8}" type="presOf" srcId="{3216AAF8-E37B-4CBC-9C71-832230E80125}" destId="{A1600F63-463C-431B-9F25-6FC9773E67D8}" srcOrd="0" destOrd="0" presId="urn:microsoft.com/office/officeart/2005/8/layout/vList2"/>
    <dgm:cxn modelId="{5C006FED-970B-4714-BF6A-26FFD3261AE6}" type="presOf" srcId="{9AC87F34-C75C-4ABB-B41F-6C323355D501}" destId="{C1733044-1576-46C4-B21A-84639D038D29}" srcOrd="0" destOrd="0" presId="urn:microsoft.com/office/officeart/2005/8/layout/vList2"/>
    <dgm:cxn modelId="{DA8FC7EE-5121-4F46-A0B3-22F1E025F630}" type="presOf" srcId="{238D210D-D621-4824-863C-0AB6F7C5CED6}" destId="{D34B91A1-85AB-4077-98D1-1EBCCAA4EBE8}" srcOrd="0" destOrd="0" presId="urn:microsoft.com/office/officeart/2005/8/layout/vList2"/>
    <dgm:cxn modelId="{2725C218-4123-4F66-8365-DF0B1EE35F28}" type="presParOf" srcId="{86A9ADF0-1BFF-4B78-9FCA-C30B30411174}" destId="{A1600F63-463C-431B-9F25-6FC9773E67D8}" srcOrd="0" destOrd="0" presId="urn:microsoft.com/office/officeart/2005/8/layout/vList2"/>
    <dgm:cxn modelId="{158B37C4-9AAE-48A5-BD7D-CFBCD055409E}" type="presParOf" srcId="{86A9ADF0-1BFF-4B78-9FCA-C30B30411174}" destId="{E38856C5-E548-45FD-9959-65AF3CAA69D6}" srcOrd="1" destOrd="0" presId="urn:microsoft.com/office/officeart/2005/8/layout/vList2"/>
    <dgm:cxn modelId="{41DB215E-30C0-4848-AD62-F0327D86AB6B}" type="presParOf" srcId="{86A9ADF0-1BFF-4B78-9FCA-C30B30411174}" destId="{E2278566-93FF-427B-AFA1-A370C3DB7B2C}" srcOrd="2" destOrd="0" presId="urn:microsoft.com/office/officeart/2005/8/layout/vList2"/>
    <dgm:cxn modelId="{663FCF43-857B-4EAE-B72E-040653FE8488}" type="presParOf" srcId="{86A9ADF0-1BFF-4B78-9FCA-C30B30411174}" destId="{3028CC36-4066-46B2-AB07-7B2193EEF57E}" srcOrd="3" destOrd="0" presId="urn:microsoft.com/office/officeart/2005/8/layout/vList2"/>
    <dgm:cxn modelId="{6E329437-8749-4EDE-B9C7-EAC5F1FDF4B6}" type="presParOf" srcId="{86A9ADF0-1BFF-4B78-9FCA-C30B30411174}" destId="{D34B91A1-85AB-4077-98D1-1EBCCAA4EBE8}" srcOrd="4" destOrd="0" presId="urn:microsoft.com/office/officeart/2005/8/layout/vList2"/>
    <dgm:cxn modelId="{29F95772-3E8D-47DD-877D-1E37F1440AC0}" type="presParOf" srcId="{86A9ADF0-1BFF-4B78-9FCA-C30B30411174}" destId="{68B0C3ED-4DFA-4BDE-8E9B-C94D8B352D1E}" srcOrd="5" destOrd="0" presId="urn:microsoft.com/office/officeart/2005/8/layout/vList2"/>
    <dgm:cxn modelId="{10554970-E3FC-4EDC-A4AE-F05AB9EED5CA}" type="presParOf" srcId="{86A9ADF0-1BFF-4B78-9FCA-C30B30411174}" destId="{054DC60E-250B-42D1-ACCF-CD2E634DE054}" srcOrd="6" destOrd="0" presId="urn:microsoft.com/office/officeart/2005/8/layout/vList2"/>
    <dgm:cxn modelId="{8E0D5F37-FB24-4F48-B9BD-1B5F79830561}" type="presParOf" srcId="{86A9ADF0-1BFF-4B78-9FCA-C30B30411174}" destId="{C1733044-1576-46C4-B21A-84639D038D29}"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525062D-2189-43D5-9D35-5230C3764959}"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DA8278FC-9D16-4910-A33F-3C5BD3B1A41D}">
      <dgm:prSet/>
      <dgm:spPr/>
      <dgm:t>
        <a:bodyPr/>
        <a:lstStyle/>
        <a:p>
          <a:r>
            <a:rPr lang="en-US" dirty="0"/>
            <a:t>2002</a:t>
          </a:r>
        </a:p>
      </dgm:t>
    </dgm:pt>
    <dgm:pt modelId="{6A2D1C3C-766D-4C74-83FB-D801E957DAEE}" type="parTrans" cxnId="{EBED5EFE-6DE4-4492-AE8F-EDAD58E85FCE}">
      <dgm:prSet/>
      <dgm:spPr/>
      <dgm:t>
        <a:bodyPr/>
        <a:lstStyle/>
        <a:p>
          <a:endParaRPr lang="en-US"/>
        </a:p>
      </dgm:t>
    </dgm:pt>
    <dgm:pt modelId="{5455CAE7-28A2-4EE4-8705-F2EC023C703B}" type="sibTrans" cxnId="{EBED5EFE-6DE4-4492-AE8F-EDAD58E85FCE}">
      <dgm:prSet/>
      <dgm:spPr/>
      <dgm:t>
        <a:bodyPr/>
        <a:lstStyle/>
        <a:p>
          <a:endParaRPr lang="en-US"/>
        </a:p>
      </dgm:t>
    </dgm:pt>
    <dgm:pt modelId="{C9E30140-2D45-4349-92D0-A8847DE67B8E}">
      <dgm:prSet/>
      <dgm:spPr/>
      <dgm:t>
        <a:bodyPr/>
        <a:lstStyle/>
        <a:p>
          <a:r>
            <a:rPr lang="en-US" dirty="0"/>
            <a:t>AWS: Nube</a:t>
          </a:r>
        </a:p>
      </dgm:t>
    </dgm:pt>
    <dgm:pt modelId="{B7933433-0587-4790-A2A6-FA5B76B2763D}" type="parTrans" cxnId="{0BFC2B7D-30EB-4FE3-AF6F-C2018CDE4514}">
      <dgm:prSet/>
      <dgm:spPr/>
      <dgm:t>
        <a:bodyPr/>
        <a:lstStyle/>
        <a:p>
          <a:endParaRPr lang="en-US"/>
        </a:p>
      </dgm:t>
    </dgm:pt>
    <dgm:pt modelId="{EEA70BAD-5153-4458-BDAC-07F16156377B}" type="sibTrans" cxnId="{0BFC2B7D-30EB-4FE3-AF6F-C2018CDE4514}">
      <dgm:prSet/>
      <dgm:spPr/>
      <dgm:t>
        <a:bodyPr/>
        <a:lstStyle/>
        <a:p>
          <a:endParaRPr lang="en-US"/>
        </a:p>
      </dgm:t>
    </dgm:pt>
    <dgm:pt modelId="{AFA9D59D-AD64-4951-8286-1BCA2DC0BF97}">
      <dgm:prSet/>
      <dgm:spPr/>
      <dgm:t>
        <a:bodyPr/>
        <a:lstStyle/>
        <a:p>
          <a:r>
            <a:rPr lang="en-US" dirty="0"/>
            <a:t>2005</a:t>
          </a:r>
        </a:p>
      </dgm:t>
    </dgm:pt>
    <dgm:pt modelId="{3A2EFD2F-32E4-4206-B150-921C5B572907}" type="parTrans" cxnId="{8F479EBF-811F-4210-BF1F-84DBC96A8B56}">
      <dgm:prSet/>
      <dgm:spPr/>
      <dgm:t>
        <a:bodyPr/>
        <a:lstStyle/>
        <a:p>
          <a:endParaRPr lang="en-US"/>
        </a:p>
      </dgm:t>
    </dgm:pt>
    <dgm:pt modelId="{EB20850D-8103-4746-8107-1F9A2B2D4A91}" type="sibTrans" cxnId="{8F479EBF-811F-4210-BF1F-84DBC96A8B56}">
      <dgm:prSet/>
      <dgm:spPr/>
      <dgm:t>
        <a:bodyPr/>
        <a:lstStyle/>
        <a:p>
          <a:endParaRPr lang="en-US"/>
        </a:p>
      </dgm:t>
    </dgm:pt>
    <dgm:pt modelId="{D7E93A75-7782-42FE-834B-E9D20C4C84C5}">
      <dgm:prSet/>
      <dgm:spPr/>
      <dgm:t>
        <a:bodyPr/>
        <a:lstStyle/>
        <a:p>
          <a:r>
            <a:rPr lang="en-US" dirty="0"/>
            <a:t>Amazon Prime (Suscripción)</a:t>
          </a:r>
        </a:p>
      </dgm:t>
    </dgm:pt>
    <dgm:pt modelId="{164CA303-832E-42F4-B65C-92519FCF966E}" type="parTrans" cxnId="{75FEF5E3-35D1-418B-8758-5FA8E9A05EE6}">
      <dgm:prSet/>
      <dgm:spPr/>
      <dgm:t>
        <a:bodyPr/>
        <a:lstStyle/>
        <a:p>
          <a:endParaRPr lang="en-US"/>
        </a:p>
      </dgm:t>
    </dgm:pt>
    <dgm:pt modelId="{BF446160-E984-4B5D-8455-A2E5A374BFB7}" type="sibTrans" cxnId="{75FEF5E3-35D1-418B-8758-5FA8E9A05EE6}">
      <dgm:prSet/>
      <dgm:spPr/>
      <dgm:t>
        <a:bodyPr/>
        <a:lstStyle/>
        <a:p>
          <a:endParaRPr lang="en-US"/>
        </a:p>
      </dgm:t>
    </dgm:pt>
    <dgm:pt modelId="{DECF9FC9-00BE-4549-AF31-45AFC11D95E5}">
      <dgm:prSet/>
      <dgm:spPr/>
      <dgm:t>
        <a:bodyPr/>
        <a:lstStyle/>
        <a:p>
          <a:r>
            <a:rPr lang="en-US" dirty="0"/>
            <a:t>2016</a:t>
          </a:r>
        </a:p>
      </dgm:t>
    </dgm:pt>
    <dgm:pt modelId="{DDE747AA-35C7-4065-BB6B-14055426F104}" type="parTrans" cxnId="{3213204D-979C-42F8-A460-27376D40176C}">
      <dgm:prSet/>
      <dgm:spPr/>
      <dgm:t>
        <a:bodyPr/>
        <a:lstStyle/>
        <a:p>
          <a:endParaRPr lang="en-US"/>
        </a:p>
      </dgm:t>
    </dgm:pt>
    <dgm:pt modelId="{378BBA1B-7AB3-4F1D-BFCA-09DD2AA8BA06}" type="sibTrans" cxnId="{3213204D-979C-42F8-A460-27376D40176C}">
      <dgm:prSet/>
      <dgm:spPr/>
      <dgm:t>
        <a:bodyPr/>
        <a:lstStyle/>
        <a:p>
          <a:endParaRPr lang="en-US"/>
        </a:p>
      </dgm:t>
    </dgm:pt>
    <dgm:pt modelId="{9BADDC75-8314-4D8D-A3BC-2B680D7757A9}">
      <dgm:prSet/>
      <dgm:spPr/>
      <dgm:t>
        <a:bodyPr/>
        <a:lstStyle/>
        <a:p>
          <a:r>
            <a:rPr lang="en-US" dirty="0"/>
            <a:t>Amazon Go – Tiendas físicas para empleados</a:t>
          </a:r>
        </a:p>
      </dgm:t>
    </dgm:pt>
    <dgm:pt modelId="{EF91E2FB-C98A-444C-839A-EEF7686523E5}" type="parTrans" cxnId="{66D1509B-D940-43E9-B868-1CB8B4BA35C6}">
      <dgm:prSet/>
      <dgm:spPr/>
      <dgm:t>
        <a:bodyPr/>
        <a:lstStyle/>
        <a:p>
          <a:endParaRPr lang="en-US"/>
        </a:p>
      </dgm:t>
    </dgm:pt>
    <dgm:pt modelId="{81C86528-96AE-40F5-BEF5-1B41D4C5EFDF}" type="sibTrans" cxnId="{66D1509B-D940-43E9-B868-1CB8B4BA35C6}">
      <dgm:prSet/>
      <dgm:spPr/>
      <dgm:t>
        <a:bodyPr/>
        <a:lstStyle/>
        <a:p>
          <a:endParaRPr lang="en-US"/>
        </a:p>
      </dgm:t>
    </dgm:pt>
    <dgm:pt modelId="{B590183D-8527-41F0-9305-3C4A0325DD7A}">
      <dgm:prSet/>
      <dgm:spPr/>
      <dgm:t>
        <a:bodyPr/>
        <a:lstStyle/>
        <a:p>
          <a:r>
            <a:rPr lang="en-US" dirty="0"/>
            <a:t>2018</a:t>
          </a:r>
        </a:p>
      </dgm:t>
    </dgm:pt>
    <dgm:pt modelId="{F725EE09-B134-4910-B142-75F258D291A4}" type="parTrans" cxnId="{D0C32A69-411C-402C-9038-10617559B18C}">
      <dgm:prSet/>
      <dgm:spPr/>
      <dgm:t>
        <a:bodyPr/>
        <a:lstStyle/>
        <a:p>
          <a:endParaRPr lang="en-US"/>
        </a:p>
      </dgm:t>
    </dgm:pt>
    <dgm:pt modelId="{79A0B539-F65E-4239-AA8F-281C2FAFDA18}" type="sibTrans" cxnId="{D0C32A69-411C-402C-9038-10617559B18C}">
      <dgm:prSet/>
      <dgm:spPr/>
      <dgm:t>
        <a:bodyPr/>
        <a:lstStyle/>
        <a:p>
          <a:endParaRPr lang="en-US"/>
        </a:p>
      </dgm:t>
    </dgm:pt>
    <dgm:pt modelId="{820E0D7D-2D8A-483F-A0AD-11673BC8F50A}">
      <dgm:prSet/>
      <dgm:spPr/>
      <dgm:t>
        <a:bodyPr vert="horz"/>
        <a:lstStyle/>
        <a:p>
          <a:r>
            <a:rPr lang="en-US" dirty="0"/>
            <a:t>22 de enero, tiendas físicas para todos</a:t>
          </a:r>
        </a:p>
      </dgm:t>
    </dgm:pt>
    <dgm:pt modelId="{BE40E377-CE0F-4869-B8E4-FE5E417B89A1}" type="parTrans" cxnId="{018A34D2-246D-432C-AE82-D8540D9AE193}">
      <dgm:prSet/>
      <dgm:spPr/>
      <dgm:t>
        <a:bodyPr/>
        <a:lstStyle/>
        <a:p>
          <a:endParaRPr lang="en-US"/>
        </a:p>
      </dgm:t>
    </dgm:pt>
    <dgm:pt modelId="{3FAF4F2A-347F-44EA-9030-73275AA6842B}" type="sibTrans" cxnId="{018A34D2-246D-432C-AE82-D8540D9AE193}">
      <dgm:prSet/>
      <dgm:spPr/>
      <dgm:t>
        <a:bodyPr/>
        <a:lstStyle/>
        <a:p>
          <a:endParaRPr lang="en-US"/>
        </a:p>
      </dgm:t>
    </dgm:pt>
    <dgm:pt modelId="{9E6FCD15-5021-435B-955F-3422D588BEEC}">
      <dgm:prSet/>
      <dgm:spPr/>
      <dgm:t>
        <a:bodyPr/>
        <a:lstStyle/>
        <a:p>
          <a:r>
            <a:rPr lang="en-US" dirty="0"/>
            <a:t>2019</a:t>
          </a:r>
        </a:p>
      </dgm:t>
    </dgm:pt>
    <dgm:pt modelId="{F3C44940-8105-48B3-8580-7106AA24D1BB}" type="parTrans" cxnId="{C1098431-E7CD-48AD-93BD-9D4E50CB4ABC}">
      <dgm:prSet/>
      <dgm:spPr/>
      <dgm:t>
        <a:bodyPr/>
        <a:lstStyle/>
        <a:p>
          <a:endParaRPr lang="en-US"/>
        </a:p>
      </dgm:t>
    </dgm:pt>
    <dgm:pt modelId="{F3647F91-C639-4C5E-8FE4-E9ECFF3502D8}" type="sibTrans" cxnId="{C1098431-E7CD-48AD-93BD-9D4E50CB4ABC}">
      <dgm:prSet/>
      <dgm:spPr/>
      <dgm:t>
        <a:bodyPr/>
        <a:lstStyle/>
        <a:p>
          <a:endParaRPr lang="en-US"/>
        </a:p>
      </dgm:t>
    </dgm:pt>
    <dgm:pt modelId="{8DBD913F-E033-4756-8D36-1CD72A73CCA7}">
      <dgm:prSet/>
      <dgm:spPr/>
      <dgm:t>
        <a:bodyPr/>
        <a:lstStyle/>
        <a:p>
          <a:r>
            <a:rPr lang="en-US" dirty="0"/>
            <a:t>Amazon Prime Day. ofertas flash en millones de productos </a:t>
          </a:r>
        </a:p>
      </dgm:t>
    </dgm:pt>
    <dgm:pt modelId="{A28B4770-204F-4A8E-8984-1EA86EE01360}" type="parTrans" cxnId="{4B783957-5195-45EB-8472-A735A52DE669}">
      <dgm:prSet/>
      <dgm:spPr/>
      <dgm:t>
        <a:bodyPr/>
        <a:lstStyle/>
        <a:p>
          <a:endParaRPr lang="en-US"/>
        </a:p>
      </dgm:t>
    </dgm:pt>
    <dgm:pt modelId="{7736F07D-563C-46BB-8B57-A3C4ED80395B}" type="sibTrans" cxnId="{4B783957-5195-45EB-8472-A735A52DE669}">
      <dgm:prSet/>
      <dgm:spPr/>
      <dgm:t>
        <a:bodyPr/>
        <a:lstStyle/>
        <a:p>
          <a:endParaRPr lang="en-US"/>
        </a:p>
      </dgm:t>
    </dgm:pt>
    <dgm:pt modelId="{9F011154-3645-43DA-9A5D-3CCC627158FD}">
      <dgm:prSet/>
      <dgm:spPr/>
      <dgm:t>
        <a:bodyPr/>
        <a:lstStyle/>
        <a:p>
          <a:r>
            <a:rPr lang="es-ES" dirty="0"/>
            <a:t>2000</a:t>
          </a:r>
          <a:endParaRPr lang="en-US" dirty="0"/>
        </a:p>
      </dgm:t>
    </dgm:pt>
    <dgm:pt modelId="{6AFB248C-B7AB-4A73-BFC3-9123223AFE47}" type="parTrans" cxnId="{372FBDC7-A3FE-48C7-B6C3-88E20AD44A2A}">
      <dgm:prSet/>
      <dgm:spPr/>
      <dgm:t>
        <a:bodyPr/>
        <a:lstStyle/>
        <a:p>
          <a:endParaRPr lang="es-ES"/>
        </a:p>
      </dgm:t>
    </dgm:pt>
    <dgm:pt modelId="{E75D0555-63F8-4991-A3EE-255632113731}" type="sibTrans" cxnId="{372FBDC7-A3FE-48C7-B6C3-88E20AD44A2A}">
      <dgm:prSet/>
      <dgm:spPr/>
      <dgm:t>
        <a:bodyPr/>
        <a:lstStyle/>
        <a:p>
          <a:endParaRPr lang="es-ES"/>
        </a:p>
      </dgm:t>
    </dgm:pt>
    <dgm:pt modelId="{69BC87CF-429A-4F6F-959D-D0C2FD186B4B}">
      <dgm:prSet/>
      <dgm:spPr/>
      <dgm:t>
        <a:bodyPr/>
        <a:lstStyle/>
        <a:p>
          <a:r>
            <a:rPr lang="es-ES" dirty="0"/>
            <a:t>Se convierte en Marketplace, todos compran y venden.</a:t>
          </a:r>
        </a:p>
      </dgm:t>
    </dgm:pt>
    <dgm:pt modelId="{1E25980F-A48B-44F2-B678-0229FEEC830D}" type="parTrans" cxnId="{4D093522-C41F-4D14-9A7F-E11DCB65186F}">
      <dgm:prSet/>
      <dgm:spPr/>
      <dgm:t>
        <a:bodyPr/>
        <a:lstStyle/>
        <a:p>
          <a:endParaRPr lang="es-ES"/>
        </a:p>
      </dgm:t>
    </dgm:pt>
    <dgm:pt modelId="{C9469481-B83F-410A-9692-AD889914747D}" type="sibTrans" cxnId="{4D093522-C41F-4D14-9A7F-E11DCB65186F}">
      <dgm:prSet/>
      <dgm:spPr/>
      <dgm:t>
        <a:bodyPr/>
        <a:lstStyle/>
        <a:p>
          <a:endParaRPr lang="es-ES"/>
        </a:p>
      </dgm:t>
    </dgm:pt>
    <dgm:pt modelId="{16F62672-93C2-4F8E-B0A7-7B99CE377D27}">
      <dgm:prSet/>
      <dgm:spPr/>
      <dgm:t>
        <a:bodyPr/>
        <a:lstStyle/>
        <a:p>
          <a:r>
            <a:rPr lang="es-ES" dirty="0"/>
            <a:t>Amazon garantiza calidad y logística.</a:t>
          </a:r>
        </a:p>
      </dgm:t>
    </dgm:pt>
    <dgm:pt modelId="{B96EAE93-A169-41C6-94D4-1359E9288529}" type="parTrans" cxnId="{B439D130-EA90-4086-BE13-70CBA4D1C42B}">
      <dgm:prSet/>
      <dgm:spPr/>
      <dgm:t>
        <a:bodyPr/>
        <a:lstStyle/>
        <a:p>
          <a:endParaRPr lang="es-ES"/>
        </a:p>
      </dgm:t>
    </dgm:pt>
    <dgm:pt modelId="{F5307920-91A5-4C45-A228-9DC09254742F}" type="sibTrans" cxnId="{B439D130-EA90-4086-BE13-70CBA4D1C42B}">
      <dgm:prSet/>
      <dgm:spPr/>
      <dgm:t>
        <a:bodyPr/>
        <a:lstStyle/>
        <a:p>
          <a:endParaRPr lang="es-ES"/>
        </a:p>
      </dgm:t>
    </dgm:pt>
    <dgm:pt modelId="{29CC1855-246C-46B9-B86C-8FDC77DC436E}">
      <dgm:prSet/>
      <dgm:spPr/>
      <dgm:t>
        <a:bodyPr/>
        <a:lstStyle/>
        <a:p>
          <a:r>
            <a:rPr lang="en-US" dirty="0"/>
            <a:t>2017</a:t>
          </a:r>
        </a:p>
      </dgm:t>
    </dgm:pt>
    <dgm:pt modelId="{74FFAD9F-027F-4F65-826E-49C7A9F884A9}" type="parTrans" cxnId="{ECA19A12-380C-4A04-B41C-3F7BA1712222}">
      <dgm:prSet/>
      <dgm:spPr/>
    </dgm:pt>
    <dgm:pt modelId="{E3514855-0E2A-4B5A-9559-7148E53DCBF5}" type="sibTrans" cxnId="{ECA19A12-380C-4A04-B41C-3F7BA1712222}">
      <dgm:prSet/>
      <dgm:spPr/>
    </dgm:pt>
    <dgm:pt modelId="{43860563-BC2A-460D-8384-BF6C0139CEA2}">
      <dgm:prSet/>
      <dgm:spPr/>
      <dgm:t>
        <a:bodyPr/>
        <a:lstStyle/>
        <a:p>
          <a:r>
            <a:rPr lang="es-ES" b="1" i="0" dirty="0"/>
            <a:t>Jeff Bezos se convierte en la persona más rica del mundo </a:t>
          </a:r>
          <a:endParaRPr lang="en-US" dirty="0"/>
        </a:p>
      </dgm:t>
    </dgm:pt>
    <dgm:pt modelId="{6C0D0B9A-A8B0-461F-866D-29D5E90F08C3}" type="parTrans" cxnId="{A824C760-6444-4ACD-A63D-4AF0C7153D63}">
      <dgm:prSet/>
      <dgm:spPr/>
    </dgm:pt>
    <dgm:pt modelId="{6402A0CF-59D3-4AB8-A0BB-D282C35A1095}" type="sibTrans" cxnId="{A824C760-6444-4ACD-A63D-4AF0C7153D63}">
      <dgm:prSet/>
      <dgm:spPr/>
    </dgm:pt>
    <dgm:pt modelId="{2DD4A05C-8281-4AAA-88F4-E308E69D7B39}" type="pres">
      <dgm:prSet presAssocID="{B525062D-2189-43D5-9D35-5230C3764959}" presName="Name0" presStyleCnt="0">
        <dgm:presLayoutVars>
          <dgm:dir/>
          <dgm:resizeHandles val="exact"/>
        </dgm:presLayoutVars>
      </dgm:prSet>
      <dgm:spPr/>
    </dgm:pt>
    <dgm:pt modelId="{68F7B9C1-9E98-4AD3-8F65-3147376C01A9}" type="pres">
      <dgm:prSet presAssocID="{B525062D-2189-43D5-9D35-5230C3764959}" presName="arrow" presStyleLbl="bgShp" presStyleIdx="0" presStyleCnt="1"/>
      <dgm:spPr/>
    </dgm:pt>
    <dgm:pt modelId="{C762452C-5FF5-43CB-AC2B-9431860F8604}" type="pres">
      <dgm:prSet presAssocID="{B525062D-2189-43D5-9D35-5230C3764959}" presName="points" presStyleCnt="0"/>
      <dgm:spPr/>
    </dgm:pt>
    <dgm:pt modelId="{2FD1EC54-59BB-42D8-B2F7-61C93C321367}" type="pres">
      <dgm:prSet presAssocID="{9F011154-3645-43DA-9A5D-3CCC627158FD}" presName="compositeA" presStyleCnt="0"/>
      <dgm:spPr/>
    </dgm:pt>
    <dgm:pt modelId="{658F74C5-5C5D-49E0-83A5-F12FC9CC96E0}" type="pres">
      <dgm:prSet presAssocID="{9F011154-3645-43DA-9A5D-3CCC627158FD}" presName="textA" presStyleLbl="revTx" presStyleIdx="0" presStyleCnt="7">
        <dgm:presLayoutVars>
          <dgm:bulletEnabled val="1"/>
        </dgm:presLayoutVars>
      </dgm:prSet>
      <dgm:spPr/>
    </dgm:pt>
    <dgm:pt modelId="{E033D30F-D957-4782-8955-C2B8A25FCE46}" type="pres">
      <dgm:prSet presAssocID="{9F011154-3645-43DA-9A5D-3CCC627158FD}" presName="circleA" presStyleLbl="node1" presStyleIdx="0" presStyleCnt="7"/>
      <dgm:spPr/>
    </dgm:pt>
    <dgm:pt modelId="{6CE95B24-F549-442A-98C5-2CDB81F5DE07}" type="pres">
      <dgm:prSet presAssocID="{9F011154-3645-43DA-9A5D-3CCC627158FD}" presName="spaceA" presStyleCnt="0"/>
      <dgm:spPr/>
    </dgm:pt>
    <dgm:pt modelId="{3B20112E-8E24-4E60-B9E6-98F5659DBA4C}" type="pres">
      <dgm:prSet presAssocID="{E75D0555-63F8-4991-A3EE-255632113731}" presName="space" presStyleCnt="0"/>
      <dgm:spPr/>
    </dgm:pt>
    <dgm:pt modelId="{194A57DD-9E47-4DF2-849A-68A76B8D1C79}" type="pres">
      <dgm:prSet presAssocID="{DA8278FC-9D16-4910-A33F-3C5BD3B1A41D}" presName="compositeB" presStyleCnt="0"/>
      <dgm:spPr/>
    </dgm:pt>
    <dgm:pt modelId="{5DDBC4E7-4FD3-4192-8F7D-8126B3224AEC}" type="pres">
      <dgm:prSet presAssocID="{DA8278FC-9D16-4910-A33F-3C5BD3B1A41D}" presName="textB" presStyleLbl="revTx" presStyleIdx="1" presStyleCnt="7">
        <dgm:presLayoutVars>
          <dgm:bulletEnabled val="1"/>
        </dgm:presLayoutVars>
      </dgm:prSet>
      <dgm:spPr/>
    </dgm:pt>
    <dgm:pt modelId="{59469A8A-B26B-44A8-82EC-51B1E80BEC4E}" type="pres">
      <dgm:prSet presAssocID="{DA8278FC-9D16-4910-A33F-3C5BD3B1A41D}" presName="circleB" presStyleLbl="node1" presStyleIdx="1" presStyleCnt="7"/>
      <dgm:spPr/>
    </dgm:pt>
    <dgm:pt modelId="{72E838BB-789B-4715-839C-C6B74FF47169}" type="pres">
      <dgm:prSet presAssocID="{DA8278FC-9D16-4910-A33F-3C5BD3B1A41D}" presName="spaceB" presStyleCnt="0"/>
      <dgm:spPr/>
    </dgm:pt>
    <dgm:pt modelId="{AE40C13F-2948-4840-86B9-9ABD6B9A778C}" type="pres">
      <dgm:prSet presAssocID="{5455CAE7-28A2-4EE4-8705-F2EC023C703B}" presName="space" presStyleCnt="0"/>
      <dgm:spPr/>
    </dgm:pt>
    <dgm:pt modelId="{DE2FDC0E-EB1E-4158-86B6-D975D385C72D}" type="pres">
      <dgm:prSet presAssocID="{AFA9D59D-AD64-4951-8286-1BCA2DC0BF97}" presName="compositeA" presStyleCnt="0"/>
      <dgm:spPr/>
    </dgm:pt>
    <dgm:pt modelId="{45E21488-7EF8-4782-8F2E-C60D5041F894}" type="pres">
      <dgm:prSet presAssocID="{AFA9D59D-AD64-4951-8286-1BCA2DC0BF97}" presName="textA" presStyleLbl="revTx" presStyleIdx="2" presStyleCnt="7">
        <dgm:presLayoutVars>
          <dgm:bulletEnabled val="1"/>
        </dgm:presLayoutVars>
      </dgm:prSet>
      <dgm:spPr/>
    </dgm:pt>
    <dgm:pt modelId="{F0340A46-EA1E-4F51-8103-ACAD802906A9}" type="pres">
      <dgm:prSet presAssocID="{AFA9D59D-AD64-4951-8286-1BCA2DC0BF97}" presName="circleA" presStyleLbl="node1" presStyleIdx="2" presStyleCnt="7"/>
      <dgm:spPr/>
    </dgm:pt>
    <dgm:pt modelId="{E8030962-8C96-4C33-997C-D0917DC88356}" type="pres">
      <dgm:prSet presAssocID="{AFA9D59D-AD64-4951-8286-1BCA2DC0BF97}" presName="spaceA" presStyleCnt="0"/>
      <dgm:spPr/>
    </dgm:pt>
    <dgm:pt modelId="{B4C63724-851F-4883-BD8F-CD22A5E49B50}" type="pres">
      <dgm:prSet presAssocID="{EB20850D-8103-4746-8107-1F9A2B2D4A91}" presName="space" presStyleCnt="0"/>
      <dgm:spPr/>
    </dgm:pt>
    <dgm:pt modelId="{D245F722-D498-4AAE-B7B7-6BE71A26F1F1}" type="pres">
      <dgm:prSet presAssocID="{DECF9FC9-00BE-4549-AF31-45AFC11D95E5}" presName="compositeB" presStyleCnt="0"/>
      <dgm:spPr/>
    </dgm:pt>
    <dgm:pt modelId="{EF11378A-94C9-4D67-8A59-0EC64FE52B20}" type="pres">
      <dgm:prSet presAssocID="{DECF9FC9-00BE-4549-AF31-45AFC11D95E5}" presName="textB" presStyleLbl="revTx" presStyleIdx="3" presStyleCnt="7">
        <dgm:presLayoutVars>
          <dgm:bulletEnabled val="1"/>
        </dgm:presLayoutVars>
      </dgm:prSet>
      <dgm:spPr/>
    </dgm:pt>
    <dgm:pt modelId="{66D5039F-05BA-482B-B5C5-8C9277EAC8EE}" type="pres">
      <dgm:prSet presAssocID="{DECF9FC9-00BE-4549-AF31-45AFC11D95E5}" presName="circleB" presStyleLbl="node1" presStyleIdx="3" presStyleCnt="7"/>
      <dgm:spPr/>
    </dgm:pt>
    <dgm:pt modelId="{A049584E-C15A-4F1F-A1C8-D44E8AA504CD}" type="pres">
      <dgm:prSet presAssocID="{DECF9FC9-00BE-4549-AF31-45AFC11D95E5}" presName="spaceB" presStyleCnt="0"/>
      <dgm:spPr/>
    </dgm:pt>
    <dgm:pt modelId="{1BC69F7D-EF90-4794-8C1D-32BF07E39AC8}" type="pres">
      <dgm:prSet presAssocID="{378BBA1B-7AB3-4F1D-BFCA-09DD2AA8BA06}" presName="space" presStyleCnt="0"/>
      <dgm:spPr/>
    </dgm:pt>
    <dgm:pt modelId="{2C098045-26A8-4636-8D8F-F000BCB1583E}" type="pres">
      <dgm:prSet presAssocID="{29CC1855-246C-46B9-B86C-8FDC77DC436E}" presName="compositeA" presStyleCnt="0"/>
      <dgm:spPr/>
    </dgm:pt>
    <dgm:pt modelId="{788E8C2C-DEF8-45C9-871E-743BEEF07A97}" type="pres">
      <dgm:prSet presAssocID="{29CC1855-246C-46B9-B86C-8FDC77DC436E}" presName="textA" presStyleLbl="revTx" presStyleIdx="4" presStyleCnt="7">
        <dgm:presLayoutVars>
          <dgm:bulletEnabled val="1"/>
        </dgm:presLayoutVars>
      </dgm:prSet>
      <dgm:spPr/>
    </dgm:pt>
    <dgm:pt modelId="{F18CE6D0-C25C-4FAF-93EA-17F363014D8E}" type="pres">
      <dgm:prSet presAssocID="{29CC1855-246C-46B9-B86C-8FDC77DC436E}" presName="circleA" presStyleLbl="node1" presStyleIdx="4" presStyleCnt="7"/>
      <dgm:spPr/>
    </dgm:pt>
    <dgm:pt modelId="{A912106C-87CD-45F2-9EDA-1880912D529B}" type="pres">
      <dgm:prSet presAssocID="{29CC1855-246C-46B9-B86C-8FDC77DC436E}" presName="spaceA" presStyleCnt="0"/>
      <dgm:spPr/>
    </dgm:pt>
    <dgm:pt modelId="{2FC4E4E6-8B29-40E5-9AB7-B0E9618D165D}" type="pres">
      <dgm:prSet presAssocID="{E3514855-0E2A-4B5A-9559-7148E53DCBF5}" presName="space" presStyleCnt="0"/>
      <dgm:spPr/>
    </dgm:pt>
    <dgm:pt modelId="{AA40513B-526A-4741-9B6F-C1612B538676}" type="pres">
      <dgm:prSet presAssocID="{B590183D-8527-41F0-9305-3C4A0325DD7A}" presName="compositeB" presStyleCnt="0"/>
      <dgm:spPr/>
    </dgm:pt>
    <dgm:pt modelId="{243184EC-2F7C-47D9-9DC8-E25642BE0651}" type="pres">
      <dgm:prSet presAssocID="{B590183D-8527-41F0-9305-3C4A0325DD7A}" presName="textB" presStyleLbl="revTx" presStyleIdx="5" presStyleCnt="7">
        <dgm:presLayoutVars>
          <dgm:bulletEnabled val="1"/>
        </dgm:presLayoutVars>
      </dgm:prSet>
      <dgm:spPr/>
    </dgm:pt>
    <dgm:pt modelId="{0C43E290-CA23-48FD-9DAB-C96066CBD69F}" type="pres">
      <dgm:prSet presAssocID="{B590183D-8527-41F0-9305-3C4A0325DD7A}" presName="circleB" presStyleLbl="node1" presStyleIdx="5" presStyleCnt="7"/>
      <dgm:spPr/>
    </dgm:pt>
    <dgm:pt modelId="{32428DCB-9F4F-4697-ABD3-9DF2AD651F9F}" type="pres">
      <dgm:prSet presAssocID="{B590183D-8527-41F0-9305-3C4A0325DD7A}" presName="spaceB" presStyleCnt="0"/>
      <dgm:spPr/>
    </dgm:pt>
    <dgm:pt modelId="{F41D2347-B4FF-4520-81DF-80F6BA0C80F3}" type="pres">
      <dgm:prSet presAssocID="{79A0B539-F65E-4239-AA8F-281C2FAFDA18}" presName="space" presStyleCnt="0"/>
      <dgm:spPr/>
    </dgm:pt>
    <dgm:pt modelId="{9F2C2178-B644-462F-A490-900FB03822C5}" type="pres">
      <dgm:prSet presAssocID="{9E6FCD15-5021-435B-955F-3422D588BEEC}" presName="compositeA" presStyleCnt="0"/>
      <dgm:spPr/>
    </dgm:pt>
    <dgm:pt modelId="{A45F731F-FCCB-4671-BE43-68E8B330BFDF}" type="pres">
      <dgm:prSet presAssocID="{9E6FCD15-5021-435B-955F-3422D588BEEC}" presName="textA" presStyleLbl="revTx" presStyleIdx="6" presStyleCnt="7">
        <dgm:presLayoutVars>
          <dgm:bulletEnabled val="1"/>
        </dgm:presLayoutVars>
      </dgm:prSet>
      <dgm:spPr/>
    </dgm:pt>
    <dgm:pt modelId="{4AE86F56-13D3-4140-B70D-71E5BDEC4CED}" type="pres">
      <dgm:prSet presAssocID="{9E6FCD15-5021-435B-955F-3422D588BEEC}" presName="circleA" presStyleLbl="node1" presStyleIdx="6" presStyleCnt="7"/>
      <dgm:spPr/>
    </dgm:pt>
    <dgm:pt modelId="{B6225964-75E6-4DE8-9D4A-56B2666DF208}" type="pres">
      <dgm:prSet presAssocID="{9E6FCD15-5021-435B-955F-3422D588BEEC}" presName="spaceA" presStyleCnt="0"/>
      <dgm:spPr/>
    </dgm:pt>
  </dgm:ptLst>
  <dgm:cxnLst>
    <dgm:cxn modelId="{6A02B50A-3A64-48F6-AF4B-8C5EDD2AB2E0}" type="presOf" srcId="{B525062D-2189-43D5-9D35-5230C3764959}" destId="{2DD4A05C-8281-4AAA-88F4-E308E69D7B39}" srcOrd="0" destOrd="0" presId="urn:microsoft.com/office/officeart/2005/8/layout/hProcess11"/>
    <dgm:cxn modelId="{ECA19A12-380C-4A04-B41C-3F7BA1712222}" srcId="{B525062D-2189-43D5-9D35-5230C3764959}" destId="{29CC1855-246C-46B9-B86C-8FDC77DC436E}" srcOrd="4" destOrd="0" parTransId="{74FFAD9F-027F-4F65-826E-49C7A9F884A9}" sibTransId="{E3514855-0E2A-4B5A-9559-7148E53DCBF5}"/>
    <dgm:cxn modelId="{4D093522-C41F-4D14-9A7F-E11DCB65186F}" srcId="{9F011154-3645-43DA-9A5D-3CCC627158FD}" destId="{69BC87CF-429A-4F6F-959D-D0C2FD186B4B}" srcOrd="0" destOrd="0" parTransId="{1E25980F-A48B-44F2-B678-0229FEEC830D}" sibTransId="{C9469481-B83F-410A-9692-AD889914747D}"/>
    <dgm:cxn modelId="{B439D130-EA90-4086-BE13-70CBA4D1C42B}" srcId="{9F011154-3645-43DA-9A5D-3CCC627158FD}" destId="{16F62672-93C2-4F8E-B0A7-7B99CE377D27}" srcOrd="1" destOrd="0" parTransId="{B96EAE93-A169-41C6-94D4-1359E9288529}" sibTransId="{F5307920-91A5-4C45-A228-9DC09254742F}"/>
    <dgm:cxn modelId="{C1098431-E7CD-48AD-93BD-9D4E50CB4ABC}" srcId="{B525062D-2189-43D5-9D35-5230C3764959}" destId="{9E6FCD15-5021-435B-955F-3422D588BEEC}" srcOrd="6" destOrd="0" parTransId="{F3C44940-8105-48B3-8580-7106AA24D1BB}" sibTransId="{F3647F91-C639-4C5E-8FE4-E9ECFF3502D8}"/>
    <dgm:cxn modelId="{1B57823B-B90B-4220-A6D3-E2B8A08C3FCD}" type="presOf" srcId="{DECF9FC9-00BE-4549-AF31-45AFC11D95E5}" destId="{EF11378A-94C9-4D67-8A59-0EC64FE52B20}" srcOrd="0" destOrd="0" presId="urn:microsoft.com/office/officeart/2005/8/layout/hProcess11"/>
    <dgm:cxn modelId="{BDBB7E3C-D058-4901-B684-56B0511BFCC9}" type="presOf" srcId="{AFA9D59D-AD64-4951-8286-1BCA2DC0BF97}" destId="{45E21488-7EF8-4782-8F2E-C60D5041F894}" srcOrd="0" destOrd="0" presId="urn:microsoft.com/office/officeart/2005/8/layout/hProcess11"/>
    <dgm:cxn modelId="{CE80B03D-8456-48DB-92DB-6F9DBE14AA94}" type="presOf" srcId="{820E0D7D-2D8A-483F-A0AD-11673BC8F50A}" destId="{243184EC-2F7C-47D9-9DC8-E25642BE0651}" srcOrd="0" destOrd="1" presId="urn:microsoft.com/office/officeart/2005/8/layout/hProcess11"/>
    <dgm:cxn modelId="{7BC08F60-3721-4B0E-9E0B-65DA83C54BA8}" type="presOf" srcId="{8DBD913F-E033-4756-8D36-1CD72A73CCA7}" destId="{A45F731F-FCCB-4671-BE43-68E8B330BFDF}" srcOrd="0" destOrd="1" presId="urn:microsoft.com/office/officeart/2005/8/layout/hProcess11"/>
    <dgm:cxn modelId="{A824C760-6444-4ACD-A63D-4AF0C7153D63}" srcId="{29CC1855-246C-46B9-B86C-8FDC77DC436E}" destId="{43860563-BC2A-460D-8384-BF6C0139CEA2}" srcOrd="0" destOrd="0" parTransId="{6C0D0B9A-A8B0-461F-866D-29D5E90F08C3}" sibTransId="{6402A0CF-59D3-4AB8-A0BB-D282C35A1095}"/>
    <dgm:cxn modelId="{679B2D44-2125-4B20-9CDE-F18724A7E530}" type="presOf" srcId="{43860563-BC2A-460D-8384-BF6C0139CEA2}" destId="{788E8C2C-DEF8-45C9-871E-743BEEF07A97}" srcOrd="0" destOrd="1" presId="urn:microsoft.com/office/officeart/2005/8/layout/hProcess11"/>
    <dgm:cxn modelId="{5A87AF45-9664-46B3-B7E0-E2DF7917BD0C}" type="presOf" srcId="{DA8278FC-9D16-4910-A33F-3C5BD3B1A41D}" destId="{5DDBC4E7-4FD3-4192-8F7D-8126B3224AEC}" srcOrd="0" destOrd="0" presId="urn:microsoft.com/office/officeart/2005/8/layout/hProcess11"/>
    <dgm:cxn modelId="{09DCBD45-0F12-4A49-928F-81045096A46B}" type="presOf" srcId="{9BADDC75-8314-4D8D-A3BC-2B680D7757A9}" destId="{EF11378A-94C9-4D67-8A59-0EC64FE52B20}" srcOrd="0" destOrd="1" presId="urn:microsoft.com/office/officeart/2005/8/layout/hProcess11"/>
    <dgm:cxn modelId="{8AEE9E67-2AE4-4D08-8032-CE450AEE8664}" type="presOf" srcId="{D7E93A75-7782-42FE-834B-E9D20C4C84C5}" destId="{45E21488-7EF8-4782-8F2E-C60D5041F894}" srcOrd="0" destOrd="1" presId="urn:microsoft.com/office/officeart/2005/8/layout/hProcess11"/>
    <dgm:cxn modelId="{D0C32A69-411C-402C-9038-10617559B18C}" srcId="{B525062D-2189-43D5-9D35-5230C3764959}" destId="{B590183D-8527-41F0-9305-3C4A0325DD7A}" srcOrd="5" destOrd="0" parTransId="{F725EE09-B134-4910-B142-75F258D291A4}" sibTransId="{79A0B539-F65E-4239-AA8F-281C2FAFDA18}"/>
    <dgm:cxn modelId="{3213204D-979C-42F8-A460-27376D40176C}" srcId="{B525062D-2189-43D5-9D35-5230C3764959}" destId="{DECF9FC9-00BE-4549-AF31-45AFC11D95E5}" srcOrd="3" destOrd="0" parTransId="{DDE747AA-35C7-4065-BB6B-14055426F104}" sibTransId="{378BBA1B-7AB3-4F1D-BFCA-09DD2AA8BA06}"/>
    <dgm:cxn modelId="{9A701155-6D5B-4EC7-B0CA-50F6B6E86893}" type="presOf" srcId="{9F011154-3645-43DA-9A5D-3CCC627158FD}" destId="{658F74C5-5C5D-49E0-83A5-F12FC9CC96E0}" srcOrd="0" destOrd="0" presId="urn:microsoft.com/office/officeart/2005/8/layout/hProcess11"/>
    <dgm:cxn modelId="{4B783957-5195-45EB-8472-A735A52DE669}" srcId="{9E6FCD15-5021-435B-955F-3422D588BEEC}" destId="{8DBD913F-E033-4756-8D36-1CD72A73CCA7}" srcOrd="0" destOrd="0" parTransId="{A28B4770-204F-4A8E-8984-1EA86EE01360}" sibTransId="{7736F07D-563C-46BB-8B57-A3C4ED80395B}"/>
    <dgm:cxn modelId="{A1D66F77-8C63-499B-8318-8CAE51013FF6}" type="presOf" srcId="{C9E30140-2D45-4349-92D0-A8847DE67B8E}" destId="{5DDBC4E7-4FD3-4192-8F7D-8126B3224AEC}" srcOrd="0" destOrd="1" presId="urn:microsoft.com/office/officeart/2005/8/layout/hProcess11"/>
    <dgm:cxn modelId="{0BFC2B7D-30EB-4FE3-AF6F-C2018CDE4514}" srcId="{DA8278FC-9D16-4910-A33F-3C5BD3B1A41D}" destId="{C9E30140-2D45-4349-92D0-A8847DE67B8E}" srcOrd="0" destOrd="0" parTransId="{B7933433-0587-4790-A2A6-FA5B76B2763D}" sibTransId="{EEA70BAD-5153-4458-BDAC-07F16156377B}"/>
    <dgm:cxn modelId="{66D1509B-D940-43E9-B868-1CB8B4BA35C6}" srcId="{DECF9FC9-00BE-4549-AF31-45AFC11D95E5}" destId="{9BADDC75-8314-4D8D-A3BC-2B680D7757A9}" srcOrd="0" destOrd="0" parTransId="{EF91E2FB-C98A-444C-839A-EEF7686523E5}" sibTransId="{81C86528-96AE-40F5-BEF5-1B41D4C5EFDF}"/>
    <dgm:cxn modelId="{03A87FB7-3928-40B3-815C-766E30D3C936}" type="presOf" srcId="{B590183D-8527-41F0-9305-3C4A0325DD7A}" destId="{243184EC-2F7C-47D9-9DC8-E25642BE0651}" srcOrd="0" destOrd="0" presId="urn:microsoft.com/office/officeart/2005/8/layout/hProcess11"/>
    <dgm:cxn modelId="{294DAEBE-61D9-4B13-A32C-D2708EC0A0CD}" type="presOf" srcId="{69BC87CF-429A-4F6F-959D-D0C2FD186B4B}" destId="{658F74C5-5C5D-49E0-83A5-F12FC9CC96E0}" srcOrd="0" destOrd="1" presId="urn:microsoft.com/office/officeart/2005/8/layout/hProcess11"/>
    <dgm:cxn modelId="{8F479EBF-811F-4210-BF1F-84DBC96A8B56}" srcId="{B525062D-2189-43D5-9D35-5230C3764959}" destId="{AFA9D59D-AD64-4951-8286-1BCA2DC0BF97}" srcOrd="2" destOrd="0" parTransId="{3A2EFD2F-32E4-4206-B150-921C5B572907}" sibTransId="{EB20850D-8103-4746-8107-1F9A2B2D4A91}"/>
    <dgm:cxn modelId="{372FBDC7-A3FE-48C7-B6C3-88E20AD44A2A}" srcId="{B525062D-2189-43D5-9D35-5230C3764959}" destId="{9F011154-3645-43DA-9A5D-3CCC627158FD}" srcOrd="0" destOrd="0" parTransId="{6AFB248C-B7AB-4A73-BFC3-9123223AFE47}" sibTransId="{E75D0555-63F8-4991-A3EE-255632113731}"/>
    <dgm:cxn modelId="{018A34D2-246D-432C-AE82-D8540D9AE193}" srcId="{B590183D-8527-41F0-9305-3C4A0325DD7A}" destId="{820E0D7D-2D8A-483F-A0AD-11673BC8F50A}" srcOrd="0" destOrd="0" parTransId="{BE40E377-CE0F-4869-B8E4-FE5E417B89A1}" sibTransId="{3FAF4F2A-347F-44EA-9030-73275AA6842B}"/>
    <dgm:cxn modelId="{F59F99DE-4DAF-4EAB-9CA3-774C5B5A9903}" type="presOf" srcId="{29CC1855-246C-46B9-B86C-8FDC77DC436E}" destId="{788E8C2C-DEF8-45C9-871E-743BEEF07A97}" srcOrd="0" destOrd="0" presId="urn:microsoft.com/office/officeart/2005/8/layout/hProcess11"/>
    <dgm:cxn modelId="{75FEF5E3-35D1-418B-8758-5FA8E9A05EE6}" srcId="{AFA9D59D-AD64-4951-8286-1BCA2DC0BF97}" destId="{D7E93A75-7782-42FE-834B-E9D20C4C84C5}" srcOrd="0" destOrd="0" parTransId="{164CA303-832E-42F4-B65C-92519FCF966E}" sibTransId="{BF446160-E984-4B5D-8455-A2E5A374BFB7}"/>
    <dgm:cxn modelId="{C04E33F0-0D48-477B-A29B-9759F15ECA83}" type="presOf" srcId="{9E6FCD15-5021-435B-955F-3422D588BEEC}" destId="{A45F731F-FCCB-4671-BE43-68E8B330BFDF}" srcOrd="0" destOrd="0" presId="urn:microsoft.com/office/officeart/2005/8/layout/hProcess11"/>
    <dgm:cxn modelId="{F52C2CF1-A94A-4B09-8702-BA70176DC317}" type="presOf" srcId="{16F62672-93C2-4F8E-B0A7-7B99CE377D27}" destId="{658F74C5-5C5D-49E0-83A5-F12FC9CC96E0}" srcOrd="0" destOrd="2" presId="urn:microsoft.com/office/officeart/2005/8/layout/hProcess11"/>
    <dgm:cxn modelId="{EBED5EFE-6DE4-4492-AE8F-EDAD58E85FCE}" srcId="{B525062D-2189-43D5-9D35-5230C3764959}" destId="{DA8278FC-9D16-4910-A33F-3C5BD3B1A41D}" srcOrd="1" destOrd="0" parTransId="{6A2D1C3C-766D-4C74-83FB-D801E957DAEE}" sibTransId="{5455CAE7-28A2-4EE4-8705-F2EC023C703B}"/>
    <dgm:cxn modelId="{6EA37D46-5818-48A2-B556-3A2ECD6CA7E2}" type="presParOf" srcId="{2DD4A05C-8281-4AAA-88F4-E308E69D7B39}" destId="{68F7B9C1-9E98-4AD3-8F65-3147376C01A9}" srcOrd="0" destOrd="0" presId="urn:microsoft.com/office/officeart/2005/8/layout/hProcess11"/>
    <dgm:cxn modelId="{AA2646E3-F6B0-420D-AA3B-BC092348BE7C}" type="presParOf" srcId="{2DD4A05C-8281-4AAA-88F4-E308E69D7B39}" destId="{C762452C-5FF5-43CB-AC2B-9431860F8604}" srcOrd="1" destOrd="0" presId="urn:microsoft.com/office/officeart/2005/8/layout/hProcess11"/>
    <dgm:cxn modelId="{0693767F-FC5D-40CA-B40E-68DF867F81DC}" type="presParOf" srcId="{C762452C-5FF5-43CB-AC2B-9431860F8604}" destId="{2FD1EC54-59BB-42D8-B2F7-61C93C321367}" srcOrd="0" destOrd="0" presId="urn:microsoft.com/office/officeart/2005/8/layout/hProcess11"/>
    <dgm:cxn modelId="{6689394D-3C22-4E25-8CEC-9B655A69E540}" type="presParOf" srcId="{2FD1EC54-59BB-42D8-B2F7-61C93C321367}" destId="{658F74C5-5C5D-49E0-83A5-F12FC9CC96E0}" srcOrd="0" destOrd="0" presId="urn:microsoft.com/office/officeart/2005/8/layout/hProcess11"/>
    <dgm:cxn modelId="{42243F00-06CA-4994-9ADA-D7AD63B03AE2}" type="presParOf" srcId="{2FD1EC54-59BB-42D8-B2F7-61C93C321367}" destId="{E033D30F-D957-4782-8955-C2B8A25FCE46}" srcOrd="1" destOrd="0" presId="urn:microsoft.com/office/officeart/2005/8/layout/hProcess11"/>
    <dgm:cxn modelId="{91DB851F-EF09-4E0F-A7B0-80AB04791592}" type="presParOf" srcId="{2FD1EC54-59BB-42D8-B2F7-61C93C321367}" destId="{6CE95B24-F549-442A-98C5-2CDB81F5DE07}" srcOrd="2" destOrd="0" presId="urn:microsoft.com/office/officeart/2005/8/layout/hProcess11"/>
    <dgm:cxn modelId="{56C2A9A7-B26A-4407-859A-556B16CD98F8}" type="presParOf" srcId="{C762452C-5FF5-43CB-AC2B-9431860F8604}" destId="{3B20112E-8E24-4E60-B9E6-98F5659DBA4C}" srcOrd="1" destOrd="0" presId="urn:microsoft.com/office/officeart/2005/8/layout/hProcess11"/>
    <dgm:cxn modelId="{416175C6-4454-48AE-83B4-6DD9B6E6A2E0}" type="presParOf" srcId="{C762452C-5FF5-43CB-AC2B-9431860F8604}" destId="{194A57DD-9E47-4DF2-849A-68A76B8D1C79}" srcOrd="2" destOrd="0" presId="urn:microsoft.com/office/officeart/2005/8/layout/hProcess11"/>
    <dgm:cxn modelId="{B9762416-057C-4C03-8359-F62438FFA8A8}" type="presParOf" srcId="{194A57DD-9E47-4DF2-849A-68A76B8D1C79}" destId="{5DDBC4E7-4FD3-4192-8F7D-8126B3224AEC}" srcOrd="0" destOrd="0" presId="urn:microsoft.com/office/officeart/2005/8/layout/hProcess11"/>
    <dgm:cxn modelId="{DD5872DA-E59F-4743-95B8-03C0E5D2B1EA}" type="presParOf" srcId="{194A57DD-9E47-4DF2-849A-68A76B8D1C79}" destId="{59469A8A-B26B-44A8-82EC-51B1E80BEC4E}" srcOrd="1" destOrd="0" presId="urn:microsoft.com/office/officeart/2005/8/layout/hProcess11"/>
    <dgm:cxn modelId="{939D9065-C92E-464E-9BA1-B480103D1451}" type="presParOf" srcId="{194A57DD-9E47-4DF2-849A-68A76B8D1C79}" destId="{72E838BB-789B-4715-839C-C6B74FF47169}" srcOrd="2" destOrd="0" presId="urn:microsoft.com/office/officeart/2005/8/layout/hProcess11"/>
    <dgm:cxn modelId="{494DAFD5-7DF2-4D55-9389-2CB83AFA9D45}" type="presParOf" srcId="{C762452C-5FF5-43CB-AC2B-9431860F8604}" destId="{AE40C13F-2948-4840-86B9-9ABD6B9A778C}" srcOrd="3" destOrd="0" presId="urn:microsoft.com/office/officeart/2005/8/layout/hProcess11"/>
    <dgm:cxn modelId="{7A84CC9D-07C0-4095-BC94-4DCE16C6180A}" type="presParOf" srcId="{C762452C-5FF5-43CB-AC2B-9431860F8604}" destId="{DE2FDC0E-EB1E-4158-86B6-D975D385C72D}" srcOrd="4" destOrd="0" presId="urn:microsoft.com/office/officeart/2005/8/layout/hProcess11"/>
    <dgm:cxn modelId="{94CE170E-8759-4997-A7E0-05E70E07AF6B}" type="presParOf" srcId="{DE2FDC0E-EB1E-4158-86B6-D975D385C72D}" destId="{45E21488-7EF8-4782-8F2E-C60D5041F894}" srcOrd="0" destOrd="0" presId="urn:microsoft.com/office/officeart/2005/8/layout/hProcess11"/>
    <dgm:cxn modelId="{E14D4195-B227-4567-8FE2-308297FB28FE}" type="presParOf" srcId="{DE2FDC0E-EB1E-4158-86B6-D975D385C72D}" destId="{F0340A46-EA1E-4F51-8103-ACAD802906A9}" srcOrd="1" destOrd="0" presId="urn:microsoft.com/office/officeart/2005/8/layout/hProcess11"/>
    <dgm:cxn modelId="{93AA4E7D-8FDD-4377-98D0-EA2AF0BE07FB}" type="presParOf" srcId="{DE2FDC0E-EB1E-4158-86B6-D975D385C72D}" destId="{E8030962-8C96-4C33-997C-D0917DC88356}" srcOrd="2" destOrd="0" presId="urn:microsoft.com/office/officeart/2005/8/layout/hProcess11"/>
    <dgm:cxn modelId="{60683F24-8FE0-462E-B3AE-C284C356DACB}" type="presParOf" srcId="{C762452C-5FF5-43CB-AC2B-9431860F8604}" destId="{B4C63724-851F-4883-BD8F-CD22A5E49B50}" srcOrd="5" destOrd="0" presId="urn:microsoft.com/office/officeart/2005/8/layout/hProcess11"/>
    <dgm:cxn modelId="{340E2486-A683-45DE-B25A-446D905DE272}" type="presParOf" srcId="{C762452C-5FF5-43CB-AC2B-9431860F8604}" destId="{D245F722-D498-4AAE-B7B7-6BE71A26F1F1}" srcOrd="6" destOrd="0" presId="urn:microsoft.com/office/officeart/2005/8/layout/hProcess11"/>
    <dgm:cxn modelId="{00F4272A-FA89-49DC-B77F-81CB2262840B}" type="presParOf" srcId="{D245F722-D498-4AAE-B7B7-6BE71A26F1F1}" destId="{EF11378A-94C9-4D67-8A59-0EC64FE52B20}" srcOrd="0" destOrd="0" presId="urn:microsoft.com/office/officeart/2005/8/layout/hProcess11"/>
    <dgm:cxn modelId="{31A04B0B-E0A5-4107-853C-BEB570D2FFB7}" type="presParOf" srcId="{D245F722-D498-4AAE-B7B7-6BE71A26F1F1}" destId="{66D5039F-05BA-482B-B5C5-8C9277EAC8EE}" srcOrd="1" destOrd="0" presId="urn:microsoft.com/office/officeart/2005/8/layout/hProcess11"/>
    <dgm:cxn modelId="{C274F909-7F64-4555-A4CE-B4A86C49EA3C}" type="presParOf" srcId="{D245F722-D498-4AAE-B7B7-6BE71A26F1F1}" destId="{A049584E-C15A-4F1F-A1C8-D44E8AA504CD}" srcOrd="2" destOrd="0" presId="urn:microsoft.com/office/officeart/2005/8/layout/hProcess11"/>
    <dgm:cxn modelId="{866D4F71-FD0B-4170-A0D4-D244146978BB}" type="presParOf" srcId="{C762452C-5FF5-43CB-AC2B-9431860F8604}" destId="{1BC69F7D-EF90-4794-8C1D-32BF07E39AC8}" srcOrd="7" destOrd="0" presId="urn:microsoft.com/office/officeart/2005/8/layout/hProcess11"/>
    <dgm:cxn modelId="{53A15FC0-E007-4026-882C-CD41BE31A72C}" type="presParOf" srcId="{C762452C-5FF5-43CB-AC2B-9431860F8604}" destId="{2C098045-26A8-4636-8D8F-F000BCB1583E}" srcOrd="8" destOrd="0" presId="urn:microsoft.com/office/officeart/2005/8/layout/hProcess11"/>
    <dgm:cxn modelId="{741351EC-601D-43EF-9E39-2C47A1163262}" type="presParOf" srcId="{2C098045-26A8-4636-8D8F-F000BCB1583E}" destId="{788E8C2C-DEF8-45C9-871E-743BEEF07A97}" srcOrd="0" destOrd="0" presId="urn:microsoft.com/office/officeart/2005/8/layout/hProcess11"/>
    <dgm:cxn modelId="{440CF2BD-90C6-4A68-A56B-8B37416D553B}" type="presParOf" srcId="{2C098045-26A8-4636-8D8F-F000BCB1583E}" destId="{F18CE6D0-C25C-4FAF-93EA-17F363014D8E}" srcOrd="1" destOrd="0" presId="urn:microsoft.com/office/officeart/2005/8/layout/hProcess11"/>
    <dgm:cxn modelId="{9002F239-ED1D-4A46-A8DC-F6302AB29985}" type="presParOf" srcId="{2C098045-26A8-4636-8D8F-F000BCB1583E}" destId="{A912106C-87CD-45F2-9EDA-1880912D529B}" srcOrd="2" destOrd="0" presId="urn:microsoft.com/office/officeart/2005/8/layout/hProcess11"/>
    <dgm:cxn modelId="{16158882-585E-46B6-B30A-C94189FC6EC9}" type="presParOf" srcId="{C762452C-5FF5-43CB-AC2B-9431860F8604}" destId="{2FC4E4E6-8B29-40E5-9AB7-B0E9618D165D}" srcOrd="9" destOrd="0" presId="urn:microsoft.com/office/officeart/2005/8/layout/hProcess11"/>
    <dgm:cxn modelId="{295C5CE8-7691-47A4-9258-36BC24310310}" type="presParOf" srcId="{C762452C-5FF5-43CB-AC2B-9431860F8604}" destId="{AA40513B-526A-4741-9B6F-C1612B538676}" srcOrd="10" destOrd="0" presId="urn:microsoft.com/office/officeart/2005/8/layout/hProcess11"/>
    <dgm:cxn modelId="{CF60E9C9-7EBB-4836-A5CB-05FA289300DA}" type="presParOf" srcId="{AA40513B-526A-4741-9B6F-C1612B538676}" destId="{243184EC-2F7C-47D9-9DC8-E25642BE0651}" srcOrd="0" destOrd="0" presId="urn:microsoft.com/office/officeart/2005/8/layout/hProcess11"/>
    <dgm:cxn modelId="{ACD6047F-D860-4556-A046-B78FA9452263}" type="presParOf" srcId="{AA40513B-526A-4741-9B6F-C1612B538676}" destId="{0C43E290-CA23-48FD-9DAB-C96066CBD69F}" srcOrd="1" destOrd="0" presId="urn:microsoft.com/office/officeart/2005/8/layout/hProcess11"/>
    <dgm:cxn modelId="{D238D502-4B18-4E22-991F-4FC30ABB48BD}" type="presParOf" srcId="{AA40513B-526A-4741-9B6F-C1612B538676}" destId="{32428DCB-9F4F-4697-ABD3-9DF2AD651F9F}" srcOrd="2" destOrd="0" presId="urn:microsoft.com/office/officeart/2005/8/layout/hProcess11"/>
    <dgm:cxn modelId="{0D2BE63E-E2B5-4B54-8A59-4EA9114DAD46}" type="presParOf" srcId="{C762452C-5FF5-43CB-AC2B-9431860F8604}" destId="{F41D2347-B4FF-4520-81DF-80F6BA0C80F3}" srcOrd="11" destOrd="0" presId="urn:microsoft.com/office/officeart/2005/8/layout/hProcess11"/>
    <dgm:cxn modelId="{5D1ED52F-070F-4A90-837F-F1CD61A3AA16}" type="presParOf" srcId="{C762452C-5FF5-43CB-AC2B-9431860F8604}" destId="{9F2C2178-B644-462F-A490-900FB03822C5}" srcOrd="12" destOrd="0" presId="urn:microsoft.com/office/officeart/2005/8/layout/hProcess11"/>
    <dgm:cxn modelId="{35B89E5F-A0B0-4908-8FD7-DA513FB7D8BC}" type="presParOf" srcId="{9F2C2178-B644-462F-A490-900FB03822C5}" destId="{A45F731F-FCCB-4671-BE43-68E8B330BFDF}" srcOrd="0" destOrd="0" presId="urn:microsoft.com/office/officeart/2005/8/layout/hProcess11"/>
    <dgm:cxn modelId="{815A483C-1829-44A1-AD45-F0428B732EAF}" type="presParOf" srcId="{9F2C2178-B644-462F-A490-900FB03822C5}" destId="{4AE86F56-13D3-4140-B70D-71E5BDEC4CED}" srcOrd="1" destOrd="0" presId="urn:microsoft.com/office/officeart/2005/8/layout/hProcess11"/>
    <dgm:cxn modelId="{F510A8B0-79D1-4365-9C4D-A3811A81E6C7}" type="presParOf" srcId="{9F2C2178-B644-462F-A490-900FB03822C5}" destId="{B6225964-75E6-4DE8-9D4A-56B2666DF208}"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004F10BA-63B9-45FC-92EB-44CEB2F068B1}" type="doc">
      <dgm:prSet loTypeId="urn:microsoft.com/office/officeart/2005/8/layout/vList2" loCatId="list" qsTypeId="urn:microsoft.com/office/officeart/2005/8/quickstyle/simple1" qsCatId="simple" csTypeId="urn:microsoft.com/office/officeart/2005/8/colors/accent5_4" csCatId="accent5" phldr="1"/>
      <dgm:spPr/>
      <dgm:t>
        <a:bodyPr/>
        <a:lstStyle/>
        <a:p>
          <a:endParaRPr lang="es-ES"/>
        </a:p>
      </dgm:t>
    </dgm:pt>
    <dgm:pt modelId="{1AB35813-4E7C-4D4D-937E-0913A1A731BD}">
      <dgm:prSet phldrT="[Texto]"/>
      <dgm:spPr/>
      <dgm:t>
        <a:bodyPr/>
        <a:lstStyle/>
        <a:p>
          <a:r>
            <a:rPr lang="es-ES" dirty="0"/>
            <a:t>Regulación: </a:t>
          </a:r>
        </a:p>
      </dgm:t>
    </dgm:pt>
    <dgm:pt modelId="{CCFC808F-A189-4E51-B305-B6BADB7A7AC3}" type="parTrans" cxnId="{E20774C9-1EC9-4A73-87CE-C7F20A7D653E}">
      <dgm:prSet/>
      <dgm:spPr/>
      <dgm:t>
        <a:bodyPr/>
        <a:lstStyle/>
        <a:p>
          <a:endParaRPr lang="es-ES"/>
        </a:p>
      </dgm:t>
    </dgm:pt>
    <dgm:pt modelId="{D1233D9A-7A83-4531-90EC-7C926255602E}" type="sibTrans" cxnId="{E20774C9-1EC9-4A73-87CE-C7F20A7D653E}">
      <dgm:prSet/>
      <dgm:spPr/>
      <dgm:t>
        <a:bodyPr/>
        <a:lstStyle/>
        <a:p>
          <a:endParaRPr lang="es-ES"/>
        </a:p>
      </dgm:t>
    </dgm:pt>
    <dgm:pt modelId="{6CBA1393-0890-4103-86EF-896038A41CF1}">
      <dgm:prSet/>
      <dgm:spPr/>
      <dgm:t>
        <a:bodyPr/>
        <a:lstStyle/>
        <a:p>
          <a:r>
            <a:rPr lang="es-ES" dirty="0"/>
            <a:t>La no existencia de un marco regulatorio claro</a:t>
          </a:r>
        </a:p>
      </dgm:t>
    </dgm:pt>
    <dgm:pt modelId="{EF62F3D3-B5A3-4A45-A93E-A09CE908A626}" type="parTrans" cxnId="{FF753598-8995-4F67-BC55-E641A7373733}">
      <dgm:prSet/>
      <dgm:spPr/>
      <dgm:t>
        <a:bodyPr/>
        <a:lstStyle/>
        <a:p>
          <a:endParaRPr lang="es-ES"/>
        </a:p>
      </dgm:t>
    </dgm:pt>
    <dgm:pt modelId="{ACF0C0AC-2D01-44CD-A278-55635876ECCB}" type="sibTrans" cxnId="{FF753598-8995-4F67-BC55-E641A7373733}">
      <dgm:prSet/>
      <dgm:spPr/>
      <dgm:t>
        <a:bodyPr/>
        <a:lstStyle/>
        <a:p>
          <a:endParaRPr lang="es-ES"/>
        </a:p>
      </dgm:t>
    </dgm:pt>
    <dgm:pt modelId="{2968E383-64A9-4CAF-A872-106D624683E1}">
      <dgm:prSet/>
      <dgm:spPr/>
      <dgm:t>
        <a:bodyPr/>
        <a:lstStyle/>
        <a:p>
          <a:r>
            <a:rPr lang="es-ES" dirty="0"/>
            <a:t>Escalabilidad: </a:t>
          </a:r>
        </a:p>
      </dgm:t>
    </dgm:pt>
    <dgm:pt modelId="{079243D4-2B5B-460D-97D3-7B85E112034B}" type="parTrans" cxnId="{81ADED7E-478A-471D-A537-3B0D58B53E4B}">
      <dgm:prSet/>
      <dgm:spPr/>
      <dgm:t>
        <a:bodyPr/>
        <a:lstStyle/>
        <a:p>
          <a:endParaRPr lang="es-ES"/>
        </a:p>
      </dgm:t>
    </dgm:pt>
    <dgm:pt modelId="{FF4CFB61-7703-4AA1-BD13-1ED06356FE81}" type="sibTrans" cxnId="{81ADED7E-478A-471D-A537-3B0D58B53E4B}">
      <dgm:prSet/>
      <dgm:spPr/>
      <dgm:t>
        <a:bodyPr/>
        <a:lstStyle/>
        <a:p>
          <a:endParaRPr lang="es-ES"/>
        </a:p>
      </dgm:t>
    </dgm:pt>
    <dgm:pt modelId="{C77DC8A1-DD37-4B8B-9E92-C165CFAF79FA}">
      <dgm:prSet/>
      <dgm:spPr/>
      <dgm:t>
        <a:bodyPr/>
        <a:lstStyle/>
        <a:p>
          <a:r>
            <a:rPr lang="es-ES" dirty="0"/>
            <a:t>Las redes Blockchain actuales pueden tener problemas de escalabilidad para gestionar un gran número de transacciones.</a:t>
          </a:r>
        </a:p>
      </dgm:t>
    </dgm:pt>
    <dgm:pt modelId="{915DCEA2-2616-465F-8294-FA81A77488F6}" type="parTrans" cxnId="{327651A2-761E-4B98-B0FB-9B0838EF8512}">
      <dgm:prSet/>
      <dgm:spPr/>
      <dgm:t>
        <a:bodyPr/>
        <a:lstStyle/>
        <a:p>
          <a:endParaRPr lang="es-ES"/>
        </a:p>
      </dgm:t>
    </dgm:pt>
    <dgm:pt modelId="{4737EBAB-A782-4333-A1FF-8BE9B08BD9EE}" type="sibTrans" cxnId="{327651A2-761E-4B98-B0FB-9B0838EF8512}">
      <dgm:prSet/>
      <dgm:spPr/>
      <dgm:t>
        <a:bodyPr/>
        <a:lstStyle/>
        <a:p>
          <a:endParaRPr lang="es-ES"/>
        </a:p>
      </dgm:t>
    </dgm:pt>
    <dgm:pt modelId="{F68FF65B-09ED-463F-A703-119A9C6C347F}">
      <dgm:prSet/>
      <dgm:spPr/>
      <dgm:t>
        <a:bodyPr/>
        <a:lstStyle/>
        <a:p>
          <a:r>
            <a:rPr lang="es-ES" dirty="0"/>
            <a:t>Interoperabilidad: </a:t>
          </a:r>
        </a:p>
      </dgm:t>
    </dgm:pt>
    <dgm:pt modelId="{9BF734AE-BA22-4F16-9637-B6E52DF3C07C}" type="parTrans" cxnId="{76033D41-F88B-4750-88BD-B5E51E0BF5ED}">
      <dgm:prSet/>
      <dgm:spPr/>
      <dgm:t>
        <a:bodyPr/>
        <a:lstStyle/>
        <a:p>
          <a:endParaRPr lang="es-ES"/>
        </a:p>
      </dgm:t>
    </dgm:pt>
    <dgm:pt modelId="{3737703C-FD03-4CA6-985E-62898D5A5D62}" type="sibTrans" cxnId="{76033D41-F88B-4750-88BD-B5E51E0BF5ED}">
      <dgm:prSet/>
      <dgm:spPr/>
      <dgm:t>
        <a:bodyPr/>
        <a:lstStyle/>
        <a:p>
          <a:endParaRPr lang="es-ES"/>
        </a:p>
      </dgm:t>
    </dgm:pt>
    <dgm:pt modelId="{AF5C1A6F-C966-4452-BC12-DA32BC0BF214}">
      <dgm:prSet/>
      <dgm:spPr/>
      <dgm:t>
        <a:bodyPr/>
        <a:lstStyle/>
        <a:p>
          <a:r>
            <a:rPr lang="es-ES" dirty="0"/>
            <a:t>La falta de interoperabilidad entre diferentes plataformas Blockchain puede dificultar la adopción de la tecnología.</a:t>
          </a:r>
        </a:p>
      </dgm:t>
    </dgm:pt>
    <dgm:pt modelId="{0CAD31E4-E189-4CDB-92B6-6CA906047DAF}" type="parTrans" cxnId="{C9D0ECED-828B-4F8B-8391-0B42753CC5B7}">
      <dgm:prSet/>
      <dgm:spPr/>
      <dgm:t>
        <a:bodyPr/>
        <a:lstStyle/>
        <a:p>
          <a:endParaRPr lang="es-ES"/>
        </a:p>
      </dgm:t>
    </dgm:pt>
    <dgm:pt modelId="{FEA08488-9B17-483E-9652-CDB6B3E9E2E0}" type="sibTrans" cxnId="{C9D0ECED-828B-4F8B-8391-0B42753CC5B7}">
      <dgm:prSet/>
      <dgm:spPr/>
      <dgm:t>
        <a:bodyPr/>
        <a:lstStyle/>
        <a:p>
          <a:endParaRPr lang="es-ES"/>
        </a:p>
      </dgm:t>
    </dgm:pt>
    <dgm:pt modelId="{F8BFC573-F095-4966-BEE5-28CE9F1BA544}" type="pres">
      <dgm:prSet presAssocID="{004F10BA-63B9-45FC-92EB-44CEB2F068B1}" presName="linear" presStyleCnt="0">
        <dgm:presLayoutVars>
          <dgm:animLvl val="lvl"/>
          <dgm:resizeHandles val="exact"/>
        </dgm:presLayoutVars>
      </dgm:prSet>
      <dgm:spPr/>
    </dgm:pt>
    <dgm:pt modelId="{D7FF00D7-7909-4F70-8A0F-85973FD5DD0B}" type="pres">
      <dgm:prSet presAssocID="{1AB35813-4E7C-4D4D-937E-0913A1A731BD}" presName="parentText" presStyleLbl="node1" presStyleIdx="0" presStyleCnt="3">
        <dgm:presLayoutVars>
          <dgm:chMax val="0"/>
          <dgm:bulletEnabled val="1"/>
        </dgm:presLayoutVars>
      </dgm:prSet>
      <dgm:spPr/>
    </dgm:pt>
    <dgm:pt modelId="{2A5BAC74-B727-427D-87E0-87C36FC5FE1B}" type="pres">
      <dgm:prSet presAssocID="{1AB35813-4E7C-4D4D-937E-0913A1A731BD}" presName="childText" presStyleLbl="revTx" presStyleIdx="0" presStyleCnt="3">
        <dgm:presLayoutVars>
          <dgm:bulletEnabled val="1"/>
        </dgm:presLayoutVars>
      </dgm:prSet>
      <dgm:spPr/>
    </dgm:pt>
    <dgm:pt modelId="{290EBA2D-80A7-4381-A82C-658592659D3A}" type="pres">
      <dgm:prSet presAssocID="{2968E383-64A9-4CAF-A872-106D624683E1}" presName="parentText" presStyleLbl="node1" presStyleIdx="1" presStyleCnt="3">
        <dgm:presLayoutVars>
          <dgm:chMax val="0"/>
          <dgm:bulletEnabled val="1"/>
        </dgm:presLayoutVars>
      </dgm:prSet>
      <dgm:spPr/>
    </dgm:pt>
    <dgm:pt modelId="{CACBB4AA-748B-47CC-8CCC-7DCE5F46FEA2}" type="pres">
      <dgm:prSet presAssocID="{2968E383-64A9-4CAF-A872-106D624683E1}" presName="childText" presStyleLbl="revTx" presStyleIdx="1" presStyleCnt="3">
        <dgm:presLayoutVars>
          <dgm:bulletEnabled val="1"/>
        </dgm:presLayoutVars>
      </dgm:prSet>
      <dgm:spPr/>
    </dgm:pt>
    <dgm:pt modelId="{1ADC3064-570E-4C1D-8234-D453A810D400}" type="pres">
      <dgm:prSet presAssocID="{F68FF65B-09ED-463F-A703-119A9C6C347F}" presName="parentText" presStyleLbl="node1" presStyleIdx="2" presStyleCnt="3">
        <dgm:presLayoutVars>
          <dgm:chMax val="0"/>
          <dgm:bulletEnabled val="1"/>
        </dgm:presLayoutVars>
      </dgm:prSet>
      <dgm:spPr/>
    </dgm:pt>
    <dgm:pt modelId="{26883009-6745-42E5-A591-C39B50CE8DC4}" type="pres">
      <dgm:prSet presAssocID="{F68FF65B-09ED-463F-A703-119A9C6C347F}" presName="childText" presStyleLbl="revTx" presStyleIdx="2" presStyleCnt="3">
        <dgm:presLayoutVars>
          <dgm:bulletEnabled val="1"/>
        </dgm:presLayoutVars>
      </dgm:prSet>
      <dgm:spPr/>
    </dgm:pt>
  </dgm:ptLst>
  <dgm:cxnLst>
    <dgm:cxn modelId="{5E66C303-305F-4E8B-9C63-5F092ED77D98}" type="presOf" srcId="{F68FF65B-09ED-463F-A703-119A9C6C347F}" destId="{1ADC3064-570E-4C1D-8234-D453A810D400}" srcOrd="0" destOrd="0" presId="urn:microsoft.com/office/officeart/2005/8/layout/vList2"/>
    <dgm:cxn modelId="{C37AA30D-F94A-4A5F-A84A-A1D6983B5EFB}" type="presOf" srcId="{6CBA1393-0890-4103-86EF-896038A41CF1}" destId="{2A5BAC74-B727-427D-87E0-87C36FC5FE1B}" srcOrd="0" destOrd="0" presId="urn:microsoft.com/office/officeart/2005/8/layout/vList2"/>
    <dgm:cxn modelId="{76033D41-F88B-4750-88BD-B5E51E0BF5ED}" srcId="{004F10BA-63B9-45FC-92EB-44CEB2F068B1}" destId="{F68FF65B-09ED-463F-A703-119A9C6C347F}" srcOrd="2" destOrd="0" parTransId="{9BF734AE-BA22-4F16-9637-B6E52DF3C07C}" sibTransId="{3737703C-FD03-4CA6-985E-62898D5A5D62}"/>
    <dgm:cxn modelId="{90E4B543-613E-4EC7-834F-95BC50D92F30}" type="presOf" srcId="{004F10BA-63B9-45FC-92EB-44CEB2F068B1}" destId="{F8BFC573-F095-4966-BEE5-28CE9F1BA544}" srcOrd="0" destOrd="0" presId="urn:microsoft.com/office/officeart/2005/8/layout/vList2"/>
    <dgm:cxn modelId="{0A733744-6315-4108-99FD-D74944460CE7}" type="presOf" srcId="{1AB35813-4E7C-4D4D-937E-0913A1A731BD}" destId="{D7FF00D7-7909-4F70-8A0F-85973FD5DD0B}" srcOrd="0" destOrd="0" presId="urn:microsoft.com/office/officeart/2005/8/layout/vList2"/>
    <dgm:cxn modelId="{81ADED7E-478A-471D-A537-3B0D58B53E4B}" srcId="{004F10BA-63B9-45FC-92EB-44CEB2F068B1}" destId="{2968E383-64A9-4CAF-A872-106D624683E1}" srcOrd="1" destOrd="0" parTransId="{079243D4-2B5B-460D-97D3-7B85E112034B}" sibTransId="{FF4CFB61-7703-4AA1-BD13-1ED06356FE81}"/>
    <dgm:cxn modelId="{FF753598-8995-4F67-BC55-E641A7373733}" srcId="{1AB35813-4E7C-4D4D-937E-0913A1A731BD}" destId="{6CBA1393-0890-4103-86EF-896038A41CF1}" srcOrd="0" destOrd="0" parTransId="{EF62F3D3-B5A3-4A45-A93E-A09CE908A626}" sibTransId="{ACF0C0AC-2D01-44CD-A278-55635876ECCB}"/>
    <dgm:cxn modelId="{ACC62B9E-5BD9-4DAB-95FB-32D89F4FC1B7}" type="presOf" srcId="{AF5C1A6F-C966-4452-BC12-DA32BC0BF214}" destId="{26883009-6745-42E5-A591-C39B50CE8DC4}" srcOrd="0" destOrd="0" presId="urn:microsoft.com/office/officeart/2005/8/layout/vList2"/>
    <dgm:cxn modelId="{327651A2-761E-4B98-B0FB-9B0838EF8512}" srcId="{2968E383-64A9-4CAF-A872-106D624683E1}" destId="{C77DC8A1-DD37-4B8B-9E92-C165CFAF79FA}" srcOrd="0" destOrd="0" parTransId="{915DCEA2-2616-465F-8294-FA81A77488F6}" sibTransId="{4737EBAB-A782-4333-A1FF-8BE9B08BD9EE}"/>
    <dgm:cxn modelId="{E20774C9-1EC9-4A73-87CE-C7F20A7D653E}" srcId="{004F10BA-63B9-45FC-92EB-44CEB2F068B1}" destId="{1AB35813-4E7C-4D4D-937E-0913A1A731BD}" srcOrd="0" destOrd="0" parTransId="{CCFC808F-A189-4E51-B305-B6BADB7A7AC3}" sibTransId="{D1233D9A-7A83-4531-90EC-7C926255602E}"/>
    <dgm:cxn modelId="{DCBC22DD-E46A-4835-887D-5B64A8C7F244}" type="presOf" srcId="{2968E383-64A9-4CAF-A872-106D624683E1}" destId="{290EBA2D-80A7-4381-A82C-658592659D3A}" srcOrd="0" destOrd="0" presId="urn:microsoft.com/office/officeart/2005/8/layout/vList2"/>
    <dgm:cxn modelId="{2399BBE2-0EFD-4B2D-A1CD-DE6E39C9A407}" type="presOf" srcId="{C77DC8A1-DD37-4B8B-9E92-C165CFAF79FA}" destId="{CACBB4AA-748B-47CC-8CCC-7DCE5F46FEA2}" srcOrd="0" destOrd="0" presId="urn:microsoft.com/office/officeart/2005/8/layout/vList2"/>
    <dgm:cxn modelId="{C9D0ECED-828B-4F8B-8391-0B42753CC5B7}" srcId="{F68FF65B-09ED-463F-A703-119A9C6C347F}" destId="{AF5C1A6F-C966-4452-BC12-DA32BC0BF214}" srcOrd="0" destOrd="0" parTransId="{0CAD31E4-E189-4CDB-92B6-6CA906047DAF}" sibTransId="{FEA08488-9B17-483E-9652-CDB6B3E9E2E0}"/>
    <dgm:cxn modelId="{63BC3617-3714-4C6D-8160-DB019EE002A6}" type="presParOf" srcId="{F8BFC573-F095-4966-BEE5-28CE9F1BA544}" destId="{D7FF00D7-7909-4F70-8A0F-85973FD5DD0B}" srcOrd="0" destOrd="0" presId="urn:microsoft.com/office/officeart/2005/8/layout/vList2"/>
    <dgm:cxn modelId="{64F35913-7D92-43B3-B956-446F3203B9B6}" type="presParOf" srcId="{F8BFC573-F095-4966-BEE5-28CE9F1BA544}" destId="{2A5BAC74-B727-427D-87E0-87C36FC5FE1B}" srcOrd="1" destOrd="0" presId="urn:microsoft.com/office/officeart/2005/8/layout/vList2"/>
    <dgm:cxn modelId="{11CAD84D-1177-4F16-B07C-F9968F86B22A}" type="presParOf" srcId="{F8BFC573-F095-4966-BEE5-28CE9F1BA544}" destId="{290EBA2D-80A7-4381-A82C-658592659D3A}" srcOrd="2" destOrd="0" presId="urn:microsoft.com/office/officeart/2005/8/layout/vList2"/>
    <dgm:cxn modelId="{E7F9C5DE-B390-4A41-AF7C-6B42B823C7D2}" type="presParOf" srcId="{F8BFC573-F095-4966-BEE5-28CE9F1BA544}" destId="{CACBB4AA-748B-47CC-8CCC-7DCE5F46FEA2}" srcOrd="3" destOrd="0" presId="urn:microsoft.com/office/officeart/2005/8/layout/vList2"/>
    <dgm:cxn modelId="{7E82E58D-47DA-4EAA-844E-FC2F5089B012}" type="presParOf" srcId="{F8BFC573-F095-4966-BEE5-28CE9F1BA544}" destId="{1ADC3064-570E-4C1D-8234-D453A810D400}" srcOrd="4" destOrd="0" presId="urn:microsoft.com/office/officeart/2005/8/layout/vList2"/>
    <dgm:cxn modelId="{E71812D2-82C5-4DBC-A25D-5B7E4D0E3184}" type="presParOf" srcId="{F8BFC573-F095-4966-BEE5-28CE9F1BA544}" destId="{26883009-6745-42E5-A591-C39B50CE8DC4}"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5A4CD9EC-4E27-4D39-A113-204441786374}" type="doc">
      <dgm:prSet loTypeId="urn:microsoft.com/office/officeart/2008/layout/BendingPictureCaption" loCatId="picture" qsTypeId="urn:microsoft.com/office/officeart/2005/8/quickstyle/simple1" qsCatId="simple" csTypeId="urn:microsoft.com/office/officeart/2005/8/colors/accent1_3" csCatId="accent1" phldr="1"/>
      <dgm:spPr/>
      <dgm:t>
        <a:bodyPr/>
        <a:lstStyle/>
        <a:p>
          <a:endParaRPr lang="es-ES"/>
        </a:p>
      </dgm:t>
    </dgm:pt>
    <dgm:pt modelId="{3F8CB74D-C270-4A05-BA7A-508DC6DBF7E5}">
      <dgm:prSet phldrT="[Texto]"/>
      <dgm:spPr/>
      <dgm:t>
        <a:bodyPr/>
        <a:lstStyle/>
        <a:p>
          <a:r>
            <a:rPr lang="es-ES" dirty="0"/>
            <a:t>Reuniones virtuales</a:t>
          </a:r>
        </a:p>
      </dgm:t>
    </dgm:pt>
    <dgm:pt modelId="{5B52D52C-FDBE-46F1-A16A-F11B792D9B30}" type="parTrans" cxnId="{930773DC-2570-4F84-9986-CA9B818AD376}">
      <dgm:prSet/>
      <dgm:spPr/>
      <dgm:t>
        <a:bodyPr/>
        <a:lstStyle/>
        <a:p>
          <a:endParaRPr lang="es-ES"/>
        </a:p>
      </dgm:t>
    </dgm:pt>
    <dgm:pt modelId="{57F45104-F3E6-489A-863D-131E9B55053C}" type="sibTrans" cxnId="{930773DC-2570-4F84-9986-CA9B818AD376}">
      <dgm:prSet/>
      <dgm:spPr/>
      <dgm:t>
        <a:bodyPr/>
        <a:lstStyle/>
        <a:p>
          <a:endParaRPr lang="es-ES"/>
        </a:p>
      </dgm:t>
    </dgm:pt>
    <dgm:pt modelId="{56D20027-BFFC-4158-A2D6-024B7C2814E5}">
      <dgm:prSet phldrT="[Texto]"/>
      <dgm:spPr/>
      <dgm:t>
        <a:bodyPr/>
        <a:lstStyle/>
        <a:p>
          <a:r>
            <a:rPr lang="es-ES" dirty="0"/>
            <a:t>Moda</a:t>
          </a:r>
        </a:p>
      </dgm:t>
    </dgm:pt>
    <dgm:pt modelId="{69F01FF6-07DB-4754-B01A-99DE73A5498E}" type="parTrans" cxnId="{4CDA04FF-F8D6-45D8-840E-47C55D8D03F1}">
      <dgm:prSet/>
      <dgm:spPr/>
      <dgm:t>
        <a:bodyPr/>
        <a:lstStyle/>
        <a:p>
          <a:endParaRPr lang="es-ES"/>
        </a:p>
      </dgm:t>
    </dgm:pt>
    <dgm:pt modelId="{09C84513-773E-4301-95DC-2DDDAA249AAB}" type="sibTrans" cxnId="{4CDA04FF-F8D6-45D8-840E-47C55D8D03F1}">
      <dgm:prSet/>
      <dgm:spPr/>
      <dgm:t>
        <a:bodyPr/>
        <a:lstStyle/>
        <a:p>
          <a:endParaRPr lang="es-ES"/>
        </a:p>
      </dgm:t>
    </dgm:pt>
    <dgm:pt modelId="{12B81F26-29B7-42DE-A903-DE51E5D114A6}">
      <dgm:prSet phldrT="[Texto]"/>
      <dgm:spPr/>
      <dgm:t>
        <a:bodyPr/>
        <a:lstStyle/>
        <a:p>
          <a:r>
            <a:rPr lang="es-ES" dirty="0"/>
            <a:t>Introducir una fabrica</a:t>
          </a:r>
        </a:p>
      </dgm:t>
    </dgm:pt>
    <dgm:pt modelId="{3211AA42-DFE1-49DA-BA70-6B016583A5BB}" type="parTrans" cxnId="{3F33CF20-B185-455C-A98F-C65B34D4C78B}">
      <dgm:prSet/>
      <dgm:spPr/>
      <dgm:t>
        <a:bodyPr/>
        <a:lstStyle/>
        <a:p>
          <a:endParaRPr lang="es-ES"/>
        </a:p>
      </dgm:t>
    </dgm:pt>
    <dgm:pt modelId="{CE38BB8D-70F3-4D53-A209-51C85F0BE70A}" type="sibTrans" cxnId="{3F33CF20-B185-455C-A98F-C65B34D4C78B}">
      <dgm:prSet/>
      <dgm:spPr/>
      <dgm:t>
        <a:bodyPr/>
        <a:lstStyle/>
        <a:p>
          <a:endParaRPr lang="es-ES"/>
        </a:p>
      </dgm:t>
    </dgm:pt>
    <dgm:pt modelId="{16FDB833-869B-420B-9E91-DB40729E1E71}">
      <dgm:prSet phldrT="[Texto]"/>
      <dgm:spPr/>
      <dgm:t>
        <a:bodyPr/>
        <a:lstStyle/>
        <a:p>
          <a:r>
            <a:rPr lang="es-ES" dirty="0"/>
            <a:t>Viajar</a:t>
          </a:r>
        </a:p>
      </dgm:t>
    </dgm:pt>
    <dgm:pt modelId="{90AC9C81-B53B-405B-8218-C05E9ABC4458}" type="parTrans" cxnId="{F21CFE7C-9707-4FD2-BD77-5185DE359D7A}">
      <dgm:prSet/>
      <dgm:spPr/>
      <dgm:t>
        <a:bodyPr/>
        <a:lstStyle/>
        <a:p>
          <a:endParaRPr lang="es-ES"/>
        </a:p>
      </dgm:t>
    </dgm:pt>
    <dgm:pt modelId="{57B50203-A4A9-48C7-9B12-7CC5DD8E5A70}" type="sibTrans" cxnId="{F21CFE7C-9707-4FD2-BD77-5185DE359D7A}">
      <dgm:prSet/>
      <dgm:spPr/>
      <dgm:t>
        <a:bodyPr/>
        <a:lstStyle/>
        <a:p>
          <a:endParaRPr lang="es-ES"/>
        </a:p>
      </dgm:t>
    </dgm:pt>
    <dgm:pt modelId="{9079ED82-F0DB-4084-AE4C-4D472A75CFA6}">
      <dgm:prSet phldrT="[Texto]"/>
      <dgm:spPr/>
      <dgm:t>
        <a:bodyPr/>
        <a:lstStyle/>
        <a:p>
          <a:r>
            <a:rPr lang="es-ES" dirty="0"/>
            <a:t>Networking</a:t>
          </a:r>
        </a:p>
      </dgm:t>
    </dgm:pt>
    <dgm:pt modelId="{D260DF34-E8D9-4CCE-9434-C836935D18FD}" type="parTrans" cxnId="{C074C30E-EF2B-4D63-ACE4-C87C76A17F88}">
      <dgm:prSet/>
      <dgm:spPr/>
      <dgm:t>
        <a:bodyPr/>
        <a:lstStyle/>
        <a:p>
          <a:endParaRPr lang="es-ES"/>
        </a:p>
      </dgm:t>
    </dgm:pt>
    <dgm:pt modelId="{21752265-612B-4164-81B5-921EAC51A396}" type="sibTrans" cxnId="{C074C30E-EF2B-4D63-ACE4-C87C76A17F88}">
      <dgm:prSet/>
      <dgm:spPr/>
      <dgm:t>
        <a:bodyPr/>
        <a:lstStyle/>
        <a:p>
          <a:endParaRPr lang="es-ES"/>
        </a:p>
      </dgm:t>
    </dgm:pt>
    <dgm:pt modelId="{3086595C-7EAC-4A69-9861-984461EC825B}" type="pres">
      <dgm:prSet presAssocID="{5A4CD9EC-4E27-4D39-A113-204441786374}" presName="diagram" presStyleCnt="0">
        <dgm:presLayoutVars>
          <dgm:dir/>
        </dgm:presLayoutVars>
      </dgm:prSet>
      <dgm:spPr/>
    </dgm:pt>
    <dgm:pt modelId="{0802FDE3-11CA-4919-9BED-4B3E16AED50F}" type="pres">
      <dgm:prSet presAssocID="{3F8CB74D-C270-4A05-BA7A-508DC6DBF7E5}" presName="composite" presStyleCnt="0"/>
      <dgm:spPr/>
    </dgm:pt>
    <dgm:pt modelId="{3D6C421D-1A2D-43D2-864E-416D96764C50}" type="pres">
      <dgm:prSet presAssocID="{3F8CB74D-C270-4A05-BA7A-508DC6DBF7E5}" presName="Image" presStyleLbl="bgShp" presStyleIdx="0" presStyleCnt="5"/>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A21DA831-24BC-45BE-B541-D3E84516B553}" type="pres">
      <dgm:prSet presAssocID="{3F8CB74D-C270-4A05-BA7A-508DC6DBF7E5}" presName="Parent" presStyleLbl="node0" presStyleIdx="0" presStyleCnt="5">
        <dgm:presLayoutVars>
          <dgm:bulletEnabled val="1"/>
        </dgm:presLayoutVars>
      </dgm:prSet>
      <dgm:spPr/>
    </dgm:pt>
    <dgm:pt modelId="{C366A3E6-FB32-4D6B-A204-EED7775E9B76}" type="pres">
      <dgm:prSet presAssocID="{57F45104-F3E6-489A-863D-131E9B55053C}" presName="sibTrans" presStyleCnt="0"/>
      <dgm:spPr/>
    </dgm:pt>
    <dgm:pt modelId="{3107B6BD-900F-443B-9996-1B1A7EDD9436}" type="pres">
      <dgm:prSet presAssocID="{56D20027-BFFC-4158-A2D6-024B7C2814E5}" presName="composite" presStyleCnt="0"/>
      <dgm:spPr/>
    </dgm:pt>
    <dgm:pt modelId="{F57DF087-5E8A-4A95-81CE-51E6F71F7237}" type="pres">
      <dgm:prSet presAssocID="{56D20027-BFFC-4158-A2D6-024B7C2814E5}" presName="Image" presStyleLbl="bgShp" presStyleIdx="1" presStyleCnt="5"/>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9C2CBB75-DBEA-457B-BBF0-9BBCBE46BFE5}" type="pres">
      <dgm:prSet presAssocID="{56D20027-BFFC-4158-A2D6-024B7C2814E5}" presName="Parent" presStyleLbl="node0" presStyleIdx="1" presStyleCnt="5">
        <dgm:presLayoutVars>
          <dgm:bulletEnabled val="1"/>
        </dgm:presLayoutVars>
      </dgm:prSet>
      <dgm:spPr/>
    </dgm:pt>
    <dgm:pt modelId="{36F732A1-2355-4A3A-87F6-AA19EF3278CF}" type="pres">
      <dgm:prSet presAssocID="{09C84513-773E-4301-95DC-2DDDAA249AAB}" presName="sibTrans" presStyleCnt="0"/>
      <dgm:spPr/>
    </dgm:pt>
    <dgm:pt modelId="{0D2E5C36-34C5-41E3-B145-5B932F17A151}" type="pres">
      <dgm:prSet presAssocID="{12B81F26-29B7-42DE-A903-DE51E5D114A6}" presName="composite" presStyleCnt="0"/>
      <dgm:spPr/>
    </dgm:pt>
    <dgm:pt modelId="{DE6E2F9F-0901-499B-B6DA-675C051426FC}" type="pres">
      <dgm:prSet presAssocID="{12B81F26-29B7-42DE-A903-DE51E5D114A6}" presName="Image" presStyleLbl="bgShp" presStyleIdx="2" presStyleCnt="5"/>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00BE6E95-4991-4092-B8F1-4F4142125F35}" type="pres">
      <dgm:prSet presAssocID="{12B81F26-29B7-42DE-A903-DE51E5D114A6}" presName="Parent" presStyleLbl="node0" presStyleIdx="2" presStyleCnt="5">
        <dgm:presLayoutVars>
          <dgm:bulletEnabled val="1"/>
        </dgm:presLayoutVars>
      </dgm:prSet>
      <dgm:spPr/>
    </dgm:pt>
    <dgm:pt modelId="{2F98AAB8-A9A8-4CAD-ABF2-B05BEA65F8D7}" type="pres">
      <dgm:prSet presAssocID="{CE38BB8D-70F3-4D53-A209-51C85F0BE70A}" presName="sibTrans" presStyleCnt="0"/>
      <dgm:spPr/>
    </dgm:pt>
    <dgm:pt modelId="{6CDD617B-0233-4583-8A37-B643D3A1D414}" type="pres">
      <dgm:prSet presAssocID="{16FDB833-869B-420B-9E91-DB40729E1E71}" presName="composite" presStyleCnt="0"/>
      <dgm:spPr/>
    </dgm:pt>
    <dgm:pt modelId="{11680F86-9EDB-4165-BE9B-8E20D0B0B2F5}" type="pres">
      <dgm:prSet presAssocID="{16FDB833-869B-420B-9E91-DB40729E1E71}" presName="Image" presStyleLbl="bgShp" presStyleIdx="3" presStyleCnt="5"/>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B70EC5EB-569F-4993-B207-DF628F93914D}" type="pres">
      <dgm:prSet presAssocID="{16FDB833-869B-420B-9E91-DB40729E1E71}" presName="Parent" presStyleLbl="node0" presStyleIdx="3" presStyleCnt="5">
        <dgm:presLayoutVars>
          <dgm:bulletEnabled val="1"/>
        </dgm:presLayoutVars>
      </dgm:prSet>
      <dgm:spPr/>
    </dgm:pt>
    <dgm:pt modelId="{0802CFC8-7783-415F-8345-B3EA6B0993C8}" type="pres">
      <dgm:prSet presAssocID="{57B50203-A4A9-48C7-9B12-7CC5DD8E5A70}" presName="sibTrans" presStyleCnt="0"/>
      <dgm:spPr/>
    </dgm:pt>
    <dgm:pt modelId="{8004C6D2-F27A-4CE2-9707-BC327BA09F09}" type="pres">
      <dgm:prSet presAssocID="{9079ED82-F0DB-4084-AE4C-4D472A75CFA6}" presName="composite" presStyleCnt="0"/>
      <dgm:spPr/>
    </dgm:pt>
    <dgm:pt modelId="{655CE1AB-3E5A-405D-90A0-5A8357F391EF}" type="pres">
      <dgm:prSet presAssocID="{9079ED82-F0DB-4084-AE4C-4D472A75CFA6}" presName="Image" presStyleLbl="bgShp" presStyleIdx="4" presStyleCnt="5"/>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t="-9000" b="-9000"/>
          </a:stretch>
        </a:blipFill>
      </dgm:spPr>
    </dgm:pt>
    <dgm:pt modelId="{D27EC81F-D630-44D8-9C10-61176657503D}" type="pres">
      <dgm:prSet presAssocID="{9079ED82-F0DB-4084-AE4C-4D472A75CFA6}" presName="Parent" presStyleLbl="node0" presStyleIdx="4" presStyleCnt="5">
        <dgm:presLayoutVars>
          <dgm:bulletEnabled val="1"/>
        </dgm:presLayoutVars>
      </dgm:prSet>
      <dgm:spPr/>
    </dgm:pt>
  </dgm:ptLst>
  <dgm:cxnLst>
    <dgm:cxn modelId="{A228BD0E-6039-4F81-AB0D-B094AB926DC8}" type="presOf" srcId="{3F8CB74D-C270-4A05-BA7A-508DC6DBF7E5}" destId="{A21DA831-24BC-45BE-B541-D3E84516B553}" srcOrd="0" destOrd="0" presId="urn:microsoft.com/office/officeart/2008/layout/BendingPictureCaption"/>
    <dgm:cxn modelId="{C074C30E-EF2B-4D63-ACE4-C87C76A17F88}" srcId="{5A4CD9EC-4E27-4D39-A113-204441786374}" destId="{9079ED82-F0DB-4084-AE4C-4D472A75CFA6}" srcOrd="4" destOrd="0" parTransId="{D260DF34-E8D9-4CCE-9434-C836935D18FD}" sibTransId="{21752265-612B-4164-81B5-921EAC51A396}"/>
    <dgm:cxn modelId="{3F33CF20-B185-455C-A98F-C65B34D4C78B}" srcId="{5A4CD9EC-4E27-4D39-A113-204441786374}" destId="{12B81F26-29B7-42DE-A903-DE51E5D114A6}" srcOrd="2" destOrd="0" parTransId="{3211AA42-DFE1-49DA-BA70-6B016583A5BB}" sibTransId="{CE38BB8D-70F3-4D53-A209-51C85F0BE70A}"/>
    <dgm:cxn modelId="{0784FA34-5153-4B04-AEE9-B6507A01899C}" type="presOf" srcId="{9079ED82-F0DB-4084-AE4C-4D472A75CFA6}" destId="{D27EC81F-D630-44D8-9C10-61176657503D}" srcOrd="0" destOrd="0" presId="urn:microsoft.com/office/officeart/2008/layout/BendingPictureCaption"/>
    <dgm:cxn modelId="{791BE865-BD1E-4C6E-BF7B-83AF94A4AD2D}" type="presOf" srcId="{5A4CD9EC-4E27-4D39-A113-204441786374}" destId="{3086595C-7EAC-4A69-9861-984461EC825B}" srcOrd="0" destOrd="0" presId="urn:microsoft.com/office/officeart/2008/layout/BendingPictureCaption"/>
    <dgm:cxn modelId="{F21CFE7C-9707-4FD2-BD77-5185DE359D7A}" srcId="{5A4CD9EC-4E27-4D39-A113-204441786374}" destId="{16FDB833-869B-420B-9E91-DB40729E1E71}" srcOrd="3" destOrd="0" parTransId="{90AC9C81-B53B-405B-8218-C05E9ABC4458}" sibTransId="{57B50203-A4A9-48C7-9B12-7CC5DD8E5A70}"/>
    <dgm:cxn modelId="{D0DC73B8-4C2C-4475-8DCE-E8685B70FDC8}" type="presOf" srcId="{56D20027-BFFC-4158-A2D6-024B7C2814E5}" destId="{9C2CBB75-DBEA-457B-BBF0-9BBCBE46BFE5}" srcOrd="0" destOrd="0" presId="urn:microsoft.com/office/officeart/2008/layout/BendingPictureCaption"/>
    <dgm:cxn modelId="{930773DC-2570-4F84-9986-CA9B818AD376}" srcId="{5A4CD9EC-4E27-4D39-A113-204441786374}" destId="{3F8CB74D-C270-4A05-BA7A-508DC6DBF7E5}" srcOrd="0" destOrd="0" parTransId="{5B52D52C-FDBE-46F1-A16A-F11B792D9B30}" sibTransId="{57F45104-F3E6-489A-863D-131E9B55053C}"/>
    <dgm:cxn modelId="{AAE468F1-724A-4535-BFA2-04E3A1CCDC51}" type="presOf" srcId="{12B81F26-29B7-42DE-A903-DE51E5D114A6}" destId="{00BE6E95-4991-4092-B8F1-4F4142125F35}" srcOrd="0" destOrd="0" presId="urn:microsoft.com/office/officeart/2008/layout/BendingPictureCaption"/>
    <dgm:cxn modelId="{993DD2FB-E024-4487-AFE3-4174E7F2BE35}" type="presOf" srcId="{16FDB833-869B-420B-9E91-DB40729E1E71}" destId="{B70EC5EB-569F-4993-B207-DF628F93914D}" srcOrd="0" destOrd="0" presId="urn:microsoft.com/office/officeart/2008/layout/BendingPictureCaption"/>
    <dgm:cxn modelId="{4CDA04FF-F8D6-45D8-840E-47C55D8D03F1}" srcId="{5A4CD9EC-4E27-4D39-A113-204441786374}" destId="{56D20027-BFFC-4158-A2D6-024B7C2814E5}" srcOrd="1" destOrd="0" parTransId="{69F01FF6-07DB-4754-B01A-99DE73A5498E}" sibTransId="{09C84513-773E-4301-95DC-2DDDAA249AAB}"/>
    <dgm:cxn modelId="{A6D34C18-CBC7-4567-9756-A845A2D450FD}" type="presParOf" srcId="{3086595C-7EAC-4A69-9861-984461EC825B}" destId="{0802FDE3-11CA-4919-9BED-4B3E16AED50F}" srcOrd="0" destOrd="0" presId="urn:microsoft.com/office/officeart/2008/layout/BendingPictureCaption"/>
    <dgm:cxn modelId="{CF71D342-0092-47BC-BE06-4E7DBA67273D}" type="presParOf" srcId="{0802FDE3-11CA-4919-9BED-4B3E16AED50F}" destId="{3D6C421D-1A2D-43D2-864E-416D96764C50}" srcOrd="0" destOrd="0" presId="urn:microsoft.com/office/officeart/2008/layout/BendingPictureCaption"/>
    <dgm:cxn modelId="{AE429107-2C69-46B8-8F72-54C8B14A5EC2}" type="presParOf" srcId="{0802FDE3-11CA-4919-9BED-4B3E16AED50F}" destId="{A21DA831-24BC-45BE-B541-D3E84516B553}" srcOrd="1" destOrd="0" presId="urn:microsoft.com/office/officeart/2008/layout/BendingPictureCaption"/>
    <dgm:cxn modelId="{805DD892-EA6C-4E74-91A3-6E7D89B5D9E6}" type="presParOf" srcId="{3086595C-7EAC-4A69-9861-984461EC825B}" destId="{C366A3E6-FB32-4D6B-A204-EED7775E9B76}" srcOrd="1" destOrd="0" presId="urn:microsoft.com/office/officeart/2008/layout/BendingPictureCaption"/>
    <dgm:cxn modelId="{985E53A7-510F-4D97-9D65-EEB0B8E50C10}" type="presParOf" srcId="{3086595C-7EAC-4A69-9861-984461EC825B}" destId="{3107B6BD-900F-443B-9996-1B1A7EDD9436}" srcOrd="2" destOrd="0" presId="urn:microsoft.com/office/officeart/2008/layout/BendingPictureCaption"/>
    <dgm:cxn modelId="{358B0846-38CB-4E77-B49A-8ED02F974976}" type="presParOf" srcId="{3107B6BD-900F-443B-9996-1B1A7EDD9436}" destId="{F57DF087-5E8A-4A95-81CE-51E6F71F7237}" srcOrd="0" destOrd="0" presId="urn:microsoft.com/office/officeart/2008/layout/BendingPictureCaption"/>
    <dgm:cxn modelId="{12FD5DE4-6F87-4015-849A-E4372424617E}" type="presParOf" srcId="{3107B6BD-900F-443B-9996-1B1A7EDD9436}" destId="{9C2CBB75-DBEA-457B-BBF0-9BBCBE46BFE5}" srcOrd="1" destOrd="0" presId="urn:microsoft.com/office/officeart/2008/layout/BendingPictureCaption"/>
    <dgm:cxn modelId="{FDCB719C-2CAA-4C5C-8747-9818DC786B45}" type="presParOf" srcId="{3086595C-7EAC-4A69-9861-984461EC825B}" destId="{36F732A1-2355-4A3A-87F6-AA19EF3278CF}" srcOrd="3" destOrd="0" presId="urn:microsoft.com/office/officeart/2008/layout/BendingPictureCaption"/>
    <dgm:cxn modelId="{7584EE3C-6DA9-4E2B-9E6C-F61C53F9216A}" type="presParOf" srcId="{3086595C-7EAC-4A69-9861-984461EC825B}" destId="{0D2E5C36-34C5-41E3-B145-5B932F17A151}" srcOrd="4" destOrd="0" presId="urn:microsoft.com/office/officeart/2008/layout/BendingPictureCaption"/>
    <dgm:cxn modelId="{0098C1C5-D546-4949-A113-BE66C026132B}" type="presParOf" srcId="{0D2E5C36-34C5-41E3-B145-5B932F17A151}" destId="{DE6E2F9F-0901-499B-B6DA-675C051426FC}" srcOrd="0" destOrd="0" presId="urn:microsoft.com/office/officeart/2008/layout/BendingPictureCaption"/>
    <dgm:cxn modelId="{377473B5-399E-47F6-8394-6CE94D6B1C3B}" type="presParOf" srcId="{0D2E5C36-34C5-41E3-B145-5B932F17A151}" destId="{00BE6E95-4991-4092-B8F1-4F4142125F35}" srcOrd="1" destOrd="0" presId="urn:microsoft.com/office/officeart/2008/layout/BendingPictureCaption"/>
    <dgm:cxn modelId="{4F4BCD06-B10F-439A-90FC-7707399C1A66}" type="presParOf" srcId="{3086595C-7EAC-4A69-9861-984461EC825B}" destId="{2F98AAB8-A9A8-4CAD-ABF2-B05BEA65F8D7}" srcOrd="5" destOrd="0" presId="urn:microsoft.com/office/officeart/2008/layout/BendingPictureCaption"/>
    <dgm:cxn modelId="{C625A635-57F7-4898-9F76-4FEDAC12F1B1}" type="presParOf" srcId="{3086595C-7EAC-4A69-9861-984461EC825B}" destId="{6CDD617B-0233-4583-8A37-B643D3A1D414}" srcOrd="6" destOrd="0" presId="urn:microsoft.com/office/officeart/2008/layout/BendingPictureCaption"/>
    <dgm:cxn modelId="{530D7730-EDC3-46AF-B069-77C5BFA492AE}" type="presParOf" srcId="{6CDD617B-0233-4583-8A37-B643D3A1D414}" destId="{11680F86-9EDB-4165-BE9B-8E20D0B0B2F5}" srcOrd="0" destOrd="0" presId="urn:microsoft.com/office/officeart/2008/layout/BendingPictureCaption"/>
    <dgm:cxn modelId="{304E9607-6EB7-461F-8356-43411006AB27}" type="presParOf" srcId="{6CDD617B-0233-4583-8A37-B643D3A1D414}" destId="{B70EC5EB-569F-4993-B207-DF628F93914D}" srcOrd="1" destOrd="0" presId="urn:microsoft.com/office/officeart/2008/layout/BendingPictureCaption"/>
    <dgm:cxn modelId="{2EAB9F60-A57E-44D9-B23B-1CF0895E6E5F}" type="presParOf" srcId="{3086595C-7EAC-4A69-9861-984461EC825B}" destId="{0802CFC8-7783-415F-8345-B3EA6B0993C8}" srcOrd="7" destOrd="0" presId="urn:microsoft.com/office/officeart/2008/layout/BendingPictureCaption"/>
    <dgm:cxn modelId="{3E937CD4-5DFB-4773-929B-3BD19826B212}" type="presParOf" srcId="{3086595C-7EAC-4A69-9861-984461EC825B}" destId="{8004C6D2-F27A-4CE2-9707-BC327BA09F09}" srcOrd="8" destOrd="0" presId="urn:microsoft.com/office/officeart/2008/layout/BendingPictureCaption"/>
    <dgm:cxn modelId="{A03AD0CE-1FAA-4E54-9B6E-F9BFFE47ACA3}" type="presParOf" srcId="{8004C6D2-F27A-4CE2-9707-BC327BA09F09}" destId="{655CE1AB-3E5A-405D-90A0-5A8357F391EF}" srcOrd="0" destOrd="0" presId="urn:microsoft.com/office/officeart/2008/layout/BendingPictureCaption"/>
    <dgm:cxn modelId="{DFB08326-2896-44C5-B315-B92A93852A0B}" type="presParOf" srcId="{8004C6D2-F27A-4CE2-9707-BC327BA09F09}" destId="{D27EC81F-D630-44D8-9C10-61176657503D}"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EA7C8E7E-43B3-4C37-B50D-87FAE58A933B}"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s-ES"/>
        </a:p>
      </dgm:t>
    </dgm:pt>
    <dgm:pt modelId="{78EF9B6C-EC3E-4CF1-B178-63622B31CF87}">
      <dgm:prSet phldrT="[Texto]"/>
      <dgm:spPr/>
      <dgm:t>
        <a:bodyPr/>
        <a:lstStyle/>
        <a:p>
          <a:r>
            <a:rPr lang="es-ES" dirty="0"/>
            <a:t>Metaverso es un conjunto de tecnologías que construyen un </a:t>
          </a:r>
          <a:r>
            <a:rPr lang="es-ES" dirty="0">
              <a:highlight>
                <a:srgbClr val="0000FF"/>
              </a:highlight>
            </a:rPr>
            <a:t>mundo virtual que prolonga el Real </a:t>
          </a:r>
        </a:p>
      </dgm:t>
    </dgm:pt>
    <dgm:pt modelId="{97CD04D6-AC35-48BF-9FD5-3634B0BFE71D}" type="parTrans" cxnId="{257F8C7D-E3A9-44A6-9B74-7898A0A5AE55}">
      <dgm:prSet/>
      <dgm:spPr/>
      <dgm:t>
        <a:bodyPr/>
        <a:lstStyle/>
        <a:p>
          <a:endParaRPr lang="es-ES"/>
        </a:p>
      </dgm:t>
    </dgm:pt>
    <dgm:pt modelId="{B2947978-51CB-4246-B8F4-AAA491649950}" type="sibTrans" cxnId="{257F8C7D-E3A9-44A6-9B74-7898A0A5AE55}">
      <dgm:prSet/>
      <dgm:spPr/>
      <dgm:t>
        <a:bodyPr/>
        <a:lstStyle/>
        <a:p>
          <a:endParaRPr lang="es-ES"/>
        </a:p>
      </dgm:t>
    </dgm:pt>
    <dgm:pt modelId="{4F5E8640-FF9E-4523-AB0C-1F9B5819C0B0}">
      <dgm:prSet/>
      <dgm:spPr/>
      <dgm:t>
        <a:bodyPr/>
        <a:lstStyle/>
        <a:p>
          <a:r>
            <a:rPr lang="es-ES" dirty="0"/>
            <a:t>Entramos en metaverso mediante un </a:t>
          </a:r>
          <a:r>
            <a:rPr lang="es-ES" dirty="0">
              <a:highlight>
                <a:srgbClr val="0000FF"/>
              </a:highlight>
            </a:rPr>
            <a:t>avatar</a:t>
          </a:r>
          <a:r>
            <a:rPr lang="es-ES" dirty="0"/>
            <a:t> que tiene componentes: Social, Económico y político emocional </a:t>
          </a:r>
        </a:p>
      </dgm:t>
    </dgm:pt>
    <dgm:pt modelId="{F8F640CB-8A30-42CB-9BAC-F99933A8CCEF}" type="parTrans" cxnId="{74E98041-8463-433A-8E33-D87E205A6652}">
      <dgm:prSet/>
      <dgm:spPr/>
      <dgm:t>
        <a:bodyPr/>
        <a:lstStyle/>
        <a:p>
          <a:endParaRPr lang="es-ES"/>
        </a:p>
      </dgm:t>
    </dgm:pt>
    <dgm:pt modelId="{5E42A810-B094-4988-84B7-D2B12628C0CF}" type="sibTrans" cxnId="{74E98041-8463-433A-8E33-D87E205A6652}">
      <dgm:prSet/>
      <dgm:spPr/>
      <dgm:t>
        <a:bodyPr/>
        <a:lstStyle/>
        <a:p>
          <a:endParaRPr lang="es-ES"/>
        </a:p>
      </dgm:t>
    </dgm:pt>
    <dgm:pt modelId="{5CCF1D2C-F05A-4CBB-92E8-EAD08AAF554D}">
      <dgm:prSet/>
      <dgm:spPr/>
      <dgm:t>
        <a:bodyPr/>
        <a:lstStyle/>
        <a:p>
          <a:r>
            <a:rPr lang="es-ES" dirty="0">
              <a:solidFill>
                <a:schemeClr val="tx1"/>
              </a:solidFill>
            </a:rPr>
            <a:t>Muy </a:t>
          </a:r>
          <a:r>
            <a:rPr lang="es-ES" dirty="0">
              <a:solidFill>
                <a:schemeClr val="bg1"/>
              </a:solidFill>
              <a:highlight>
                <a:srgbClr val="0000FF"/>
              </a:highlight>
            </a:rPr>
            <a:t>inmersivo</a:t>
          </a:r>
          <a:r>
            <a:rPr lang="es-ES" dirty="0">
              <a:solidFill>
                <a:schemeClr val="bg1"/>
              </a:solidFill>
            </a:rPr>
            <a:t> </a:t>
          </a:r>
        </a:p>
      </dgm:t>
    </dgm:pt>
    <dgm:pt modelId="{21096922-0B65-4A8B-962E-A51AF2D3C68B}" type="parTrans" cxnId="{B4EE4A19-810B-4755-BD7E-DA73F8F521A9}">
      <dgm:prSet/>
      <dgm:spPr/>
      <dgm:t>
        <a:bodyPr/>
        <a:lstStyle/>
        <a:p>
          <a:endParaRPr lang="es-ES"/>
        </a:p>
      </dgm:t>
    </dgm:pt>
    <dgm:pt modelId="{9446A457-3ED3-45DF-80EE-FBA2956FA239}" type="sibTrans" cxnId="{B4EE4A19-810B-4755-BD7E-DA73F8F521A9}">
      <dgm:prSet/>
      <dgm:spPr/>
      <dgm:t>
        <a:bodyPr/>
        <a:lstStyle/>
        <a:p>
          <a:endParaRPr lang="es-ES"/>
        </a:p>
      </dgm:t>
    </dgm:pt>
    <dgm:pt modelId="{8717844E-3E97-4282-9A7B-D423109DC60B}">
      <dgm:prSet/>
      <dgm:spPr/>
      <dgm:t>
        <a:bodyPr/>
        <a:lstStyle/>
        <a:p>
          <a:r>
            <a:rPr lang="es-ES" dirty="0">
              <a:solidFill>
                <a:schemeClr val="tx1"/>
              </a:solidFill>
            </a:rPr>
            <a:t>Lo relacionado con metaverso es </a:t>
          </a:r>
          <a:r>
            <a:rPr lang="es-ES" dirty="0">
              <a:solidFill>
                <a:schemeClr val="bg1"/>
              </a:solidFill>
              <a:highlight>
                <a:srgbClr val="0000FF"/>
              </a:highlight>
            </a:rPr>
            <a:t>Open Source. Basado en Blockchain</a:t>
          </a:r>
          <a:r>
            <a:rPr lang="es-ES" dirty="0">
              <a:solidFill>
                <a:schemeClr val="tx1"/>
              </a:solidFill>
            </a:rPr>
            <a:t>. Cada participante coloca su información </a:t>
          </a:r>
        </a:p>
      </dgm:t>
    </dgm:pt>
    <dgm:pt modelId="{A4C78804-FAAD-4211-B5CE-006D91F5459A}" type="parTrans" cxnId="{8E1EB84E-09F5-471F-93DC-591BDEC6DF55}">
      <dgm:prSet/>
      <dgm:spPr/>
      <dgm:t>
        <a:bodyPr/>
        <a:lstStyle/>
        <a:p>
          <a:endParaRPr lang="es-ES"/>
        </a:p>
      </dgm:t>
    </dgm:pt>
    <dgm:pt modelId="{EA8091CE-7F1A-44E3-8E97-33A0249C3A4F}" type="sibTrans" cxnId="{8E1EB84E-09F5-471F-93DC-591BDEC6DF55}">
      <dgm:prSet/>
      <dgm:spPr/>
      <dgm:t>
        <a:bodyPr/>
        <a:lstStyle/>
        <a:p>
          <a:endParaRPr lang="es-ES"/>
        </a:p>
      </dgm:t>
    </dgm:pt>
    <dgm:pt modelId="{5A14DFF4-7C46-4906-8B7E-9DCCD0852379}">
      <dgm:prSet/>
      <dgm:spPr/>
      <dgm:t>
        <a:bodyPr/>
        <a:lstStyle/>
        <a:p>
          <a:r>
            <a:rPr lang="es-ES" dirty="0"/>
            <a:t>Se vive en </a:t>
          </a:r>
          <a:r>
            <a:rPr lang="es-ES" dirty="0">
              <a:highlight>
                <a:srgbClr val="0000FF"/>
              </a:highlight>
            </a:rPr>
            <a:t>islas</a:t>
          </a:r>
          <a:r>
            <a:rPr lang="es-ES" dirty="0"/>
            <a:t> que crean las empresas </a:t>
          </a:r>
        </a:p>
      </dgm:t>
    </dgm:pt>
    <dgm:pt modelId="{C9A548EE-2FB8-41C1-A648-E54CE119100F}" type="parTrans" cxnId="{54F8912A-FCBD-4CBA-BE2E-EF4651BC09D7}">
      <dgm:prSet/>
      <dgm:spPr/>
      <dgm:t>
        <a:bodyPr/>
        <a:lstStyle/>
        <a:p>
          <a:endParaRPr lang="es-ES"/>
        </a:p>
      </dgm:t>
    </dgm:pt>
    <dgm:pt modelId="{13E387A4-4765-4428-9406-A5AD1DB1AC2E}" type="sibTrans" cxnId="{54F8912A-FCBD-4CBA-BE2E-EF4651BC09D7}">
      <dgm:prSet/>
      <dgm:spPr/>
      <dgm:t>
        <a:bodyPr/>
        <a:lstStyle/>
        <a:p>
          <a:endParaRPr lang="es-ES"/>
        </a:p>
      </dgm:t>
    </dgm:pt>
    <dgm:pt modelId="{30A88B8F-18C3-47DE-B582-7E8D0DDCEAF9}">
      <dgm:prSet phldrT="[Texto]"/>
      <dgm:spPr/>
      <dgm:t>
        <a:bodyPr/>
        <a:lstStyle/>
        <a:p>
          <a:r>
            <a:rPr lang="es-ES" dirty="0"/>
            <a:t>Origen - Novela 1992: Neal Stephenson y su novela </a:t>
          </a:r>
          <a:r>
            <a:rPr lang="es-ES" dirty="0">
              <a:highlight>
                <a:srgbClr val="0000FF"/>
              </a:highlight>
            </a:rPr>
            <a:t>'Snow Crash'</a:t>
          </a:r>
        </a:p>
      </dgm:t>
    </dgm:pt>
    <dgm:pt modelId="{2769C5B2-693C-413D-AFE6-A9DA06E94AC2}" type="parTrans" cxnId="{330AE352-4154-4331-A2EA-660411C61E8A}">
      <dgm:prSet/>
      <dgm:spPr/>
      <dgm:t>
        <a:bodyPr/>
        <a:lstStyle/>
        <a:p>
          <a:endParaRPr lang="es-ES"/>
        </a:p>
      </dgm:t>
    </dgm:pt>
    <dgm:pt modelId="{F162A123-1D54-4B0F-A5BE-D5B8DF53B9ED}" type="sibTrans" cxnId="{330AE352-4154-4331-A2EA-660411C61E8A}">
      <dgm:prSet/>
      <dgm:spPr/>
      <dgm:t>
        <a:bodyPr/>
        <a:lstStyle/>
        <a:p>
          <a:endParaRPr lang="es-ES"/>
        </a:p>
      </dgm:t>
    </dgm:pt>
    <dgm:pt modelId="{BA6D0FDB-C532-43A8-8A7E-DCE2F0A1633A}" type="pres">
      <dgm:prSet presAssocID="{EA7C8E7E-43B3-4C37-B50D-87FAE58A933B}" presName="diagram" presStyleCnt="0">
        <dgm:presLayoutVars>
          <dgm:dir/>
          <dgm:resizeHandles val="exact"/>
        </dgm:presLayoutVars>
      </dgm:prSet>
      <dgm:spPr/>
    </dgm:pt>
    <dgm:pt modelId="{93A0FDDF-EB97-4D1D-9CA4-4E0FD07E8617}" type="pres">
      <dgm:prSet presAssocID="{5CCF1D2C-F05A-4CBB-92E8-EAD08AAF554D}" presName="node" presStyleLbl="node1" presStyleIdx="0" presStyleCnt="6">
        <dgm:presLayoutVars>
          <dgm:bulletEnabled val="1"/>
        </dgm:presLayoutVars>
      </dgm:prSet>
      <dgm:spPr/>
    </dgm:pt>
    <dgm:pt modelId="{11532D2A-613F-40CA-8E24-ABA5F7F9A51F}" type="pres">
      <dgm:prSet presAssocID="{9446A457-3ED3-45DF-80EE-FBA2956FA239}" presName="sibTrans" presStyleCnt="0"/>
      <dgm:spPr/>
    </dgm:pt>
    <dgm:pt modelId="{8AFB655C-3E16-403A-ACFB-D603763FAFA9}" type="pres">
      <dgm:prSet presAssocID="{30A88B8F-18C3-47DE-B582-7E8D0DDCEAF9}" presName="node" presStyleLbl="node1" presStyleIdx="1" presStyleCnt="6">
        <dgm:presLayoutVars>
          <dgm:bulletEnabled val="1"/>
        </dgm:presLayoutVars>
      </dgm:prSet>
      <dgm:spPr/>
    </dgm:pt>
    <dgm:pt modelId="{A4FCC784-292C-4B3A-A8AD-8681F3E76B57}" type="pres">
      <dgm:prSet presAssocID="{F162A123-1D54-4B0F-A5BE-D5B8DF53B9ED}" presName="sibTrans" presStyleCnt="0"/>
      <dgm:spPr/>
    </dgm:pt>
    <dgm:pt modelId="{40E91179-6F13-48D6-8B2B-6CABDD9AE697}" type="pres">
      <dgm:prSet presAssocID="{78EF9B6C-EC3E-4CF1-B178-63622B31CF87}" presName="node" presStyleLbl="node1" presStyleIdx="2" presStyleCnt="6">
        <dgm:presLayoutVars>
          <dgm:bulletEnabled val="1"/>
        </dgm:presLayoutVars>
      </dgm:prSet>
      <dgm:spPr/>
    </dgm:pt>
    <dgm:pt modelId="{2FD3E0C0-8A56-47E6-8892-9054C04CAA45}" type="pres">
      <dgm:prSet presAssocID="{B2947978-51CB-4246-B8F4-AAA491649950}" presName="sibTrans" presStyleCnt="0"/>
      <dgm:spPr/>
    </dgm:pt>
    <dgm:pt modelId="{0AD251E8-CC27-4343-ACE5-0F9BA5DE8F3E}" type="pres">
      <dgm:prSet presAssocID="{4F5E8640-FF9E-4523-AB0C-1F9B5819C0B0}" presName="node" presStyleLbl="node1" presStyleIdx="3" presStyleCnt="6">
        <dgm:presLayoutVars>
          <dgm:bulletEnabled val="1"/>
        </dgm:presLayoutVars>
      </dgm:prSet>
      <dgm:spPr/>
    </dgm:pt>
    <dgm:pt modelId="{C4FCA929-AE69-47CB-A768-F4741DA7EE54}" type="pres">
      <dgm:prSet presAssocID="{5E42A810-B094-4988-84B7-D2B12628C0CF}" presName="sibTrans" presStyleCnt="0"/>
      <dgm:spPr/>
    </dgm:pt>
    <dgm:pt modelId="{9516B939-BBE7-4C2B-9D6B-02773D7F9D31}" type="pres">
      <dgm:prSet presAssocID="{5A14DFF4-7C46-4906-8B7E-9DCCD0852379}" presName="node" presStyleLbl="node1" presStyleIdx="4" presStyleCnt="6">
        <dgm:presLayoutVars>
          <dgm:bulletEnabled val="1"/>
        </dgm:presLayoutVars>
      </dgm:prSet>
      <dgm:spPr/>
    </dgm:pt>
    <dgm:pt modelId="{461F5208-4B9E-46F7-A40C-AFA17EF0DAA7}" type="pres">
      <dgm:prSet presAssocID="{13E387A4-4765-4428-9406-A5AD1DB1AC2E}" presName="sibTrans" presStyleCnt="0"/>
      <dgm:spPr/>
    </dgm:pt>
    <dgm:pt modelId="{D32F3186-84A4-4BCF-AFDE-8633D31CB94A}" type="pres">
      <dgm:prSet presAssocID="{8717844E-3E97-4282-9A7B-D423109DC60B}" presName="node" presStyleLbl="node1" presStyleIdx="5" presStyleCnt="6">
        <dgm:presLayoutVars>
          <dgm:bulletEnabled val="1"/>
        </dgm:presLayoutVars>
      </dgm:prSet>
      <dgm:spPr/>
    </dgm:pt>
  </dgm:ptLst>
  <dgm:cxnLst>
    <dgm:cxn modelId="{46E8F502-66F5-499C-8EF1-E4C2D3CBBC1C}" type="presOf" srcId="{4F5E8640-FF9E-4523-AB0C-1F9B5819C0B0}" destId="{0AD251E8-CC27-4343-ACE5-0F9BA5DE8F3E}" srcOrd="0" destOrd="0" presId="urn:microsoft.com/office/officeart/2005/8/layout/default"/>
    <dgm:cxn modelId="{B4EE4A19-810B-4755-BD7E-DA73F8F521A9}" srcId="{EA7C8E7E-43B3-4C37-B50D-87FAE58A933B}" destId="{5CCF1D2C-F05A-4CBB-92E8-EAD08AAF554D}" srcOrd="0" destOrd="0" parTransId="{21096922-0B65-4A8B-962E-A51AF2D3C68B}" sibTransId="{9446A457-3ED3-45DF-80EE-FBA2956FA239}"/>
    <dgm:cxn modelId="{54F8912A-FCBD-4CBA-BE2E-EF4651BC09D7}" srcId="{EA7C8E7E-43B3-4C37-B50D-87FAE58A933B}" destId="{5A14DFF4-7C46-4906-8B7E-9DCCD0852379}" srcOrd="4" destOrd="0" parTransId="{C9A548EE-2FB8-41C1-A648-E54CE119100F}" sibTransId="{13E387A4-4765-4428-9406-A5AD1DB1AC2E}"/>
    <dgm:cxn modelId="{9303942E-0B39-4504-8664-B77362C51C39}" type="presOf" srcId="{8717844E-3E97-4282-9A7B-D423109DC60B}" destId="{D32F3186-84A4-4BCF-AFDE-8633D31CB94A}" srcOrd="0" destOrd="0" presId="urn:microsoft.com/office/officeart/2005/8/layout/default"/>
    <dgm:cxn modelId="{5998E45C-F200-41FE-8B5B-75BECB7F6743}" type="presOf" srcId="{EA7C8E7E-43B3-4C37-B50D-87FAE58A933B}" destId="{BA6D0FDB-C532-43A8-8A7E-DCE2F0A1633A}" srcOrd="0" destOrd="0" presId="urn:microsoft.com/office/officeart/2005/8/layout/default"/>
    <dgm:cxn modelId="{74E98041-8463-433A-8E33-D87E205A6652}" srcId="{EA7C8E7E-43B3-4C37-B50D-87FAE58A933B}" destId="{4F5E8640-FF9E-4523-AB0C-1F9B5819C0B0}" srcOrd="3" destOrd="0" parTransId="{F8F640CB-8A30-42CB-9BAC-F99933A8CCEF}" sibTransId="{5E42A810-B094-4988-84B7-D2B12628C0CF}"/>
    <dgm:cxn modelId="{88254D69-7A77-450B-9D57-B57E31055D21}" type="presOf" srcId="{30A88B8F-18C3-47DE-B582-7E8D0DDCEAF9}" destId="{8AFB655C-3E16-403A-ACFB-D603763FAFA9}" srcOrd="0" destOrd="0" presId="urn:microsoft.com/office/officeart/2005/8/layout/default"/>
    <dgm:cxn modelId="{A0F47049-7567-4EBF-9796-A9ECBC4E0293}" type="presOf" srcId="{5A14DFF4-7C46-4906-8B7E-9DCCD0852379}" destId="{9516B939-BBE7-4C2B-9D6B-02773D7F9D31}" srcOrd="0" destOrd="0" presId="urn:microsoft.com/office/officeart/2005/8/layout/default"/>
    <dgm:cxn modelId="{8E1EB84E-09F5-471F-93DC-591BDEC6DF55}" srcId="{EA7C8E7E-43B3-4C37-B50D-87FAE58A933B}" destId="{8717844E-3E97-4282-9A7B-D423109DC60B}" srcOrd="5" destOrd="0" parTransId="{A4C78804-FAAD-4211-B5CE-006D91F5459A}" sibTransId="{EA8091CE-7F1A-44E3-8E97-33A0249C3A4F}"/>
    <dgm:cxn modelId="{330AE352-4154-4331-A2EA-660411C61E8A}" srcId="{EA7C8E7E-43B3-4C37-B50D-87FAE58A933B}" destId="{30A88B8F-18C3-47DE-B582-7E8D0DDCEAF9}" srcOrd="1" destOrd="0" parTransId="{2769C5B2-693C-413D-AFE6-A9DA06E94AC2}" sibTransId="{F162A123-1D54-4B0F-A5BE-D5B8DF53B9ED}"/>
    <dgm:cxn modelId="{257F8C7D-E3A9-44A6-9B74-7898A0A5AE55}" srcId="{EA7C8E7E-43B3-4C37-B50D-87FAE58A933B}" destId="{78EF9B6C-EC3E-4CF1-B178-63622B31CF87}" srcOrd="2" destOrd="0" parTransId="{97CD04D6-AC35-48BF-9FD5-3634B0BFE71D}" sibTransId="{B2947978-51CB-4246-B8F4-AAA491649950}"/>
    <dgm:cxn modelId="{6B55BF94-4EE6-440A-AFFD-A712830A26B4}" type="presOf" srcId="{5CCF1D2C-F05A-4CBB-92E8-EAD08AAF554D}" destId="{93A0FDDF-EB97-4D1D-9CA4-4E0FD07E8617}" srcOrd="0" destOrd="0" presId="urn:microsoft.com/office/officeart/2005/8/layout/default"/>
    <dgm:cxn modelId="{CEA60499-87EF-416F-8034-E05A757539EF}" type="presOf" srcId="{78EF9B6C-EC3E-4CF1-B178-63622B31CF87}" destId="{40E91179-6F13-48D6-8B2B-6CABDD9AE697}" srcOrd="0" destOrd="0" presId="urn:microsoft.com/office/officeart/2005/8/layout/default"/>
    <dgm:cxn modelId="{B2DFF161-AF9B-4A74-BD79-EFCE885F31E2}" type="presParOf" srcId="{BA6D0FDB-C532-43A8-8A7E-DCE2F0A1633A}" destId="{93A0FDDF-EB97-4D1D-9CA4-4E0FD07E8617}" srcOrd="0" destOrd="0" presId="urn:microsoft.com/office/officeart/2005/8/layout/default"/>
    <dgm:cxn modelId="{E4341F6C-B90F-4672-AE6E-BDB1781864FC}" type="presParOf" srcId="{BA6D0FDB-C532-43A8-8A7E-DCE2F0A1633A}" destId="{11532D2A-613F-40CA-8E24-ABA5F7F9A51F}" srcOrd="1" destOrd="0" presId="urn:microsoft.com/office/officeart/2005/8/layout/default"/>
    <dgm:cxn modelId="{14E7E0D6-392B-436D-A4AC-1539F429EDBD}" type="presParOf" srcId="{BA6D0FDB-C532-43A8-8A7E-DCE2F0A1633A}" destId="{8AFB655C-3E16-403A-ACFB-D603763FAFA9}" srcOrd="2" destOrd="0" presId="urn:microsoft.com/office/officeart/2005/8/layout/default"/>
    <dgm:cxn modelId="{190FE04E-7DF6-4EBB-8DBE-D262CBE32318}" type="presParOf" srcId="{BA6D0FDB-C532-43A8-8A7E-DCE2F0A1633A}" destId="{A4FCC784-292C-4B3A-A8AD-8681F3E76B57}" srcOrd="3" destOrd="0" presId="urn:microsoft.com/office/officeart/2005/8/layout/default"/>
    <dgm:cxn modelId="{08A32B74-060D-4976-BC68-BB506084C109}" type="presParOf" srcId="{BA6D0FDB-C532-43A8-8A7E-DCE2F0A1633A}" destId="{40E91179-6F13-48D6-8B2B-6CABDD9AE697}" srcOrd="4" destOrd="0" presId="urn:microsoft.com/office/officeart/2005/8/layout/default"/>
    <dgm:cxn modelId="{38C1DDA6-F97B-440F-8DCD-C81D65F7ED59}" type="presParOf" srcId="{BA6D0FDB-C532-43A8-8A7E-DCE2F0A1633A}" destId="{2FD3E0C0-8A56-47E6-8892-9054C04CAA45}" srcOrd="5" destOrd="0" presId="urn:microsoft.com/office/officeart/2005/8/layout/default"/>
    <dgm:cxn modelId="{58203BEB-E890-4048-B8B4-BC6DD56070F5}" type="presParOf" srcId="{BA6D0FDB-C532-43A8-8A7E-DCE2F0A1633A}" destId="{0AD251E8-CC27-4343-ACE5-0F9BA5DE8F3E}" srcOrd="6" destOrd="0" presId="urn:microsoft.com/office/officeart/2005/8/layout/default"/>
    <dgm:cxn modelId="{24153AF4-8FBE-480F-9385-0BD146416CA3}" type="presParOf" srcId="{BA6D0FDB-C532-43A8-8A7E-DCE2F0A1633A}" destId="{C4FCA929-AE69-47CB-A768-F4741DA7EE54}" srcOrd="7" destOrd="0" presId="urn:microsoft.com/office/officeart/2005/8/layout/default"/>
    <dgm:cxn modelId="{E4FA98AD-7D37-4910-AC5B-C684D5AC057C}" type="presParOf" srcId="{BA6D0FDB-C532-43A8-8A7E-DCE2F0A1633A}" destId="{9516B939-BBE7-4C2B-9D6B-02773D7F9D31}" srcOrd="8" destOrd="0" presId="urn:microsoft.com/office/officeart/2005/8/layout/default"/>
    <dgm:cxn modelId="{53949CB9-A7BE-47BF-AE85-A530044E2EB5}" type="presParOf" srcId="{BA6D0FDB-C532-43A8-8A7E-DCE2F0A1633A}" destId="{461F5208-4B9E-46F7-A40C-AFA17EF0DAA7}" srcOrd="9" destOrd="0" presId="urn:microsoft.com/office/officeart/2005/8/layout/default"/>
    <dgm:cxn modelId="{E233475F-4AA0-4FA7-83D9-E1195404FDB2}" type="presParOf" srcId="{BA6D0FDB-C532-43A8-8A7E-DCE2F0A1633A}" destId="{D32F3186-84A4-4BCF-AFDE-8633D31CB94A}"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DE5AA97F-4D0A-43DB-9D59-1AC9A6011325}" type="doc">
      <dgm:prSet loTypeId="urn:microsoft.com/office/officeart/2008/layout/PictureStrips" loCatId="list" qsTypeId="urn:microsoft.com/office/officeart/2005/8/quickstyle/simple1" qsCatId="simple" csTypeId="urn:microsoft.com/office/officeart/2005/8/colors/accent0_3" csCatId="mainScheme" phldr="1"/>
      <dgm:spPr/>
      <dgm:t>
        <a:bodyPr/>
        <a:lstStyle/>
        <a:p>
          <a:endParaRPr lang="es-ES"/>
        </a:p>
      </dgm:t>
    </dgm:pt>
    <dgm:pt modelId="{601CA0AE-F7D2-4494-9FA1-4D85B78DF5B2}">
      <dgm:prSet phldrT="[Texto]" custT="1"/>
      <dgm:spPr/>
      <dgm:t>
        <a:bodyPr/>
        <a:lstStyle/>
        <a:p>
          <a:r>
            <a:rPr lang="es-ES" sz="1400" dirty="0"/>
            <a:t>Sobre una base de datos y en todo el Data lake</a:t>
          </a:r>
        </a:p>
      </dgm:t>
    </dgm:pt>
    <dgm:pt modelId="{8A84F703-448F-4BEF-A67D-92FB74FDB8D6}" type="parTrans" cxnId="{8BE01DBE-4679-4AEA-9E62-1C804A3B7029}">
      <dgm:prSet/>
      <dgm:spPr/>
      <dgm:t>
        <a:bodyPr/>
        <a:lstStyle/>
        <a:p>
          <a:endParaRPr lang="es-ES" sz="2000"/>
        </a:p>
      </dgm:t>
    </dgm:pt>
    <dgm:pt modelId="{67E7476B-8EAA-41F5-B7D1-566B826CF6A1}" type="sibTrans" cxnId="{8BE01DBE-4679-4AEA-9E62-1C804A3B7029}">
      <dgm:prSet/>
      <dgm:spPr/>
      <dgm:t>
        <a:bodyPr/>
        <a:lstStyle/>
        <a:p>
          <a:endParaRPr lang="es-ES" sz="2000"/>
        </a:p>
      </dgm:t>
    </dgm:pt>
    <dgm:pt modelId="{733F9CBE-0B72-4D6B-92DA-0122E82E6A6D}">
      <dgm:prSet phldrT="[Texto]" custT="1"/>
      <dgm:spPr/>
      <dgm:t>
        <a:bodyPr/>
        <a:lstStyle/>
        <a:p>
          <a:r>
            <a:rPr lang="es-ES" sz="1400" dirty="0"/>
            <a:t>obviando errores</a:t>
          </a:r>
        </a:p>
      </dgm:t>
    </dgm:pt>
    <dgm:pt modelId="{D9E5CF5F-B672-47C2-9974-625B7309BC67}" type="parTrans" cxnId="{E8A522E3-5B97-4370-B5B2-06490F7961DB}">
      <dgm:prSet/>
      <dgm:spPr/>
      <dgm:t>
        <a:bodyPr/>
        <a:lstStyle/>
        <a:p>
          <a:endParaRPr lang="es-ES" sz="2000"/>
        </a:p>
      </dgm:t>
    </dgm:pt>
    <dgm:pt modelId="{9BDA02EC-4C3D-4194-8B57-D0795627F55C}" type="sibTrans" cxnId="{E8A522E3-5B97-4370-B5B2-06490F7961DB}">
      <dgm:prSet/>
      <dgm:spPr/>
      <dgm:t>
        <a:bodyPr/>
        <a:lstStyle/>
        <a:p>
          <a:endParaRPr lang="es-ES" sz="2000"/>
        </a:p>
      </dgm:t>
    </dgm:pt>
    <dgm:pt modelId="{C159D28A-5595-4CB6-95BE-020F44CD3A10}">
      <dgm:prSet phldrT="[Texto]" custT="1"/>
      <dgm:spPr/>
      <dgm:t>
        <a:bodyPr/>
        <a:lstStyle/>
        <a:p>
          <a:r>
            <a:rPr lang="es-ES" sz="1400" dirty="0"/>
            <a:t>manteniendo la privacidad y la seguridad.</a:t>
          </a:r>
        </a:p>
      </dgm:t>
    </dgm:pt>
    <dgm:pt modelId="{47EC5855-EE10-482B-A9C6-9C81AF58846F}" type="parTrans" cxnId="{CEC71D0D-80AC-49CC-9EE9-650B3F9814B2}">
      <dgm:prSet/>
      <dgm:spPr/>
      <dgm:t>
        <a:bodyPr/>
        <a:lstStyle/>
        <a:p>
          <a:endParaRPr lang="es-ES" sz="2000"/>
        </a:p>
      </dgm:t>
    </dgm:pt>
    <dgm:pt modelId="{32C25351-6D31-41BA-AE2E-84ED2462ACCB}" type="sibTrans" cxnId="{CEC71D0D-80AC-49CC-9EE9-650B3F9814B2}">
      <dgm:prSet/>
      <dgm:spPr/>
      <dgm:t>
        <a:bodyPr/>
        <a:lstStyle/>
        <a:p>
          <a:endParaRPr lang="es-ES" sz="2000"/>
        </a:p>
      </dgm:t>
    </dgm:pt>
    <dgm:pt modelId="{11A50463-DF25-458C-BA57-AFCFDF7B3B80}">
      <dgm:prSet phldrT="[Texto]" custT="1"/>
      <dgm:spPr/>
      <dgm:t>
        <a:bodyPr/>
        <a:lstStyle/>
        <a:p>
          <a:r>
            <a:rPr lang="es-ES" sz="1800" dirty="0"/>
            <a:t>Es el conjunto de procesos, funciones, políticas, normas y mediciones que garantizan el uso eficaz y eficiente de la información </a:t>
          </a:r>
        </a:p>
      </dgm:t>
    </dgm:pt>
    <dgm:pt modelId="{0F9E54B9-A1E8-4784-A985-B185B1C790EA}" type="parTrans" cxnId="{30CF3E5A-8F9C-432E-A211-3D74BF7BFD0A}">
      <dgm:prSet/>
      <dgm:spPr/>
      <dgm:t>
        <a:bodyPr/>
        <a:lstStyle/>
        <a:p>
          <a:endParaRPr lang="es-ES" sz="2000"/>
        </a:p>
      </dgm:t>
    </dgm:pt>
    <dgm:pt modelId="{3809252B-CC6F-4EE7-B714-7A424EC10885}" type="sibTrans" cxnId="{30CF3E5A-8F9C-432E-A211-3D74BF7BFD0A}">
      <dgm:prSet/>
      <dgm:spPr/>
      <dgm:t>
        <a:bodyPr/>
        <a:lstStyle/>
        <a:p>
          <a:endParaRPr lang="es-ES" sz="2000"/>
        </a:p>
      </dgm:t>
    </dgm:pt>
    <dgm:pt modelId="{1C2A9FF8-32CC-44FD-9F00-156C3472B4BE}">
      <dgm:prSet phldrT="[Texto]" custT="1"/>
      <dgm:spPr/>
      <dgm:t>
        <a:bodyPr/>
        <a:lstStyle/>
        <a:p>
          <a:pPr marL="0" indent="0"/>
          <a:r>
            <a:rPr lang="es-ES" sz="1800" dirty="0"/>
            <a:t>Un programa de  de gobierno del dato: </a:t>
          </a:r>
        </a:p>
      </dgm:t>
    </dgm:pt>
    <dgm:pt modelId="{AC4D32E6-E40A-4CF3-A69B-1DA48C0BE6F7}" type="parTrans" cxnId="{6CE5A281-7B82-40BB-AD04-AFF6ADFEEEE3}">
      <dgm:prSet/>
      <dgm:spPr/>
      <dgm:t>
        <a:bodyPr/>
        <a:lstStyle/>
        <a:p>
          <a:endParaRPr lang="es-ES" sz="2000"/>
        </a:p>
      </dgm:t>
    </dgm:pt>
    <dgm:pt modelId="{B334F4E0-C9A5-43BB-9928-6EA94018DF0E}" type="sibTrans" cxnId="{6CE5A281-7B82-40BB-AD04-AFF6ADFEEEE3}">
      <dgm:prSet/>
      <dgm:spPr/>
      <dgm:t>
        <a:bodyPr/>
        <a:lstStyle/>
        <a:p>
          <a:endParaRPr lang="es-ES" sz="2000"/>
        </a:p>
      </dgm:t>
    </dgm:pt>
    <dgm:pt modelId="{62EF9149-2AC2-48F6-BFA5-D504780FC963}">
      <dgm:prSet phldrT="[Texto]" custT="1"/>
      <dgm:spPr/>
      <dgm:t>
        <a:bodyPr/>
        <a:lstStyle/>
        <a:p>
          <a:pPr marL="0" indent="0"/>
          <a:r>
            <a:rPr lang="es-ES" sz="1400" dirty="0"/>
            <a:t>un conjunto de procedimientos definidos</a:t>
          </a:r>
        </a:p>
      </dgm:t>
    </dgm:pt>
    <dgm:pt modelId="{BC6D5A71-3499-4ADC-91B4-C599551F517A}" type="parTrans" cxnId="{5B5DB896-5A63-4259-A6D1-169E2D204F61}">
      <dgm:prSet/>
      <dgm:spPr/>
      <dgm:t>
        <a:bodyPr/>
        <a:lstStyle/>
        <a:p>
          <a:endParaRPr lang="es-ES" sz="2000"/>
        </a:p>
      </dgm:t>
    </dgm:pt>
    <dgm:pt modelId="{4637FCF1-733D-4DAF-97CE-50637C2642ED}" type="sibTrans" cxnId="{5B5DB896-5A63-4259-A6D1-169E2D204F61}">
      <dgm:prSet/>
      <dgm:spPr/>
      <dgm:t>
        <a:bodyPr/>
        <a:lstStyle/>
        <a:p>
          <a:endParaRPr lang="es-ES" sz="2000"/>
        </a:p>
      </dgm:t>
    </dgm:pt>
    <dgm:pt modelId="{8B8580A1-5337-4F77-B88C-B9DCD42D5F8E}">
      <dgm:prSet phldrT="[Texto]" custT="1"/>
      <dgm:spPr/>
      <dgm:t>
        <a:bodyPr/>
        <a:lstStyle/>
        <a:p>
          <a:pPr marL="0" indent="0"/>
          <a:r>
            <a:rPr lang="es-ES" sz="1400" dirty="0"/>
            <a:t>un plan para ejecutar dichos procedimientos.</a:t>
          </a:r>
        </a:p>
      </dgm:t>
    </dgm:pt>
    <dgm:pt modelId="{07A1B60F-6FE6-443C-A9F1-C64E9BA67C28}" type="parTrans" cxnId="{5206048A-75D5-43FB-990E-3847F7A53E51}">
      <dgm:prSet/>
      <dgm:spPr/>
      <dgm:t>
        <a:bodyPr/>
        <a:lstStyle/>
        <a:p>
          <a:endParaRPr lang="es-ES" sz="2000"/>
        </a:p>
      </dgm:t>
    </dgm:pt>
    <dgm:pt modelId="{1631B882-6AE6-4353-8616-775636DD998E}" type="sibTrans" cxnId="{5206048A-75D5-43FB-990E-3847F7A53E51}">
      <dgm:prSet/>
      <dgm:spPr/>
      <dgm:t>
        <a:bodyPr/>
        <a:lstStyle/>
        <a:p>
          <a:endParaRPr lang="es-ES" sz="2000"/>
        </a:p>
      </dgm:t>
    </dgm:pt>
    <dgm:pt modelId="{03DD4254-35C8-4629-A7AE-A13B189C0335}">
      <dgm:prSet phldrT="[Texto]" custT="1"/>
      <dgm:spPr/>
      <dgm:t>
        <a:bodyPr/>
        <a:lstStyle/>
        <a:p>
          <a:r>
            <a:rPr lang="es-ES" sz="1800" dirty="0"/>
            <a:t>Manuales:</a:t>
          </a:r>
        </a:p>
      </dgm:t>
    </dgm:pt>
    <dgm:pt modelId="{7A33F0DA-BCAD-455E-8553-DA4622F9D85B}" type="parTrans" cxnId="{A7B855B8-1E5F-4CD0-8E8A-B65A175F1222}">
      <dgm:prSet/>
      <dgm:spPr/>
      <dgm:t>
        <a:bodyPr/>
        <a:lstStyle/>
        <a:p>
          <a:endParaRPr lang="es-ES" sz="2000"/>
        </a:p>
      </dgm:t>
    </dgm:pt>
    <dgm:pt modelId="{CBD0CFFC-3776-4381-9DD5-F993E4C472DD}" type="sibTrans" cxnId="{A7B855B8-1E5F-4CD0-8E8A-B65A175F1222}">
      <dgm:prSet/>
      <dgm:spPr/>
      <dgm:t>
        <a:bodyPr/>
        <a:lstStyle/>
        <a:p>
          <a:endParaRPr lang="es-ES" sz="2000"/>
        </a:p>
      </dgm:t>
    </dgm:pt>
    <dgm:pt modelId="{7C7043CC-DDCB-4101-80D0-ACC153D408A3}">
      <dgm:prSet phldrT="[Texto]" custT="1"/>
      <dgm:spPr/>
      <dgm:t>
        <a:bodyPr/>
        <a:lstStyle/>
        <a:p>
          <a:r>
            <a:rPr lang="es-ES" sz="1400" dirty="0"/>
            <a:t>(MDM - Master Data Management) = Maestro de la gestión de datos.</a:t>
          </a:r>
        </a:p>
      </dgm:t>
    </dgm:pt>
    <dgm:pt modelId="{5EFC6912-0DF9-47BD-87CF-E85C2FCC7D0B}" type="parTrans" cxnId="{A4C9F032-0EBC-43A9-AD45-B0E294612F80}">
      <dgm:prSet/>
      <dgm:spPr/>
      <dgm:t>
        <a:bodyPr/>
        <a:lstStyle/>
        <a:p>
          <a:endParaRPr lang="es-ES" sz="2000"/>
        </a:p>
      </dgm:t>
    </dgm:pt>
    <dgm:pt modelId="{51773DAD-85C9-406D-85D0-340EAD9065F8}" type="sibTrans" cxnId="{A4C9F032-0EBC-43A9-AD45-B0E294612F80}">
      <dgm:prSet/>
      <dgm:spPr/>
      <dgm:t>
        <a:bodyPr/>
        <a:lstStyle/>
        <a:p>
          <a:endParaRPr lang="es-ES" sz="2000"/>
        </a:p>
      </dgm:t>
    </dgm:pt>
    <dgm:pt modelId="{CAF03071-557F-40D0-954A-A7693E587326}">
      <dgm:prSet phldrT="[Texto]" custT="1"/>
      <dgm:spPr/>
      <dgm:t>
        <a:bodyPr/>
        <a:lstStyle/>
        <a:p>
          <a:r>
            <a:rPr lang="es-ES" sz="1400" dirty="0"/>
            <a:t>(DQM - Data Quality Management)=  calidad de los datos</a:t>
          </a:r>
        </a:p>
      </dgm:t>
    </dgm:pt>
    <dgm:pt modelId="{C6AA9615-0421-4BD2-BEA7-9D196C07CC65}" type="parTrans" cxnId="{234D2B26-C88E-48CC-BCF0-8B5D900F2EF4}">
      <dgm:prSet/>
      <dgm:spPr/>
      <dgm:t>
        <a:bodyPr/>
        <a:lstStyle/>
        <a:p>
          <a:endParaRPr lang="es-ES" sz="2000"/>
        </a:p>
      </dgm:t>
    </dgm:pt>
    <dgm:pt modelId="{5466CE14-37F3-4B52-8879-3D54AABE276B}" type="sibTrans" cxnId="{234D2B26-C88E-48CC-BCF0-8B5D900F2EF4}">
      <dgm:prSet/>
      <dgm:spPr/>
      <dgm:t>
        <a:bodyPr/>
        <a:lstStyle/>
        <a:p>
          <a:endParaRPr lang="es-ES" sz="2000"/>
        </a:p>
      </dgm:t>
    </dgm:pt>
    <dgm:pt modelId="{01E099F8-3CAA-4BC6-B442-880F4CA3E5E1}">
      <dgm:prSet phldrT="[Texto]" custT="1"/>
      <dgm:spPr/>
      <dgm:t>
        <a:bodyPr/>
        <a:lstStyle/>
        <a:p>
          <a:pPr marL="0" indent="0"/>
          <a:r>
            <a:rPr lang="es-ES" sz="1400" dirty="0"/>
            <a:t>un órgano o consejo de gobierno</a:t>
          </a:r>
        </a:p>
      </dgm:t>
    </dgm:pt>
    <dgm:pt modelId="{5259BED4-17ED-47FA-9F15-5D3DB8DEC33A}" type="parTrans" cxnId="{9C253F82-589B-4F29-BDDC-FEB516BA779B}">
      <dgm:prSet/>
      <dgm:spPr/>
      <dgm:t>
        <a:bodyPr/>
        <a:lstStyle/>
        <a:p>
          <a:endParaRPr lang="es-ES" sz="2000"/>
        </a:p>
      </dgm:t>
    </dgm:pt>
    <dgm:pt modelId="{230A9A5F-D287-44D1-BF4B-2EF3497AFC55}" type="sibTrans" cxnId="{9C253F82-589B-4F29-BDDC-FEB516BA779B}">
      <dgm:prSet/>
      <dgm:spPr/>
      <dgm:t>
        <a:bodyPr/>
        <a:lstStyle/>
        <a:p>
          <a:endParaRPr lang="es-ES" sz="2000"/>
        </a:p>
      </dgm:t>
    </dgm:pt>
    <dgm:pt modelId="{5AE80FA0-A4F3-4596-87D0-DF1D95D0990D}">
      <dgm:prSet phldrT="[Texto]" custT="1"/>
      <dgm:spPr/>
      <dgm:t>
        <a:bodyPr/>
        <a:lstStyle/>
        <a:p>
          <a:r>
            <a:rPr lang="es-ES" sz="1400" dirty="0"/>
            <a:t>(BG - Business Glossary) = diccionario de datos.</a:t>
          </a:r>
        </a:p>
      </dgm:t>
    </dgm:pt>
    <dgm:pt modelId="{4410D349-D148-4657-800D-3BE3BB507F10}" type="parTrans" cxnId="{074DB5C0-2EF9-4FA7-99C4-20FCA48E0961}">
      <dgm:prSet/>
      <dgm:spPr/>
      <dgm:t>
        <a:bodyPr/>
        <a:lstStyle/>
        <a:p>
          <a:endParaRPr lang="es-ES" sz="2000"/>
        </a:p>
      </dgm:t>
    </dgm:pt>
    <dgm:pt modelId="{6C82FDDE-3073-4919-A2D0-004994E65522}" type="sibTrans" cxnId="{074DB5C0-2EF9-4FA7-99C4-20FCA48E0961}">
      <dgm:prSet/>
      <dgm:spPr/>
      <dgm:t>
        <a:bodyPr/>
        <a:lstStyle/>
        <a:p>
          <a:endParaRPr lang="es-ES" sz="2000"/>
        </a:p>
      </dgm:t>
    </dgm:pt>
    <dgm:pt modelId="{C402D8EF-CC79-4A6B-A900-D7C5074DC17A}">
      <dgm:prSet phldrT="[Texto]" custT="1"/>
      <dgm:spPr/>
      <dgm:t>
        <a:bodyPr/>
        <a:lstStyle/>
        <a:p>
          <a:r>
            <a:rPr lang="es-ES" sz="1400" dirty="0"/>
            <a:t>(EMM - Entreprise Metadata Management) = gestión de los metadatos-</a:t>
          </a:r>
        </a:p>
      </dgm:t>
    </dgm:pt>
    <dgm:pt modelId="{F9BDF49A-25BA-4760-BCAC-B3985407B965}" type="parTrans" cxnId="{1462AEEC-951B-4B0B-B465-95403A69A034}">
      <dgm:prSet/>
      <dgm:spPr/>
      <dgm:t>
        <a:bodyPr/>
        <a:lstStyle/>
        <a:p>
          <a:endParaRPr lang="es-ES" sz="1600"/>
        </a:p>
      </dgm:t>
    </dgm:pt>
    <dgm:pt modelId="{16668878-24C1-4F00-BC9C-C5B89B1B3B4F}" type="sibTrans" cxnId="{1462AEEC-951B-4B0B-B465-95403A69A034}">
      <dgm:prSet/>
      <dgm:spPr/>
      <dgm:t>
        <a:bodyPr/>
        <a:lstStyle/>
        <a:p>
          <a:endParaRPr lang="es-ES" sz="1600"/>
        </a:p>
      </dgm:t>
    </dgm:pt>
    <dgm:pt modelId="{E38CFFF9-B28A-41B1-BEE4-1B841A8D4FDF}" type="pres">
      <dgm:prSet presAssocID="{DE5AA97F-4D0A-43DB-9D59-1AC9A6011325}" presName="Name0" presStyleCnt="0">
        <dgm:presLayoutVars>
          <dgm:dir/>
          <dgm:resizeHandles val="exact"/>
        </dgm:presLayoutVars>
      </dgm:prSet>
      <dgm:spPr/>
    </dgm:pt>
    <dgm:pt modelId="{6EC22030-AC28-453F-BADC-43DEB9D9EE3F}" type="pres">
      <dgm:prSet presAssocID="{11A50463-DF25-458C-BA57-AFCFDF7B3B80}" presName="composite" presStyleCnt="0"/>
      <dgm:spPr/>
    </dgm:pt>
    <dgm:pt modelId="{F52FD59C-7EC7-439C-807A-54F12692D68D}" type="pres">
      <dgm:prSet presAssocID="{11A50463-DF25-458C-BA57-AFCFDF7B3B80}" presName="rect1" presStyleLbl="trAlignAcc1" presStyleIdx="0" presStyleCnt="3" custScaleY="108995">
        <dgm:presLayoutVars>
          <dgm:bulletEnabled val="1"/>
        </dgm:presLayoutVars>
      </dgm:prSet>
      <dgm:spPr/>
    </dgm:pt>
    <dgm:pt modelId="{EB51F41C-F1D6-4355-B198-5F4E0839527B}" type="pres">
      <dgm:prSet presAssocID="{11A50463-DF25-458C-BA57-AFCFDF7B3B80}" presName="rect2" presStyleLbl="fgImgPlace1" presStyleIdx="0" presStyleCnt="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86B00105-9035-4738-826B-982CE137441D}" type="pres">
      <dgm:prSet presAssocID="{3809252B-CC6F-4EE7-B714-7A424EC10885}" presName="sibTrans" presStyleCnt="0"/>
      <dgm:spPr/>
    </dgm:pt>
    <dgm:pt modelId="{B2D37DB7-C5B6-469E-AABC-17E1F4D54724}" type="pres">
      <dgm:prSet presAssocID="{1C2A9FF8-32CC-44FD-9F00-156C3472B4BE}" presName="composite" presStyleCnt="0"/>
      <dgm:spPr/>
    </dgm:pt>
    <dgm:pt modelId="{1D47FBF2-A732-4BF5-B118-100E0B8A9DEE}" type="pres">
      <dgm:prSet presAssocID="{1C2A9FF8-32CC-44FD-9F00-156C3472B4BE}" presName="rect1" presStyleLbl="trAlignAcc1" presStyleIdx="1" presStyleCnt="3">
        <dgm:presLayoutVars>
          <dgm:bulletEnabled val="1"/>
        </dgm:presLayoutVars>
      </dgm:prSet>
      <dgm:spPr/>
    </dgm:pt>
    <dgm:pt modelId="{A43EF1A6-E7B4-42BC-BD23-34B7C3518B39}" type="pres">
      <dgm:prSet presAssocID="{1C2A9FF8-32CC-44FD-9F00-156C3472B4BE}" presName="rect2" presStyleLbl="fgImgPlace1" presStyleIdx="1" presStyleCnt="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059B0AAA-B3DA-4CCE-9106-489DD0D1FA30}" type="pres">
      <dgm:prSet presAssocID="{B334F4E0-C9A5-43BB-9928-6EA94018DF0E}" presName="sibTrans" presStyleCnt="0"/>
      <dgm:spPr/>
    </dgm:pt>
    <dgm:pt modelId="{10487FDF-9B5B-4E1A-A240-B131638E8946}" type="pres">
      <dgm:prSet presAssocID="{03DD4254-35C8-4629-A7AE-A13B189C0335}" presName="composite" presStyleCnt="0"/>
      <dgm:spPr/>
    </dgm:pt>
    <dgm:pt modelId="{44DA5751-0BF2-445E-9CCE-13E1CCE9691F}" type="pres">
      <dgm:prSet presAssocID="{03DD4254-35C8-4629-A7AE-A13B189C0335}" presName="rect1" presStyleLbl="trAlignAcc1" presStyleIdx="2" presStyleCnt="3">
        <dgm:presLayoutVars>
          <dgm:bulletEnabled val="1"/>
        </dgm:presLayoutVars>
      </dgm:prSet>
      <dgm:spPr/>
    </dgm:pt>
    <dgm:pt modelId="{C65821D6-9191-48FA-A915-FC43ADC4B738}" type="pres">
      <dgm:prSet presAssocID="{03DD4254-35C8-4629-A7AE-A13B189C0335}" presName="rect2" presStyleLbl="fgImgPlace1" presStyleIdx="2" presStyleCnt="3"/>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Lst>
  <dgm:cxnLst>
    <dgm:cxn modelId="{EB9F2200-879C-4E4F-AFF6-932B42FF2DE2}" type="presOf" srcId="{C159D28A-5595-4CB6-95BE-020F44CD3A10}" destId="{F52FD59C-7EC7-439C-807A-54F12692D68D}" srcOrd="0" destOrd="3" presId="urn:microsoft.com/office/officeart/2008/layout/PictureStrips"/>
    <dgm:cxn modelId="{4156E803-13B2-4F90-BBEE-FEC8EA154411}" type="presOf" srcId="{CAF03071-557F-40D0-954A-A7693E587326}" destId="{44DA5751-0BF2-445E-9CCE-13E1CCE9691F}" srcOrd="0" destOrd="2" presId="urn:microsoft.com/office/officeart/2008/layout/PictureStrips"/>
    <dgm:cxn modelId="{CEC71D0D-80AC-49CC-9EE9-650B3F9814B2}" srcId="{11A50463-DF25-458C-BA57-AFCFDF7B3B80}" destId="{C159D28A-5595-4CB6-95BE-020F44CD3A10}" srcOrd="2" destOrd="0" parTransId="{47EC5855-EE10-482B-A9C6-9C81AF58846F}" sibTransId="{32C25351-6D31-41BA-AE2E-84ED2462ACCB}"/>
    <dgm:cxn modelId="{234D2B26-C88E-48CC-BCF0-8B5D900F2EF4}" srcId="{03DD4254-35C8-4629-A7AE-A13B189C0335}" destId="{CAF03071-557F-40D0-954A-A7693E587326}" srcOrd="1" destOrd="0" parTransId="{C6AA9615-0421-4BD2-BEA7-9D196C07CC65}" sibTransId="{5466CE14-37F3-4B52-8879-3D54AABE276B}"/>
    <dgm:cxn modelId="{0F3D262C-27D7-400B-A93D-16E23B455016}" type="presOf" srcId="{5AE80FA0-A4F3-4596-87D0-DF1D95D0990D}" destId="{44DA5751-0BF2-445E-9CCE-13E1CCE9691F}" srcOrd="0" destOrd="3" presId="urn:microsoft.com/office/officeart/2008/layout/PictureStrips"/>
    <dgm:cxn modelId="{BB4A482F-06A4-4EE7-83AE-7255BA06CF79}" type="presOf" srcId="{601CA0AE-F7D2-4494-9FA1-4D85B78DF5B2}" destId="{F52FD59C-7EC7-439C-807A-54F12692D68D}" srcOrd="0" destOrd="1" presId="urn:microsoft.com/office/officeart/2008/layout/PictureStrips"/>
    <dgm:cxn modelId="{A4C9F032-0EBC-43A9-AD45-B0E294612F80}" srcId="{03DD4254-35C8-4629-A7AE-A13B189C0335}" destId="{7C7043CC-DDCB-4101-80D0-ACC153D408A3}" srcOrd="0" destOrd="0" parTransId="{5EFC6912-0DF9-47BD-87CF-E85C2FCC7D0B}" sibTransId="{51773DAD-85C9-406D-85D0-340EAD9065F8}"/>
    <dgm:cxn modelId="{353B7335-1B90-482D-A67D-9778F8104E14}" type="presOf" srcId="{03DD4254-35C8-4629-A7AE-A13B189C0335}" destId="{44DA5751-0BF2-445E-9CCE-13E1CCE9691F}" srcOrd="0" destOrd="0" presId="urn:microsoft.com/office/officeart/2008/layout/PictureStrips"/>
    <dgm:cxn modelId="{9B5AC93C-0621-4010-AD02-784C8988F17D}" type="presOf" srcId="{1C2A9FF8-32CC-44FD-9F00-156C3472B4BE}" destId="{1D47FBF2-A732-4BF5-B118-100E0B8A9DEE}" srcOrd="0" destOrd="0" presId="urn:microsoft.com/office/officeart/2008/layout/PictureStrips"/>
    <dgm:cxn modelId="{10910059-585E-454C-BC1A-9863D110B572}" type="presOf" srcId="{7C7043CC-DDCB-4101-80D0-ACC153D408A3}" destId="{44DA5751-0BF2-445E-9CCE-13E1CCE9691F}" srcOrd="0" destOrd="1" presId="urn:microsoft.com/office/officeart/2008/layout/PictureStrips"/>
    <dgm:cxn modelId="{30CF3E5A-8F9C-432E-A211-3D74BF7BFD0A}" srcId="{DE5AA97F-4D0A-43DB-9D59-1AC9A6011325}" destId="{11A50463-DF25-458C-BA57-AFCFDF7B3B80}" srcOrd="0" destOrd="0" parTransId="{0F9E54B9-A1E8-4784-A985-B185B1C790EA}" sibTransId="{3809252B-CC6F-4EE7-B714-7A424EC10885}"/>
    <dgm:cxn modelId="{9377507C-0FC7-4C09-A07C-42C3B96D6670}" type="presOf" srcId="{8B8580A1-5337-4F77-B88C-B9DCD42D5F8E}" destId="{1D47FBF2-A732-4BF5-B118-100E0B8A9DEE}" srcOrd="0" destOrd="3" presId="urn:microsoft.com/office/officeart/2008/layout/PictureStrips"/>
    <dgm:cxn modelId="{6CE5A281-7B82-40BB-AD04-AFF6ADFEEEE3}" srcId="{DE5AA97F-4D0A-43DB-9D59-1AC9A6011325}" destId="{1C2A9FF8-32CC-44FD-9F00-156C3472B4BE}" srcOrd="1" destOrd="0" parTransId="{AC4D32E6-E40A-4CF3-A69B-1DA48C0BE6F7}" sibTransId="{B334F4E0-C9A5-43BB-9928-6EA94018DF0E}"/>
    <dgm:cxn modelId="{9C253F82-589B-4F29-BDDC-FEB516BA779B}" srcId="{1C2A9FF8-32CC-44FD-9F00-156C3472B4BE}" destId="{01E099F8-3CAA-4BC6-B442-880F4CA3E5E1}" srcOrd="0" destOrd="0" parTransId="{5259BED4-17ED-47FA-9F15-5D3DB8DEC33A}" sibTransId="{230A9A5F-D287-44D1-BF4B-2EF3497AFC55}"/>
    <dgm:cxn modelId="{2F80C688-B11C-4A9F-A6FE-B29C1173D938}" type="presOf" srcId="{62EF9149-2AC2-48F6-BFA5-D504780FC963}" destId="{1D47FBF2-A732-4BF5-B118-100E0B8A9DEE}" srcOrd="0" destOrd="2" presId="urn:microsoft.com/office/officeart/2008/layout/PictureStrips"/>
    <dgm:cxn modelId="{5206048A-75D5-43FB-990E-3847F7A53E51}" srcId="{1C2A9FF8-32CC-44FD-9F00-156C3472B4BE}" destId="{8B8580A1-5337-4F77-B88C-B9DCD42D5F8E}" srcOrd="2" destOrd="0" parTransId="{07A1B60F-6FE6-443C-A9F1-C64E9BA67C28}" sibTransId="{1631B882-6AE6-4353-8616-775636DD998E}"/>
    <dgm:cxn modelId="{149A0E93-0F0D-4FB1-9FAD-7AA05C71CAFE}" type="presOf" srcId="{C402D8EF-CC79-4A6B-A900-D7C5074DC17A}" destId="{44DA5751-0BF2-445E-9CCE-13E1CCE9691F}" srcOrd="0" destOrd="4" presId="urn:microsoft.com/office/officeart/2008/layout/PictureStrips"/>
    <dgm:cxn modelId="{DEEAFE93-9511-4EAC-9DB4-8568B3AF9480}" type="presOf" srcId="{733F9CBE-0B72-4D6B-92DA-0122E82E6A6D}" destId="{F52FD59C-7EC7-439C-807A-54F12692D68D}" srcOrd="0" destOrd="2" presId="urn:microsoft.com/office/officeart/2008/layout/PictureStrips"/>
    <dgm:cxn modelId="{5B5DB896-5A63-4259-A6D1-169E2D204F61}" srcId="{1C2A9FF8-32CC-44FD-9F00-156C3472B4BE}" destId="{62EF9149-2AC2-48F6-BFA5-D504780FC963}" srcOrd="1" destOrd="0" parTransId="{BC6D5A71-3499-4ADC-91B4-C599551F517A}" sibTransId="{4637FCF1-733D-4DAF-97CE-50637C2642ED}"/>
    <dgm:cxn modelId="{A7B855B8-1E5F-4CD0-8E8A-B65A175F1222}" srcId="{DE5AA97F-4D0A-43DB-9D59-1AC9A6011325}" destId="{03DD4254-35C8-4629-A7AE-A13B189C0335}" srcOrd="2" destOrd="0" parTransId="{7A33F0DA-BCAD-455E-8553-DA4622F9D85B}" sibTransId="{CBD0CFFC-3776-4381-9DD5-F993E4C472DD}"/>
    <dgm:cxn modelId="{8BE01DBE-4679-4AEA-9E62-1C804A3B7029}" srcId="{11A50463-DF25-458C-BA57-AFCFDF7B3B80}" destId="{601CA0AE-F7D2-4494-9FA1-4D85B78DF5B2}" srcOrd="0" destOrd="0" parTransId="{8A84F703-448F-4BEF-A67D-92FB74FDB8D6}" sibTransId="{67E7476B-8EAA-41F5-B7D1-566B826CF6A1}"/>
    <dgm:cxn modelId="{074DB5C0-2EF9-4FA7-99C4-20FCA48E0961}" srcId="{03DD4254-35C8-4629-A7AE-A13B189C0335}" destId="{5AE80FA0-A4F3-4596-87D0-DF1D95D0990D}" srcOrd="2" destOrd="0" parTransId="{4410D349-D148-4657-800D-3BE3BB507F10}" sibTransId="{6C82FDDE-3073-4919-A2D0-004994E65522}"/>
    <dgm:cxn modelId="{0632BFC7-6700-4357-A43C-1281F5933635}" type="presOf" srcId="{DE5AA97F-4D0A-43DB-9D59-1AC9A6011325}" destId="{E38CFFF9-B28A-41B1-BEE4-1B841A8D4FDF}" srcOrd="0" destOrd="0" presId="urn:microsoft.com/office/officeart/2008/layout/PictureStrips"/>
    <dgm:cxn modelId="{E8A522E3-5B97-4370-B5B2-06490F7961DB}" srcId="{11A50463-DF25-458C-BA57-AFCFDF7B3B80}" destId="{733F9CBE-0B72-4D6B-92DA-0122E82E6A6D}" srcOrd="1" destOrd="0" parTransId="{D9E5CF5F-B672-47C2-9974-625B7309BC67}" sibTransId="{9BDA02EC-4C3D-4194-8B57-D0795627F55C}"/>
    <dgm:cxn modelId="{1462AEEC-951B-4B0B-B465-95403A69A034}" srcId="{03DD4254-35C8-4629-A7AE-A13B189C0335}" destId="{C402D8EF-CC79-4A6B-A900-D7C5074DC17A}" srcOrd="3" destOrd="0" parTransId="{F9BDF49A-25BA-4760-BCAC-B3985407B965}" sibTransId="{16668878-24C1-4F00-BC9C-C5B89B1B3B4F}"/>
    <dgm:cxn modelId="{AB4BBAED-0D87-49ED-B244-D179B7ADE96E}" type="presOf" srcId="{01E099F8-3CAA-4BC6-B442-880F4CA3E5E1}" destId="{1D47FBF2-A732-4BF5-B118-100E0B8A9DEE}" srcOrd="0" destOrd="1" presId="urn:microsoft.com/office/officeart/2008/layout/PictureStrips"/>
    <dgm:cxn modelId="{66A7FDF5-FFB2-4D23-8053-506A3FCCB8C2}" type="presOf" srcId="{11A50463-DF25-458C-BA57-AFCFDF7B3B80}" destId="{F52FD59C-7EC7-439C-807A-54F12692D68D}" srcOrd="0" destOrd="0" presId="urn:microsoft.com/office/officeart/2008/layout/PictureStrips"/>
    <dgm:cxn modelId="{E0578F34-A025-4FAE-8D7C-58DE98F9AE58}" type="presParOf" srcId="{E38CFFF9-B28A-41B1-BEE4-1B841A8D4FDF}" destId="{6EC22030-AC28-453F-BADC-43DEB9D9EE3F}" srcOrd="0" destOrd="0" presId="urn:microsoft.com/office/officeart/2008/layout/PictureStrips"/>
    <dgm:cxn modelId="{C8197D90-9322-42F8-8DB7-2412174A196B}" type="presParOf" srcId="{6EC22030-AC28-453F-BADC-43DEB9D9EE3F}" destId="{F52FD59C-7EC7-439C-807A-54F12692D68D}" srcOrd="0" destOrd="0" presId="urn:microsoft.com/office/officeart/2008/layout/PictureStrips"/>
    <dgm:cxn modelId="{AFBE88C8-23EA-4630-B03D-E2B1CD677FB8}" type="presParOf" srcId="{6EC22030-AC28-453F-BADC-43DEB9D9EE3F}" destId="{EB51F41C-F1D6-4355-B198-5F4E0839527B}" srcOrd="1" destOrd="0" presId="urn:microsoft.com/office/officeart/2008/layout/PictureStrips"/>
    <dgm:cxn modelId="{E213ECC4-EF03-4527-8C37-A15215700BA2}" type="presParOf" srcId="{E38CFFF9-B28A-41B1-BEE4-1B841A8D4FDF}" destId="{86B00105-9035-4738-826B-982CE137441D}" srcOrd="1" destOrd="0" presId="urn:microsoft.com/office/officeart/2008/layout/PictureStrips"/>
    <dgm:cxn modelId="{FDB7F742-F0BE-4054-9D0B-17E847552ECF}" type="presParOf" srcId="{E38CFFF9-B28A-41B1-BEE4-1B841A8D4FDF}" destId="{B2D37DB7-C5B6-469E-AABC-17E1F4D54724}" srcOrd="2" destOrd="0" presId="urn:microsoft.com/office/officeart/2008/layout/PictureStrips"/>
    <dgm:cxn modelId="{5983B78F-2764-4E4A-ABAA-84DAB39D9100}" type="presParOf" srcId="{B2D37DB7-C5B6-469E-AABC-17E1F4D54724}" destId="{1D47FBF2-A732-4BF5-B118-100E0B8A9DEE}" srcOrd="0" destOrd="0" presId="urn:microsoft.com/office/officeart/2008/layout/PictureStrips"/>
    <dgm:cxn modelId="{4DD6B98B-5B11-4579-AC26-5E7DEED87E63}" type="presParOf" srcId="{B2D37DB7-C5B6-469E-AABC-17E1F4D54724}" destId="{A43EF1A6-E7B4-42BC-BD23-34B7C3518B39}" srcOrd="1" destOrd="0" presId="urn:microsoft.com/office/officeart/2008/layout/PictureStrips"/>
    <dgm:cxn modelId="{DBC3B343-A17F-465D-B39B-64EAF53381B0}" type="presParOf" srcId="{E38CFFF9-B28A-41B1-BEE4-1B841A8D4FDF}" destId="{059B0AAA-B3DA-4CCE-9106-489DD0D1FA30}" srcOrd="3" destOrd="0" presId="urn:microsoft.com/office/officeart/2008/layout/PictureStrips"/>
    <dgm:cxn modelId="{40E8A705-ABB2-4E7F-9E00-A226C6F18379}" type="presParOf" srcId="{E38CFFF9-B28A-41B1-BEE4-1B841A8D4FDF}" destId="{10487FDF-9B5B-4E1A-A240-B131638E8946}" srcOrd="4" destOrd="0" presId="urn:microsoft.com/office/officeart/2008/layout/PictureStrips"/>
    <dgm:cxn modelId="{1087BAFE-CD74-4CA7-9413-06A79BFE7774}" type="presParOf" srcId="{10487FDF-9B5B-4E1A-A240-B131638E8946}" destId="{44DA5751-0BF2-445E-9CCE-13E1CCE9691F}" srcOrd="0" destOrd="0" presId="urn:microsoft.com/office/officeart/2008/layout/PictureStrips"/>
    <dgm:cxn modelId="{029BAA71-006B-4B91-A29E-08EE0F459587}" type="presParOf" srcId="{10487FDF-9B5B-4E1A-A240-B131638E8946}" destId="{C65821D6-9191-48FA-A915-FC43ADC4B738}"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B65334C2-019F-4462-B939-5DDDCB78DBBB}" type="doc">
      <dgm:prSet loTypeId="urn:microsoft.com/office/officeart/2005/8/layout/process4" loCatId="list" qsTypeId="urn:microsoft.com/office/officeart/2005/8/quickstyle/simple1" qsCatId="simple" csTypeId="urn:microsoft.com/office/officeart/2005/8/colors/accent0_3" csCatId="mainScheme" phldr="1"/>
      <dgm:spPr/>
      <dgm:t>
        <a:bodyPr/>
        <a:lstStyle/>
        <a:p>
          <a:endParaRPr lang="es-ES"/>
        </a:p>
      </dgm:t>
    </dgm:pt>
    <dgm:pt modelId="{68D38185-9739-4ABD-BEA8-03CA71D3C920}">
      <dgm:prSet phldrT="[Texto]"/>
      <dgm:spPr/>
      <dgm:t>
        <a:bodyPr/>
        <a:lstStyle/>
        <a:p>
          <a:r>
            <a:rPr lang="es-ES_tradnl" dirty="0"/>
            <a:t>Conjunto de</a:t>
          </a:r>
          <a:r>
            <a:rPr lang="it-IT" dirty="0"/>
            <a:t> polí</a:t>
          </a:r>
          <a:r>
            <a:rPr lang="es-ES_tradnl" dirty="0"/>
            <a:t>ticas, procesos y roles</a:t>
          </a:r>
          <a:r>
            <a:rPr lang="it-IT" dirty="0"/>
            <a:t> </a:t>
          </a:r>
          <a:r>
            <a:rPr lang="es-ES_tradnl" dirty="0"/>
            <a:t>que rigen la gestió</a:t>
          </a:r>
          <a:r>
            <a:rPr lang="pt-PT" dirty="0"/>
            <a:t>n de datos.</a:t>
          </a:r>
          <a:endParaRPr lang="es-ES" dirty="0"/>
        </a:p>
      </dgm:t>
    </dgm:pt>
    <dgm:pt modelId="{BE3F1C06-762A-4B94-8013-3A5EC316D625}" type="parTrans" cxnId="{AA1064FA-0B22-4CA6-B024-0EBA63070C08}">
      <dgm:prSet/>
      <dgm:spPr/>
      <dgm:t>
        <a:bodyPr/>
        <a:lstStyle/>
        <a:p>
          <a:endParaRPr lang="es-ES"/>
        </a:p>
      </dgm:t>
    </dgm:pt>
    <dgm:pt modelId="{6421E507-220F-4EBF-879C-711CFB7829A2}" type="sibTrans" cxnId="{AA1064FA-0B22-4CA6-B024-0EBA63070C08}">
      <dgm:prSet/>
      <dgm:spPr/>
      <dgm:t>
        <a:bodyPr/>
        <a:lstStyle/>
        <a:p>
          <a:endParaRPr lang="es-ES"/>
        </a:p>
      </dgm:t>
    </dgm:pt>
    <dgm:pt modelId="{2A97DC84-FB7F-40B9-AA2D-F76F52CD0A1A}">
      <dgm:prSet/>
      <dgm:spPr/>
      <dgm:t>
        <a:bodyPr/>
        <a:lstStyle/>
        <a:p>
          <a:r>
            <a:rPr lang="es-ES_tradnl" dirty="0"/>
            <a:t>Un marco para garantizar que los datos sean</a:t>
          </a:r>
          <a:r>
            <a:rPr lang="it-IT"/>
            <a:t> </a:t>
          </a:r>
          <a:r>
            <a:rPr lang="es-ES_tradnl" dirty="0"/>
            <a:t>fiables, accesibles, seguros y </a:t>
          </a:r>
          <a:r>
            <a:rPr lang="it-IT"/>
            <a:t>ú</a:t>
          </a:r>
          <a:r>
            <a:rPr lang="pt-PT"/>
            <a:t>tiles.</a:t>
          </a:r>
          <a:endParaRPr lang="es-ES" dirty="0"/>
        </a:p>
      </dgm:t>
    </dgm:pt>
    <dgm:pt modelId="{F24F9950-177B-4428-9D26-754E0386A137}" type="parTrans" cxnId="{D31C9AEA-8E82-4292-873D-007576561E02}">
      <dgm:prSet/>
      <dgm:spPr/>
      <dgm:t>
        <a:bodyPr/>
        <a:lstStyle/>
        <a:p>
          <a:endParaRPr lang="es-ES"/>
        </a:p>
      </dgm:t>
    </dgm:pt>
    <dgm:pt modelId="{C3182BBE-33DA-48F6-85CB-A787AFC1BE88}" type="sibTrans" cxnId="{D31C9AEA-8E82-4292-873D-007576561E02}">
      <dgm:prSet/>
      <dgm:spPr/>
      <dgm:t>
        <a:bodyPr/>
        <a:lstStyle/>
        <a:p>
          <a:endParaRPr lang="es-ES"/>
        </a:p>
      </dgm:t>
    </dgm:pt>
    <dgm:pt modelId="{6065ABD9-932A-4434-B0F7-815C21761C2D}">
      <dgm:prSet/>
      <dgm:spPr/>
      <dgm:t>
        <a:bodyPr/>
        <a:lstStyle/>
        <a:p>
          <a:r>
            <a:rPr lang="es-ES_tradnl" dirty="0"/>
            <a:t>Alinear los datos con los objetivos estrat</a:t>
          </a:r>
          <a:r>
            <a:rPr lang="fr-FR" dirty="0"/>
            <a:t>é</a:t>
          </a:r>
          <a:r>
            <a:rPr lang="pt-PT" dirty="0"/>
            <a:t>gicos</a:t>
          </a:r>
          <a:r>
            <a:rPr lang="it-IT" dirty="0"/>
            <a:t> </a:t>
          </a:r>
          <a:r>
            <a:rPr lang="es-ES_tradnl" dirty="0"/>
            <a:t>de la organizació</a:t>
          </a:r>
          <a:r>
            <a:rPr lang="it-IT" dirty="0"/>
            <a:t>n.</a:t>
          </a:r>
          <a:endParaRPr lang="es-ES" dirty="0"/>
        </a:p>
      </dgm:t>
    </dgm:pt>
    <dgm:pt modelId="{180B2A21-890A-4295-B0B4-920DEDFA18F2}" type="parTrans" cxnId="{417EE6B6-EBC7-4E41-B34E-5ACD7E82D840}">
      <dgm:prSet/>
      <dgm:spPr/>
      <dgm:t>
        <a:bodyPr/>
        <a:lstStyle/>
        <a:p>
          <a:endParaRPr lang="es-ES"/>
        </a:p>
      </dgm:t>
    </dgm:pt>
    <dgm:pt modelId="{BAA3169E-5683-4DDE-BA07-728C0FA0A60F}" type="sibTrans" cxnId="{417EE6B6-EBC7-4E41-B34E-5ACD7E82D840}">
      <dgm:prSet/>
      <dgm:spPr/>
      <dgm:t>
        <a:bodyPr/>
        <a:lstStyle/>
        <a:p>
          <a:endParaRPr lang="es-ES"/>
        </a:p>
      </dgm:t>
    </dgm:pt>
    <dgm:pt modelId="{019A83C2-F4CB-4C7C-8680-24DF6EA5370F}">
      <dgm:prSet/>
      <dgm:spPr/>
      <dgm:t>
        <a:bodyPr/>
        <a:lstStyle/>
        <a:p>
          <a:r>
            <a:rPr lang="es-ES" dirty="0"/>
            <a:t>Controlar todos los datos que entran, qus salen, quién los altera, quién los usa.</a:t>
          </a:r>
        </a:p>
      </dgm:t>
    </dgm:pt>
    <dgm:pt modelId="{3DD56B8B-646E-49FD-B6D5-84E7456CDFAF}" type="parTrans" cxnId="{A366F9AA-36DC-4DB7-9E78-DD34B4BF5622}">
      <dgm:prSet/>
      <dgm:spPr/>
      <dgm:t>
        <a:bodyPr/>
        <a:lstStyle/>
        <a:p>
          <a:endParaRPr lang="es-ES"/>
        </a:p>
      </dgm:t>
    </dgm:pt>
    <dgm:pt modelId="{28CCC978-8D88-408A-A93F-14695C8BBD0E}" type="sibTrans" cxnId="{A366F9AA-36DC-4DB7-9E78-DD34B4BF5622}">
      <dgm:prSet/>
      <dgm:spPr/>
      <dgm:t>
        <a:bodyPr/>
        <a:lstStyle/>
        <a:p>
          <a:endParaRPr lang="es-ES"/>
        </a:p>
      </dgm:t>
    </dgm:pt>
    <dgm:pt modelId="{A14F9E2C-7AF0-4999-9CE6-D373B3D744C5}">
      <dgm:prSet/>
      <dgm:spPr/>
      <dgm:t>
        <a:bodyPr/>
        <a:lstStyle/>
        <a:p>
          <a:r>
            <a:rPr lang="es-ES_tradnl" dirty="0"/>
            <a:t>El gobierno del dato no es solo tecnología</a:t>
          </a:r>
          <a:r>
            <a:rPr lang="it-IT" dirty="0"/>
            <a:t>, </a:t>
          </a:r>
          <a:r>
            <a:rPr lang="es-ES_tradnl" dirty="0"/>
            <a:t>sino tambi</a:t>
          </a:r>
          <a:r>
            <a:rPr lang="fr-FR" dirty="0"/>
            <a:t>é</a:t>
          </a:r>
          <a:r>
            <a:rPr lang="es-ES_tradnl" dirty="0"/>
            <a:t>n de personas y procesos.</a:t>
          </a:r>
          <a:endParaRPr lang="es-ES" dirty="0"/>
        </a:p>
      </dgm:t>
    </dgm:pt>
    <dgm:pt modelId="{935AA3E6-E07D-48E9-A41C-82FDA61CB88D}" type="parTrans" cxnId="{4D91B905-8661-496D-A205-2937268FC845}">
      <dgm:prSet/>
      <dgm:spPr/>
      <dgm:t>
        <a:bodyPr/>
        <a:lstStyle/>
        <a:p>
          <a:endParaRPr lang="es-ES"/>
        </a:p>
      </dgm:t>
    </dgm:pt>
    <dgm:pt modelId="{851B6B4F-2650-482D-8ED6-FE467C3C6777}" type="sibTrans" cxnId="{4D91B905-8661-496D-A205-2937268FC845}">
      <dgm:prSet/>
      <dgm:spPr/>
      <dgm:t>
        <a:bodyPr/>
        <a:lstStyle/>
        <a:p>
          <a:endParaRPr lang="es-ES"/>
        </a:p>
      </dgm:t>
    </dgm:pt>
    <dgm:pt modelId="{7D6815DE-A3D0-4867-8CAF-AC8790ECF344}">
      <dgm:prSet/>
      <dgm:spPr/>
      <dgm:t>
        <a:bodyPr/>
        <a:lstStyle/>
        <a:p>
          <a:r>
            <a:rPr lang="es-ES_tradnl" dirty="0"/>
            <a:t>Contar con el apoyo de la alta dirección</a:t>
          </a:r>
          <a:endParaRPr lang="es-ES" dirty="0"/>
        </a:p>
      </dgm:t>
    </dgm:pt>
    <dgm:pt modelId="{66583E43-F530-4A1E-94FD-AB50D366CDD3}" type="parTrans" cxnId="{31CAED15-3B3E-443B-8941-659C0EECBE0B}">
      <dgm:prSet/>
      <dgm:spPr/>
      <dgm:t>
        <a:bodyPr/>
        <a:lstStyle/>
        <a:p>
          <a:endParaRPr lang="es-ES"/>
        </a:p>
      </dgm:t>
    </dgm:pt>
    <dgm:pt modelId="{3472E267-E103-454D-9A7E-CB7F68A9E558}" type="sibTrans" cxnId="{31CAED15-3B3E-443B-8941-659C0EECBE0B}">
      <dgm:prSet/>
      <dgm:spPr/>
      <dgm:t>
        <a:bodyPr/>
        <a:lstStyle/>
        <a:p>
          <a:endParaRPr lang="es-ES"/>
        </a:p>
      </dgm:t>
    </dgm:pt>
    <dgm:pt modelId="{E0E46116-5C38-43FE-B3FE-219BA23710E8}">
      <dgm:prSet/>
      <dgm:spPr/>
      <dgm:t>
        <a:bodyPr/>
        <a:lstStyle/>
        <a:p>
          <a:r>
            <a:rPr lang="es-ES_tradnl" dirty="0"/>
            <a:t>El gobierno del dato debe ser flexible y adaptable para poder evolucionar con las necesidades de la organizació</a:t>
          </a:r>
          <a:r>
            <a:rPr lang="it-IT" dirty="0"/>
            <a:t>n.</a:t>
          </a:r>
          <a:endParaRPr lang="es-ES" dirty="0"/>
        </a:p>
      </dgm:t>
    </dgm:pt>
    <dgm:pt modelId="{61F0FD01-CCC7-46E9-87D0-22D406B3C706}" type="parTrans" cxnId="{CCD19942-BCC3-4652-A878-5BCBAA60EC79}">
      <dgm:prSet/>
      <dgm:spPr/>
      <dgm:t>
        <a:bodyPr/>
        <a:lstStyle/>
        <a:p>
          <a:endParaRPr lang="es-ES"/>
        </a:p>
      </dgm:t>
    </dgm:pt>
    <dgm:pt modelId="{181E61AA-38B4-41FD-B80D-37DF562EFA50}" type="sibTrans" cxnId="{CCD19942-BCC3-4652-A878-5BCBAA60EC79}">
      <dgm:prSet/>
      <dgm:spPr/>
      <dgm:t>
        <a:bodyPr/>
        <a:lstStyle/>
        <a:p>
          <a:endParaRPr lang="es-ES"/>
        </a:p>
      </dgm:t>
    </dgm:pt>
    <dgm:pt modelId="{B67FACE8-1EFD-408B-9824-771D200316B6}" type="pres">
      <dgm:prSet presAssocID="{B65334C2-019F-4462-B939-5DDDCB78DBBB}" presName="Name0" presStyleCnt="0">
        <dgm:presLayoutVars>
          <dgm:dir/>
          <dgm:animLvl val="lvl"/>
          <dgm:resizeHandles val="exact"/>
        </dgm:presLayoutVars>
      </dgm:prSet>
      <dgm:spPr/>
    </dgm:pt>
    <dgm:pt modelId="{C7094C61-6CC9-4CCD-BC0B-937C723C3212}" type="pres">
      <dgm:prSet presAssocID="{E0E46116-5C38-43FE-B3FE-219BA23710E8}" presName="boxAndChildren" presStyleCnt="0"/>
      <dgm:spPr/>
    </dgm:pt>
    <dgm:pt modelId="{558DA7B9-9221-493A-A16A-FC3A17091B00}" type="pres">
      <dgm:prSet presAssocID="{E0E46116-5C38-43FE-B3FE-219BA23710E8}" presName="parentTextBox" presStyleLbl="node1" presStyleIdx="0" presStyleCnt="7"/>
      <dgm:spPr/>
    </dgm:pt>
    <dgm:pt modelId="{5143F02E-536B-4381-A65A-2C02A0ED9996}" type="pres">
      <dgm:prSet presAssocID="{3472E267-E103-454D-9A7E-CB7F68A9E558}" presName="sp" presStyleCnt="0"/>
      <dgm:spPr/>
    </dgm:pt>
    <dgm:pt modelId="{41CE9529-2662-45EF-8795-BF9C13971148}" type="pres">
      <dgm:prSet presAssocID="{7D6815DE-A3D0-4867-8CAF-AC8790ECF344}" presName="arrowAndChildren" presStyleCnt="0"/>
      <dgm:spPr/>
    </dgm:pt>
    <dgm:pt modelId="{B80FE12E-7C8B-4019-8F66-7ED3B5F7F10A}" type="pres">
      <dgm:prSet presAssocID="{7D6815DE-A3D0-4867-8CAF-AC8790ECF344}" presName="parentTextArrow" presStyleLbl="node1" presStyleIdx="1" presStyleCnt="7"/>
      <dgm:spPr/>
    </dgm:pt>
    <dgm:pt modelId="{E0AFD221-FF5D-46DF-9483-ED78D5876390}" type="pres">
      <dgm:prSet presAssocID="{851B6B4F-2650-482D-8ED6-FE467C3C6777}" presName="sp" presStyleCnt="0"/>
      <dgm:spPr/>
    </dgm:pt>
    <dgm:pt modelId="{B077AAA0-5759-4CE5-BDC3-DBD30EA94E99}" type="pres">
      <dgm:prSet presAssocID="{A14F9E2C-7AF0-4999-9CE6-D373B3D744C5}" presName="arrowAndChildren" presStyleCnt="0"/>
      <dgm:spPr/>
    </dgm:pt>
    <dgm:pt modelId="{A455BB3E-5F9E-4950-89FA-5C5CD96690C8}" type="pres">
      <dgm:prSet presAssocID="{A14F9E2C-7AF0-4999-9CE6-D373B3D744C5}" presName="parentTextArrow" presStyleLbl="node1" presStyleIdx="2" presStyleCnt="7"/>
      <dgm:spPr/>
    </dgm:pt>
    <dgm:pt modelId="{E4067B73-4F54-4A0A-93F1-432E9AEC94DB}" type="pres">
      <dgm:prSet presAssocID="{28CCC978-8D88-408A-A93F-14695C8BBD0E}" presName="sp" presStyleCnt="0"/>
      <dgm:spPr/>
    </dgm:pt>
    <dgm:pt modelId="{415294F2-3482-4352-9A2B-72CD81538A18}" type="pres">
      <dgm:prSet presAssocID="{019A83C2-F4CB-4C7C-8680-24DF6EA5370F}" presName="arrowAndChildren" presStyleCnt="0"/>
      <dgm:spPr/>
    </dgm:pt>
    <dgm:pt modelId="{DEBBA9F8-17CA-4D45-B629-95FC88AC651E}" type="pres">
      <dgm:prSet presAssocID="{019A83C2-F4CB-4C7C-8680-24DF6EA5370F}" presName="parentTextArrow" presStyleLbl="node1" presStyleIdx="3" presStyleCnt="7"/>
      <dgm:spPr/>
    </dgm:pt>
    <dgm:pt modelId="{1702353A-D4E1-481C-9BA5-59BC3F12B0A7}" type="pres">
      <dgm:prSet presAssocID="{BAA3169E-5683-4DDE-BA07-728C0FA0A60F}" presName="sp" presStyleCnt="0"/>
      <dgm:spPr/>
    </dgm:pt>
    <dgm:pt modelId="{72DFE49C-B4E9-4E43-95FF-5731DC36FCAC}" type="pres">
      <dgm:prSet presAssocID="{6065ABD9-932A-4434-B0F7-815C21761C2D}" presName="arrowAndChildren" presStyleCnt="0"/>
      <dgm:spPr/>
    </dgm:pt>
    <dgm:pt modelId="{0B0CC049-CB1B-495E-B2E6-04C2853D1490}" type="pres">
      <dgm:prSet presAssocID="{6065ABD9-932A-4434-B0F7-815C21761C2D}" presName="parentTextArrow" presStyleLbl="node1" presStyleIdx="4" presStyleCnt="7"/>
      <dgm:spPr/>
    </dgm:pt>
    <dgm:pt modelId="{C33DC235-D0FB-4462-A2FC-3D265FBE2A88}" type="pres">
      <dgm:prSet presAssocID="{C3182BBE-33DA-48F6-85CB-A787AFC1BE88}" presName="sp" presStyleCnt="0"/>
      <dgm:spPr/>
    </dgm:pt>
    <dgm:pt modelId="{963B306D-06CF-4EB4-8F49-54704985A608}" type="pres">
      <dgm:prSet presAssocID="{2A97DC84-FB7F-40B9-AA2D-F76F52CD0A1A}" presName="arrowAndChildren" presStyleCnt="0"/>
      <dgm:spPr/>
    </dgm:pt>
    <dgm:pt modelId="{B5C4098F-4E96-48BC-A961-BB21552674AA}" type="pres">
      <dgm:prSet presAssocID="{2A97DC84-FB7F-40B9-AA2D-F76F52CD0A1A}" presName="parentTextArrow" presStyleLbl="node1" presStyleIdx="5" presStyleCnt="7"/>
      <dgm:spPr/>
    </dgm:pt>
    <dgm:pt modelId="{5E9EB0E6-E29B-470E-BF74-3C9DFC3D4FEF}" type="pres">
      <dgm:prSet presAssocID="{6421E507-220F-4EBF-879C-711CFB7829A2}" presName="sp" presStyleCnt="0"/>
      <dgm:spPr/>
    </dgm:pt>
    <dgm:pt modelId="{45A2493E-6382-481A-B332-F2EDCA2D8F79}" type="pres">
      <dgm:prSet presAssocID="{68D38185-9739-4ABD-BEA8-03CA71D3C920}" presName="arrowAndChildren" presStyleCnt="0"/>
      <dgm:spPr/>
    </dgm:pt>
    <dgm:pt modelId="{F4AF63BD-5C52-4DDF-9720-C8AF6147C02B}" type="pres">
      <dgm:prSet presAssocID="{68D38185-9739-4ABD-BEA8-03CA71D3C920}" presName="parentTextArrow" presStyleLbl="node1" presStyleIdx="6" presStyleCnt="7"/>
      <dgm:spPr/>
    </dgm:pt>
  </dgm:ptLst>
  <dgm:cxnLst>
    <dgm:cxn modelId="{4D91B905-8661-496D-A205-2937268FC845}" srcId="{B65334C2-019F-4462-B939-5DDDCB78DBBB}" destId="{A14F9E2C-7AF0-4999-9CE6-D373B3D744C5}" srcOrd="4" destOrd="0" parTransId="{935AA3E6-E07D-48E9-A41C-82FDA61CB88D}" sibTransId="{851B6B4F-2650-482D-8ED6-FE467C3C6777}"/>
    <dgm:cxn modelId="{0838C508-48B5-4B6F-A890-E8D6C182C3A1}" type="presOf" srcId="{E0E46116-5C38-43FE-B3FE-219BA23710E8}" destId="{558DA7B9-9221-493A-A16A-FC3A17091B00}" srcOrd="0" destOrd="0" presId="urn:microsoft.com/office/officeart/2005/8/layout/process4"/>
    <dgm:cxn modelId="{31CAED15-3B3E-443B-8941-659C0EECBE0B}" srcId="{B65334C2-019F-4462-B939-5DDDCB78DBBB}" destId="{7D6815DE-A3D0-4867-8CAF-AC8790ECF344}" srcOrd="5" destOrd="0" parTransId="{66583E43-F530-4A1E-94FD-AB50D366CDD3}" sibTransId="{3472E267-E103-454D-9A7E-CB7F68A9E558}"/>
    <dgm:cxn modelId="{CF176017-7AFB-42EC-90FC-926AC0CC4ACC}" type="presOf" srcId="{019A83C2-F4CB-4C7C-8680-24DF6EA5370F}" destId="{DEBBA9F8-17CA-4D45-B629-95FC88AC651E}" srcOrd="0" destOrd="0" presId="urn:microsoft.com/office/officeart/2005/8/layout/process4"/>
    <dgm:cxn modelId="{262CF635-8457-42E5-B3BB-E4240870F0A2}" type="presOf" srcId="{B65334C2-019F-4462-B939-5DDDCB78DBBB}" destId="{B67FACE8-1EFD-408B-9824-771D200316B6}" srcOrd="0" destOrd="0" presId="urn:microsoft.com/office/officeart/2005/8/layout/process4"/>
    <dgm:cxn modelId="{CCD19942-BCC3-4652-A878-5BCBAA60EC79}" srcId="{B65334C2-019F-4462-B939-5DDDCB78DBBB}" destId="{E0E46116-5C38-43FE-B3FE-219BA23710E8}" srcOrd="6" destOrd="0" parTransId="{61F0FD01-CCC7-46E9-87D0-22D406B3C706}" sibTransId="{181E61AA-38B4-41FD-B80D-37DF562EFA50}"/>
    <dgm:cxn modelId="{4C631880-423A-4EE8-A715-49B9E2022D28}" type="presOf" srcId="{6065ABD9-932A-4434-B0F7-815C21761C2D}" destId="{0B0CC049-CB1B-495E-B2E6-04C2853D1490}" srcOrd="0" destOrd="0" presId="urn:microsoft.com/office/officeart/2005/8/layout/process4"/>
    <dgm:cxn modelId="{8262399B-F94A-4944-8857-3742EE041214}" type="presOf" srcId="{68D38185-9739-4ABD-BEA8-03CA71D3C920}" destId="{F4AF63BD-5C52-4DDF-9720-C8AF6147C02B}" srcOrd="0" destOrd="0" presId="urn:microsoft.com/office/officeart/2005/8/layout/process4"/>
    <dgm:cxn modelId="{59BC5BA5-3E40-44E4-92B6-BDD186ED0BEA}" type="presOf" srcId="{2A97DC84-FB7F-40B9-AA2D-F76F52CD0A1A}" destId="{B5C4098F-4E96-48BC-A961-BB21552674AA}" srcOrd="0" destOrd="0" presId="urn:microsoft.com/office/officeart/2005/8/layout/process4"/>
    <dgm:cxn modelId="{A366F9AA-36DC-4DB7-9E78-DD34B4BF5622}" srcId="{B65334C2-019F-4462-B939-5DDDCB78DBBB}" destId="{019A83C2-F4CB-4C7C-8680-24DF6EA5370F}" srcOrd="3" destOrd="0" parTransId="{3DD56B8B-646E-49FD-B6D5-84E7456CDFAF}" sibTransId="{28CCC978-8D88-408A-A93F-14695C8BBD0E}"/>
    <dgm:cxn modelId="{417EE6B6-EBC7-4E41-B34E-5ACD7E82D840}" srcId="{B65334C2-019F-4462-B939-5DDDCB78DBBB}" destId="{6065ABD9-932A-4434-B0F7-815C21761C2D}" srcOrd="2" destOrd="0" parTransId="{180B2A21-890A-4295-B0B4-920DEDFA18F2}" sibTransId="{BAA3169E-5683-4DDE-BA07-728C0FA0A60F}"/>
    <dgm:cxn modelId="{3E07AAC1-7FC1-4782-8E10-9D959D94BCF6}" type="presOf" srcId="{7D6815DE-A3D0-4867-8CAF-AC8790ECF344}" destId="{B80FE12E-7C8B-4019-8F66-7ED3B5F7F10A}" srcOrd="0" destOrd="0" presId="urn:microsoft.com/office/officeart/2005/8/layout/process4"/>
    <dgm:cxn modelId="{3B97A0D7-2425-4528-9BD3-E2ACE2F54191}" type="presOf" srcId="{A14F9E2C-7AF0-4999-9CE6-D373B3D744C5}" destId="{A455BB3E-5F9E-4950-89FA-5C5CD96690C8}" srcOrd="0" destOrd="0" presId="urn:microsoft.com/office/officeart/2005/8/layout/process4"/>
    <dgm:cxn modelId="{D31C9AEA-8E82-4292-873D-007576561E02}" srcId="{B65334C2-019F-4462-B939-5DDDCB78DBBB}" destId="{2A97DC84-FB7F-40B9-AA2D-F76F52CD0A1A}" srcOrd="1" destOrd="0" parTransId="{F24F9950-177B-4428-9D26-754E0386A137}" sibTransId="{C3182BBE-33DA-48F6-85CB-A787AFC1BE88}"/>
    <dgm:cxn modelId="{AA1064FA-0B22-4CA6-B024-0EBA63070C08}" srcId="{B65334C2-019F-4462-B939-5DDDCB78DBBB}" destId="{68D38185-9739-4ABD-BEA8-03CA71D3C920}" srcOrd="0" destOrd="0" parTransId="{BE3F1C06-762A-4B94-8013-3A5EC316D625}" sibTransId="{6421E507-220F-4EBF-879C-711CFB7829A2}"/>
    <dgm:cxn modelId="{280B0897-FBD8-48DB-8A54-6DB0F0F9817D}" type="presParOf" srcId="{B67FACE8-1EFD-408B-9824-771D200316B6}" destId="{C7094C61-6CC9-4CCD-BC0B-937C723C3212}" srcOrd="0" destOrd="0" presId="urn:microsoft.com/office/officeart/2005/8/layout/process4"/>
    <dgm:cxn modelId="{D18026E9-AC72-4BFD-98A0-DA60FD68D400}" type="presParOf" srcId="{C7094C61-6CC9-4CCD-BC0B-937C723C3212}" destId="{558DA7B9-9221-493A-A16A-FC3A17091B00}" srcOrd="0" destOrd="0" presId="urn:microsoft.com/office/officeart/2005/8/layout/process4"/>
    <dgm:cxn modelId="{D5B57294-EBCA-4261-9F83-5E4302B04286}" type="presParOf" srcId="{B67FACE8-1EFD-408B-9824-771D200316B6}" destId="{5143F02E-536B-4381-A65A-2C02A0ED9996}" srcOrd="1" destOrd="0" presId="urn:microsoft.com/office/officeart/2005/8/layout/process4"/>
    <dgm:cxn modelId="{4695B488-9174-49AC-A184-383B961E5FD1}" type="presParOf" srcId="{B67FACE8-1EFD-408B-9824-771D200316B6}" destId="{41CE9529-2662-45EF-8795-BF9C13971148}" srcOrd="2" destOrd="0" presId="urn:microsoft.com/office/officeart/2005/8/layout/process4"/>
    <dgm:cxn modelId="{335673E6-AE58-4766-8ECC-B8206A9B8044}" type="presParOf" srcId="{41CE9529-2662-45EF-8795-BF9C13971148}" destId="{B80FE12E-7C8B-4019-8F66-7ED3B5F7F10A}" srcOrd="0" destOrd="0" presId="urn:microsoft.com/office/officeart/2005/8/layout/process4"/>
    <dgm:cxn modelId="{89CE9A58-6AED-4516-907D-B775C6A64894}" type="presParOf" srcId="{B67FACE8-1EFD-408B-9824-771D200316B6}" destId="{E0AFD221-FF5D-46DF-9483-ED78D5876390}" srcOrd="3" destOrd="0" presId="urn:microsoft.com/office/officeart/2005/8/layout/process4"/>
    <dgm:cxn modelId="{30097575-87DC-49E8-AC5C-708660EBD49A}" type="presParOf" srcId="{B67FACE8-1EFD-408B-9824-771D200316B6}" destId="{B077AAA0-5759-4CE5-BDC3-DBD30EA94E99}" srcOrd="4" destOrd="0" presId="urn:microsoft.com/office/officeart/2005/8/layout/process4"/>
    <dgm:cxn modelId="{41E0944E-F216-4460-96C2-B6069DCC2E17}" type="presParOf" srcId="{B077AAA0-5759-4CE5-BDC3-DBD30EA94E99}" destId="{A455BB3E-5F9E-4950-89FA-5C5CD96690C8}" srcOrd="0" destOrd="0" presId="urn:microsoft.com/office/officeart/2005/8/layout/process4"/>
    <dgm:cxn modelId="{3615285D-4B3A-4C07-AD24-CCA5664767C9}" type="presParOf" srcId="{B67FACE8-1EFD-408B-9824-771D200316B6}" destId="{E4067B73-4F54-4A0A-93F1-432E9AEC94DB}" srcOrd="5" destOrd="0" presId="urn:microsoft.com/office/officeart/2005/8/layout/process4"/>
    <dgm:cxn modelId="{C7FC84A2-C9ED-40F3-BCE0-FFAA540A9679}" type="presParOf" srcId="{B67FACE8-1EFD-408B-9824-771D200316B6}" destId="{415294F2-3482-4352-9A2B-72CD81538A18}" srcOrd="6" destOrd="0" presId="urn:microsoft.com/office/officeart/2005/8/layout/process4"/>
    <dgm:cxn modelId="{010CD9D7-0726-4E86-B857-EC0D69F8D102}" type="presParOf" srcId="{415294F2-3482-4352-9A2B-72CD81538A18}" destId="{DEBBA9F8-17CA-4D45-B629-95FC88AC651E}" srcOrd="0" destOrd="0" presId="urn:microsoft.com/office/officeart/2005/8/layout/process4"/>
    <dgm:cxn modelId="{C1D66047-48FE-4C91-BE70-899536586F37}" type="presParOf" srcId="{B67FACE8-1EFD-408B-9824-771D200316B6}" destId="{1702353A-D4E1-481C-9BA5-59BC3F12B0A7}" srcOrd="7" destOrd="0" presId="urn:microsoft.com/office/officeart/2005/8/layout/process4"/>
    <dgm:cxn modelId="{49AD9EBB-D5BF-44FD-A46C-72FDF9BE723A}" type="presParOf" srcId="{B67FACE8-1EFD-408B-9824-771D200316B6}" destId="{72DFE49C-B4E9-4E43-95FF-5731DC36FCAC}" srcOrd="8" destOrd="0" presId="urn:microsoft.com/office/officeart/2005/8/layout/process4"/>
    <dgm:cxn modelId="{F938ECF5-9B5B-49E4-9928-996CAF68DD36}" type="presParOf" srcId="{72DFE49C-B4E9-4E43-95FF-5731DC36FCAC}" destId="{0B0CC049-CB1B-495E-B2E6-04C2853D1490}" srcOrd="0" destOrd="0" presId="urn:microsoft.com/office/officeart/2005/8/layout/process4"/>
    <dgm:cxn modelId="{83185F81-F51E-42A4-8D01-0C0B4C3C4D67}" type="presParOf" srcId="{B67FACE8-1EFD-408B-9824-771D200316B6}" destId="{C33DC235-D0FB-4462-A2FC-3D265FBE2A88}" srcOrd="9" destOrd="0" presId="urn:microsoft.com/office/officeart/2005/8/layout/process4"/>
    <dgm:cxn modelId="{2AFDD274-A974-4348-8851-956015F81E06}" type="presParOf" srcId="{B67FACE8-1EFD-408B-9824-771D200316B6}" destId="{963B306D-06CF-4EB4-8F49-54704985A608}" srcOrd="10" destOrd="0" presId="urn:microsoft.com/office/officeart/2005/8/layout/process4"/>
    <dgm:cxn modelId="{D22CB818-2719-4E2C-B3BA-12FBE6821075}" type="presParOf" srcId="{963B306D-06CF-4EB4-8F49-54704985A608}" destId="{B5C4098F-4E96-48BC-A961-BB21552674AA}" srcOrd="0" destOrd="0" presId="urn:microsoft.com/office/officeart/2005/8/layout/process4"/>
    <dgm:cxn modelId="{5F599FE1-6FB3-43C4-802B-AD003ADF5C5E}" type="presParOf" srcId="{B67FACE8-1EFD-408B-9824-771D200316B6}" destId="{5E9EB0E6-E29B-470E-BF74-3C9DFC3D4FEF}" srcOrd="11" destOrd="0" presId="urn:microsoft.com/office/officeart/2005/8/layout/process4"/>
    <dgm:cxn modelId="{AFDF0A41-5BEE-423A-9F6A-F1E6793AE016}" type="presParOf" srcId="{B67FACE8-1EFD-408B-9824-771D200316B6}" destId="{45A2493E-6382-481A-B332-F2EDCA2D8F79}" srcOrd="12" destOrd="0" presId="urn:microsoft.com/office/officeart/2005/8/layout/process4"/>
    <dgm:cxn modelId="{DBD3D8B7-E501-42DE-BE01-90D9B394FCC8}" type="presParOf" srcId="{45A2493E-6382-481A-B332-F2EDCA2D8F79}" destId="{F4AF63BD-5C52-4DDF-9720-C8AF6147C02B}"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35A958B5-C482-4F42-8B80-74D0A58C62AE}" type="doc">
      <dgm:prSet loTypeId="urn:microsoft.com/office/officeart/2005/8/layout/hProcess11" loCatId="process" qsTypeId="urn:microsoft.com/office/officeart/2005/8/quickstyle/simple1" qsCatId="simple" csTypeId="urn:microsoft.com/office/officeart/2005/8/colors/accent1_2" csCatId="accent1" phldr="1"/>
      <dgm:spPr/>
    </dgm:pt>
    <dgm:pt modelId="{F618E3E6-8012-433A-B440-53DE4456A722}">
      <dgm:prSet phldrT="[Texto]" custT="1"/>
      <dgm:spPr/>
      <dgm:t>
        <a:bodyPr/>
        <a:lstStyle/>
        <a:p>
          <a:r>
            <a:rPr lang="es-ES_tradnl" sz="1600" dirty="0"/>
            <a:t>Definir una estrategia de gobierno del dato.</a:t>
          </a:r>
          <a:endParaRPr lang="es-ES" sz="1600" dirty="0"/>
        </a:p>
      </dgm:t>
    </dgm:pt>
    <dgm:pt modelId="{32BDE5D6-CC6B-493A-8124-7578A2FDC030}" type="parTrans" cxnId="{9D1DC62F-A78C-4258-8643-60E253B4A17C}">
      <dgm:prSet/>
      <dgm:spPr/>
      <dgm:t>
        <a:bodyPr/>
        <a:lstStyle/>
        <a:p>
          <a:endParaRPr lang="es-ES" sz="1600"/>
        </a:p>
      </dgm:t>
    </dgm:pt>
    <dgm:pt modelId="{9D357EB6-8DEC-4D2C-88E3-D86F9134DBA7}" type="sibTrans" cxnId="{9D1DC62F-A78C-4258-8643-60E253B4A17C}">
      <dgm:prSet/>
      <dgm:spPr/>
      <dgm:t>
        <a:bodyPr/>
        <a:lstStyle/>
        <a:p>
          <a:endParaRPr lang="es-ES" sz="1600"/>
        </a:p>
      </dgm:t>
    </dgm:pt>
    <dgm:pt modelId="{C8837301-DEE9-49A6-A742-A438C168BE48}">
      <dgm:prSet custT="1"/>
      <dgm:spPr/>
      <dgm:t>
        <a:bodyPr/>
        <a:lstStyle/>
        <a:p>
          <a:r>
            <a:rPr lang="es-ES_tradnl" sz="1600" dirty="0"/>
            <a:t>Establecer roles y responsabilidades.</a:t>
          </a:r>
          <a:endParaRPr lang="es-ES" sz="1600" dirty="0"/>
        </a:p>
      </dgm:t>
    </dgm:pt>
    <dgm:pt modelId="{002F2363-5E76-44B4-90F2-69D6E086782C}" type="parTrans" cxnId="{CDBF5B31-C262-4C27-877E-7E0B3063CD2C}">
      <dgm:prSet/>
      <dgm:spPr/>
      <dgm:t>
        <a:bodyPr/>
        <a:lstStyle/>
        <a:p>
          <a:endParaRPr lang="es-ES" sz="1600"/>
        </a:p>
      </dgm:t>
    </dgm:pt>
    <dgm:pt modelId="{36EF9C9E-9364-407D-B065-F525218B379B}" type="sibTrans" cxnId="{CDBF5B31-C262-4C27-877E-7E0B3063CD2C}">
      <dgm:prSet/>
      <dgm:spPr/>
      <dgm:t>
        <a:bodyPr/>
        <a:lstStyle/>
        <a:p>
          <a:endParaRPr lang="es-ES" sz="1600"/>
        </a:p>
      </dgm:t>
    </dgm:pt>
    <dgm:pt modelId="{77D2CBCD-0457-4B5E-89CC-1FD9B5DE4B0E}">
      <dgm:prSet custT="1"/>
      <dgm:spPr/>
      <dgm:t>
        <a:bodyPr/>
        <a:lstStyle/>
        <a:p>
          <a:r>
            <a:rPr lang="es-ES_tradnl" sz="1600" dirty="0"/>
            <a:t>Desarrollar pol</a:t>
          </a:r>
          <a:r>
            <a:rPr lang="it-IT" sz="1600" dirty="0"/>
            <a:t>í</a:t>
          </a:r>
          <a:r>
            <a:rPr lang="es-ES_tradnl" sz="1600" dirty="0"/>
            <a:t>ticas y procesos.</a:t>
          </a:r>
          <a:endParaRPr lang="es-ES" sz="1600" dirty="0"/>
        </a:p>
      </dgm:t>
    </dgm:pt>
    <dgm:pt modelId="{69BB57FC-EB50-4E04-AA7D-AAA460925E7E}" type="parTrans" cxnId="{FB4A9326-3B7D-4AA4-AAE1-66DD46062543}">
      <dgm:prSet/>
      <dgm:spPr/>
      <dgm:t>
        <a:bodyPr/>
        <a:lstStyle/>
        <a:p>
          <a:endParaRPr lang="es-ES" sz="1600"/>
        </a:p>
      </dgm:t>
    </dgm:pt>
    <dgm:pt modelId="{8BE6A689-EC17-4C7E-B33B-AAAA00FC0EB7}" type="sibTrans" cxnId="{FB4A9326-3B7D-4AA4-AAE1-66DD46062543}">
      <dgm:prSet/>
      <dgm:spPr/>
      <dgm:t>
        <a:bodyPr/>
        <a:lstStyle/>
        <a:p>
          <a:endParaRPr lang="es-ES" sz="1600"/>
        </a:p>
      </dgm:t>
    </dgm:pt>
    <dgm:pt modelId="{5B5EFA03-BCED-4803-977C-1FAEC459590C}">
      <dgm:prSet custT="1"/>
      <dgm:spPr/>
      <dgm:t>
        <a:bodyPr/>
        <a:lstStyle/>
        <a:p>
          <a:r>
            <a:rPr lang="it-IT" sz="1600"/>
            <a:t>Implementar tecnologí</a:t>
          </a:r>
          <a:r>
            <a:rPr lang="es-ES_tradnl" sz="1600" dirty="0"/>
            <a:t>as de gobierno del dato.</a:t>
          </a:r>
          <a:endParaRPr lang="es-ES" sz="1600" dirty="0"/>
        </a:p>
      </dgm:t>
    </dgm:pt>
    <dgm:pt modelId="{B10D04CC-FC15-4F8A-B941-20FBE27A5DD1}" type="parTrans" cxnId="{53A8207B-BB8D-4EFA-9A0B-17D0E8F284D1}">
      <dgm:prSet/>
      <dgm:spPr/>
      <dgm:t>
        <a:bodyPr/>
        <a:lstStyle/>
        <a:p>
          <a:endParaRPr lang="es-ES" sz="1600"/>
        </a:p>
      </dgm:t>
    </dgm:pt>
    <dgm:pt modelId="{95E272D2-8566-4DA6-8F52-340E51A11F7B}" type="sibTrans" cxnId="{53A8207B-BB8D-4EFA-9A0B-17D0E8F284D1}">
      <dgm:prSet/>
      <dgm:spPr/>
      <dgm:t>
        <a:bodyPr/>
        <a:lstStyle/>
        <a:p>
          <a:endParaRPr lang="es-ES" sz="1600"/>
        </a:p>
      </dgm:t>
    </dgm:pt>
    <dgm:pt modelId="{A96A68EA-F521-44EB-B434-89A6E00C1315}">
      <dgm:prSet custT="1"/>
      <dgm:spPr/>
      <dgm:t>
        <a:bodyPr/>
        <a:lstStyle/>
        <a:p>
          <a:r>
            <a:rPr lang="es-ES_tradnl" sz="1600" dirty="0"/>
            <a:t>Monitorear y evaluar el programa de gobierno del dato.</a:t>
          </a:r>
          <a:endParaRPr lang="es-ES" sz="1600" dirty="0"/>
        </a:p>
      </dgm:t>
    </dgm:pt>
    <dgm:pt modelId="{C5122E4E-B4A5-4438-B1F7-55E842CE1446}" type="parTrans" cxnId="{C6E994C8-0BCB-4DC4-B643-484873993CC2}">
      <dgm:prSet/>
      <dgm:spPr/>
      <dgm:t>
        <a:bodyPr/>
        <a:lstStyle/>
        <a:p>
          <a:endParaRPr lang="es-ES" sz="1600"/>
        </a:p>
      </dgm:t>
    </dgm:pt>
    <dgm:pt modelId="{55EBCE7D-56BC-4C55-8086-1BAF2C8D6CFC}" type="sibTrans" cxnId="{C6E994C8-0BCB-4DC4-B643-484873993CC2}">
      <dgm:prSet/>
      <dgm:spPr/>
      <dgm:t>
        <a:bodyPr/>
        <a:lstStyle/>
        <a:p>
          <a:endParaRPr lang="es-ES" sz="1600"/>
        </a:p>
      </dgm:t>
    </dgm:pt>
    <dgm:pt modelId="{DC77AC06-02FE-454C-A6EC-55B09E9F426F}" type="pres">
      <dgm:prSet presAssocID="{35A958B5-C482-4F42-8B80-74D0A58C62AE}" presName="Name0" presStyleCnt="0">
        <dgm:presLayoutVars>
          <dgm:dir/>
          <dgm:resizeHandles val="exact"/>
        </dgm:presLayoutVars>
      </dgm:prSet>
      <dgm:spPr/>
    </dgm:pt>
    <dgm:pt modelId="{30A7BB3A-2DE4-4759-894D-6E5719D2C99A}" type="pres">
      <dgm:prSet presAssocID="{35A958B5-C482-4F42-8B80-74D0A58C62AE}" presName="arrow" presStyleLbl="bgShp" presStyleIdx="0" presStyleCnt="1"/>
      <dgm:spPr/>
    </dgm:pt>
    <dgm:pt modelId="{019AF85E-A0BE-4BB1-BC60-FC7097DAC576}" type="pres">
      <dgm:prSet presAssocID="{35A958B5-C482-4F42-8B80-74D0A58C62AE}" presName="points" presStyleCnt="0"/>
      <dgm:spPr/>
    </dgm:pt>
    <dgm:pt modelId="{2A62D90C-45D1-479F-8FC6-4550B39E70F5}" type="pres">
      <dgm:prSet presAssocID="{F618E3E6-8012-433A-B440-53DE4456A722}" presName="compositeA" presStyleCnt="0"/>
      <dgm:spPr/>
    </dgm:pt>
    <dgm:pt modelId="{0361A64D-F825-4C7D-8160-479A85E00FAD}" type="pres">
      <dgm:prSet presAssocID="{F618E3E6-8012-433A-B440-53DE4456A722}" presName="textA" presStyleLbl="revTx" presStyleIdx="0" presStyleCnt="5">
        <dgm:presLayoutVars>
          <dgm:bulletEnabled val="1"/>
        </dgm:presLayoutVars>
      </dgm:prSet>
      <dgm:spPr/>
    </dgm:pt>
    <dgm:pt modelId="{D956CE67-2AB5-4F38-9280-0C26184AD5A6}" type="pres">
      <dgm:prSet presAssocID="{F618E3E6-8012-433A-B440-53DE4456A722}" presName="circleA" presStyleLbl="node1" presStyleIdx="0" presStyleCnt="5"/>
      <dgm:spPr/>
    </dgm:pt>
    <dgm:pt modelId="{A2825557-9139-4B6E-B1DE-892BDC891ED1}" type="pres">
      <dgm:prSet presAssocID="{F618E3E6-8012-433A-B440-53DE4456A722}" presName="spaceA" presStyleCnt="0"/>
      <dgm:spPr/>
    </dgm:pt>
    <dgm:pt modelId="{680B918E-439D-4051-80B5-BC92B26114F3}" type="pres">
      <dgm:prSet presAssocID="{9D357EB6-8DEC-4D2C-88E3-D86F9134DBA7}" presName="space" presStyleCnt="0"/>
      <dgm:spPr/>
    </dgm:pt>
    <dgm:pt modelId="{D4737362-0DF9-49DE-B4F9-971DED8F2DFD}" type="pres">
      <dgm:prSet presAssocID="{C8837301-DEE9-49A6-A742-A438C168BE48}" presName="compositeB" presStyleCnt="0"/>
      <dgm:spPr/>
    </dgm:pt>
    <dgm:pt modelId="{3316A1A0-CE4F-4FFA-8E93-E52D2B35C23A}" type="pres">
      <dgm:prSet presAssocID="{C8837301-DEE9-49A6-A742-A438C168BE48}" presName="textB" presStyleLbl="revTx" presStyleIdx="1" presStyleCnt="5">
        <dgm:presLayoutVars>
          <dgm:bulletEnabled val="1"/>
        </dgm:presLayoutVars>
      </dgm:prSet>
      <dgm:spPr/>
    </dgm:pt>
    <dgm:pt modelId="{FAEAFEA5-8FC2-432D-B8AF-9CA3536F6EC8}" type="pres">
      <dgm:prSet presAssocID="{C8837301-DEE9-49A6-A742-A438C168BE48}" presName="circleB" presStyleLbl="node1" presStyleIdx="1" presStyleCnt="5"/>
      <dgm:spPr/>
    </dgm:pt>
    <dgm:pt modelId="{5AF59929-941A-4592-AAA4-7D571766B8F1}" type="pres">
      <dgm:prSet presAssocID="{C8837301-DEE9-49A6-A742-A438C168BE48}" presName="spaceB" presStyleCnt="0"/>
      <dgm:spPr/>
    </dgm:pt>
    <dgm:pt modelId="{EDCC1BB2-8EC2-4E06-9604-DB576FCD186B}" type="pres">
      <dgm:prSet presAssocID="{36EF9C9E-9364-407D-B065-F525218B379B}" presName="space" presStyleCnt="0"/>
      <dgm:spPr/>
    </dgm:pt>
    <dgm:pt modelId="{DA99FD4C-7D10-49B7-B683-80EFC270BC86}" type="pres">
      <dgm:prSet presAssocID="{77D2CBCD-0457-4B5E-89CC-1FD9B5DE4B0E}" presName="compositeA" presStyleCnt="0"/>
      <dgm:spPr/>
    </dgm:pt>
    <dgm:pt modelId="{F74EE396-C0BC-47C1-ACF3-238DD8E0C5BF}" type="pres">
      <dgm:prSet presAssocID="{77D2CBCD-0457-4B5E-89CC-1FD9B5DE4B0E}" presName="textA" presStyleLbl="revTx" presStyleIdx="2" presStyleCnt="5">
        <dgm:presLayoutVars>
          <dgm:bulletEnabled val="1"/>
        </dgm:presLayoutVars>
      </dgm:prSet>
      <dgm:spPr/>
    </dgm:pt>
    <dgm:pt modelId="{EE089CC5-8787-41F3-A8A0-CA24F48A2BEF}" type="pres">
      <dgm:prSet presAssocID="{77D2CBCD-0457-4B5E-89CC-1FD9B5DE4B0E}" presName="circleA" presStyleLbl="node1" presStyleIdx="2" presStyleCnt="5"/>
      <dgm:spPr/>
    </dgm:pt>
    <dgm:pt modelId="{D3AED09E-5FEA-41D8-A93C-975C10EA7003}" type="pres">
      <dgm:prSet presAssocID="{77D2CBCD-0457-4B5E-89CC-1FD9B5DE4B0E}" presName="spaceA" presStyleCnt="0"/>
      <dgm:spPr/>
    </dgm:pt>
    <dgm:pt modelId="{F560013A-64BE-411D-936F-0AFA50D5FE91}" type="pres">
      <dgm:prSet presAssocID="{8BE6A689-EC17-4C7E-B33B-AAAA00FC0EB7}" presName="space" presStyleCnt="0"/>
      <dgm:spPr/>
    </dgm:pt>
    <dgm:pt modelId="{A633F331-D885-41C3-AF4A-E4E6C9D7C200}" type="pres">
      <dgm:prSet presAssocID="{5B5EFA03-BCED-4803-977C-1FAEC459590C}" presName="compositeB" presStyleCnt="0"/>
      <dgm:spPr/>
    </dgm:pt>
    <dgm:pt modelId="{47BB5850-389D-4033-976A-310FDB3982B6}" type="pres">
      <dgm:prSet presAssocID="{5B5EFA03-BCED-4803-977C-1FAEC459590C}" presName="textB" presStyleLbl="revTx" presStyleIdx="3" presStyleCnt="5">
        <dgm:presLayoutVars>
          <dgm:bulletEnabled val="1"/>
        </dgm:presLayoutVars>
      </dgm:prSet>
      <dgm:spPr/>
    </dgm:pt>
    <dgm:pt modelId="{77A5E741-E0E4-4EE8-9B3D-BEF39738B990}" type="pres">
      <dgm:prSet presAssocID="{5B5EFA03-BCED-4803-977C-1FAEC459590C}" presName="circleB" presStyleLbl="node1" presStyleIdx="3" presStyleCnt="5"/>
      <dgm:spPr/>
    </dgm:pt>
    <dgm:pt modelId="{A51BB9DE-756E-4D34-A2C8-F926949F519E}" type="pres">
      <dgm:prSet presAssocID="{5B5EFA03-BCED-4803-977C-1FAEC459590C}" presName="spaceB" presStyleCnt="0"/>
      <dgm:spPr/>
    </dgm:pt>
    <dgm:pt modelId="{C9955D93-71B7-4D7D-960A-D34A17A1A694}" type="pres">
      <dgm:prSet presAssocID="{95E272D2-8566-4DA6-8F52-340E51A11F7B}" presName="space" presStyleCnt="0"/>
      <dgm:spPr/>
    </dgm:pt>
    <dgm:pt modelId="{36001177-F3B0-4386-87EB-9A27BE873483}" type="pres">
      <dgm:prSet presAssocID="{A96A68EA-F521-44EB-B434-89A6E00C1315}" presName="compositeA" presStyleCnt="0"/>
      <dgm:spPr/>
    </dgm:pt>
    <dgm:pt modelId="{47CE10ED-FEE9-480C-BDC9-2F54FE95E76E}" type="pres">
      <dgm:prSet presAssocID="{A96A68EA-F521-44EB-B434-89A6E00C1315}" presName="textA" presStyleLbl="revTx" presStyleIdx="4" presStyleCnt="5">
        <dgm:presLayoutVars>
          <dgm:bulletEnabled val="1"/>
        </dgm:presLayoutVars>
      </dgm:prSet>
      <dgm:spPr/>
    </dgm:pt>
    <dgm:pt modelId="{D961FB85-B5B5-42CE-A140-3255364BE009}" type="pres">
      <dgm:prSet presAssocID="{A96A68EA-F521-44EB-B434-89A6E00C1315}" presName="circleA" presStyleLbl="node1" presStyleIdx="4" presStyleCnt="5"/>
      <dgm:spPr/>
    </dgm:pt>
    <dgm:pt modelId="{4905B694-F64F-40A5-890C-2C04335DC9DF}" type="pres">
      <dgm:prSet presAssocID="{A96A68EA-F521-44EB-B434-89A6E00C1315}" presName="spaceA" presStyleCnt="0"/>
      <dgm:spPr/>
    </dgm:pt>
  </dgm:ptLst>
  <dgm:cxnLst>
    <dgm:cxn modelId="{3E1BCF24-4AC8-49E1-B628-DCDF87800FE5}" type="presOf" srcId="{35A958B5-C482-4F42-8B80-74D0A58C62AE}" destId="{DC77AC06-02FE-454C-A6EC-55B09E9F426F}" srcOrd="0" destOrd="0" presId="urn:microsoft.com/office/officeart/2005/8/layout/hProcess11"/>
    <dgm:cxn modelId="{FB4A9326-3B7D-4AA4-AAE1-66DD46062543}" srcId="{35A958B5-C482-4F42-8B80-74D0A58C62AE}" destId="{77D2CBCD-0457-4B5E-89CC-1FD9B5DE4B0E}" srcOrd="2" destOrd="0" parTransId="{69BB57FC-EB50-4E04-AA7D-AAA460925E7E}" sibTransId="{8BE6A689-EC17-4C7E-B33B-AAAA00FC0EB7}"/>
    <dgm:cxn modelId="{9D1DC62F-A78C-4258-8643-60E253B4A17C}" srcId="{35A958B5-C482-4F42-8B80-74D0A58C62AE}" destId="{F618E3E6-8012-433A-B440-53DE4456A722}" srcOrd="0" destOrd="0" parTransId="{32BDE5D6-CC6B-493A-8124-7578A2FDC030}" sibTransId="{9D357EB6-8DEC-4D2C-88E3-D86F9134DBA7}"/>
    <dgm:cxn modelId="{CDBF5B31-C262-4C27-877E-7E0B3063CD2C}" srcId="{35A958B5-C482-4F42-8B80-74D0A58C62AE}" destId="{C8837301-DEE9-49A6-A742-A438C168BE48}" srcOrd="1" destOrd="0" parTransId="{002F2363-5E76-44B4-90F2-69D6E086782C}" sibTransId="{36EF9C9E-9364-407D-B065-F525218B379B}"/>
    <dgm:cxn modelId="{1E77503D-FF96-4E17-99C9-C9EB58997680}" type="presOf" srcId="{F618E3E6-8012-433A-B440-53DE4456A722}" destId="{0361A64D-F825-4C7D-8160-479A85E00FAD}" srcOrd="0" destOrd="0" presId="urn:microsoft.com/office/officeart/2005/8/layout/hProcess11"/>
    <dgm:cxn modelId="{22D48A65-B4D5-4AB3-8E5F-B46ED48AB348}" type="presOf" srcId="{77D2CBCD-0457-4B5E-89CC-1FD9B5DE4B0E}" destId="{F74EE396-C0BC-47C1-ACF3-238DD8E0C5BF}" srcOrd="0" destOrd="0" presId="urn:microsoft.com/office/officeart/2005/8/layout/hProcess11"/>
    <dgm:cxn modelId="{53244C6E-4E60-44DA-AF21-C73C121EE23E}" type="presOf" srcId="{A96A68EA-F521-44EB-B434-89A6E00C1315}" destId="{47CE10ED-FEE9-480C-BDC9-2F54FE95E76E}" srcOrd="0" destOrd="0" presId="urn:microsoft.com/office/officeart/2005/8/layout/hProcess11"/>
    <dgm:cxn modelId="{53A8207B-BB8D-4EFA-9A0B-17D0E8F284D1}" srcId="{35A958B5-C482-4F42-8B80-74D0A58C62AE}" destId="{5B5EFA03-BCED-4803-977C-1FAEC459590C}" srcOrd="3" destOrd="0" parTransId="{B10D04CC-FC15-4F8A-B941-20FBE27A5DD1}" sibTransId="{95E272D2-8566-4DA6-8F52-340E51A11F7B}"/>
    <dgm:cxn modelId="{1C1AE783-7A41-4488-8E40-A4C4E376490E}" type="presOf" srcId="{C8837301-DEE9-49A6-A742-A438C168BE48}" destId="{3316A1A0-CE4F-4FFA-8E93-E52D2B35C23A}" srcOrd="0" destOrd="0" presId="urn:microsoft.com/office/officeart/2005/8/layout/hProcess11"/>
    <dgm:cxn modelId="{C6E994C8-0BCB-4DC4-B643-484873993CC2}" srcId="{35A958B5-C482-4F42-8B80-74D0A58C62AE}" destId="{A96A68EA-F521-44EB-B434-89A6E00C1315}" srcOrd="4" destOrd="0" parTransId="{C5122E4E-B4A5-4438-B1F7-55E842CE1446}" sibTransId="{55EBCE7D-56BC-4C55-8086-1BAF2C8D6CFC}"/>
    <dgm:cxn modelId="{12F782F7-0221-44B7-AA88-016B86483403}" type="presOf" srcId="{5B5EFA03-BCED-4803-977C-1FAEC459590C}" destId="{47BB5850-389D-4033-976A-310FDB3982B6}" srcOrd="0" destOrd="0" presId="urn:microsoft.com/office/officeart/2005/8/layout/hProcess11"/>
    <dgm:cxn modelId="{2C499948-4CBB-43E4-9D52-88CFFD73A697}" type="presParOf" srcId="{DC77AC06-02FE-454C-A6EC-55B09E9F426F}" destId="{30A7BB3A-2DE4-4759-894D-6E5719D2C99A}" srcOrd="0" destOrd="0" presId="urn:microsoft.com/office/officeart/2005/8/layout/hProcess11"/>
    <dgm:cxn modelId="{BC267AB2-8AA2-4094-9F65-FED7A4CE82AD}" type="presParOf" srcId="{DC77AC06-02FE-454C-A6EC-55B09E9F426F}" destId="{019AF85E-A0BE-4BB1-BC60-FC7097DAC576}" srcOrd="1" destOrd="0" presId="urn:microsoft.com/office/officeart/2005/8/layout/hProcess11"/>
    <dgm:cxn modelId="{B9B15DAC-383F-49B0-89D3-FA55F5000B41}" type="presParOf" srcId="{019AF85E-A0BE-4BB1-BC60-FC7097DAC576}" destId="{2A62D90C-45D1-479F-8FC6-4550B39E70F5}" srcOrd="0" destOrd="0" presId="urn:microsoft.com/office/officeart/2005/8/layout/hProcess11"/>
    <dgm:cxn modelId="{DF33923B-9525-490C-A255-ED1DAF2634F4}" type="presParOf" srcId="{2A62D90C-45D1-479F-8FC6-4550B39E70F5}" destId="{0361A64D-F825-4C7D-8160-479A85E00FAD}" srcOrd="0" destOrd="0" presId="urn:microsoft.com/office/officeart/2005/8/layout/hProcess11"/>
    <dgm:cxn modelId="{296B6B52-8E39-419B-A0C8-9060B1B9101B}" type="presParOf" srcId="{2A62D90C-45D1-479F-8FC6-4550B39E70F5}" destId="{D956CE67-2AB5-4F38-9280-0C26184AD5A6}" srcOrd="1" destOrd="0" presId="urn:microsoft.com/office/officeart/2005/8/layout/hProcess11"/>
    <dgm:cxn modelId="{E36DDE2F-50CF-4114-B075-018378D4855B}" type="presParOf" srcId="{2A62D90C-45D1-479F-8FC6-4550B39E70F5}" destId="{A2825557-9139-4B6E-B1DE-892BDC891ED1}" srcOrd="2" destOrd="0" presId="urn:microsoft.com/office/officeart/2005/8/layout/hProcess11"/>
    <dgm:cxn modelId="{AAABD3DC-60AA-4F25-A886-8E2D2925220E}" type="presParOf" srcId="{019AF85E-A0BE-4BB1-BC60-FC7097DAC576}" destId="{680B918E-439D-4051-80B5-BC92B26114F3}" srcOrd="1" destOrd="0" presId="urn:microsoft.com/office/officeart/2005/8/layout/hProcess11"/>
    <dgm:cxn modelId="{5977D041-3A23-4B1A-B256-CF20C3A4B64B}" type="presParOf" srcId="{019AF85E-A0BE-4BB1-BC60-FC7097DAC576}" destId="{D4737362-0DF9-49DE-B4F9-971DED8F2DFD}" srcOrd="2" destOrd="0" presId="urn:microsoft.com/office/officeart/2005/8/layout/hProcess11"/>
    <dgm:cxn modelId="{9C8C7D75-22C0-4B0E-89CF-8A6D98CB5A0C}" type="presParOf" srcId="{D4737362-0DF9-49DE-B4F9-971DED8F2DFD}" destId="{3316A1A0-CE4F-4FFA-8E93-E52D2B35C23A}" srcOrd="0" destOrd="0" presId="urn:microsoft.com/office/officeart/2005/8/layout/hProcess11"/>
    <dgm:cxn modelId="{8DF52C86-96C8-4BC9-88A4-3BCE5BA657D1}" type="presParOf" srcId="{D4737362-0DF9-49DE-B4F9-971DED8F2DFD}" destId="{FAEAFEA5-8FC2-432D-B8AF-9CA3536F6EC8}" srcOrd="1" destOrd="0" presId="urn:microsoft.com/office/officeart/2005/8/layout/hProcess11"/>
    <dgm:cxn modelId="{4F47C010-2D8B-43AC-A3EB-00F361C3A5A3}" type="presParOf" srcId="{D4737362-0DF9-49DE-B4F9-971DED8F2DFD}" destId="{5AF59929-941A-4592-AAA4-7D571766B8F1}" srcOrd="2" destOrd="0" presId="urn:microsoft.com/office/officeart/2005/8/layout/hProcess11"/>
    <dgm:cxn modelId="{2D73FB00-DEF7-46B5-92A2-065B0FE7FC87}" type="presParOf" srcId="{019AF85E-A0BE-4BB1-BC60-FC7097DAC576}" destId="{EDCC1BB2-8EC2-4E06-9604-DB576FCD186B}" srcOrd="3" destOrd="0" presId="urn:microsoft.com/office/officeart/2005/8/layout/hProcess11"/>
    <dgm:cxn modelId="{F7277213-8F3A-4F4E-8944-9ECFF9551952}" type="presParOf" srcId="{019AF85E-A0BE-4BB1-BC60-FC7097DAC576}" destId="{DA99FD4C-7D10-49B7-B683-80EFC270BC86}" srcOrd="4" destOrd="0" presId="urn:microsoft.com/office/officeart/2005/8/layout/hProcess11"/>
    <dgm:cxn modelId="{4042802E-ABD1-4919-AEC4-FB9E5D763178}" type="presParOf" srcId="{DA99FD4C-7D10-49B7-B683-80EFC270BC86}" destId="{F74EE396-C0BC-47C1-ACF3-238DD8E0C5BF}" srcOrd="0" destOrd="0" presId="urn:microsoft.com/office/officeart/2005/8/layout/hProcess11"/>
    <dgm:cxn modelId="{1821D2D1-0350-4058-9B77-B6109868E67D}" type="presParOf" srcId="{DA99FD4C-7D10-49B7-B683-80EFC270BC86}" destId="{EE089CC5-8787-41F3-A8A0-CA24F48A2BEF}" srcOrd="1" destOrd="0" presId="urn:microsoft.com/office/officeart/2005/8/layout/hProcess11"/>
    <dgm:cxn modelId="{2ADF9B2A-F65F-436A-AD21-22F276674AAC}" type="presParOf" srcId="{DA99FD4C-7D10-49B7-B683-80EFC270BC86}" destId="{D3AED09E-5FEA-41D8-A93C-975C10EA7003}" srcOrd="2" destOrd="0" presId="urn:microsoft.com/office/officeart/2005/8/layout/hProcess11"/>
    <dgm:cxn modelId="{BC205F6B-45A6-4CED-B322-074726F5107F}" type="presParOf" srcId="{019AF85E-A0BE-4BB1-BC60-FC7097DAC576}" destId="{F560013A-64BE-411D-936F-0AFA50D5FE91}" srcOrd="5" destOrd="0" presId="urn:microsoft.com/office/officeart/2005/8/layout/hProcess11"/>
    <dgm:cxn modelId="{2A98E82E-9CF8-4E5D-83C3-2BD6FC788A23}" type="presParOf" srcId="{019AF85E-A0BE-4BB1-BC60-FC7097DAC576}" destId="{A633F331-D885-41C3-AF4A-E4E6C9D7C200}" srcOrd="6" destOrd="0" presId="urn:microsoft.com/office/officeart/2005/8/layout/hProcess11"/>
    <dgm:cxn modelId="{41B79211-8614-4079-9B6B-C4FDF176F07D}" type="presParOf" srcId="{A633F331-D885-41C3-AF4A-E4E6C9D7C200}" destId="{47BB5850-389D-4033-976A-310FDB3982B6}" srcOrd="0" destOrd="0" presId="urn:microsoft.com/office/officeart/2005/8/layout/hProcess11"/>
    <dgm:cxn modelId="{8D6B07F3-6C4A-4074-A28F-27DAF39F6A72}" type="presParOf" srcId="{A633F331-D885-41C3-AF4A-E4E6C9D7C200}" destId="{77A5E741-E0E4-4EE8-9B3D-BEF39738B990}" srcOrd="1" destOrd="0" presId="urn:microsoft.com/office/officeart/2005/8/layout/hProcess11"/>
    <dgm:cxn modelId="{342B3122-4F16-4922-BAD0-DB0EEFA937F3}" type="presParOf" srcId="{A633F331-D885-41C3-AF4A-E4E6C9D7C200}" destId="{A51BB9DE-756E-4D34-A2C8-F926949F519E}" srcOrd="2" destOrd="0" presId="urn:microsoft.com/office/officeart/2005/8/layout/hProcess11"/>
    <dgm:cxn modelId="{5A65DEBC-3CDF-49F5-A758-4394E04034EC}" type="presParOf" srcId="{019AF85E-A0BE-4BB1-BC60-FC7097DAC576}" destId="{C9955D93-71B7-4D7D-960A-D34A17A1A694}" srcOrd="7" destOrd="0" presId="urn:microsoft.com/office/officeart/2005/8/layout/hProcess11"/>
    <dgm:cxn modelId="{C66EB66E-7876-4950-9951-92A85740633B}" type="presParOf" srcId="{019AF85E-A0BE-4BB1-BC60-FC7097DAC576}" destId="{36001177-F3B0-4386-87EB-9A27BE873483}" srcOrd="8" destOrd="0" presId="urn:microsoft.com/office/officeart/2005/8/layout/hProcess11"/>
    <dgm:cxn modelId="{C9114A56-8270-4912-9687-5490FD26AEE4}" type="presParOf" srcId="{36001177-F3B0-4386-87EB-9A27BE873483}" destId="{47CE10ED-FEE9-480C-BDC9-2F54FE95E76E}" srcOrd="0" destOrd="0" presId="urn:microsoft.com/office/officeart/2005/8/layout/hProcess11"/>
    <dgm:cxn modelId="{AA7F2FD3-0817-4593-9419-CD2A9AEB47B2}" type="presParOf" srcId="{36001177-F3B0-4386-87EB-9A27BE873483}" destId="{D961FB85-B5B5-42CE-A140-3255364BE009}" srcOrd="1" destOrd="0" presId="urn:microsoft.com/office/officeart/2005/8/layout/hProcess11"/>
    <dgm:cxn modelId="{C0885D02-68B5-40DF-B9DC-FD7DCAB575B3}" type="presParOf" srcId="{36001177-F3B0-4386-87EB-9A27BE873483}" destId="{4905B694-F64F-40A5-890C-2C04335DC9DF}"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892AD13C-CAA6-4E21-8B35-D0B1DA866AB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s-ES"/>
        </a:p>
      </dgm:t>
    </dgm:pt>
    <dgm:pt modelId="{7873B878-4987-4BB7-AA66-9FC897354EFD}">
      <dgm:prSet phldrT="[Texto]"/>
      <dgm:spPr/>
      <dgm:t>
        <a:bodyPr/>
        <a:lstStyle/>
        <a:p>
          <a:r>
            <a:rPr lang="es-ES" dirty="0"/>
            <a:t>Solución de Business Intelligence(*)</a:t>
          </a:r>
        </a:p>
      </dgm:t>
    </dgm:pt>
    <dgm:pt modelId="{94DC50F4-E4BE-462F-95AB-BDEB314811DD}" type="parTrans" cxnId="{52577D7E-4B18-4EE1-AE4D-1FAE9375EE18}">
      <dgm:prSet/>
      <dgm:spPr/>
      <dgm:t>
        <a:bodyPr/>
        <a:lstStyle/>
        <a:p>
          <a:endParaRPr lang="es-ES"/>
        </a:p>
      </dgm:t>
    </dgm:pt>
    <dgm:pt modelId="{1E632A2F-D48D-408D-925B-3DEC240FAE6E}" type="sibTrans" cxnId="{52577D7E-4B18-4EE1-AE4D-1FAE9375EE18}">
      <dgm:prSet/>
      <dgm:spPr/>
      <dgm:t>
        <a:bodyPr/>
        <a:lstStyle/>
        <a:p>
          <a:endParaRPr lang="es-ES"/>
        </a:p>
      </dgm:t>
    </dgm:pt>
    <dgm:pt modelId="{980EEE32-92A6-4656-81CD-D1E2D416F706}">
      <dgm:prSet/>
      <dgm:spPr/>
      <dgm:t>
        <a:bodyPr/>
        <a:lstStyle/>
        <a:p>
          <a:r>
            <a:rPr lang="es-ES" dirty="0"/>
            <a:t>Las herramientas de BI son las del grupo HUF (herramientas de usuario final), las puede manejar un profesional no experto en informática.</a:t>
          </a:r>
        </a:p>
      </dgm:t>
    </dgm:pt>
    <dgm:pt modelId="{8531D351-AFD8-4F0E-95F1-63D11AEED0DC}" type="parTrans" cxnId="{1818240A-5474-4B3D-A5E9-75058B8BA992}">
      <dgm:prSet/>
      <dgm:spPr/>
      <dgm:t>
        <a:bodyPr/>
        <a:lstStyle/>
        <a:p>
          <a:endParaRPr lang="es-ES"/>
        </a:p>
      </dgm:t>
    </dgm:pt>
    <dgm:pt modelId="{6066D0C8-851D-4998-B121-1C1B7D462E9F}" type="sibTrans" cxnId="{1818240A-5474-4B3D-A5E9-75058B8BA992}">
      <dgm:prSet/>
      <dgm:spPr/>
      <dgm:t>
        <a:bodyPr/>
        <a:lstStyle/>
        <a:p>
          <a:endParaRPr lang="es-ES"/>
        </a:p>
      </dgm:t>
    </dgm:pt>
    <dgm:pt modelId="{F78923AC-066A-46A1-99F6-7780AE6116C7}">
      <dgm:prSet/>
      <dgm:spPr/>
      <dgm:t>
        <a:bodyPr/>
        <a:lstStyle/>
        <a:p>
          <a:r>
            <a:rPr lang="es-ES" dirty="0"/>
            <a:t>Hacen búsquedas en Bases de Datos y contribuyen al descubrimiento de la información a partir de los datos. Es la habilidad para transformar los datos en información</a:t>
          </a:r>
        </a:p>
      </dgm:t>
    </dgm:pt>
    <dgm:pt modelId="{D7181D54-DAD3-404C-869A-A5A41059D3E5}" type="parTrans" cxnId="{582C5E4D-AAB5-4ECC-B6F1-CCE453F76E3C}">
      <dgm:prSet/>
      <dgm:spPr/>
      <dgm:t>
        <a:bodyPr/>
        <a:lstStyle/>
        <a:p>
          <a:endParaRPr lang="es-ES"/>
        </a:p>
      </dgm:t>
    </dgm:pt>
    <dgm:pt modelId="{EBDE1385-F2CE-4A71-9D31-2355FE3D76EC}" type="sibTrans" cxnId="{582C5E4D-AAB5-4ECC-B6F1-CCE453F76E3C}">
      <dgm:prSet/>
      <dgm:spPr/>
      <dgm:t>
        <a:bodyPr/>
        <a:lstStyle/>
        <a:p>
          <a:endParaRPr lang="es-ES"/>
        </a:p>
      </dgm:t>
    </dgm:pt>
    <dgm:pt modelId="{62C8D5AD-537B-465B-BA04-AF36304FCE55}">
      <dgm:prSet/>
      <dgm:spPr/>
      <dgm:t>
        <a:bodyPr/>
        <a:lstStyle/>
        <a:p>
          <a:r>
            <a:rPr lang="es-ES" dirty="0"/>
            <a:t>Podrán ser open source como Google Data Studio o KNIME Analytics Platform o de pago como PowerBI</a:t>
          </a:r>
        </a:p>
      </dgm:t>
    </dgm:pt>
    <dgm:pt modelId="{81F33D07-7025-408D-9CC5-56A16BEABA60}" type="parTrans" cxnId="{0A960BDC-5FCA-4B14-A7FC-2C4C9561117F}">
      <dgm:prSet/>
      <dgm:spPr/>
      <dgm:t>
        <a:bodyPr/>
        <a:lstStyle/>
        <a:p>
          <a:endParaRPr lang="es-ES"/>
        </a:p>
      </dgm:t>
    </dgm:pt>
    <dgm:pt modelId="{9E305F41-C150-4241-9A8D-3FA77E21BFA6}" type="sibTrans" cxnId="{0A960BDC-5FCA-4B14-A7FC-2C4C9561117F}">
      <dgm:prSet/>
      <dgm:spPr/>
      <dgm:t>
        <a:bodyPr/>
        <a:lstStyle/>
        <a:p>
          <a:endParaRPr lang="es-ES"/>
        </a:p>
      </dgm:t>
    </dgm:pt>
    <dgm:pt modelId="{14672E88-F918-4B66-885B-C0735CEDD6D5}">
      <dgm:prSet/>
      <dgm:spPr/>
      <dgm:t>
        <a:bodyPr/>
        <a:lstStyle/>
        <a:p>
          <a:r>
            <a:rPr lang="es-ES" dirty="0"/>
            <a:t>Mediante pantallas, informes y cuadros de mando son capaces de  “interrogar” y descubrir la información cuyo origen fueron las fuentes de información ingestadas.</a:t>
          </a:r>
        </a:p>
      </dgm:t>
    </dgm:pt>
    <dgm:pt modelId="{43612530-E886-49DD-A044-D3C6C55FFB09}" type="parTrans" cxnId="{071584FF-D1A0-4DED-BC3E-73A20145E5E9}">
      <dgm:prSet/>
      <dgm:spPr/>
      <dgm:t>
        <a:bodyPr/>
        <a:lstStyle/>
        <a:p>
          <a:endParaRPr lang="es-ES"/>
        </a:p>
      </dgm:t>
    </dgm:pt>
    <dgm:pt modelId="{67941713-61FA-4337-AF1B-235E9544D8BE}" type="sibTrans" cxnId="{071584FF-D1A0-4DED-BC3E-73A20145E5E9}">
      <dgm:prSet/>
      <dgm:spPr/>
      <dgm:t>
        <a:bodyPr/>
        <a:lstStyle/>
        <a:p>
          <a:endParaRPr lang="es-ES"/>
        </a:p>
      </dgm:t>
    </dgm:pt>
    <dgm:pt modelId="{13E8C6F5-C34F-46CC-9B5D-4FAF80410D79}">
      <dgm:prSet/>
      <dgm:spPr/>
      <dgm:t>
        <a:bodyPr/>
        <a:lstStyle/>
        <a:p>
          <a:r>
            <a:rPr lang="es-ES" dirty="0"/>
            <a:t>Las pantallas contendrán argumentos de búsqueda y filtros</a:t>
          </a:r>
        </a:p>
      </dgm:t>
    </dgm:pt>
    <dgm:pt modelId="{03596E27-6F2E-4D80-B934-5F447BDE5031}" type="parTrans" cxnId="{D6EDC600-07FA-4996-BFCD-09B3399D7D00}">
      <dgm:prSet/>
      <dgm:spPr/>
      <dgm:t>
        <a:bodyPr/>
        <a:lstStyle/>
        <a:p>
          <a:endParaRPr lang="es-ES"/>
        </a:p>
      </dgm:t>
    </dgm:pt>
    <dgm:pt modelId="{2307C7D4-3A2A-4340-A0E4-402B0D05E688}" type="sibTrans" cxnId="{D6EDC600-07FA-4996-BFCD-09B3399D7D00}">
      <dgm:prSet/>
      <dgm:spPr/>
      <dgm:t>
        <a:bodyPr/>
        <a:lstStyle/>
        <a:p>
          <a:endParaRPr lang="es-ES"/>
        </a:p>
      </dgm:t>
    </dgm:pt>
    <dgm:pt modelId="{2B9647C5-BC50-4B87-B0E4-0F63922FBFF5}">
      <dgm:prSet/>
      <dgm:spPr/>
      <dgm:t>
        <a:bodyPr/>
        <a:lstStyle/>
        <a:p>
          <a:r>
            <a:rPr lang="es-ES" dirty="0"/>
            <a:t>Otras aplicaciones / ERP / Herramientas</a:t>
          </a:r>
        </a:p>
      </dgm:t>
    </dgm:pt>
    <dgm:pt modelId="{7735E734-C72A-4FCD-B8B3-6ABB743C383A}" type="parTrans" cxnId="{27A165DC-7DB6-4EA3-8D29-5A6E414D9EB9}">
      <dgm:prSet/>
      <dgm:spPr/>
      <dgm:t>
        <a:bodyPr/>
        <a:lstStyle/>
        <a:p>
          <a:endParaRPr lang="es-ES"/>
        </a:p>
      </dgm:t>
    </dgm:pt>
    <dgm:pt modelId="{09A46C7A-969B-4DD1-AB73-651B5AD27E81}" type="sibTrans" cxnId="{27A165DC-7DB6-4EA3-8D29-5A6E414D9EB9}">
      <dgm:prSet/>
      <dgm:spPr/>
      <dgm:t>
        <a:bodyPr/>
        <a:lstStyle/>
        <a:p>
          <a:endParaRPr lang="es-ES"/>
        </a:p>
      </dgm:t>
    </dgm:pt>
    <dgm:pt modelId="{20337A77-36F3-4CF8-8473-E335D170C58C}" type="pres">
      <dgm:prSet presAssocID="{892AD13C-CAA6-4E21-8B35-D0B1DA866AB3}" presName="linear" presStyleCnt="0">
        <dgm:presLayoutVars>
          <dgm:animLvl val="lvl"/>
          <dgm:resizeHandles val="exact"/>
        </dgm:presLayoutVars>
      </dgm:prSet>
      <dgm:spPr/>
    </dgm:pt>
    <dgm:pt modelId="{3CE955DF-F00B-4410-9BE4-62DD1ED9D3C1}" type="pres">
      <dgm:prSet presAssocID="{7873B878-4987-4BB7-AA66-9FC897354EFD}" presName="parentText" presStyleLbl="node1" presStyleIdx="0" presStyleCnt="2">
        <dgm:presLayoutVars>
          <dgm:chMax val="0"/>
          <dgm:bulletEnabled val="1"/>
        </dgm:presLayoutVars>
      </dgm:prSet>
      <dgm:spPr/>
    </dgm:pt>
    <dgm:pt modelId="{BB5109AC-17C1-4DF6-9F27-55478476D846}" type="pres">
      <dgm:prSet presAssocID="{7873B878-4987-4BB7-AA66-9FC897354EFD}" presName="childText" presStyleLbl="revTx" presStyleIdx="0" presStyleCnt="1">
        <dgm:presLayoutVars>
          <dgm:bulletEnabled val="1"/>
        </dgm:presLayoutVars>
      </dgm:prSet>
      <dgm:spPr/>
    </dgm:pt>
    <dgm:pt modelId="{6665B221-D768-4D25-BCDD-DBFF3FA3A851}" type="pres">
      <dgm:prSet presAssocID="{2B9647C5-BC50-4B87-B0E4-0F63922FBFF5}" presName="parentText" presStyleLbl="node1" presStyleIdx="1" presStyleCnt="2">
        <dgm:presLayoutVars>
          <dgm:chMax val="0"/>
          <dgm:bulletEnabled val="1"/>
        </dgm:presLayoutVars>
      </dgm:prSet>
      <dgm:spPr/>
    </dgm:pt>
  </dgm:ptLst>
  <dgm:cxnLst>
    <dgm:cxn modelId="{D6EDC600-07FA-4996-BFCD-09B3399D7D00}" srcId="{7873B878-4987-4BB7-AA66-9FC897354EFD}" destId="{13E8C6F5-C34F-46CC-9B5D-4FAF80410D79}" srcOrd="4" destOrd="0" parTransId="{03596E27-6F2E-4D80-B934-5F447BDE5031}" sibTransId="{2307C7D4-3A2A-4340-A0E4-402B0D05E688}"/>
    <dgm:cxn modelId="{1818240A-5474-4B3D-A5E9-75058B8BA992}" srcId="{7873B878-4987-4BB7-AA66-9FC897354EFD}" destId="{980EEE32-92A6-4656-81CD-D1E2D416F706}" srcOrd="0" destOrd="0" parTransId="{8531D351-AFD8-4F0E-95F1-63D11AEED0DC}" sibTransId="{6066D0C8-851D-4998-B121-1C1B7D462E9F}"/>
    <dgm:cxn modelId="{582C5E4D-AAB5-4ECC-B6F1-CCE453F76E3C}" srcId="{7873B878-4987-4BB7-AA66-9FC897354EFD}" destId="{F78923AC-066A-46A1-99F6-7780AE6116C7}" srcOrd="1" destOrd="0" parTransId="{D7181D54-DAD3-404C-869A-A5A41059D3E5}" sibTransId="{EBDE1385-F2CE-4A71-9D31-2355FE3D76EC}"/>
    <dgm:cxn modelId="{52577D7E-4B18-4EE1-AE4D-1FAE9375EE18}" srcId="{892AD13C-CAA6-4E21-8B35-D0B1DA866AB3}" destId="{7873B878-4987-4BB7-AA66-9FC897354EFD}" srcOrd="0" destOrd="0" parTransId="{94DC50F4-E4BE-462F-95AB-BDEB314811DD}" sibTransId="{1E632A2F-D48D-408D-925B-3DEC240FAE6E}"/>
    <dgm:cxn modelId="{4F4B1BA4-F81C-4468-BFBB-073A0C915EFD}" type="presOf" srcId="{892AD13C-CAA6-4E21-8B35-D0B1DA866AB3}" destId="{20337A77-36F3-4CF8-8473-E335D170C58C}" srcOrd="0" destOrd="0" presId="urn:microsoft.com/office/officeart/2005/8/layout/vList2"/>
    <dgm:cxn modelId="{2066C1AC-D78C-4ECB-83B5-EF4FEE458EF6}" type="presOf" srcId="{2B9647C5-BC50-4B87-B0E4-0F63922FBFF5}" destId="{6665B221-D768-4D25-BCDD-DBFF3FA3A851}" srcOrd="0" destOrd="0" presId="urn:microsoft.com/office/officeart/2005/8/layout/vList2"/>
    <dgm:cxn modelId="{B960CDC5-2B55-4249-829D-2A398002225D}" type="presOf" srcId="{14672E88-F918-4B66-885B-C0735CEDD6D5}" destId="{BB5109AC-17C1-4DF6-9F27-55478476D846}" srcOrd="0" destOrd="3" presId="urn:microsoft.com/office/officeart/2005/8/layout/vList2"/>
    <dgm:cxn modelId="{9A063DC9-2D86-4017-8FCF-B09693D1AB37}" type="presOf" srcId="{62C8D5AD-537B-465B-BA04-AF36304FCE55}" destId="{BB5109AC-17C1-4DF6-9F27-55478476D846}" srcOrd="0" destOrd="2" presId="urn:microsoft.com/office/officeart/2005/8/layout/vList2"/>
    <dgm:cxn modelId="{0E15D7D2-3365-443B-A331-E34F014E71A6}" type="presOf" srcId="{980EEE32-92A6-4656-81CD-D1E2D416F706}" destId="{BB5109AC-17C1-4DF6-9F27-55478476D846}" srcOrd="0" destOrd="0" presId="urn:microsoft.com/office/officeart/2005/8/layout/vList2"/>
    <dgm:cxn modelId="{0A960BDC-5FCA-4B14-A7FC-2C4C9561117F}" srcId="{7873B878-4987-4BB7-AA66-9FC897354EFD}" destId="{62C8D5AD-537B-465B-BA04-AF36304FCE55}" srcOrd="2" destOrd="0" parTransId="{81F33D07-7025-408D-9CC5-56A16BEABA60}" sibTransId="{9E305F41-C150-4241-9A8D-3FA77E21BFA6}"/>
    <dgm:cxn modelId="{27A165DC-7DB6-4EA3-8D29-5A6E414D9EB9}" srcId="{892AD13C-CAA6-4E21-8B35-D0B1DA866AB3}" destId="{2B9647C5-BC50-4B87-B0E4-0F63922FBFF5}" srcOrd="1" destOrd="0" parTransId="{7735E734-C72A-4FCD-B8B3-6ABB743C383A}" sibTransId="{09A46C7A-969B-4DD1-AB73-651B5AD27E81}"/>
    <dgm:cxn modelId="{A43851E5-907B-4BEC-9027-91340A7BE9B5}" type="presOf" srcId="{7873B878-4987-4BB7-AA66-9FC897354EFD}" destId="{3CE955DF-F00B-4410-9BE4-62DD1ED9D3C1}" srcOrd="0" destOrd="0" presId="urn:microsoft.com/office/officeart/2005/8/layout/vList2"/>
    <dgm:cxn modelId="{2BF58AE6-D626-4C30-B613-0381DC6E7B8D}" type="presOf" srcId="{13E8C6F5-C34F-46CC-9B5D-4FAF80410D79}" destId="{BB5109AC-17C1-4DF6-9F27-55478476D846}" srcOrd="0" destOrd="4" presId="urn:microsoft.com/office/officeart/2005/8/layout/vList2"/>
    <dgm:cxn modelId="{524433EF-889E-48D1-AEF1-6F69CBCCFB8A}" type="presOf" srcId="{F78923AC-066A-46A1-99F6-7780AE6116C7}" destId="{BB5109AC-17C1-4DF6-9F27-55478476D846}" srcOrd="0" destOrd="1" presId="urn:microsoft.com/office/officeart/2005/8/layout/vList2"/>
    <dgm:cxn modelId="{071584FF-D1A0-4DED-BC3E-73A20145E5E9}" srcId="{7873B878-4987-4BB7-AA66-9FC897354EFD}" destId="{14672E88-F918-4B66-885B-C0735CEDD6D5}" srcOrd="3" destOrd="0" parTransId="{43612530-E886-49DD-A044-D3C6C55FFB09}" sibTransId="{67941713-61FA-4337-AF1B-235E9544D8BE}"/>
    <dgm:cxn modelId="{F0D33E29-92C4-427D-8F78-823E97536CC6}" type="presParOf" srcId="{20337A77-36F3-4CF8-8473-E335D170C58C}" destId="{3CE955DF-F00B-4410-9BE4-62DD1ED9D3C1}" srcOrd="0" destOrd="0" presId="urn:microsoft.com/office/officeart/2005/8/layout/vList2"/>
    <dgm:cxn modelId="{1B9D19F1-246E-4E70-B1F3-81FBA0F37ECA}" type="presParOf" srcId="{20337A77-36F3-4CF8-8473-E335D170C58C}" destId="{BB5109AC-17C1-4DF6-9F27-55478476D846}" srcOrd="1" destOrd="0" presId="urn:microsoft.com/office/officeart/2005/8/layout/vList2"/>
    <dgm:cxn modelId="{1F1E2690-2CB3-43FD-9317-2E845B52A86B}" type="presParOf" srcId="{20337A77-36F3-4CF8-8473-E335D170C58C}" destId="{6665B221-D768-4D25-BCDD-DBFF3FA3A851}"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D9D51ED0-530C-49B3-9B72-7BEB440C27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s-ES"/>
        </a:p>
      </dgm:t>
    </dgm:pt>
    <dgm:pt modelId="{FAAAA65B-CFD1-42C4-9683-297C4275DFD6}" type="pres">
      <dgm:prSet presAssocID="{D9D51ED0-530C-49B3-9B72-7BEB440C27BA}" presName="linear" presStyleCnt="0">
        <dgm:presLayoutVars>
          <dgm:animLvl val="lvl"/>
          <dgm:resizeHandles val="exact"/>
        </dgm:presLayoutVars>
      </dgm:prSet>
      <dgm:spPr/>
    </dgm:pt>
  </dgm:ptLst>
  <dgm:cxnLst>
    <dgm:cxn modelId="{9708A197-3A5D-4097-BF54-7BF398804CD8}" type="presOf" srcId="{D9D51ED0-530C-49B3-9B72-7BEB440C27BA}" destId="{FAAAA65B-CFD1-42C4-9683-297C4275DFD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9A1C37AD-0FFA-426B-B6B5-914005BAD3D7}" type="doc">
      <dgm:prSet loTypeId="urn:microsoft.com/office/officeart/2008/layout/PictureLineup" loCatId="picture" qsTypeId="urn:microsoft.com/office/officeart/2005/8/quickstyle/simple1" qsCatId="simple" csTypeId="urn:microsoft.com/office/officeart/2005/8/colors/accent1_2" csCatId="accent1" phldr="1"/>
      <dgm:spPr/>
      <dgm:t>
        <a:bodyPr/>
        <a:lstStyle/>
        <a:p>
          <a:endParaRPr lang="es-ES"/>
        </a:p>
      </dgm:t>
    </dgm:pt>
    <dgm:pt modelId="{0A22D989-EA33-44F3-BCE3-FE6E049333CD}">
      <dgm:prSet phldrT="[Texto]"/>
      <dgm:spPr/>
      <dgm:t>
        <a:bodyPr/>
        <a:lstStyle/>
        <a:p>
          <a:r>
            <a:rPr lang="es-ES" dirty="0"/>
            <a:t>1941</a:t>
          </a:r>
        </a:p>
      </dgm:t>
    </dgm:pt>
    <dgm:pt modelId="{B10561B5-40B7-473A-8531-0CC11AD9D434}" type="parTrans" cxnId="{37544CC7-8B83-490F-B726-A7BDC9215F68}">
      <dgm:prSet/>
      <dgm:spPr/>
      <dgm:t>
        <a:bodyPr/>
        <a:lstStyle/>
        <a:p>
          <a:endParaRPr lang="es-ES"/>
        </a:p>
      </dgm:t>
    </dgm:pt>
    <dgm:pt modelId="{62F7DB26-60F8-484C-900D-50976DE4D762}" type="sibTrans" cxnId="{37544CC7-8B83-490F-B726-A7BDC9215F68}">
      <dgm:prSet/>
      <dgm:spPr/>
      <dgm:t>
        <a:bodyPr/>
        <a:lstStyle/>
        <a:p>
          <a:endParaRPr lang="es-ES"/>
        </a:p>
      </dgm:t>
    </dgm:pt>
    <dgm:pt modelId="{B9C405A5-D000-4A9E-A62F-334F6480521B}">
      <dgm:prSet phldrT="[Texto]"/>
      <dgm:spPr/>
      <dgm:t>
        <a:bodyPr/>
        <a:lstStyle/>
        <a:p>
          <a:r>
            <a:rPr lang="es-ES" dirty="0"/>
            <a:t>Nace el término Inteligencia artificial</a:t>
          </a:r>
        </a:p>
      </dgm:t>
    </dgm:pt>
    <dgm:pt modelId="{719B748E-D4B9-447C-BFAD-3900D66545E4}" type="parTrans" cxnId="{B715F03B-2DEB-458C-B916-F3675CDA540E}">
      <dgm:prSet/>
      <dgm:spPr/>
      <dgm:t>
        <a:bodyPr/>
        <a:lstStyle/>
        <a:p>
          <a:endParaRPr lang="es-ES"/>
        </a:p>
      </dgm:t>
    </dgm:pt>
    <dgm:pt modelId="{C3E63851-DA90-4389-B9AE-4BEF50AD3115}" type="sibTrans" cxnId="{B715F03B-2DEB-458C-B916-F3675CDA540E}">
      <dgm:prSet/>
      <dgm:spPr/>
      <dgm:t>
        <a:bodyPr/>
        <a:lstStyle/>
        <a:p>
          <a:endParaRPr lang="es-ES"/>
        </a:p>
      </dgm:t>
    </dgm:pt>
    <dgm:pt modelId="{04C89E14-0F3D-40FA-AEDC-F0974B9ACEEE}">
      <dgm:prSet phldrT="[Texto]"/>
      <dgm:spPr/>
      <dgm:t>
        <a:bodyPr/>
        <a:lstStyle/>
        <a:p>
          <a:r>
            <a:rPr lang="it-IT" dirty="0"/>
            <a:t>1957 </a:t>
          </a:r>
          <a:endParaRPr lang="es-ES" dirty="0"/>
        </a:p>
      </dgm:t>
    </dgm:pt>
    <dgm:pt modelId="{4E5DDFBE-8B91-42B2-A342-40E0352B1ED4}" type="parTrans" cxnId="{91F65FBD-5663-4BB0-B8BC-0CB5B33F04E8}">
      <dgm:prSet/>
      <dgm:spPr/>
      <dgm:t>
        <a:bodyPr/>
        <a:lstStyle/>
        <a:p>
          <a:endParaRPr lang="es-ES"/>
        </a:p>
      </dgm:t>
    </dgm:pt>
    <dgm:pt modelId="{AAD743D6-E5CE-4344-A399-8805B534402C}" type="sibTrans" cxnId="{91F65FBD-5663-4BB0-B8BC-0CB5B33F04E8}">
      <dgm:prSet/>
      <dgm:spPr/>
      <dgm:t>
        <a:bodyPr/>
        <a:lstStyle/>
        <a:p>
          <a:endParaRPr lang="es-ES"/>
        </a:p>
      </dgm:t>
    </dgm:pt>
    <dgm:pt modelId="{286E73D0-4611-4E1A-9002-C278C0234EB7}">
      <dgm:prSet phldrT="[Texto]"/>
      <dgm:spPr/>
      <dgm:t>
        <a:bodyPr/>
        <a:lstStyle/>
        <a:p>
          <a:r>
            <a:rPr lang="es-ES" dirty="0"/>
            <a:t>1966</a:t>
          </a:r>
        </a:p>
      </dgm:t>
    </dgm:pt>
    <dgm:pt modelId="{6135C109-BECC-4A09-AA9E-5326AB4613C7}" type="parTrans" cxnId="{3EAB80D1-BFF7-4288-9714-500AE3C43DD9}">
      <dgm:prSet/>
      <dgm:spPr/>
      <dgm:t>
        <a:bodyPr/>
        <a:lstStyle/>
        <a:p>
          <a:endParaRPr lang="es-ES"/>
        </a:p>
      </dgm:t>
    </dgm:pt>
    <dgm:pt modelId="{3154DF96-BAB8-41FF-8CF5-CE0EE73D6226}" type="sibTrans" cxnId="{3EAB80D1-BFF7-4288-9714-500AE3C43DD9}">
      <dgm:prSet/>
      <dgm:spPr/>
      <dgm:t>
        <a:bodyPr/>
        <a:lstStyle/>
        <a:p>
          <a:endParaRPr lang="es-ES"/>
        </a:p>
      </dgm:t>
    </dgm:pt>
    <dgm:pt modelId="{B5BC1256-93A6-453E-A93B-E2E3DB259DC2}">
      <dgm:prSet/>
      <dgm:spPr>
        <a:solidFill>
          <a:srgbClr val="FFFF00"/>
        </a:solidFill>
      </dgm:spPr>
      <dgm:t>
        <a:bodyPr/>
        <a:lstStyle/>
        <a:p>
          <a:r>
            <a:rPr lang="es-ES" dirty="0"/>
            <a:t>1950</a:t>
          </a:r>
        </a:p>
      </dgm:t>
    </dgm:pt>
    <dgm:pt modelId="{F83B8D4A-9C39-40E1-9040-87C8808418FB}" type="parTrans" cxnId="{A3CE59E9-06E0-4AC0-9031-E69E9F209E30}">
      <dgm:prSet/>
      <dgm:spPr/>
      <dgm:t>
        <a:bodyPr/>
        <a:lstStyle/>
        <a:p>
          <a:endParaRPr lang="es-ES"/>
        </a:p>
      </dgm:t>
    </dgm:pt>
    <dgm:pt modelId="{11968817-6DEB-41C4-9C1A-3C8B83D30C7B}" type="sibTrans" cxnId="{A3CE59E9-06E0-4AC0-9031-E69E9F209E30}">
      <dgm:prSet/>
      <dgm:spPr/>
      <dgm:t>
        <a:bodyPr/>
        <a:lstStyle/>
        <a:p>
          <a:endParaRPr lang="es-ES"/>
        </a:p>
      </dgm:t>
    </dgm:pt>
    <dgm:pt modelId="{35E0102E-EFD7-4231-A5DE-37DF983E259A}">
      <dgm:prSet/>
      <dgm:spPr/>
      <dgm:t>
        <a:bodyPr/>
        <a:lstStyle/>
        <a:p>
          <a:r>
            <a:rPr lang="es-ES" dirty="0"/>
            <a:t>1956, </a:t>
          </a:r>
        </a:p>
      </dgm:t>
    </dgm:pt>
    <dgm:pt modelId="{46B9F23E-00A9-4579-8E91-3E5BDFD4CAB5}" type="parTrans" cxnId="{3712F69B-FFFD-4217-A0F6-58FE31EFFF9F}">
      <dgm:prSet/>
      <dgm:spPr/>
      <dgm:t>
        <a:bodyPr/>
        <a:lstStyle/>
        <a:p>
          <a:endParaRPr lang="es-ES"/>
        </a:p>
      </dgm:t>
    </dgm:pt>
    <dgm:pt modelId="{D53136E9-2984-4C33-B120-868D1F724BFF}" type="sibTrans" cxnId="{3712F69B-FFFD-4217-A0F6-58FE31EFFF9F}">
      <dgm:prSet/>
      <dgm:spPr/>
      <dgm:t>
        <a:bodyPr/>
        <a:lstStyle/>
        <a:p>
          <a:endParaRPr lang="es-ES"/>
        </a:p>
      </dgm:t>
    </dgm:pt>
    <dgm:pt modelId="{DC9BCD71-FEB9-4C4C-AF1C-80A1DBAFB4FA}">
      <dgm:prSet/>
      <dgm:spPr>
        <a:solidFill>
          <a:srgbClr val="FFFF00"/>
        </a:solidFill>
      </dgm:spPr>
      <dgm:t>
        <a:bodyPr/>
        <a:lstStyle/>
        <a:p>
          <a:r>
            <a:rPr lang="es-ES" dirty="0"/>
            <a:t>En su histórico artículo Alan Turing preguntó: ¿puede pensar una máquina? propuso un «juego de imitación», el test de Turing</a:t>
          </a:r>
        </a:p>
      </dgm:t>
    </dgm:pt>
    <dgm:pt modelId="{3C27CC83-42E9-43F4-A195-A5950F72C6F9}" type="parTrans" cxnId="{DAE1A474-D6F4-45A1-B646-DE9CFDAA2BD1}">
      <dgm:prSet/>
      <dgm:spPr/>
      <dgm:t>
        <a:bodyPr/>
        <a:lstStyle/>
        <a:p>
          <a:endParaRPr lang="es-ES"/>
        </a:p>
      </dgm:t>
    </dgm:pt>
    <dgm:pt modelId="{BC2B7C92-F3F8-4ED0-B823-34F3680DC7F0}" type="sibTrans" cxnId="{DAE1A474-D6F4-45A1-B646-DE9CFDAA2BD1}">
      <dgm:prSet/>
      <dgm:spPr/>
      <dgm:t>
        <a:bodyPr/>
        <a:lstStyle/>
        <a:p>
          <a:endParaRPr lang="es-ES"/>
        </a:p>
      </dgm:t>
    </dgm:pt>
    <dgm:pt modelId="{6A3E18A0-AA65-4A8F-B8C2-EF670887FE80}">
      <dgm:prSet phldrT="[Texto]"/>
      <dgm:spPr/>
      <dgm:t>
        <a:bodyPr/>
        <a:lstStyle/>
        <a:p>
          <a:r>
            <a:rPr lang="es-ES" dirty="0"/>
            <a:t>Konrad Zuse crea Z3, la primera computadora programable y completamente automática.</a:t>
          </a:r>
        </a:p>
      </dgm:t>
    </dgm:pt>
    <dgm:pt modelId="{1FFC36FB-7334-4E37-BD23-24C2CE2D437F}" type="parTrans" cxnId="{5BA05B7A-2606-464B-9387-19379CFF9022}">
      <dgm:prSet/>
      <dgm:spPr/>
      <dgm:t>
        <a:bodyPr/>
        <a:lstStyle/>
        <a:p>
          <a:endParaRPr lang="es-ES"/>
        </a:p>
      </dgm:t>
    </dgm:pt>
    <dgm:pt modelId="{A688AFF9-0245-47A4-A43D-EBC24EAD3427}" type="sibTrans" cxnId="{5BA05B7A-2606-464B-9387-19379CFF9022}">
      <dgm:prSet/>
      <dgm:spPr/>
      <dgm:t>
        <a:bodyPr/>
        <a:lstStyle/>
        <a:p>
          <a:endParaRPr lang="es-ES"/>
        </a:p>
      </dgm:t>
    </dgm:pt>
    <dgm:pt modelId="{92ABF4DF-117C-41BF-A0F0-8F13C392AEA5}">
      <dgm:prSet phldrT="[Texto]"/>
      <dgm:spPr/>
      <dgm:t>
        <a:bodyPr/>
        <a:lstStyle/>
        <a:p>
          <a:r>
            <a:rPr lang="es-ES" dirty="0"/>
            <a:t>Se considera el primer ordenador de la historia moderna.</a:t>
          </a:r>
        </a:p>
      </dgm:t>
    </dgm:pt>
    <dgm:pt modelId="{FB55888D-8870-4247-9DCF-72FDA82FBB90}" type="parTrans" cxnId="{38DC16CE-4B7F-4F1E-B8A5-B81AB93A2AE8}">
      <dgm:prSet/>
      <dgm:spPr/>
      <dgm:t>
        <a:bodyPr/>
        <a:lstStyle/>
        <a:p>
          <a:endParaRPr lang="es-ES"/>
        </a:p>
      </dgm:t>
    </dgm:pt>
    <dgm:pt modelId="{5C86D771-54A0-44E1-ADCC-8C180E32D3E4}" type="sibTrans" cxnId="{38DC16CE-4B7F-4F1E-B8A5-B81AB93A2AE8}">
      <dgm:prSet/>
      <dgm:spPr/>
      <dgm:t>
        <a:bodyPr/>
        <a:lstStyle/>
        <a:p>
          <a:endParaRPr lang="es-ES"/>
        </a:p>
      </dgm:t>
    </dgm:pt>
    <dgm:pt modelId="{1A2D39D6-0E5B-4A48-86C9-574F8FD9D3AA}">
      <dgm:prSet/>
      <dgm:spPr/>
      <dgm:t>
        <a:bodyPr/>
        <a:lstStyle/>
        <a:p>
          <a:r>
            <a:rPr lang="es-ES" dirty="0"/>
            <a:t>El informático John McCarthy acuña el término Inteligencia Artificial (conferencia de Darmouth)</a:t>
          </a:r>
        </a:p>
      </dgm:t>
    </dgm:pt>
    <dgm:pt modelId="{63CFFE07-5F8C-47A3-94A2-1AF12CFF0B30}" type="parTrans" cxnId="{30613D72-15C7-4B5F-A823-EE1CC3584B6F}">
      <dgm:prSet/>
      <dgm:spPr/>
      <dgm:t>
        <a:bodyPr/>
        <a:lstStyle/>
        <a:p>
          <a:endParaRPr lang="es-ES"/>
        </a:p>
      </dgm:t>
    </dgm:pt>
    <dgm:pt modelId="{46C795B7-E4A7-4748-BDEB-739DCD18D8A2}" type="sibTrans" cxnId="{30613D72-15C7-4B5F-A823-EE1CC3584B6F}">
      <dgm:prSet/>
      <dgm:spPr/>
      <dgm:t>
        <a:bodyPr/>
        <a:lstStyle/>
        <a:p>
          <a:endParaRPr lang="es-ES"/>
        </a:p>
      </dgm:t>
    </dgm:pt>
    <dgm:pt modelId="{B64382FF-A4B1-4C59-A4FB-001800913294}">
      <dgm:prSet phldrT="[Texto]"/>
      <dgm:spPr/>
      <dgm:t>
        <a:bodyPr/>
        <a:lstStyle/>
        <a:p>
          <a:r>
            <a:rPr lang="es-ES" dirty="0"/>
            <a:t>Frank Rosenblat diseña la primera red neuronal.</a:t>
          </a:r>
        </a:p>
      </dgm:t>
    </dgm:pt>
    <dgm:pt modelId="{FB18ECDC-BD90-45D6-9ED4-F9DA653C6195}" type="parTrans" cxnId="{A7B7283A-5AC1-4DA7-ACA2-F0B1AFDDAD4B}">
      <dgm:prSet/>
      <dgm:spPr/>
      <dgm:t>
        <a:bodyPr/>
        <a:lstStyle/>
        <a:p>
          <a:endParaRPr lang="es-ES"/>
        </a:p>
      </dgm:t>
    </dgm:pt>
    <dgm:pt modelId="{32F504F7-7D0F-44B7-8D85-34066EFEE09F}" type="sibTrans" cxnId="{A7B7283A-5AC1-4DA7-ACA2-F0B1AFDDAD4B}">
      <dgm:prSet/>
      <dgm:spPr/>
      <dgm:t>
        <a:bodyPr/>
        <a:lstStyle/>
        <a:p>
          <a:endParaRPr lang="es-ES"/>
        </a:p>
      </dgm:t>
    </dgm:pt>
    <dgm:pt modelId="{3B7D8919-4629-489D-A4D9-F3BE73A21D4E}">
      <dgm:prSet phldrT="[Texto]"/>
      <dgm:spPr/>
      <dgm:t>
        <a:bodyPr/>
        <a:lstStyle/>
        <a:p>
          <a:r>
            <a:rPr lang="es-ES" dirty="0"/>
            <a:t>Joseph Weizenbaum (MIT), diseña el primer chatbot: ELIZA</a:t>
          </a:r>
        </a:p>
      </dgm:t>
    </dgm:pt>
    <dgm:pt modelId="{1954AFED-C829-4D7F-9D67-E671AACD68C4}" type="parTrans" cxnId="{BB1DC33F-F289-4977-AC2A-61F4AA59981E}">
      <dgm:prSet/>
      <dgm:spPr/>
      <dgm:t>
        <a:bodyPr/>
        <a:lstStyle/>
        <a:p>
          <a:endParaRPr lang="es-ES"/>
        </a:p>
      </dgm:t>
    </dgm:pt>
    <dgm:pt modelId="{414637BF-36E1-4777-A5AC-B0ED3C934698}" type="sibTrans" cxnId="{BB1DC33F-F289-4977-AC2A-61F4AA59981E}">
      <dgm:prSet/>
      <dgm:spPr/>
      <dgm:t>
        <a:bodyPr/>
        <a:lstStyle/>
        <a:p>
          <a:endParaRPr lang="es-ES"/>
        </a:p>
      </dgm:t>
    </dgm:pt>
    <dgm:pt modelId="{8A1377D3-04E6-4680-88A7-C5A092D552C5}">
      <dgm:prSet/>
      <dgm:spPr>
        <a:solidFill>
          <a:srgbClr val="FFFF00"/>
        </a:solidFill>
      </dgm:spPr>
      <dgm:t>
        <a:bodyPr/>
        <a:lstStyle/>
        <a:p>
          <a:r>
            <a:rPr lang="es-ES" dirty="0"/>
            <a:t>Compañero de Joan Clarke</a:t>
          </a:r>
        </a:p>
      </dgm:t>
    </dgm:pt>
    <dgm:pt modelId="{906C3FB4-DE0C-4F6B-9100-0177ED3C82E2}" type="parTrans" cxnId="{FF39FDC9-1423-4D7C-9C16-2F89A1AA98B5}">
      <dgm:prSet/>
      <dgm:spPr/>
      <dgm:t>
        <a:bodyPr/>
        <a:lstStyle/>
        <a:p>
          <a:endParaRPr lang="es-ES"/>
        </a:p>
      </dgm:t>
    </dgm:pt>
    <dgm:pt modelId="{024C3F27-619A-469D-8458-532F5BF02992}" type="sibTrans" cxnId="{FF39FDC9-1423-4D7C-9C16-2F89A1AA98B5}">
      <dgm:prSet/>
      <dgm:spPr/>
      <dgm:t>
        <a:bodyPr/>
        <a:lstStyle/>
        <a:p>
          <a:endParaRPr lang="es-ES"/>
        </a:p>
      </dgm:t>
    </dgm:pt>
    <dgm:pt modelId="{33772906-D836-4616-ADF2-B21D649AE468}" type="pres">
      <dgm:prSet presAssocID="{9A1C37AD-0FFA-426B-B6B5-914005BAD3D7}" presName="Name0" presStyleCnt="0">
        <dgm:presLayoutVars>
          <dgm:chMax/>
          <dgm:chPref/>
          <dgm:dir/>
          <dgm:animLvl val="lvl"/>
          <dgm:resizeHandles val="exact"/>
        </dgm:presLayoutVars>
      </dgm:prSet>
      <dgm:spPr/>
    </dgm:pt>
    <dgm:pt modelId="{58F67629-9CFC-40A3-943C-4CBFBAD89130}" type="pres">
      <dgm:prSet presAssocID="{0A22D989-EA33-44F3-BCE3-FE6E049333CD}" presName="composite" presStyleCnt="0"/>
      <dgm:spPr/>
    </dgm:pt>
    <dgm:pt modelId="{1280BDD8-7010-4E25-B84F-15804A23760B}" type="pres">
      <dgm:prSet presAssocID="{0A22D989-EA33-44F3-BCE3-FE6E049333CD}" presName="Image" presStyleLbl="alignNode1" presStyleIdx="0" presStyleCnt="5"/>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184B057C-0605-486A-89C1-596ABFA39B0E}" type="pres">
      <dgm:prSet presAssocID="{0A22D989-EA33-44F3-BCE3-FE6E049333CD}" presName="Accent" presStyleLbl="parChTrans1D1" presStyleIdx="0" presStyleCnt="5"/>
      <dgm:spPr/>
    </dgm:pt>
    <dgm:pt modelId="{1A752B64-E8DE-4BFE-B445-215ADB851A00}" type="pres">
      <dgm:prSet presAssocID="{0A22D989-EA33-44F3-BCE3-FE6E049333CD}" presName="Parent" presStyleLbl="revTx" presStyleIdx="0" presStyleCnt="5">
        <dgm:presLayoutVars>
          <dgm:chMax val="0"/>
          <dgm:chPref val="0"/>
          <dgm:bulletEnabled val="1"/>
        </dgm:presLayoutVars>
      </dgm:prSet>
      <dgm:spPr/>
    </dgm:pt>
    <dgm:pt modelId="{EDFBDA66-48FA-4B6E-B232-CA93961C2ACF}" type="pres">
      <dgm:prSet presAssocID="{62F7DB26-60F8-484C-900D-50976DE4D762}" presName="sibTrans" presStyleCnt="0"/>
      <dgm:spPr/>
    </dgm:pt>
    <dgm:pt modelId="{5ED58E91-89DC-4A8D-B8F6-F54779C2B80B}" type="pres">
      <dgm:prSet presAssocID="{B5BC1256-93A6-453E-A93B-E2E3DB259DC2}" presName="composite" presStyleCnt="0"/>
      <dgm:spPr/>
    </dgm:pt>
    <dgm:pt modelId="{CBC9F2AD-0BC7-4B38-BD6B-566441BB46A1}" type="pres">
      <dgm:prSet presAssocID="{B5BC1256-93A6-453E-A93B-E2E3DB259DC2}" presName="Image" presStyleLbl="alignNode1" presStyleIdx="1" presStyleCnt="5"/>
      <dgm:spPr>
        <a:blipFill rotWithShape="1">
          <a:blip xmlns:r="http://schemas.openxmlformats.org/officeDocument/2006/relationships" r:embed="rId2"/>
          <a:srcRect/>
          <a:stretch>
            <a:fillRect/>
          </a:stretch>
        </a:blipFill>
      </dgm:spPr>
    </dgm:pt>
    <dgm:pt modelId="{1BF1B2F9-387C-4959-9617-F33E98146857}" type="pres">
      <dgm:prSet presAssocID="{B5BC1256-93A6-453E-A93B-E2E3DB259DC2}" presName="Accent" presStyleLbl="parChTrans1D1" presStyleIdx="1" presStyleCnt="5"/>
      <dgm:spPr/>
    </dgm:pt>
    <dgm:pt modelId="{D2FF75DD-84FB-4498-AE3A-55B128DBE933}" type="pres">
      <dgm:prSet presAssocID="{B5BC1256-93A6-453E-A93B-E2E3DB259DC2}" presName="Parent" presStyleLbl="revTx" presStyleIdx="1" presStyleCnt="5" custScaleY="103331" custLinFactNeighborX="832" custLinFactNeighborY="10844">
        <dgm:presLayoutVars>
          <dgm:chMax val="0"/>
          <dgm:chPref val="0"/>
          <dgm:bulletEnabled val="1"/>
        </dgm:presLayoutVars>
      </dgm:prSet>
      <dgm:spPr/>
    </dgm:pt>
    <dgm:pt modelId="{05931EDF-F1CB-41C2-B4DD-2000A8CFCCBF}" type="pres">
      <dgm:prSet presAssocID="{11968817-6DEB-41C4-9C1A-3C8B83D30C7B}" presName="sibTrans" presStyleCnt="0"/>
      <dgm:spPr/>
    </dgm:pt>
    <dgm:pt modelId="{DDF02DC1-4237-46F2-ABF4-BD367F5A8F2B}" type="pres">
      <dgm:prSet presAssocID="{35E0102E-EFD7-4231-A5DE-37DF983E259A}" presName="composite" presStyleCnt="0"/>
      <dgm:spPr/>
    </dgm:pt>
    <dgm:pt modelId="{6EC9C8D7-EFFB-4496-A3F5-BD915D10DEFA}" type="pres">
      <dgm:prSet presAssocID="{35E0102E-EFD7-4231-A5DE-37DF983E259A}" presName="Image" presStyleLbl="alignNode1" presStyleIdx="2" presStyleCnt="5"/>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6A4FF201-5F75-4FC3-A5D7-27EC9298559C}" type="pres">
      <dgm:prSet presAssocID="{35E0102E-EFD7-4231-A5DE-37DF983E259A}" presName="Accent" presStyleLbl="parChTrans1D1" presStyleIdx="2" presStyleCnt="5"/>
      <dgm:spPr/>
    </dgm:pt>
    <dgm:pt modelId="{0A208B3E-E651-4A18-8B2E-4CA13273EEFF}" type="pres">
      <dgm:prSet presAssocID="{35E0102E-EFD7-4231-A5DE-37DF983E259A}" presName="Parent" presStyleLbl="revTx" presStyleIdx="2" presStyleCnt="5">
        <dgm:presLayoutVars>
          <dgm:chMax val="0"/>
          <dgm:chPref val="0"/>
          <dgm:bulletEnabled val="1"/>
        </dgm:presLayoutVars>
      </dgm:prSet>
      <dgm:spPr/>
    </dgm:pt>
    <dgm:pt modelId="{225F95C5-B14B-41D3-9C5E-C382B717CA99}" type="pres">
      <dgm:prSet presAssocID="{D53136E9-2984-4C33-B120-868D1F724BFF}" presName="sibTrans" presStyleCnt="0"/>
      <dgm:spPr/>
    </dgm:pt>
    <dgm:pt modelId="{B87EA147-474D-4A33-A14C-C644B683CA94}" type="pres">
      <dgm:prSet presAssocID="{04C89E14-0F3D-40FA-AEDC-F0974B9ACEEE}" presName="composite" presStyleCnt="0"/>
      <dgm:spPr/>
    </dgm:pt>
    <dgm:pt modelId="{1C7F089E-7D30-4CBD-8779-85C03138EFA7}" type="pres">
      <dgm:prSet presAssocID="{04C89E14-0F3D-40FA-AEDC-F0974B9ACEEE}" presName="Image" presStyleLbl="alignNode1" presStyleIdx="3" presStyleCnt="5"/>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94BE888C-77D1-4D14-9026-94D4F1F90D37}" type="pres">
      <dgm:prSet presAssocID="{04C89E14-0F3D-40FA-AEDC-F0974B9ACEEE}" presName="Accent" presStyleLbl="parChTrans1D1" presStyleIdx="3" presStyleCnt="5"/>
      <dgm:spPr/>
    </dgm:pt>
    <dgm:pt modelId="{4FE1619C-A027-4524-BBE2-AE8DE0FB9304}" type="pres">
      <dgm:prSet presAssocID="{04C89E14-0F3D-40FA-AEDC-F0974B9ACEEE}" presName="Parent" presStyleLbl="revTx" presStyleIdx="3" presStyleCnt="5">
        <dgm:presLayoutVars>
          <dgm:chMax val="0"/>
          <dgm:chPref val="0"/>
          <dgm:bulletEnabled val="1"/>
        </dgm:presLayoutVars>
      </dgm:prSet>
      <dgm:spPr/>
    </dgm:pt>
    <dgm:pt modelId="{A2C5E822-1166-42D5-9D91-15848D8D863D}" type="pres">
      <dgm:prSet presAssocID="{AAD743D6-E5CE-4344-A399-8805B534402C}" presName="sibTrans" presStyleCnt="0"/>
      <dgm:spPr/>
    </dgm:pt>
    <dgm:pt modelId="{B9864FAA-B002-431E-A3FF-86DD1FE3DE76}" type="pres">
      <dgm:prSet presAssocID="{286E73D0-4611-4E1A-9002-C278C0234EB7}" presName="composite" presStyleCnt="0"/>
      <dgm:spPr/>
    </dgm:pt>
    <dgm:pt modelId="{97DB6064-B2D9-457F-BD82-39545FF9DFF2}" type="pres">
      <dgm:prSet presAssocID="{286E73D0-4611-4E1A-9002-C278C0234EB7}" presName="Image" presStyleLbl="alignNode1" presStyleIdx="4" presStyleCnt="5"/>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B2A41E29-C51D-4518-9203-BA88888BF4B5}" type="pres">
      <dgm:prSet presAssocID="{286E73D0-4611-4E1A-9002-C278C0234EB7}" presName="Accent" presStyleLbl="parChTrans1D1" presStyleIdx="4" presStyleCnt="5"/>
      <dgm:spPr/>
    </dgm:pt>
    <dgm:pt modelId="{BC566FDF-AA8A-463E-822F-54C05EB6FEBE}" type="pres">
      <dgm:prSet presAssocID="{286E73D0-4611-4E1A-9002-C278C0234EB7}" presName="Parent" presStyleLbl="revTx" presStyleIdx="4" presStyleCnt="5">
        <dgm:presLayoutVars>
          <dgm:chMax val="0"/>
          <dgm:chPref val="0"/>
          <dgm:bulletEnabled val="1"/>
        </dgm:presLayoutVars>
      </dgm:prSet>
      <dgm:spPr/>
    </dgm:pt>
  </dgm:ptLst>
  <dgm:cxnLst>
    <dgm:cxn modelId="{B54A0900-8724-465A-9EE4-F343F6D66F74}" type="presOf" srcId="{9A1C37AD-0FFA-426B-B6B5-914005BAD3D7}" destId="{33772906-D836-4616-ADF2-B21D649AE468}" srcOrd="0" destOrd="0" presId="urn:microsoft.com/office/officeart/2008/layout/PictureLineup"/>
    <dgm:cxn modelId="{5198961E-8733-454E-8B3C-3BAADD97ED47}" type="presOf" srcId="{1A2D39D6-0E5B-4A48-86C9-574F8FD9D3AA}" destId="{0A208B3E-E651-4A18-8B2E-4CA13273EEFF}" srcOrd="0" destOrd="2" presId="urn:microsoft.com/office/officeart/2008/layout/PictureLineup"/>
    <dgm:cxn modelId="{A7B7283A-5AC1-4DA7-ACA2-F0B1AFDDAD4B}" srcId="{04C89E14-0F3D-40FA-AEDC-F0974B9ACEEE}" destId="{B64382FF-A4B1-4C59-A4FB-001800913294}" srcOrd="0" destOrd="0" parTransId="{FB18ECDC-BD90-45D6-9ED4-F9DA653C6195}" sibTransId="{32F504F7-7D0F-44B7-8D85-34066EFEE09F}"/>
    <dgm:cxn modelId="{B715F03B-2DEB-458C-B916-F3675CDA540E}" srcId="{35E0102E-EFD7-4231-A5DE-37DF983E259A}" destId="{B9C405A5-D000-4A9E-A62F-334F6480521B}" srcOrd="0" destOrd="0" parTransId="{719B748E-D4B9-447C-BFAD-3900D66545E4}" sibTransId="{C3E63851-DA90-4389-B9AE-4BEF50AD3115}"/>
    <dgm:cxn modelId="{BB1DC33F-F289-4977-AC2A-61F4AA59981E}" srcId="{286E73D0-4611-4E1A-9002-C278C0234EB7}" destId="{3B7D8919-4629-489D-A4D9-F3BE73A21D4E}" srcOrd="0" destOrd="0" parTransId="{1954AFED-C829-4D7F-9D67-E671AACD68C4}" sibTransId="{414637BF-36E1-4777-A5AC-B0ED3C934698}"/>
    <dgm:cxn modelId="{09FB2F71-CAED-4C7A-86F8-B407CBC88E9F}" type="presOf" srcId="{8A1377D3-04E6-4680-88A7-C5A092D552C5}" destId="{D2FF75DD-84FB-4498-AE3A-55B128DBE933}" srcOrd="0" destOrd="2" presId="urn:microsoft.com/office/officeart/2008/layout/PictureLineup"/>
    <dgm:cxn modelId="{30613D72-15C7-4B5F-A823-EE1CC3584B6F}" srcId="{35E0102E-EFD7-4231-A5DE-37DF983E259A}" destId="{1A2D39D6-0E5B-4A48-86C9-574F8FD9D3AA}" srcOrd="1" destOrd="0" parTransId="{63CFFE07-5F8C-47A3-94A2-1AF12CFF0B30}" sibTransId="{46C795B7-E4A7-4748-BDEB-739DCD18D8A2}"/>
    <dgm:cxn modelId="{DA5A0654-E57A-44BA-A38F-FC12429CFA1E}" type="presOf" srcId="{92ABF4DF-117C-41BF-A0F0-8F13C392AEA5}" destId="{1A752B64-E8DE-4BFE-B445-215ADB851A00}" srcOrd="0" destOrd="2" presId="urn:microsoft.com/office/officeart/2008/layout/PictureLineup"/>
    <dgm:cxn modelId="{DAE1A474-D6F4-45A1-B646-DE9CFDAA2BD1}" srcId="{B5BC1256-93A6-453E-A93B-E2E3DB259DC2}" destId="{DC9BCD71-FEB9-4C4C-AF1C-80A1DBAFB4FA}" srcOrd="0" destOrd="0" parTransId="{3C27CC83-42E9-43F4-A195-A5950F72C6F9}" sibTransId="{BC2B7C92-F3F8-4ED0-B823-34F3680DC7F0}"/>
    <dgm:cxn modelId="{5BA05B7A-2606-464B-9387-19379CFF9022}" srcId="{0A22D989-EA33-44F3-BCE3-FE6E049333CD}" destId="{6A3E18A0-AA65-4A8F-B8C2-EF670887FE80}" srcOrd="0" destOrd="0" parTransId="{1FFC36FB-7334-4E37-BD23-24C2CE2D437F}" sibTransId="{A688AFF9-0245-47A4-A43D-EBC24EAD3427}"/>
    <dgm:cxn modelId="{84669784-76DF-4285-8477-501D63266BF8}" type="presOf" srcId="{B9C405A5-D000-4A9E-A62F-334F6480521B}" destId="{0A208B3E-E651-4A18-8B2E-4CA13273EEFF}" srcOrd="0" destOrd="1" presId="urn:microsoft.com/office/officeart/2008/layout/PictureLineup"/>
    <dgm:cxn modelId="{79758793-3691-496A-8C3E-AD837F896404}" type="presOf" srcId="{286E73D0-4611-4E1A-9002-C278C0234EB7}" destId="{BC566FDF-AA8A-463E-822F-54C05EB6FEBE}" srcOrd="0" destOrd="0" presId="urn:microsoft.com/office/officeart/2008/layout/PictureLineup"/>
    <dgm:cxn modelId="{ACF63F96-C03F-46FA-ACEE-712C8D2E00CD}" type="presOf" srcId="{B5BC1256-93A6-453E-A93B-E2E3DB259DC2}" destId="{D2FF75DD-84FB-4498-AE3A-55B128DBE933}" srcOrd="0" destOrd="0" presId="urn:microsoft.com/office/officeart/2008/layout/PictureLineup"/>
    <dgm:cxn modelId="{D4CAAE99-9D24-4804-A9C0-02DAEC59A6D3}" type="presOf" srcId="{04C89E14-0F3D-40FA-AEDC-F0974B9ACEEE}" destId="{4FE1619C-A027-4524-BBE2-AE8DE0FB9304}" srcOrd="0" destOrd="0" presId="urn:microsoft.com/office/officeart/2008/layout/PictureLineup"/>
    <dgm:cxn modelId="{3712F69B-FFFD-4217-A0F6-58FE31EFFF9F}" srcId="{9A1C37AD-0FFA-426B-B6B5-914005BAD3D7}" destId="{35E0102E-EFD7-4231-A5DE-37DF983E259A}" srcOrd="2" destOrd="0" parTransId="{46B9F23E-00A9-4579-8E91-3E5BDFD4CAB5}" sibTransId="{D53136E9-2984-4C33-B120-868D1F724BFF}"/>
    <dgm:cxn modelId="{DD2E48A5-C41B-4BF9-93F1-87D24E41AF14}" type="presOf" srcId="{DC9BCD71-FEB9-4C4C-AF1C-80A1DBAFB4FA}" destId="{D2FF75DD-84FB-4498-AE3A-55B128DBE933}" srcOrd="0" destOrd="1" presId="urn:microsoft.com/office/officeart/2008/layout/PictureLineup"/>
    <dgm:cxn modelId="{91F65FBD-5663-4BB0-B8BC-0CB5B33F04E8}" srcId="{9A1C37AD-0FFA-426B-B6B5-914005BAD3D7}" destId="{04C89E14-0F3D-40FA-AEDC-F0974B9ACEEE}" srcOrd="3" destOrd="0" parTransId="{4E5DDFBE-8B91-42B2-A342-40E0352B1ED4}" sibTransId="{AAD743D6-E5CE-4344-A399-8805B534402C}"/>
    <dgm:cxn modelId="{1E65CBBE-5382-4821-ACC5-6579FB2F2498}" type="presOf" srcId="{35E0102E-EFD7-4231-A5DE-37DF983E259A}" destId="{0A208B3E-E651-4A18-8B2E-4CA13273EEFF}" srcOrd="0" destOrd="0" presId="urn:microsoft.com/office/officeart/2008/layout/PictureLineup"/>
    <dgm:cxn modelId="{C2CE4FC1-005C-4379-BB98-503D97D8F2BD}" type="presOf" srcId="{3B7D8919-4629-489D-A4D9-F3BE73A21D4E}" destId="{BC566FDF-AA8A-463E-822F-54C05EB6FEBE}" srcOrd="0" destOrd="1" presId="urn:microsoft.com/office/officeart/2008/layout/PictureLineup"/>
    <dgm:cxn modelId="{87F997C3-9C12-4413-ADF4-1CD8E04F54D3}" type="presOf" srcId="{0A22D989-EA33-44F3-BCE3-FE6E049333CD}" destId="{1A752B64-E8DE-4BFE-B445-215ADB851A00}" srcOrd="0" destOrd="0" presId="urn:microsoft.com/office/officeart/2008/layout/PictureLineup"/>
    <dgm:cxn modelId="{37544CC7-8B83-490F-B726-A7BDC9215F68}" srcId="{9A1C37AD-0FFA-426B-B6B5-914005BAD3D7}" destId="{0A22D989-EA33-44F3-BCE3-FE6E049333CD}" srcOrd="0" destOrd="0" parTransId="{B10561B5-40B7-473A-8531-0CC11AD9D434}" sibTransId="{62F7DB26-60F8-484C-900D-50976DE4D762}"/>
    <dgm:cxn modelId="{FF39FDC9-1423-4D7C-9C16-2F89A1AA98B5}" srcId="{B5BC1256-93A6-453E-A93B-E2E3DB259DC2}" destId="{8A1377D3-04E6-4680-88A7-C5A092D552C5}" srcOrd="1" destOrd="0" parTransId="{906C3FB4-DE0C-4F6B-9100-0177ED3C82E2}" sibTransId="{024C3F27-619A-469D-8458-532F5BF02992}"/>
    <dgm:cxn modelId="{B1E4A3CA-176D-468C-9F75-446B873947EB}" type="presOf" srcId="{B64382FF-A4B1-4C59-A4FB-001800913294}" destId="{4FE1619C-A027-4524-BBE2-AE8DE0FB9304}" srcOrd="0" destOrd="1" presId="urn:microsoft.com/office/officeart/2008/layout/PictureLineup"/>
    <dgm:cxn modelId="{38DC16CE-4B7F-4F1E-B8A5-B81AB93A2AE8}" srcId="{0A22D989-EA33-44F3-BCE3-FE6E049333CD}" destId="{92ABF4DF-117C-41BF-A0F0-8F13C392AEA5}" srcOrd="1" destOrd="0" parTransId="{FB55888D-8870-4247-9DCF-72FDA82FBB90}" sibTransId="{5C86D771-54A0-44E1-ADCC-8C180E32D3E4}"/>
    <dgm:cxn modelId="{3EAB80D1-BFF7-4288-9714-500AE3C43DD9}" srcId="{9A1C37AD-0FFA-426B-B6B5-914005BAD3D7}" destId="{286E73D0-4611-4E1A-9002-C278C0234EB7}" srcOrd="4" destOrd="0" parTransId="{6135C109-BECC-4A09-AA9E-5326AB4613C7}" sibTransId="{3154DF96-BAB8-41FF-8CF5-CE0EE73D6226}"/>
    <dgm:cxn modelId="{BDA460D3-80A1-41A3-808F-18FEB1C7E409}" type="presOf" srcId="{6A3E18A0-AA65-4A8F-B8C2-EF670887FE80}" destId="{1A752B64-E8DE-4BFE-B445-215ADB851A00}" srcOrd="0" destOrd="1" presId="urn:microsoft.com/office/officeart/2008/layout/PictureLineup"/>
    <dgm:cxn modelId="{A3CE59E9-06E0-4AC0-9031-E69E9F209E30}" srcId="{9A1C37AD-0FFA-426B-B6B5-914005BAD3D7}" destId="{B5BC1256-93A6-453E-A93B-E2E3DB259DC2}" srcOrd="1" destOrd="0" parTransId="{F83B8D4A-9C39-40E1-9040-87C8808418FB}" sibTransId="{11968817-6DEB-41C4-9C1A-3C8B83D30C7B}"/>
    <dgm:cxn modelId="{D6EE9DB4-B7A9-45C3-8BCE-14959B5A616E}" type="presParOf" srcId="{33772906-D836-4616-ADF2-B21D649AE468}" destId="{58F67629-9CFC-40A3-943C-4CBFBAD89130}" srcOrd="0" destOrd="0" presId="urn:microsoft.com/office/officeart/2008/layout/PictureLineup"/>
    <dgm:cxn modelId="{5155CA9B-DA93-4FEA-9481-7379884CFE0F}" type="presParOf" srcId="{58F67629-9CFC-40A3-943C-4CBFBAD89130}" destId="{1280BDD8-7010-4E25-B84F-15804A23760B}" srcOrd="0" destOrd="0" presId="urn:microsoft.com/office/officeart/2008/layout/PictureLineup"/>
    <dgm:cxn modelId="{E3B2F15B-176F-4293-A7DE-4A2F0DE56403}" type="presParOf" srcId="{58F67629-9CFC-40A3-943C-4CBFBAD89130}" destId="{184B057C-0605-486A-89C1-596ABFA39B0E}" srcOrd="1" destOrd="0" presId="urn:microsoft.com/office/officeart/2008/layout/PictureLineup"/>
    <dgm:cxn modelId="{BBEB4AC6-0A7C-4EDB-BB87-849EBD6C0401}" type="presParOf" srcId="{58F67629-9CFC-40A3-943C-4CBFBAD89130}" destId="{1A752B64-E8DE-4BFE-B445-215ADB851A00}" srcOrd="2" destOrd="0" presId="urn:microsoft.com/office/officeart/2008/layout/PictureLineup"/>
    <dgm:cxn modelId="{AED53175-88EF-448A-B764-DF843E5E8644}" type="presParOf" srcId="{33772906-D836-4616-ADF2-B21D649AE468}" destId="{EDFBDA66-48FA-4B6E-B232-CA93961C2ACF}" srcOrd="1" destOrd="0" presId="urn:microsoft.com/office/officeart/2008/layout/PictureLineup"/>
    <dgm:cxn modelId="{59DE5DD8-E9E7-4CF9-8992-73BBDDFDD0CD}" type="presParOf" srcId="{33772906-D836-4616-ADF2-B21D649AE468}" destId="{5ED58E91-89DC-4A8D-B8F6-F54779C2B80B}" srcOrd="2" destOrd="0" presId="urn:microsoft.com/office/officeart/2008/layout/PictureLineup"/>
    <dgm:cxn modelId="{D0452F57-E7E2-4A1A-A628-B0E1AB0E158C}" type="presParOf" srcId="{5ED58E91-89DC-4A8D-B8F6-F54779C2B80B}" destId="{CBC9F2AD-0BC7-4B38-BD6B-566441BB46A1}" srcOrd="0" destOrd="0" presId="urn:microsoft.com/office/officeart/2008/layout/PictureLineup"/>
    <dgm:cxn modelId="{F094C51E-C1FC-456E-9633-82136F5737B7}" type="presParOf" srcId="{5ED58E91-89DC-4A8D-B8F6-F54779C2B80B}" destId="{1BF1B2F9-387C-4959-9617-F33E98146857}" srcOrd="1" destOrd="0" presId="urn:microsoft.com/office/officeart/2008/layout/PictureLineup"/>
    <dgm:cxn modelId="{F5E5DE5B-C2C8-4E47-A466-870F160045C6}" type="presParOf" srcId="{5ED58E91-89DC-4A8D-B8F6-F54779C2B80B}" destId="{D2FF75DD-84FB-4498-AE3A-55B128DBE933}" srcOrd="2" destOrd="0" presId="urn:microsoft.com/office/officeart/2008/layout/PictureLineup"/>
    <dgm:cxn modelId="{990E7E65-B214-405B-A370-779E3B362392}" type="presParOf" srcId="{33772906-D836-4616-ADF2-B21D649AE468}" destId="{05931EDF-F1CB-41C2-B4DD-2000A8CFCCBF}" srcOrd="3" destOrd="0" presId="urn:microsoft.com/office/officeart/2008/layout/PictureLineup"/>
    <dgm:cxn modelId="{FC08DD8F-C4B7-4332-9845-C2B19A2275F2}" type="presParOf" srcId="{33772906-D836-4616-ADF2-B21D649AE468}" destId="{DDF02DC1-4237-46F2-ABF4-BD367F5A8F2B}" srcOrd="4" destOrd="0" presId="urn:microsoft.com/office/officeart/2008/layout/PictureLineup"/>
    <dgm:cxn modelId="{CB4373D5-D3CE-46B6-B257-5B19FCAC2B95}" type="presParOf" srcId="{DDF02DC1-4237-46F2-ABF4-BD367F5A8F2B}" destId="{6EC9C8D7-EFFB-4496-A3F5-BD915D10DEFA}" srcOrd="0" destOrd="0" presId="urn:microsoft.com/office/officeart/2008/layout/PictureLineup"/>
    <dgm:cxn modelId="{DCE7CDB1-B66D-4FB8-9BC9-B9349F79AF96}" type="presParOf" srcId="{DDF02DC1-4237-46F2-ABF4-BD367F5A8F2B}" destId="{6A4FF201-5F75-4FC3-A5D7-27EC9298559C}" srcOrd="1" destOrd="0" presId="urn:microsoft.com/office/officeart/2008/layout/PictureLineup"/>
    <dgm:cxn modelId="{3F393484-42D8-456A-9D67-BA6DF5ACF75D}" type="presParOf" srcId="{DDF02DC1-4237-46F2-ABF4-BD367F5A8F2B}" destId="{0A208B3E-E651-4A18-8B2E-4CA13273EEFF}" srcOrd="2" destOrd="0" presId="urn:microsoft.com/office/officeart/2008/layout/PictureLineup"/>
    <dgm:cxn modelId="{2912FC7C-F327-49E7-95A9-104640EA35AF}" type="presParOf" srcId="{33772906-D836-4616-ADF2-B21D649AE468}" destId="{225F95C5-B14B-41D3-9C5E-C382B717CA99}" srcOrd="5" destOrd="0" presId="urn:microsoft.com/office/officeart/2008/layout/PictureLineup"/>
    <dgm:cxn modelId="{436963A7-4ACA-4848-BCDE-82E2D160B2E2}" type="presParOf" srcId="{33772906-D836-4616-ADF2-B21D649AE468}" destId="{B87EA147-474D-4A33-A14C-C644B683CA94}" srcOrd="6" destOrd="0" presId="urn:microsoft.com/office/officeart/2008/layout/PictureLineup"/>
    <dgm:cxn modelId="{4F95A063-D906-45E7-9624-07E5B37C94C4}" type="presParOf" srcId="{B87EA147-474D-4A33-A14C-C644B683CA94}" destId="{1C7F089E-7D30-4CBD-8779-85C03138EFA7}" srcOrd="0" destOrd="0" presId="urn:microsoft.com/office/officeart/2008/layout/PictureLineup"/>
    <dgm:cxn modelId="{5345AA74-1129-4865-A6CD-88952FADF860}" type="presParOf" srcId="{B87EA147-474D-4A33-A14C-C644B683CA94}" destId="{94BE888C-77D1-4D14-9026-94D4F1F90D37}" srcOrd="1" destOrd="0" presId="urn:microsoft.com/office/officeart/2008/layout/PictureLineup"/>
    <dgm:cxn modelId="{903B1069-60C1-4C05-8F2C-DED4FC42BD65}" type="presParOf" srcId="{B87EA147-474D-4A33-A14C-C644B683CA94}" destId="{4FE1619C-A027-4524-BBE2-AE8DE0FB9304}" srcOrd="2" destOrd="0" presId="urn:microsoft.com/office/officeart/2008/layout/PictureLineup"/>
    <dgm:cxn modelId="{FD73C121-3473-4FF5-9FFE-D98F59489F20}" type="presParOf" srcId="{33772906-D836-4616-ADF2-B21D649AE468}" destId="{A2C5E822-1166-42D5-9D91-15848D8D863D}" srcOrd="7" destOrd="0" presId="urn:microsoft.com/office/officeart/2008/layout/PictureLineup"/>
    <dgm:cxn modelId="{79CC9B11-4759-44C0-8090-B123194B05AF}" type="presParOf" srcId="{33772906-D836-4616-ADF2-B21D649AE468}" destId="{B9864FAA-B002-431E-A3FF-86DD1FE3DE76}" srcOrd="8" destOrd="0" presId="urn:microsoft.com/office/officeart/2008/layout/PictureLineup"/>
    <dgm:cxn modelId="{CC22D5D1-B447-4E3C-B0BC-C68FEF512327}" type="presParOf" srcId="{B9864FAA-B002-431E-A3FF-86DD1FE3DE76}" destId="{97DB6064-B2D9-457F-BD82-39545FF9DFF2}" srcOrd="0" destOrd="0" presId="urn:microsoft.com/office/officeart/2008/layout/PictureLineup"/>
    <dgm:cxn modelId="{035B98E8-CB7A-45CB-BF92-06ECB9A28B8B}" type="presParOf" srcId="{B9864FAA-B002-431E-A3FF-86DD1FE3DE76}" destId="{B2A41E29-C51D-4518-9203-BA88888BF4B5}" srcOrd="1" destOrd="0" presId="urn:microsoft.com/office/officeart/2008/layout/PictureLineup"/>
    <dgm:cxn modelId="{6718B999-D919-43DE-B9A4-6A1C91E16995}" type="presParOf" srcId="{B9864FAA-B002-431E-A3FF-86DD1FE3DE76}" destId="{BC566FDF-AA8A-463E-822F-54C05EB6FEBE}" srcOrd="2" destOrd="0" presId="urn:microsoft.com/office/officeart/2008/layout/PictureLineup"/>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A9DD8C3D-54B8-43BF-8784-6900596A3B47}" type="doc">
      <dgm:prSet loTypeId="urn:microsoft.com/office/officeart/2005/8/layout/venn2" loCatId="relationship" qsTypeId="urn:microsoft.com/office/officeart/2005/8/quickstyle/simple3" qsCatId="simple" csTypeId="urn:microsoft.com/office/officeart/2005/8/colors/accent1_4" csCatId="accent1" phldr="1"/>
      <dgm:spPr/>
      <dgm:t>
        <a:bodyPr/>
        <a:lstStyle/>
        <a:p>
          <a:endParaRPr lang="es-ES"/>
        </a:p>
      </dgm:t>
    </dgm:pt>
    <dgm:pt modelId="{386C7D32-B36A-47CF-8860-56C7C0F12E3C}">
      <dgm:prSet phldrT="[Texto]" custT="1"/>
      <dgm:spPr/>
      <dgm:t>
        <a:bodyPr/>
        <a:lstStyle/>
        <a:p>
          <a:r>
            <a:rPr lang="es-ES" sz="1800" b="1" noProof="0" dirty="0"/>
            <a:t>IA </a:t>
          </a:r>
          <a:r>
            <a:rPr lang="es-ES" sz="1800" noProof="0" dirty="0"/>
            <a:t>Inteligencia Artificial</a:t>
          </a:r>
          <a:endParaRPr lang="es-ES" sz="1800" dirty="0"/>
        </a:p>
      </dgm:t>
    </dgm:pt>
    <dgm:pt modelId="{9F51B4F9-BDB7-46D1-B1D5-B85821A16297}" type="parTrans" cxnId="{D8933008-E4CB-481D-9876-388846789282}">
      <dgm:prSet/>
      <dgm:spPr/>
      <dgm:t>
        <a:bodyPr/>
        <a:lstStyle/>
        <a:p>
          <a:endParaRPr lang="es-ES" sz="1800"/>
        </a:p>
      </dgm:t>
    </dgm:pt>
    <dgm:pt modelId="{E39A6BCD-3C2D-4FEE-B771-B109D9C1FDD1}" type="sibTrans" cxnId="{D8933008-E4CB-481D-9876-388846789282}">
      <dgm:prSet/>
      <dgm:spPr/>
      <dgm:t>
        <a:bodyPr/>
        <a:lstStyle/>
        <a:p>
          <a:endParaRPr lang="es-ES" sz="1800"/>
        </a:p>
      </dgm:t>
    </dgm:pt>
    <dgm:pt modelId="{6483F84E-47BD-4DC1-AA68-3E6BA1ED6434}">
      <dgm:prSet phldrT="[Texto]" custT="1"/>
      <dgm:spPr/>
      <dgm:t>
        <a:bodyPr/>
        <a:lstStyle/>
        <a:p>
          <a:r>
            <a:rPr lang="es-ES" sz="1800" b="1" noProof="0" dirty="0"/>
            <a:t>ML</a:t>
          </a:r>
          <a:r>
            <a:rPr lang="es-ES" sz="1800" noProof="0" dirty="0"/>
            <a:t> Machine Learning</a:t>
          </a:r>
          <a:endParaRPr lang="es-ES" sz="1800" dirty="0"/>
        </a:p>
      </dgm:t>
    </dgm:pt>
    <dgm:pt modelId="{94F94F45-FB98-40DE-ADD8-83F00D7D37A7}" type="parTrans" cxnId="{D1B59CDD-2FB1-450A-9789-62F0D0E9C64B}">
      <dgm:prSet/>
      <dgm:spPr/>
      <dgm:t>
        <a:bodyPr/>
        <a:lstStyle/>
        <a:p>
          <a:endParaRPr lang="es-ES" sz="1800"/>
        </a:p>
      </dgm:t>
    </dgm:pt>
    <dgm:pt modelId="{D3CE1638-C72E-4575-B99A-A918C92868D1}" type="sibTrans" cxnId="{D1B59CDD-2FB1-450A-9789-62F0D0E9C64B}">
      <dgm:prSet/>
      <dgm:spPr/>
      <dgm:t>
        <a:bodyPr/>
        <a:lstStyle/>
        <a:p>
          <a:endParaRPr lang="es-ES" sz="1800"/>
        </a:p>
      </dgm:t>
    </dgm:pt>
    <dgm:pt modelId="{5F1A500C-6F49-4B81-AD1F-F296DD7AE498}">
      <dgm:prSet phldrT="[Texto]" custT="1"/>
      <dgm:spPr/>
      <dgm:t>
        <a:bodyPr/>
        <a:lstStyle/>
        <a:p>
          <a:r>
            <a:rPr lang="es-ES" sz="1800" b="1" noProof="0" dirty="0"/>
            <a:t>DL</a:t>
          </a:r>
        </a:p>
        <a:p>
          <a:r>
            <a:rPr lang="es-ES" sz="1800" noProof="0" dirty="0"/>
            <a:t>Deep Learning</a:t>
          </a:r>
          <a:endParaRPr lang="es-ES" sz="1800" dirty="0"/>
        </a:p>
      </dgm:t>
    </dgm:pt>
    <dgm:pt modelId="{C857E964-336B-4790-A0A6-F98CF7DDD557}" type="parTrans" cxnId="{2C3E0599-84AE-4634-9B4B-B310EA2AC493}">
      <dgm:prSet/>
      <dgm:spPr/>
      <dgm:t>
        <a:bodyPr/>
        <a:lstStyle/>
        <a:p>
          <a:endParaRPr lang="es-ES" sz="1800"/>
        </a:p>
      </dgm:t>
    </dgm:pt>
    <dgm:pt modelId="{7736BD68-A183-487D-ADD7-74E857BC328B}" type="sibTrans" cxnId="{2C3E0599-84AE-4634-9B4B-B310EA2AC493}">
      <dgm:prSet/>
      <dgm:spPr/>
      <dgm:t>
        <a:bodyPr/>
        <a:lstStyle/>
        <a:p>
          <a:endParaRPr lang="es-ES" sz="1800"/>
        </a:p>
      </dgm:t>
    </dgm:pt>
    <dgm:pt modelId="{A926551C-4897-46E0-97D1-6DE9CAA39F05}" type="pres">
      <dgm:prSet presAssocID="{A9DD8C3D-54B8-43BF-8784-6900596A3B47}" presName="Name0" presStyleCnt="0">
        <dgm:presLayoutVars>
          <dgm:chMax val="7"/>
          <dgm:resizeHandles val="exact"/>
        </dgm:presLayoutVars>
      </dgm:prSet>
      <dgm:spPr/>
    </dgm:pt>
    <dgm:pt modelId="{475D8D41-41E7-4E64-ADF3-A18A983022A1}" type="pres">
      <dgm:prSet presAssocID="{A9DD8C3D-54B8-43BF-8784-6900596A3B47}" presName="comp1" presStyleCnt="0"/>
      <dgm:spPr/>
    </dgm:pt>
    <dgm:pt modelId="{2255244D-FF15-4636-89DD-758FE3BD95C2}" type="pres">
      <dgm:prSet presAssocID="{A9DD8C3D-54B8-43BF-8784-6900596A3B47}" presName="circle1" presStyleLbl="node1" presStyleIdx="0" presStyleCnt="3"/>
      <dgm:spPr/>
    </dgm:pt>
    <dgm:pt modelId="{9DDD87C0-BB9C-4D66-8CCC-B46BB1CE8D1E}" type="pres">
      <dgm:prSet presAssocID="{A9DD8C3D-54B8-43BF-8784-6900596A3B47}" presName="c1text" presStyleLbl="node1" presStyleIdx="0" presStyleCnt="3">
        <dgm:presLayoutVars>
          <dgm:bulletEnabled val="1"/>
        </dgm:presLayoutVars>
      </dgm:prSet>
      <dgm:spPr/>
    </dgm:pt>
    <dgm:pt modelId="{7A6E3E0D-0869-416F-A1E7-E753E1544EDC}" type="pres">
      <dgm:prSet presAssocID="{A9DD8C3D-54B8-43BF-8784-6900596A3B47}" presName="comp2" presStyleCnt="0"/>
      <dgm:spPr/>
    </dgm:pt>
    <dgm:pt modelId="{EDBD8C05-277E-4273-908B-19D80FED0128}" type="pres">
      <dgm:prSet presAssocID="{A9DD8C3D-54B8-43BF-8784-6900596A3B47}" presName="circle2" presStyleLbl="node1" presStyleIdx="1" presStyleCnt="3"/>
      <dgm:spPr/>
    </dgm:pt>
    <dgm:pt modelId="{73BB3CE3-0F2F-45E4-A3B0-4B36A2BE88F4}" type="pres">
      <dgm:prSet presAssocID="{A9DD8C3D-54B8-43BF-8784-6900596A3B47}" presName="c2text" presStyleLbl="node1" presStyleIdx="1" presStyleCnt="3">
        <dgm:presLayoutVars>
          <dgm:bulletEnabled val="1"/>
        </dgm:presLayoutVars>
      </dgm:prSet>
      <dgm:spPr/>
    </dgm:pt>
    <dgm:pt modelId="{5B1A1241-E7D7-4935-B0D3-2B8D2CF0772E}" type="pres">
      <dgm:prSet presAssocID="{A9DD8C3D-54B8-43BF-8784-6900596A3B47}" presName="comp3" presStyleCnt="0"/>
      <dgm:spPr/>
    </dgm:pt>
    <dgm:pt modelId="{0BE99B4A-5C51-4CC4-9EE1-643F601E773B}" type="pres">
      <dgm:prSet presAssocID="{A9DD8C3D-54B8-43BF-8784-6900596A3B47}" presName="circle3" presStyleLbl="node1" presStyleIdx="2" presStyleCnt="3"/>
      <dgm:spPr/>
    </dgm:pt>
    <dgm:pt modelId="{3A0C9243-9A8D-4810-AA46-54F181A0A37F}" type="pres">
      <dgm:prSet presAssocID="{A9DD8C3D-54B8-43BF-8784-6900596A3B47}" presName="c3text" presStyleLbl="node1" presStyleIdx="2" presStyleCnt="3">
        <dgm:presLayoutVars>
          <dgm:bulletEnabled val="1"/>
        </dgm:presLayoutVars>
      </dgm:prSet>
      <dgm:spPr/>
    </dgm:pt>
  </dgm:ptLst>
  <dgm:cxnLst>
    <dgm:cxn modelId="{A14EE807-494A-4ADE-932E-DE6DC1EBF2C7}" type="presOf" srcId="{6483F84E-47BD-4DC1-AA68-3E6BA1ED6434}" destId="{73BB3CE3-0F2F-45E4-A3B0-4B36A2BE88F4}" srcOrd="1" destOrd="0" presId="urn:microsoft.com/office/officeart/2005/8/layout/venn2"/>
    <dgm:cxn modelId="{D8933008-E4CB-481D-9876-388846789282}" srcId="{A9DD8C3D-54B8-43BF-8784-6900596A3B47}" destId="{386C7D32-B36A-47CF-8860-56C7C0F12E3C}" srcOrd="0" destOrd="0" parTransId="{9F51B4F9-BDB7-46D1-B1D5-B85821A16297}" sibTransId="{E39A6BCD-3C2D-4FEE-B771-B109D9C1FDD1}"/>
    <dgm:cxn modelId="{4B888B25-BF16-4E2C-BF41-BA1B46C35D3B}" type="presOf" srcId="{5F1A500C-6F49-4B81-AD1F-F296DD7AE498}" destId="{0BE99B4A-5C51-4CC4-9EE1-643F601E773B}" srcOrd="0" destOrd="0" presId="urn:microsoft.com/office/officeart/2005/8/layout/venn2"/>
    <dgm:cxn modelId="{A79F8A44-BACE-418B-BE08-C7CAD133B1CC}" type="presOf" srcId="{386C7D32-B36A-47CF-8860-56C7C0F12E3C}" destId="{2255244D-FF15-4636-89DD-758FE3BD95C2}" srcOrd="0" destOrd="0" presId="urn:microsoft.com/office/officeart/2005/8/layout/venn2"/>
    <dgm:cxn modelId="{CB9E3247-6C8F-4EED-B343-561A93091B6D}" type="presOf" srcId="{5F1A500C-6F49-4B81-AD1F-F296DD7AE498}" destId="{3A0C9243-9A8D-4810-AA46-54F181A0A37F}" srcOrd="1" destOrd="0" presId="urn:microsoft.com/office/officeart/2005/8/layout/venn2"/>
    <dgm:cxn modelId="{141CCA68-B7E1-41CB-A2A7-A257BFC05FCA}" type="presOf" srcId="{A9DD8C3D-54B8-43BF-8784-6900596A3B47}" destId="{A926551C-4897-46E0-97D1-6DE9CAA39F05}" srcOrd="0" destOrd="0" presId="urn:microsoft.com/office/officeart/2005/8/layout/venn2"/>
    <dgm:cxn modelId="{F5EA9B84-93ED-4C18-AA30-DCA91565D12A}" type="presOf" srcId="{386C7D32-B36A-47CF-8860-56C7C0F12E3C}" destId="{9DDD87C0-BB9C-4D66-8CCC-B46BB1CE8D1E}" srcOrd="1" destOrd="0" presId="urn:microsoft.com/office/officeart/2005/8/layout/venn2"/>
    <dgm:cxn modelId="{ACE66894-31DE-4284-B89C-D1B167655FF1}" type="presOf" srcId="{6483F84E-47BD-4DC1-AA68-3E6BA1ED6434}" destId="{EDBD8C05-277E-4273-908B-19D80FED0128}" srcOrd="0" destOrd="0" presId="urn:microsoft.com/office/officeart/2005/8/layout/venn2"/>
    <dgm:cxn modelId="{2C3E0599-84AE-4634-9B4B-B310EA2AC493}" srcId="{A9DD8C3D-54B8-43BF-8784-6900596A3B47}" destId="{5F1A500C-6F49-4B81-AD1F-F296DD7AE498}" srcOrd="2" destOrd="0" parTransId="{C857E964-336B-4790-A0A6-F98CF7DDD557}" sibTransId="{7736BD68-A183-487D-ADD7-74E857BC328B}"/>
    <dgm:cxn modelId="{D1B59CDD-2FB1-450A-9789-62F0D0E9C64B}" srcId="{A9DD8C3D-54B8-43BF-8784-6900596A3B47}" destId="{6483F84E-47BD-4DC1-AA68-3E6BA1ED6434}" srcOrd="1" destOrd="0" parTransId="{94F94F45-FB98-40DE-ADD8-83F00D7D37A7}" sibTransId="{D3CE1638-C72E-4575-B99A-A918C92868D1}"/>
    <dgm:cxn modelId="{11134125-F6DE-4F05-A8DA-90D56A3A5D15}" type="presParOf" srcId="{A926551C-4897-46E0-97D1-6DE9CAA39F05}" destId="{475D8D41-41E7-4E64-ADF3-A18A983022A1}" srcOrd="0" destOrd="0" presId="urn:microsoft.com/office/officeart/2005/8/layout/venn2"/>
    <dgm:cxn modelId="{0987743D-BADF-4827-92F9-10A2D14274DC}" type="presParOf" srcId="{475D8D41-41E7-4E64-ADF3-A18A983022A1}" destId="{2255244D-FF15-4636-89DD-758FE3BD95C2}" srcOrd="0" destOrd="0" presId="urn:microsoft.com/office/officeart/2005/8/layout/venn2"/>
    <dgm:cxn modelId="{7DAF72DC-51C1-4E79-92B3-ED893360B7F8}" type="presParOf" srcId="{475D8D41-41E7-4E64-ADF3-A18A983022A1}" destId="{9DDD87C0-BB9C-4D66-8CCC-B46BB1CE8D1E}" srcOrd="1" destOrd="0" presId="urn:microsoft.com/office/officeart/2005/8/layout/venn2"/>
    <dgm:cxn modelId="{B6FC1F82-4975-4437-96BE-96D20A07B757}" type="presParOf" srcId="{A926551C-4897-46E0-97D1-6DE9CAA39F05}" destId="{7A6E3E0D-0869-416F-A1E7-E753E1544EDC}" srcOrd="1" destOrd="0" presId="urn:microsoft.com/office/officeart/2005/8/layout/venn2"/>
    <dgm:cxn modelId="{7A9AECF4-2416-45D8-AA1E-1254F9AA22A4}" type="presParOf" srcId="{7A6E3E0D-0869-416F-A1E7-E753E1544EDC}" destId="{EDBD8C05-277E-4273-908B-19D80FED0128}" srcOrd="0" destOrd="0" presId="urn:microsoft.com/office/officeart/2005/8/layout/venn2"/>
    <dgm:cxn modelId="{CA76D22B-2362-41B6-ADED-B664EDB79AE6}" type="presParOf" srcId="{7A6E3E0D-0869-416F-A1E7-E753E1544EDC}" destId="{73BB3CE3-0F2F-45E4-A3B0-4B36A2BE88F4}" srcOrd="1" destOrd="0" presId="urn:microsoft.com/office/officeart/2005/8/layout/venn2"/>
    <dgm:cxn modelId="{3D31BD32-D5A8-4432-8C25-C4BBAF526D34}" type="presParOf" srcId="{A926551C-4897-46E0-97D1-6DE9CAA39F05}" destId="{5B1A1241-E7D7-4935-B0D3-2B8D2CF0772E}" srcOrd="2" destOrd="0" presId="urn:microsoft.com/office/officeart/2005/8/layout/venn2"/>
    <dgm:cxn modelId="{7829808A-21BE-4A53-9175-62B3C4AF86FF}" type="presParOf" srcId="{5B1A1241-E7D7-4935-B0D3-2B8D2CF0772E}" destId="{0BE99B4A-5C51-4CC4-9EE1-643F601E773B}" srcOrd="0" destOrd="0" presId="urn:microsoft.com/office/officeart/2005/8/layout/venn2"/>
    <dgm:cxn modelId="{816D6F4A-2049-4FDE-9D6A-D394937CF302}" type="presParOf" srcId="{5B1A1241-E7D7-4935-B0D3-2B8D2CF0772E}" destId="{3A0C9243-9A8D-4810-AA46-54F181A0A37F}"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BD98CA4-DA2C-4861-A0A8-C9B482D6CBFF}" type="doc">
      <dgm:prSet loTypeId="urn:microsoft.com/office/officeart/2005/8/layout/hProcess11" loCatId="process" qsTypeId="urn:microsoft.com/office/officeart/2005/8/quickstyle/simple1" qsCatId="simple" csTypeId="urn:microsoft.com/office/officeart/2005/8/colors/accent1_2" csCatId="accent1" phldr="1"/>
      <dgm:spPr/>
    </dgm:pt>
    <dgm:pt modelId="{AF94972B-D56F-4545-B113-875A4E38DD40}">
      <dgm:prSet custT="1"/>
      <dgm:spPr/>
      <dgm:t>
        <a:bodyPr/>
        <a:lstStyle/>
        <a:p>
          <a:r>
            <a:rPr lang="en-US" sz="1600" dirty="0"/>
            <a:t>2020</a:t>
          </a:r>
          <a:endParaRPr lang="es-ES" sz="1600" dirty="0"/>
        </a:p>
      </dgm:t>
    </dgm:pt>
    <dgm:pt modelId="{86BBEA20-43E9-41ED-98F0-FF36D87F45E7}" type="parTrans" cxnId="{1962B850-5289-42FF-8F1A-5D7E0FE78B00}">
      <dgm:prSet/>
      <dgm:spPr/>
      <dgm:t>
        <a:bodyPr/>
        <a:lstStyle/>
        <a:p>
          <a:endParaRPr lang="es-ES" sz="4000"/>
        </a:p>
      </dgm:t>
    </dgm:pt>
    <dgm:pt modelId="{4AAB8D39-8EFF-427C-864E-18237AE68004}" type="sibTrans" cxnId="{1962B850-5289-42FF-8F1A-5D7E0FE78B00}">
      <dgm:prSet/>
      <dgm:spPr/>
      <dgm:t>
        <a:bodyPr/>
        <a:lstStyle/>
        <a:p>
          <a:endParaRPr lang="es-ES" sz="4000"/>
        </a:p>
      </dgm:t>
    </dgm:pt>
    <dgm:pt modelId="{AFB300C0-28C4-4540-BAF5-7AB716721578}">
      <dgm:prSet phldrT="[Texto]" custT="1"/>
      <dgm:spPr/>
      <dgm:t>
        <a:bodyPr/>
        <a:lstStyle/>
        <a:p>
          <a:r>
            <a:rPr lang="es-ES" sz="1600" dirty="0"/>
            <a:t>2021</a:t>
          </a:r>
        </a:p>
      </dgm:t>
    </dgm:pt>
    <dgm:pt modelId="{672FDFB4-D4E8-4D6A-8C2A-8C5509362821}" type="parTrans" cxnId="{05406B26-EC27-465D-BC4E-12D69B065ADC}">
      <dgm:prSet/>
      <dgm:spPr/>
      <dgm:t>
        <a:bodyPr/>
        <a:lstStyle/>
        <a:p>
          <a:endParaRPr lang="es-ES" sz="4000"/>
        </a:p>
      </dgm:t>
    </dgm:pt>
    <dgm:pt modelId="{07DDD430-60B4-4C03-AB60-83DEE01A4FBC}" type="sibTrans" cxnId="{05406B26-EC27-465D-BC4E-12D69B065ADC}">
      <dgm:prSet/>
      <dgm:spPr/>
      <dgm:t>
        <a:bodyPr/>
        <a:lstStyle/>
        <a:p>
          <a:endParaRPr lang="es-ES" sz="4000"/>
        </a:p>
      </dgm:t>
    </dgm:pt>
    <dgm:pt modelId="{53175F1D-6E59-4B61-845A-F81F3403059A}">
      <dgm:prSet phldrT="[Texto]" custT="1"/>
      <dgm:spPr/>
      <dgm:t>
        <a:bodyPr/>
        <a:lstStyle/>
        <a:p>
          <a:r>
            <a:rPr lang="es-ES" sz="1600" dirty="0"/>
            <a:t>2022</a:t>
          </a:r>
        </a:p>
      </dgm:t>
    </dgm:pt>
    <dgm:pt modelId="{9C29CB2E-A911-4C7C-A1D8-F62CC3421452}" type="parTrans" cxnId="{E85A2082-0AE0-4F6E-AEFC-157FF4C4A49B}">
      <dgm:prSet/>
      <dgm:spPr/>
      <dgm:t>
        <a:bodyPr/>
        <a:lstStyle/>
        <a:p>
          <a:endParaRPr lang="es-ES" sz="4000"/>
        </a:p>
      </dgm:t>
    </dgm:pt>
    <dgm:pt modelId="{0A6555E4-C750-4F22-A3EB-59436F27466A}" type="sibTrans" cxnId="{E85A2082-0AE0-4F6E-AEFC-157FF4C4A49B}">
      <dgm:prSet/>
      <dgm:spPr/>
      <dgm:t>
        <a:bodyPr/>
        <a:lstStyle/>
        <a:p>
          <a:endParaRPr lang="es-ES" sz="4000"/>
        </a:p>
      </dgm:t>
    </dgm:pt>
    <dgm:pt modelId="{1E745D8C-1C4A-4F30-A478-75DCA08908D1}">
      <dgm:prSet phldrT="[Texto]" custT="1"/>
      <dgm:spPr/>
      <dgm:t>
        <a:bodyPr/>
        <a:lstStyle/>
        <a:p>
          <a:r>
            <a:rPr lang="es-ES" sz="1200" dirty="0">
              <a:highlight>
                <a:srgbClr val="C0C0C0"/>
              </a:highlight>
            </a:rPr>
            <a:t>Amazon</a:t>
          </a:r>
          <a:r>
            <a:rPr lang="es-ES" sz="1200" dirty="0"/>
            <a:t> duplica sus beneficios trimestrales y bate récord de subida en Bolsa. Gana 200.000 millones de dólares en capitalización bursátil, pese a los problemas en las cadenas de suministro y la falta de trabajadores.</a:t>
          </a:r>
        </a:p>
      </dgm:t>
    </dgm:pt>
    <dgm:pt modelId="{D6724FB5-8832-40EF-BA79-58C0EC1B5790}" type="parTrans" cxnId="{001B212A-0795-4A3E-B059-59C61469A731}">
      <dgm:prSet/>
      <dgm:spPr/>
      <dgm:t>
        <a:bodyPr/>
        <a:lstStyle/>
        <a:p>
          <a:endParaRPr lang="es-ES" sz="4000"/>
        </a:p>
      </dgm:t>
    </dgm:pt>
    <dgm:pt modelId="{6086AD22-50A5-488A-A237-C885C2A66726}" type="sibTrans" cxnId="{001B212A-0795-4A3E-B059-59C61469A731}">
      <dgm:prSet/>
      <dgm:spPr/>
      <dgm:t>
        <a:bodyPr/>
        <a:lstStyle/>
        <a:p>
          <a:endParaRPr lang="es-ES" sz="4000"/>
        </a:p>
      </dgm:t>
    </dgm:pt>
    <dgm:pt modelId="{62475678-E706-4DF2-89F0-AA45F6E102F6}">
      <dgm:prSet phldrT="[Texto]" custT="1"/>
      <dgm:spPr/>
      <dgm:t>
        <a:bodyPr/>
        <a:lstStyle/>
        <a:p>
          <a:r>
            <a:rPr lang="es-ES" sz="1200" dirty="0">
              <a:highlight>
                <a:srgbClr val="C0C0C0"/>
              </a:highlight>
            </a:rPr>
            <a:t>Amazon Web Services (AWS), </a:t>
          </a:r>
          <a:r>
            <a:rPr lang="es-ES" sz="1200" dirty="0"/>
            <a:t>la más rentable de las áreas. 2021 aumentó un 37% (62.200 millones de dólares), por encima de Microsoft y Google. </a:t>
          </a:r>
        </a:p>
      </dgm:t>
    </dgm:pt>
    <dgm:pt modelId="{9B737474-A318-4B51-A22D-1435BFA00E39}" type="parTrans" cxnId="{4C0C62E4-099F-411E-8CCF-4E1916FB8BD6}">
      <dgm:prSet/>
      <dgm:spPr/>
      <dgm:t>
        <a:bodyPr/>
        <a:lstStyle/>
        <a:p>
          <a:endParaRPr lang="es-ES" sz="4000"/>
        </a:p>
      </dgm:t>
    </dgm:pt>
    <dgm:pt modelId="{66D96B55-4B7B-483D-9C6C-026DC10F7E8D}" type="sibTrans" cxnId="{4C0C62E4-099F-411E-8CCF-4E1916FB8BD6}">
      <dgm:prSet/>
      <dgm:spPr/>
      <dgm:t>
        <a:bodyPr/>
        <a:lstStyle/>
        <a:p>
          <a:endParaRPr lang="es-ES" sz="4000"/>
        </a:p>
      </dgm:t>
    </dgm:pt>
    <dgm:pt modelId="{2E5570B2-D713-4BD4-AB11-FD10F38F29BC}">
      <dgm:prSet phldrT="[Texto]" custT="1"/>
      <dgm:spPr/>
      <dgm:t>
        <a:bodyPr/>
        <a:lstStyle/>
        <a:p>
          <a:r>
            <a:rPr lang="es-ES" sz="1200" dirty="0">
              <a:highlight>
                <a:srgbClr val="C0C0C0"/>
              </a:highlight>
            </a:rPr>
            <a:t>El negocio publicitario </a:t>
          </a:r>
          <a:r>
            <a:rPr lang="es-ES" sz="1200" dirty="0"/>
            <a:t>de creció en 2021 a un ritmo acelerado y acorta la ventaja que le llevan sus competidores, Alphabet y Facebook,</a:t>
          </a:r>
        </a:p>
      </dgm:t>
    </dgm:pt>
    <dgm:pt modelId="{B2DA1B7F-B61B-41DB-BF23-6A02ECDAEC7C}" type="parTrans" cxnId="{5D75F92F-2A9C-4897-9641-AFFD1D06932B}">
      <dgm:prSet/>
      <dgm:spPr/>
      <dgm:t>
        <a:bodyPr/>
        <a:lstStyle/>
        <a:p>
          <a:endParaRPr lang="es-ES" sz="4000"/>
        </a:p>
      </dgm:t>
    </dgm:pt>
    <dgm:pt modelId="{21E0AE81-6BBE-45FB-BAE3-FC7140C0B401}" type="sibTrans" cxnId="{5D75F92F-2A9C-4897-9641-AFFD1D06932B}">
      <dgm:prSet/>
      <dgm:spPr/>
      <dgm:t>
        <a:bodyPr/>
        <a:lstStyle/>
        <a:p>
          <a:endParaRPr lang="es-ES" sz="4000"/>
        </a:p>
      </dgm:t>
    </dgm:pt>
    <dgm:pt modelId="{4DC92FDE-3369-4044-ADE8-C13D5C144FB4}">
      <dgm:prSet phldrT="[Texto]" custT="1"/>
      <dgm:spPr/>
      <dgm:t>
        <a:bodyPr/>
        <a:lstStyle/>
        <a:p>
          <a:r>
            <a:rPr lang="es-ES" sz="1200" dirty="0"/>
            <a:t>Amazon compra los estudios de cine de Metro Goldwyn Mayer</a:t>
          </a:r>
        </a:p>
      </dgm:t>
    </dgm:pt>
    <dgm:pt modelId="{84424994-03DB-4404-A339-0AE5FB549AA0}" type="parTrans" cxnId="{2D5789C9-A2C8-4AF8-B777-BEC3E94FC22A}">
      <dgm:prSet/>
      <dgm:spPr/>
      <dgm:t>
        <a:bodyPr/>
        <a:lstStyle/>
        <a:p>
          <a:endParaRPr lang="es-ES" sz="4000"/>
        </a:p>
      </dgm:t>
    </dgm:pt>
    <dgm:pt modelId="{C4D81D1E-270F-4CFC-8CA1-63D2F060E5AF}" type="sibTrans" cxnId="{2D5789C9-A2C8-4AF8-B777-BEC3E94FC22A}">
      <dgm:prSet/>
      <dgm:spPr/>
      <dgm:t>
        <a:bodyPr/>
        <a:lstStyle/>
        <a:p>
          <a:endParaRPr lang="es-ES" sz="4000"/>
        </a:p>
      </dgm:t>
    </dgm:pt>
    <dgm:pt modelId="{58888D8A-4F13-4311-9A9A-601C4EE16AEA}">
      <dgm:prSet custT="1"/>
      <dgm:spPr/>
      <dgm:t>
        <a:bodyPr vert="horz"/>
        <a:lstStyle/>
        <a:p>
          <a:r>
            <a:rPr lang="en-US" sz="1200" dirty="0"/>
            <a:t>Libros, música, Productora de cine, software, videojuegos, electrónica, ropa, muebles, comida… </a:t>
          </a:r>
        </a:p>
      </dgm:t>
    </dgm:pt>
    <dgm:pt modelId="{EE3C4B22-5EF4-4847-A335-D47AECFED792}" type="parTrans" cxnId="{C230BE6F-A3CA-4183-8F51-95850E8BD40C}">
      <dgm:prSet/>
      <dgm:spPr/>
      <dgm:t>
        <a:bodyPr/>
        <a:lstStyle/>
        <a:p>
          <a:endParaRPr lang="es-ES" sz="4000"/>
        </a:p>
      </dgm:t>
    </dgm:pt>
    <dgm:pt modelId="{929F4616-62E5-46CE-B48D-E2F0C3C05BC6}" type="sibTrans" cxnId="{C230BE6F-A3CA-4183-8F51-95850E8BD40C}">
      <dgm:prSet/>
      <dgm:spPr/>
      <dgm:t>
        <a:bodyPr/>
        <a:lstStyle/>
        <a:p>
          <a:endParaRPr lang="es-ES" sz="4000"/>
        </a:p>
      </dgm:t>
    </dgm:pt>
    <dgm:pt modelId="{A45ADAFC-572F-42A9-8AB1-35A4F5AEC50E}">
      <dgm:prSet custT="1"/>
      <dgm:spPr/>
      <dgm:t>
        <a:bodyPr vert="horz"/>
        <a:lstStyle/>
        <a:p>
          <a:r>
            <a:rPr lang="en-US" sz="1200" dirty="0"/>
            <a:t>Opera en muchos sectores, siempre en el bando ganador.</a:t>
          </a:r>
        </a:p>
      </dgm:t>
    </dgm:pt>
    <dgm:pt modelId="{516C6FAB-BCA3-481E-A6F6-37EB58E74421}" type="parTrans" cxnId="{D2D2860B-5236-4AD6-A19E-26D412D1EB9E}">
      <dgm:prSet/>
      <dgm:spPr/>
      <dgm:t>
        <a:bodyPr/>
        <a:lstStyle/>
        <a:p>
          <a:endParaRPr lang="es-ES" sz="4000"/>
        </a:p>
      </dgm:t>
    </dgm:pt>
    <dgm:pt modelId="{4C1BBDB4-945E-4BD3-9D8F-3A81B2CAC440}" type="sibTrans" cxnId="{D2D2860B-5236-4AD6-A19E-26D412D1EB9E}">
      <dgm:prSet/>
      <dgm:spPr/>
      <dgm:t>
        <a:bodyPr/>
        <a:lstStyle/>
        <a:p>
          <a:endParaRPr lang="es-ES" sz="4000"/>
        </a:p>
      </dgm:t>
    </dgm:pt>
    <dgm:pt modelId="{B35FD811-3EBA-4A71-9986-4E6E3CC2C364}" type="pres">
      <dgm:prSet presAssocID="{0BD98CA4-DA2C-4861-A0A8-C9B482D6CBFF}" presName="Name0" presStyleCnt="0">
        <dgm:presLayoutVars>
          <dgm:dir/>
          <dgm:resizeHandles val="exact"/>
        </dgm:presLayoutVars>
      </dgm:prSet>
      <dgm:spPr/>
    </dgm:pt>
    <dgm:pt modelId="{21408941-0D95-42E4-9712-C3706383C42C}" type="pres">
      <dgm:prSet presAssocID="{0BD98CA4-DA2C-4861-A0A8-C9B482D6CBFF}" presName="arrow" presStyleLbl="bgShp" presStyleIdx="0" presStyleCnt="1"/>
      <dgm:spPr/>
    </dgm:pt>
    <dgm:pt modelId="{D807BAC3-0C89-451C-8C34-BBA32E86C4D6}" type="pres">
      <dgm:prSet presAssocID="{0BD98CA4-DA2C-4861-A0A8-C9B482D6CBFF}" presName="points" presStyleCnt="0"/>
      <dgm:spPr/>
    </dgm:pt>
    <dgm:pt modelId="{6BBF47C6-1B0D-4BC5-A779-48B96F8E990E}" type="pres">
      <dgm:prSet presAssocID="{AF94972B-D56F-4545-B113-875A4E38DD40}" presName="compositeA" presStyleCnt="0"/>
      <dgm:spPr/>
    </dgm:pt>
    <dgm:pt modelId="{289F505A-F89C-408C-BD41-CC801C2C632F}" type="pres">
      <dgm:prSet presAssocID="{AF94972B-D56F-4545-B113-875A4E38DD40}" presName="textA" presStyleLbl="revTx" presStyleIdx="0" presStyleCnt="3" custScaleX="229917">
        <dgm:presLayoutVars>
          <dgm:bulletEnabled val="1"/>
        </dgm:presLayoutVars>
      </dgm:prSet>
      <dgm:spPr/>
    </dgm:pt>
    <dgm:pt modelId="{DBD1C907-8679-4E06-BCD2-5E7AF0795A3B}" type="pres">
      <dgm:prSet presAssocID="{AF94972B-D56F-4545-B113-875A4E38DD40}" presName="circleA" presStyleLbl="node1" presStyleIdx="0" presStyleCnt="3"/>
      <dgm:spPr/>
    </dgm:pt>
    <dgm:pt modelId="{23B03E8B-B2B6-4B44-B34C-9BA2F4A6C7B3}" type="pres">
      <dgm:prSet presAssocID="{AF94972B-D56F-4545-B113-875A4E38DD40}" presName="spaceA" presStyleCnt="0"/>
      <dgm:spPr/>
    </dgm:pt>
    <dgm:pt modelId="{5B923188-7768-476A-837D-B216A397EF8F}" type="pres">
      <dgm:prSet presAssocID="{4AAB8D39-8EFF-427C-864E-18237AE68004}" presName="space" presStyleCnt="0"/>
      <dgm:spPr/>
    </dgm:pt>
    <dgm:pt modelId="{38FDAA62-2C4E-4EDE-855F-29814E6CE31B}" type="pres">
      <dgm:prSet presAssocID="{AFB300C0-28C4-4540-BAF5-7AB716721578}" presName="compositeB" presStyleCnt="0"/>
      <dgm:spPr/>
    </dgm:pt>
    <dgm:pt modelId="{EDF721B3-1E20-474C-B787-7321B1D08B54}" type="pres">
      <dgm:prSet presAssocID="{AFB300C0-28C4-4540-BAF5-7AB716721578}" presName="textB" presStyleLbl="revTx" presStyleIdx="1" presStyleCnt="3" custScaleX="174825">
        <dgm:presLayoutVars>
          <dgm:bulletEnabled val="1"/>
        </dgm:presLayoutVars>
      </dgm:prSet>
      <dgm:spPr/>
    </dgm:pt>
    <dgm:pt modelId="{ECE07D13-5868-47F8-AEE1-182AE16E9686}" type="pres">
      <dgm:prSet presAssocID="{AFB300C0-28C4-4540-BAF5-7AB716721578}" presName="circleB" presStyleLbl="node1" presStyleIdx="1" presStyleCnt="3"/>
      <dgm:spPr/>
    </dgm:pt>
    <dgm:pt modelId="{788B4918-32F0-4065-85EB-4BC28D11EB50}" type="pres">
      <dgm:prSet presAssocID="{AFB300C0-28C4-4540-BAF5-7AB716721578}" presName="spaceB" presStyleCnt="0"/>
      <dgm:spPr/>
    </dgm:pt>
    <dgm:pt modelId="{4174B7A4-4DD4-4B58-9C91-2D1D989F98F4}" type="pres">
      <dgm:prSet presAssocID="{07DDD430-60B4-4C03-AB60-83DEE01A4FBC}" presName="space" presStyleCnt="0"/>
      <dgm:spPr/>
    </dgm:pt>
    <dgm:pt modelId="{32FCE3FF-1D7E-4F09-B01E-C419FD4FF7F1}" type="pres">
      <dgm:prSet presAssocID="{53175F1D-6E59-4B61-845A-F81F3403059A}" presName="compositeA" presStyleCnt="0"/>
      <dgm:spPr/>
    </dgm:pt>
    <dgm:pt modelId="{52D16058-BFFD-4AFB-974B-790D3A5CC82C}" type="pres">
      <dgm:prSet presAssocID="{53175F1D-6E59-4B61-845A-F81F3403059A}" presName="textA" presStyleLbl="revTx" presStyleIdx="2" presStyleCnt="3" custScaleX="375897">
        <dgm:presLayoutVars>
          <dgm:bulletEnabled val="1"/>
        </dgm:presLayoutVars>
      </dgm:prSet>
      <dgm:spPr/>
    </dgm:pt>
    <dgm:pt modelId="{D40A8508-6A7C-4CB5-897C-A4151B704FC0}" type="pres">
      <dgm:prSet presAssocID="{53175F1D-6E59-4B61-845A-F81F3403059A}" presName="circleA" presStyleLbl="node1" presStyleIdx="2" presStyleCnt="3"/>
      <dgm:spPr/>
    </dgm:pt>
    <dgm:pt modelId="{DD5B1E28-8771-49F0-8076-F964D9C47E8C}" type="pres">
      <dgm:prSet presAssocID="{53175F1D-6E59-4B61-845A-F81F3403059A}" presName="spaceA" presStyleCnt="0"/>
      <dgm:spPr/>
    </dgm:pt>
  </dgm:ptLst>
  <dgm:cxnLst>
    <dgm:cxn modelId="{D2D2860B-5236-4AD6-A19E-26D412D1EB9E}" srcId="{AF94972B-D56F-4545-B113-875A4E38DD40}" destId="{A45ADAFC-572F-42A9-8AB1-35A4F5AEC50E}" srcOrd="1" destOrd="0" parTransId="{516C6FAB-BCA3-481E-A6F6-37EB58E74421}" sibTransId="{4C1BBDB4-945E-4BD3-9D8F-3A81B2CAC440}"/>
    <dgm:cxn modelId="{19545022-A3F4-42F4-9DCD-37EB6BFF5A20}" type="presOf" srcId="{4DC92FDE-3369-4044-ADE8-C13D5C144FB4}" destId="{EDF721B3-1E20-474C-B787-7321B1D08B54}" srcOrd="0" destOrd="1" presId="urn:microsoft.com/office/officeart/2005/8/layout/hProcess11"/>
    <dgm:cxn modelId="{05406B26-EC27-465D-BC4E-12D69B065ADC}" srcId="{0BD98CA4-DA2C-4861-A0A8-C9B482D6CBFF}" destId="{AFB300C0-28C4-4540-BAF5-7AB716721578}" srcOrd="1" destOrd="0" parTransId="{672FDFB4-D4E8-4D6A-8C2A-8C5509362821}" sibTransId="{07DDD430-60B4-4C03-AB60-83DEE01A4FBC}"/>
    <dgm:cxn modelId="{001B212A-0795-4A3E-B059-59C61469A731}" srcId="{53175F1D-6E59-4B61-845A-F81F3403059A}" destId="{1E745D8C-1C4A-4F30-A478-75DCA08908D1}" srcOrd="0" destOrd="0" parTransId="{D6724FB5-8832-40EF-BA79-58C0EC1B5790}" sibTransId="{6086AD22-50A5-488A-A237-C885C2A66726}"/>
    <dgm:cxn modelId="{5D75F92F-2A9C-4897-9641-AFFD1D06932B}" srcId="{53175F1D-6E59-4B61-845A-F81F3403059A}" destId="{2E5570B2-D713-4BD4-AB11-FD10F38F29BC}" srcOrd="2" destOrd="0" parTransId="{B2DA1B7F-B61B-41DB-BF23-6A02ECDAEC7C}" sibTransId="{21E0AE81-6BBE-45FB-BAE3-FC7140C0B401}"/>
    <dgm:cxn modelId="{5F8AC360-AF0F-4F89-BBEB-436B2C9F0544}" type="presOf" srcId="{AFB300C0-28C4-4540-BAF5-7AB716721578}" destId="{EDF721B3-1E20-474C-B787-7321B1D08B54}" srcOrd="0" destOrd="0" presId="urn:microsoft.com/office/officeart/2005/8/layout/hProcess11"/>
    <dgm:cxn modelId="{F981254C-5ED4-4B71-B3BE-C5198F7EB993}" type="presOf" srcId="{53175F1D-6E59-4B61-845A-F81F3403059A}" destId="{52D16058-BFFD-4AFB-974B-790D3A5CC82C}" srcOrd="0" destOrd="0" presId="urn:microsoft.com/office/officeart/2005/8/layout/hProcess11"/>
    <dgm:cxn modelId="{2BEF214E-6823-4C8E-B287-BA03B47C3AE6}" type="presOf" srcId="{58888D8A-4F13-4311-9A9A-601C4EE16AEA}" destId="{289F505A-F89C-408C-BD41-CC801C2C632F}" srcOrd="0" destOrd="1" presId="urn:microsoft.com/office/officeart/2005/8/layout/hProcess11"/>
    <dgm:cxn modelId="{C230BE6F-A3CA-4183-8F51-95850E8BD40C}" srcId="{AF94972B-D56F-4545-B113-875A4E38DD40}" destId="{58888D8A-4F13-4311-9A9A-601C4EE16AEA}" srcOrd="0" destOrd="0" parTransId="{EE3C4B22-5EF4-4847-A335-D47AECFED792}" sibTransId="{929F4616-62E5-46CE-B48D-E2F0C3C05BC6}"/>
    <dgm:cxn modelId="{1962B850-5289-42FF-8F1A-5D7E0FE78B00}" srcId="{0BD98CA4-DA2C-4861-A0A8-C9B482D6CBFF}" destId="{AF94972B-D56F-4545-B113-875A4E38DD40}" srcOrd="0" destOrd="0" parTransId="{86BBEA20-43E9-41ED-98F0-FF36D87F45E7}" sibTransId="{4AAB8D39-8EFF-427C-864E-18237AE68004}"/>
    <dgm:cxn modelId="{913EC070-2E77-4ABC-A982-EED63541A1C4}" type="presOf" srcId="{62475678-E706-4DF2-89F0-AA45F6E102F6}" destId="{52D16058-BFFD-4AFB-974B-790D3A5CC82C}" srcOrd="0" destOrd="2" presId="urn:microsoft.com/office/officeart/2005/8/layout/hProcess11"/>
    <dgm:cxn modelId="{6E9EA773-1A33-4D3F-9A06-8C707A098C10}" type="presOf" srcId="{AF94972B-D56F-4545-B113-875A4E38DD40}" destId="{289F505A-F89C-408C-BD41-CC801C2C632F}" srcOrd="0" destOrd="0" presId="urn:microsoft.com/office/officeart/2005/8/layout/hProcess11"/>
    <dgm:cxn modelId="{E11B1274-6FBC-4895-895B-9186E46D16A5}" type="presOf" srcId="{2E5570B2-D713-4BD4-AB11-FD10F38F29BC}" destId="{52D16058-BFFD-4AFB-974B-790D3A5CC82C}" srcOrd="0" destOrd="3" presId="urn:microsoft.com/office/officeart/2005/8/layout/hProcess11"/>
    <dgm:cxn modelId="{E85A2082-0AE0-4F6E-AEFC-157FF4C4A49B}" srcId="{0BD98CA4-DA2C-4861-A0A8-C9B482D6CBFF}" destId="{53175F1D-6E59-4B61-845A-F81F3403059A}" srcOrd="2" destOrd="0" parTransId="{9C29CB2E-A911-4C7C-A1D8-F62CC3421452}" sibTransId="{0A6555E4-C750-4F22-A3EB-59436F27466A}"/>
    <dgm:cxn modelId="{7E773CA1-FB7F-49F5-96F5-7FACE9D1C032}" type="presOf" srcId="{1E745D8C-1C4A-4F30-A478-75DCA08908D1}" destId="{52D16058-BFFD-4AFB-974B-790D3A5CC82C}" srcOrd="0" destOrd="1" presId="urn:microsoft.com/office/officeart/2005/8/layout/hProcess11"/>
    <dgm:cxn modelId="{8136DEC5-4710-4412-A272-11D146E5A810}" type="presOf" srcId="{0BD98CA4-DA2C-4861-A0A8-C9B482D6CBFF}" destId="{B35FD811-3EBA-4A71-9986-4E6E3CC2C364}" srcOrd="0" destOrd="0" presId="urn:microsoft.com/office/officeart/2005/8/layout/hProcess11"/>
    <dgm:cxn modelId="{2D5789C9-A2C8-4AF8-B777-BEC3E94FC22A}" srcId="{AFB300C0-28C4-4540-BAF5-7AB716721578}" destId="{4DC92FDE-3369-4044-ADE8-C13D5C144FB4}" srcOrd="0" destOrd="0" parTransId="{84424994-03DB-4404-A339-0AE5FB549AA0}" sibTransId="{C4D81D1E-270F-4CFC-8CA1-63D2F060E5AF}"/>
    <dgm:cxn modelId="{4C0C62E4-099F-411E-8CCF-4E1916FB8BD6}" srcId="{53175F1D-6E59-4B61-845A-F81F3403059A}" destId="{62475678-E706-4DF2-89F0-AA45F6E102F6}" srcOrd="1" destOrd="0" parTransId="{9B737474-A318-4B51-A22D-1435BFA00E39}" sibTransId="{66D96B55-4B7B-483D-9C6C-026DC10F7E8D}"/>
    <dgm:cxn modelId="{D745BBEB-D2E0-4CB0-86A4-1FC33A22F571}" type="presOf" srcId="{A45ADAFC-572F-42A9-8AB1-35A4F5AEC50E}" destId="{289F505A-F89C-408C-BD41-CC801C2C632F}" srcOrd="0" destOrd="2" presId="urn:microsoft.com/office/officeart/2005/8/layout/hProcess11"/>
    <dgm:cxn modelId="{4565A0DF-6F82-497E-81FC-E5099CE9CB93}" type="presParOf" srcId="{B35FD811-3EBA-4A71-9986-4E6E3CC2C364}" destId="{21408941-0D95-42E4-9712-C3706383C42C}" srcOrd="0" destOrd="0" presId="urn:microsoft.com/office/officeart/2005/8/layout/hProcess11"/>
    <dgm:cxn modelId="{806F16C3-F4BC-4801-B75E-A880FE6989A7}" type="presParOf" srcId="{B35FD811-3EBA-4A71-9986-4E6E3CC2C364}" destId="{D807BAC3-0C89-451C-8C34-BBA32E86C4D6}" srcOrd="1" destOrd="0" presId="urn:microsoft.com/office/officeart/2005/8/layout/hProcess11"/>
    <dgm:cxn modelId="{1CBEE59A-EFA3-49D7-89AF-38AC943A23AE}" type="presParOf" srcId="{D807BAC3-0C89-451C-8C34-BBA32E86C4D6}" destId="{6BBF47C6-1B0D-4BC5-A779-48B96F8E990E}" srcOrd="0" destOrd="0" presId="urn:microsoft.com/office/officeart/2005/8/layout/hProcess11"/>
    <dgm:cxn modelId="{6A45FC28-AB42-4CE0-A46B-F349F5B7CF06}" type="presParOf" srcId="{6BBF47C6-1B0D-4BC5-A779-48B96F8E990E}" destId="{289F505A-F89C-408C-BD41-CC801C2C632F}" srcOrd="0" destOrd="0" presId="urn:microsoft.com/office/officeart/2005/8/layout/hProcess11"/>
    <dgm:cxn modelId="{041AB0BE-73E1-40C9-B06C-687F02CA1908}" type="presParOf" srcId="{6BBF47C6-1B0D-4BC5-A779-48B96F8E990E}" destId="{DBD1C907-8679-4E06-BCD2-5E7AF0795A3B}" srcOrd="1" destOrd="0" presId="urn:microsoft.com/office/officeart/2005/8/layout/hProcess11"/>
    <dgm:cxn modelId="{E8AF814C-0090-4C26-B2B4-3F2357FDC567}" type="presParOf" srcId="{6BBF47C6-1B0D-4BC5-A779-48B96F8E990E}" destId="{23B03E8B-B2B6-4B44-B34C-9BA2F4A6C7B3}" srcOrd="2" destOrd="0" presId="urn:microsoft.com/office/officeart/2005/8/layout/hProcess11"/>
    <dgm:cxn modelId="{30B31185-A9A9-4B7E-9834-2B3645D51D5E}" type="presParOf" srcId="{D807BAC3-0C89-451C-8C34-BBA32E86C4D6}" destId="{5B923188-7768-476A-837D-B216A397EF8F}" srcOrd="1" destOrd="0" presId="urn:microsoft.com/office/officeart/2005/8/layout/hProcess11"/>
    <dgm:cxn modelId="{C3BB9C73-E524-45CA-8E40-E97AEFCEB8D3}" type="presParOf" srcId="{D807BAC3-0C89-451C-8C34-BBA32E86C4D6}" destId="{38FDAA62-2C4E-4EDE-855F-29814E6CE31B}" srcOrd="2" destOrd="0" presId="urn:microsoft.com/office/officeart/2005/8/layout/hProcess11"/>
    <dgm:cxn modelId="{3B4FC2D5-0468-4CA2-8F1B-B132FB9B7844}" type="presParOf" srcId="{38FDAA62-2C4E-4EDE-855F-29814E6CE31B}" destId="{EDF721B3-1E20-474C-B787-7321B1D08B54}" srcOrd="0" destOrd="0" presId="urn:microsoft.com/office/officeart/2005/8/layout/hProcess11"/>
    <dgm:cxn modelId="{139585F2-3D29-4077-A36E-1A5BCCEEB899}" type="presParOf" srcId="{38FDAA62-2C4E-4EDE-855F-29814E6CE31B}" destId="{ECE07D13-5868-47F8-AEE1-182AE16E9686}" srcOrd="1" destOrd="0" presId="urn:microsoft.com/office/officeart/2005/8/layout/hProcess11"/>
    <dgm:cxn modelId="{4FD4B31E-9392-41E9-84E5-FCF45727CAF2}" type="presParOf" srcId="{38FDAA62-2C4E-4EDE-855F-29814E6CE31B}" destId="{788B4918-32F0-4065-85EB-4BC28D11EB50}" srcOrd="2" destOrd="0" presId="urn:microsoft.com/office/officeart/2005/8/layout/hProcess11"/>
    <dgm:cxn modelId="{BE6640BA-65FF-4138-BA25-83B138489D8F}" type="presParOf" srcId="{D807BAC3-0C89-451C-8C34-BBA32E86C4D6}" destId="{4174B7A4-4DD4-4B58-9C91-2D1D989F98F4}" srcOrd="3" destOrd="0" presId="urn:microsoft.com/office/officeart/2005/8/layout/hProcess11"/>
    <dgm:cxn modelId="{F42A7601-7306-4C76-9269-5FE5F1E8D33C}" type="presParOf" srcId="{D807BAC3-0C89-451C-8C34-BBA32E86C4D6}" destId="{32FCE3FF-1D7E-4F09-B01E-C419FD4FF7F1}" srcOrd="4" destOrd="0" presId="urn:microsoft.com/office/officeart/2005/8/layout/hProcess11"/>
    <dgm:cxn modelId="{79522DC4-2A60-49F3-A39E-3CD5EBF18992}" type="presParOf" srcId="{32FCE3FF-1D7E-4F09-B01E-C419FD4FF7F1}" destId="{52D16058-BFFD-4AFB-974B-790D3A5CC82C}" srcOrd="0" destOrd="0" presId="urn:microsoft.com/office/officeart/2005/8/layout/hProcess11"/>
    <dgm:cxn modelId="{2CFE1A3F-EA51-4184-8C4A-97D7D1208DC9}" type="presParOf" srcId="{32FCE3FF-1D7E-4F09-B01E-C419FD4FF7F1}" destId="{D40A8508-6A7C-4CB5-897C-A4151B704FC0}" srcOrd="1" destOrd="0" presId="urn:microsoft.com/office/officeart/2005/8/layout/hProcess11"/>
    <dgm:cxn modelId="{66140058-9EDC-414D-AFB4-D45454AC8C1C}" type="presParOf" srcId="{32FCE3FF-1D7E-4F09-B01E-C419FD4FF7F1}" destId="{DD5B1E28-8771-49F0-8076-F964D9C47E8C}"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7856D12A-E740-4889-A1E2-32C1B96D447E}" type="doc">
      <dgm:prSet loTypeId="urn:microsoft.com/office/officeart/2005/8/layout/bList2" loCatId="list" qsTypeId="urn:microsoft.com/office/officeart/2005/8/quickstyle/simple3" qsCatId="simple" csTypeId="urn:microsoft.com/office/officeart/2005/8/colors/accent0_2" csCatId="mainScheme" phldr="1"/>
      <dgm:spPr/>
    </dgm:pt>
    <dgm:pt modelId="{3454AD3F-894C-435F-B1DE-4288C41C7388}">
      <dgm:prSet phldrT="[Texto]"/>
      <dgm:spPr/>
      <dgm:t>
        <a:bodyPr/>
        <a:lstStyle/>
        <a:p>
          <a:r>
            <a:rPr lang="es-ES" dirty="0"/>
            <a:t>AI</a:t>
          </a:r>
        </a:p>
      </dgm:t>
    </dgm:pt>
    <dgm:pt modelId="{015DAF7E-AE0D-4746-A201-F2BB0B140C4A}" type="parTrans" cxnId="{BEB82078-54CB-44EE-B219-D3103F473FB1}">
      <dgm:prSet/>
      <dgm:spPr/>
      <dgm:t>
        <a:bodyPr/>
        <a:lstStyle/>
        <a:p>
          <a:endParaRPr lang="es-ES"/>
        </a:p>
      </dgm:t>
    </dgm:pt>
    <dgm:pt modelId="{9E4A524A-94CD-48E1-A0EC-CEA866522E9D}" type="sibTrans" cxnId="{BEB82078-54CB-44EE-B219-D3103F473FB1}">
      <dgm:prSet/>
      <dgm:spPr/>
      <dgm:t>
        <a:bodyPr/>
        <a:lstStyle/>
        <a:p>
          <a:endParaRPr lang="es-ES"/>
        </a:p>
      </dgm:t>
    </dgm:pt>
    <dgm:pt modelId="{15BA6EB0-8AA5-43D6-BEC1-32F1EC5BE2D2}">
      <dgm:prSet phldrT="[Texto]"/>
      <dgm:spPr/>
      <dgm:t>
        <a:bodyPr/>
        <a:lstStyle/>
        <a:p>
          <a:r>
            <a:rPr lang="es-ES" dirty="0"/>
            <a:t>Machine learning</a:t>
          </a:r>
        </a:p>
      </dgm:t>
    </dgm:pt>
    <dgm:pt modelId="{01DA7AD0-1805-4CEA-9F7A-1F9C2E42252C}" type="parTrans" cxnId="{704AEDF0-6DF0-4A73-89B5-A2A0FC5CEBF5}">
      <dgm:prSet/>
      <dgm:spPr/>
      <dgm:t>
        <a:bodyPr/>
        <a:lstStyle/>
        <a:p>
          <a:endParaRPr lang="es-ES"/>
        </a:p>
      </dgm:t>
    </dgm:pt>
    <dgm:pt modelId="{340B2901-BA27-4CA5-B9E2-6C8429345DBA}" type="sibTrans" cxnId="{704AEDF0-6DF0-4A73-89B5-A2A0FC5CEBF5}">
      <dgm:prSet/>
      <dgm:spPr/>
      <dgm:t>
        <a:bodyPr/>
        <a:lstStyle/>
        <a:p>
          <a:endParaRPr lang="es-ES"/>
        </a:p>
      </dgm:t>
    </dgm:pt>
    <dgm:pt modelId="{12CD52BE-CE76-4D30-9002-6DAE866E11D3}">
      <dgm:prSet phldrT="[Texto]"/>
      <dgm:spPr/>
      <dgm:t>
        <a:bodyPr/>
        <a:lstStyle/>
        <a:p>
          <a:r>
            <a:rPr lang="es-ES" dirty="0"/>
            <a:t>Deep learning</a:t>
          </a:r>
        </a:p>
      </dgm:t>
    </dgm:pt>
    <dgm:pt modelId="{4DBD5DBB-11E2-4AE1-8D4C-2C9D3C52867C}" type="parTrans" cxnId="{7C3844D6-D9E6-4B21-BEFB-23CC96864275}">
      <dgm:prSet/>
      <dgm:spPr/>
      <dgm:t>
        <a:bodyPr/>
        <a:lstStyle/>
        <a:p>
          <a:endParaRPr lang="es-ES"/>
        </a:p>
      </dgm:t>
    </dgm:pt>
    <dgm:pt modelId="{F9DDA4E7-BD4F-45C5-8613-1B1451D77428}" type="sibTrans" cxnId="{7C3844D6-D9E6-4B21-BEFB-23CC96864275}">
      <dgm:prSet/>
      <dgm:spPr/>
      <dgm:t>
        <a:bodyPr/>
        <a:lstStyle/>
        <a:p>
          <a:endParaRPr lang="es-ES"/>
        </a:p>
      </dgm:t>
    </dgm:pt>
    <dgm:pt modelId="{700F2A88-BDE3-4E28-AC55-E62503CD8120}">
      <dgm:prSet/>
      <dgm:spPr/>
      <dgm:t>
        <a:bodyPr/>
        <a:lstStyle/>
        <a:p>
          <a:r>
            <a:rPr lang="es-ES" noProof="0" dirty="0"/>
            <a:t>La diferencia con Machine Learning es que el Data Scientist no enseña a la máquina cómo son los Coches, le da suficientes fotos de Coches y la máquina aprende que es un coche: Le da suficientes imágenes de Coches.</a:t>
          </a:r>
          <a:endParaRPr lang="es-ES" dirty="0"/>
        </a:p>
      </dgm:t>
    </dgm:pt>
    <dgm:pt modelId="{B99495E6-C826-48A7-8727-E6F66CF34FDA}" type="parTrans" cxnId="{F74225DB-600C-45D9-82AC-F01223C83607}">
      <dgm:prSet/>
      <dgm:spPr/>
      <dgm:t>
        <a:bodyPr/>
        <a:lstStyle/>
        <a:p>
          <a:endParaRPr lang="es-ES"/>
        </a:p>
      </dgm:t>
    </dgm:pt>
    <dgm:pt modelId="{0D549773-A874-4838-8C56-E9BDFA7AB2AF}" type="sibTrans" cxnId="{F74225DB-600C-45D9-82AC-F01223C83607}">
      <dgm:prSet/>
      <dgm:spPr/>
      <dgm:t>
        <a:bodyPr/>
        <a:lstStyle/>
        <a:p>
          <a:endParaRPr lang="es-ES"/>
        </a:p>
      </dgm:t>
    </dgm:pt>
    <dgm:pt modelId="{3B9DF63B-31D8-4803-B8F0-C68325B3AAA8}">
      <dgm:prSet custT="1"/>
      <dgm:spPr/>
      <dgm: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Es dotar a una máquina de la capacidad de aprender de las situaciones para resolver las cosas sin estas tengan que ser programadas explícitamente. </a:t>
          </a:r>
          <a:endParaRPr lang="es-ES" sz="1200" kern="1200" dirty="0">
            <a:solidFill>
              <a:srgbClr val="17406D">
                <a:hueOff val="0"/>
                <a:satOff val="0"/>
                <a:lumOff val="0"/>
                <a:alphaOff val="0"/>
              </a:srgbClr>
            </a:solidFill>
            <a:latin typeface="Avenir LT Std 35 Light" panose="020B0402020203020204" pitchFamily="34" charset="0"/>
            <a:ea typeface="+mn-ea"/>
            <a:cs typeface="+mn-cs"/>
          </a:endParaRPr>
        </a:p>
      </dgm:t>
    </dgm:pt>
    <dgm:pt modelId="{86D872D0-908F-43D4-9A10-E825AFE62FC5}" type="parTrans" cxnId="{92E32459-024A-42CF-9A3A-4C2E2CC73B92}">
      <dgm:prSet/>
      <dgm:spPr/>
      <dgm:t>
        <a:bodyPr/>
        <a:lstStyle/>
        <a:p>
          <a:endParaRPr lang="es-ES"/>
        </a:p>
      </dgm:t>
    </dgm:pt>
    <dgm:pt modelId="{FD235D57-735F-4A9C-A0A9-E9316464C111}" type="sibTrans" cxnId="{92E32459-024A-42CF-9A3A-4C2E2CC73B92}">
      <dgm:prSet/>
      <dgm:spPr/>
      <dgm:t>
        <a:bodyPr/>
        <a:lstStyle/>
        <a:p>
          <a:endParaRPr lang="es-ES"/>
        </a:p>
      </dgm:t>
    </dgm:pt>
    <dgm:pt modelId="{969ED090-89F6-450D-AFB8-DA46F5E86073}">
      <dgm:prSet custT="1"/>
      <dgm:spPr/>
      <dgm:t>
        <a:bodyPr/>
        <a:lstStyle/>
        <a:p>
          <a:pPr>
            <a:spcAft>
              <a:spcPts val="600"/>
            </a:spcAft>
          </a:pPr>
          <a:r>
            <a:rPr lang="es-ES" sz="1200" noProof="0" dirty="0"/>
            <a:t>La definición más amplia posible de lo que es la Inteligencia Artificial.</a:t>
          </a:r>
          <a:endParaRPr lang="es-ES" sz="1200" dirty="0"/>
        </a:p>
      </dgm:t>
    </dgm:pt>
    <dgm:pt modelId="{C5619FE2-7515-4B8A-8564-1F5B8AFB1CA4}" type="parTrans" cxnId="{F88D24DC-D933-458F-91A2-D648A7B6FFCC}">
      <dgm:prSet/>
      <dgm:spPr/>
      <dgm:t>
        <a:bodyPr/>
        <a:lstStyle/>
        <a:p>
          <a:endParaRPr lang="es-ES"/>
        </a:p>
      </dgm:t>
    </dgm:pt>
    <dgm:pt modelId="{0600CF08-C6F9-4A43-B315-70F232704A13}" type="sibTrans" cxnId="{F88D24DC-D933-458F-91A2-D648A7B6FFCC}">
      <dgm:prSet/>
      <dgm:spPr/>
      <dgm:t>
        <a:bodyPr/>
        <a:lstStyle/>
        <a:p>
          <a:endParaRPr lang="es-ES"/>
        </a:p>
      </dgm:t>
    </dgm:pt>
    <dgm:pt modelId="{27B8FD85-ABD2-4174-A3B6-E5F78993973D}">
      <dgm:prSet custT="1"/>
      <dgm:spPr/>
      <dgm:t>
        <a:bodyPr/>
        <a:lstStyle/>
        <a:p>
          <a:pPr>
            <a:spcAft>
              <a:spcPts val="600"/>
            </a:spcAft>
          </a:pPr>
          <a:r>
            <a:rPr lang="es-ES" sz="1200" noProof="0" dirty="0"/>
            <a:t>Técnica basada en reglas, deterministas:</a:t>
          </a:r>
        </a:p>
      </dgm:t>
    </dgm:pt>
    <dgm:pt modelId="{7DCE12D4-18EF-44A2-8044-1378D4F1EA16}" type="parTrans" cxnId="{98064165-D7E4-401B-96B1-B32950B0F118}">
      <dgm:prSet/>
      <dgm:spPr/>
      <dgm:t>
        <a:bodyPr/>
        <a:lstStyle/>
        <a:p>
          <a:endParaRPr lang="es-ES"/>
        </a:p>
      </dgm:t>
    </dgm:pt>
    <dgm:pt modelId="{C7ACB143-50DE-486D-80FB-53FB2C6CF1E4}" type="sibTrans" cxnId="{98064165-D7E4-401B-96B1-B32950B0F118}">
      <dgm:prSet/>
      <dgm:spPr/>
      <dgm:t>
        <a:bodyPr/>
        <a:lstStyle/>
        <a:p>
          <a:endParaRPr lang="es-ES"/>
        </a:p>
      </dgm:t>
    </dgm:pt>
    <dgm:pt modelId="{A8346233-051E-47CB-887F-AAB859156226}">
      <dgm:prSet custT="1"/>
      <dgm:spPr/>
      <dgm:t>
        <a:bodyPr/>
        <a:lstStyle/>
        <a:p>
          <a:pPr>
            <a:spcAft>
              <a:spcPts val="600"/>
            </a:spcAft>
          </a:pPr>
          <a:r>
            <a:rPr lang="es-ES" sz="1200" noProof="0" dirty="0"/>
            <a:t>Largas listas de, si X es verdadero</a:t>
          </a:r>
        </a:p>
      </dgm:t>
    </dgm:pt>
    <dgm:pt modelId="{A0D2BB02-4B44-40CF-B2A0-095F0F43239C}" type="parTrans" cxnId="{4CFDC889-1ED2-469E-9BC8-CA7DE4AB4D32}">
      <dgm:prSet/>
      <dgm:spPr/>
      <dgm:t>
        <a:bodyPr/>
        <a:lstStyle/>
        <a:p>
          <a:endParaRPr lang="es-ES"/>
        </a:p>
      </dgm:t>
    </dgm:pt>
    <dgm:pt modelId="{2CCEC92C-A4BA-4051-B05A-861898FBC080}" type="sibTrans" cxnId="{4CFDC889-1ED2-469E-9BC8-CA7DE4AB4D32}">
      <dgm:prSet/>
      <dgm:spPr/>
      <dgm:t>
        <a:bodyPr/>
        <a:lstStyle/>
        <a:p>
          <a:endParaRPr lang="es-ES"/>
        </a:p>
      </dgm:t>
    </dgm:pt>
    <dgm:pt modelId="{21629E9E-10FB-415A-AC5C-0192C34621E6}">
      <dgm:prSet custT="1"/>
      <dgm:spPr/>
      <dgm:t>
        <a:bodyPr/>
        <a:lstStyle/>
        <a:p>
          <a:pPr>
            <a:spcAft>
              <a:spcPts val="600"/>
            </a:spcAft>
          </a:pPr>
          <a:r>
            <a:rPr lang="es-ES" sz="1200" noProof="0" dirty="0"/>
            <a:t>Haz Y</a:t>
          </a:r>
        </a:p>
      </dgm:t>
    </dgm:pt>
    <dgm:pt modelId="{A030ECEF-3FAA-4FAB-83B4-5E036882E366}" type="parTrans" cxnId="{9CE73AA7-0E45-4500-95D8-AEA02DD89F2E}">
      <dgm:prSet/>
      <dgm:spPr/>
      <dgm:t>
        <a:bodyPr/>
        <a:lstStyle/>
        <a:p>
          <a:endParaRPr lang="es-ES"/>
        </a:p>
      </dgm:t>
    </dgm:pt>
    <dgm:pt modelId="{52772124-D9DF-4405-9990-4B0C6AA093C8}" type="sibTrans" cxnId="{9CE73AA7-0E45-4500-95D8-AEA02DD89F2E}">
      <dgm:prSet/>
      <dgm:spPr/>
      <dgm:t>
        <a:bodyPr/>
        <a:lstStyle/>
        <a:p>
          <a:endParaRPr lang="es-ES"/>
        </a:p>
      </dgm:t>
    </dgm:pt>
    <dgm:pt modelId="{37A4448E-F506-4935-972C-D05FC783A0FA}">
      <dgm:prSet custT="1"/>
      <dgm:spPr/>
      <dgm:t>
        <a:bodyPr/>
        <a:lstStyle/>
        <a:p>
          <a:pPr>
            <a:spcAft>
              <a:spcPts val="600"/>
            </a:spcAft>
          </a:pPr>
          <a:r>
            <a:rPr lang="es-ES" sz="1200" noProof="0" dirty="0"/>
            <a:t>de lo contrario, haz Z.</a:t>
          </a:r>
        </a:p>
      </dgm:t>
    </dgm:pt>
    <dgm:pt modelId="{78336E8F-D365-4F6E-94B2-D668C0D33AC9}" type="parTrans" cxnId="{F94FAEC5-BF29-4EA8-A321-6F13EC9CA11A}">
      <dgm:prSet/>
      <dgm:spPr/>
      <dgm:t>
        <a:bodyPr/>
        <a:lstStyle/>
        <a:p>
          <a:endParaRPr lang="es-ES"/>
        </a:p>
      </dgm:t>
    </dgm:pt>
    <dgm:pt modelId="{CDE14F97-2EB9-4B11-B8B1-C07C8A140696}" type="sibTrans" cxnId="{F94FAEC5-BF29-4EA8-A321-6F13EC9CA11A}">
      <dgm:prSet/>
      <dgm:spPr/>
      <dgm:t>
        <a:bodyPr/>
        <a:lstStyle/>
        <a:p>
          <a:endParaRPr lang="es-ES"/>
        </a:p>
      </dgm:t>
    </dgm:pt>
    <dgm:pt modelId="{C6D227A5-6A8D-4389-BECB-76AA1DB8B88B}">
      <dgm:prSet custT="1"/>
      <dgm:spPr/>
      <dgm:t>
        <a:bodyPr/>
        <a:lstStyle/>
        <a:p>
          <a:pPr>
            <a:spcAft>
              <a:spcPts val="600"/>
            </a:spcAft>
          </a:pPr>
          <a:r>
            <a:rPr lang="es-ES" sz="1200" noProof="0" dirty="0"/>
            <a:t>COBOL (1957) ya funcionaba así.</a:t>
          </a:r>
          <a:endParaRPr lang="es-ES" sz="1200" dirty="0"/>
        </a:p>
      </dgm:t>
    </dgm:pt>
    <dgm:pt modelId="{65F8E6B1-89BF-4F92-A09B-EF4EF2FD2C42}" type="parTrans" cxnId="{3E32E5AF-A263-4EDB-B419-772A6FDA36F1}">
      <dgm:prSet/>
      <dgm:spPr/>
      <dgm:t>
        <a:bodyPr/>
        <a:lstStyle/>
        <a:p>
          <a:endParaRPr lang="es-ES"/>
        </a:p>
      </dgm:t>
    </dgm:pt>
    <dgm:pt modelId="{521D7D6D-9562-41A1-9A62-5E3D9EE4DA70}" type="sibTrans" cxnId="{3E32E5AF-A263-4EDB-B419-772A6FDA36F1}">
      <dgm:prSet/>
      <dgm:spPr/>
      <dgm:t>
        <a:bodyPr/>
        <a:lstStyle/>
        <a:p>
          <a:endParaRPr lang="es-ES"/>
        </a:p>
      </dgm:t>
    </dgm:pt>
    <dgm:pt modelId="{06CBF0ED-C816-4C3D-9128-A920418609A9}">
      <dgm:prSet custT="1"/>
      <dgm:spPr/>
      <dgm: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El Data Scientist le dice a la máquina qué buscar, y esta refina el criterio hasta que tenga un modelo específico de lo que le hemos pedido. </a:t>
          </a:r>
        </a:p>
      </dgm:t>
    </dgm:pt>
    <dgm:pt modelId="{E0BD43F0-980A-4555-96C1-5A42E9490757}" type="parTrans" cxnId="{BCF8E351-4D73-4245-8D1F-F31E1E12700B}">
      <dgm:prSet/>
      <dgm:spPr/>
      <dgm:t>
        <a:bodyPr/>
        <a:lstStyle/>
        <a:p>
          <a:endParaRPr lang="es-ES"/>
        </a:p>
      </dgm:t>
    </dgm:pt>
    <dgm:pt modelId="{09AB675D-E746-41F4-8E31-EF43A1965EE3}" type="sibTrans" cxnId="{BCF8E351-4D73-4245-8D1F-F31E1E12700B}">
      <dgm:prSet/>
      <dgm:spPr/>
      <dgm:t>
        <a:bodyPr/>
        <a:lstStyle/>
        <a:p>
          <a:endParaRPr lang="es-ES"/>
        </a:p>
      </dgm:t>
    </dgm:pt>
    <dgm:pt modelId="{F14F7BB1-0059-4693-991C-DAB124D4B6D8}">
      <dgm:prSet custT="1"/>
      <dgm:spPr/>
      <dgm: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Filtra los correos de SPAM</a:t>
          </a:r>
        </a:p>
      </dgm:t>
    </dgm:pt>
    <dgm:pt modelId="{0AD96B14-F560-427E-BF45-C5C3BDA19149}" type="parTrans" cxnId="{1A4E5BF8-C17B-4E51-A5CA-D9E0C443B1CD}">
      <dgm:prSet/>
      <dgm:spPr/>
      <dgm:t>
        <a:bodyPr/>
        <a:lstStyle/>
        <a:p>
          <a:endParaRPr lang="es-ES"/>
        </a:p>
      </dgm:t>
    </dgm:pt>
    <dgm:pt modelId="{CA38CFD6-2EB7-4CCE-A878-887D22E31D6F}" type="sibTrans" cxnId="{1A4E5BF8-C17B-4E51-A5CA-D9E0C443B1CD}">
      <dgm:prSet/>
      <dgm:spPr/>
      <dgm:t>
        <a:bodyPr/>
        <a:lstStyle/>
        <a:p>
          <a:endParaRPr lang="es-ES"/>
        </a:p>
      </dgm:t>
    </dgm:pt>
    <dgm:pt modelId="{67A10C2C-AB9A-448D-8C03-DA9537EDBA21}">
      <dgm:prSet custT="1"/>
      <dgm:spPr/>
      <dgm: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Hace recomendaciones en Youtube</a:t>
          </a:r>
        </a:p>
      </dgm:t>
    </dgm:pt>
    <dgm:pt modelId="{17340D05-E7BA-4A2B-8B97-CD53B44484A4}" type="parTrans" cxnId="{37AC3F70-3BE7-405D-BFC9-BE9F530D65B6}">
      <dgm:prSet/>
      <dgm:spPr/>
      <dgm:t>
        <a:bodyPr/>
        <a:lstStyle/>
        <a:p>
          <a:endParaRPr lang="es-ES"/>
        </a:p>
      </dgm:t>
    </dgm:pt>
    <dgm:pt modelId="{CD1728ED-CC28-4394-8CEC-7C1F78C2715A}" type="sibTrans" cxnId="{37AC3F70-3BE7-405D-BFC9-BE9F530D65B6}">
      <dgm:prSet/>
      <dgm:spPr/>
      <dgm:t>
        <a:bodyPr/>
        <a:lstStyle/>
        <a:p>
          <a:endParaRPr lang="es-ES"/>
        </a:p>
      </dgm:t>
    </dgm:pt>
    <dgm:pt modelId="{4E372A8E-53FF-4859-8E7E-02B86FD0FB8C}">
      <dgm:prSet custT="1"/>
      <dgm:spPr/>
      <dgm: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Modifica tu actividad en LinkeIn.</a:t>
          </a:r>
          <a:endParaRPr lang="es-ES" sz="1200" kern="1200" dirty="0">
            <a:solidFill>
              <a:srgbClr val="17406D">
                <a:hueOff val="0"/>
                <a:satOff val="0"/>
                <a:lumOff val="0"/>
                <a:alphaOff val="0"/>
              </a:srgbClr>
            </a:solidFill>
            <a:latin typeface="Avenir LT Std 35 Light" panose="020B0402020203020204" pitchFamily="34" charset="0"/>
            <a:ea typeface="+mn-ea"/>
            <a:cs typeface="+mn-cs"/>
          </a:endParaRPr>
        </a:p>
      </dgm:t>
    </dgm:pt>
    <dgm:pt modelId="{1E3BE7E8-941D-4D39-BC4D-515A807465B2}" type="parTrans" cxnId="{522245DE-6BDB-47A5-A1CD-3887628501E7}">
      <dgm:prSet/>
      <dgm:spPr/>
      <dgm:t>
        <a:bodyPr/>
        <a:lstStyle/>
        <a:p>
          <a:endParaRPr lang="es-ES"/>
        </a:p>
      </dgm:t>
    </dgm:pt>
    <dgm:pt modelId="{AEA3B880-18D8-408E-9E43-5067BA934A98}" type="sibTrans" cxnId="{522245DE-6BDB-47A5-A1CD-3887628501E7}">
      <dgm:prSet/>
      <dgm:spPr/>
      <dgm:t>
        <a:bodyPr/>
        <a:lstStyle/>
        <a:p>
          <a:endParaRPr lang="es-ES"/>
        </a:p>
      </dgm:t>
    </dgm:pt>
    <dgm:pt modelId="{AD03C313-85F4-4A50-B218-C2B463467911}">
      <dgm:prSet/>
      <dgm:spPr/>
      <dgm:t>
        <a:bodyPr/>
        <a:lstStyle/>
        <a:p>
          <a:r>
            <a:rPr lang="es-ES" noProof="0" dirty="0"/>
            <a:t>El algoritmo inspeccionará las imágenes para ver qué tienen en común (pista: son Coches).</a:t>
          </a:r>
        </a:p>
      </dgm:t>
    </dgm:pt>
    <dgm:pt modelId="{8AD54414-2394-4607-A83D-4C6D1DFAE958}" type="parTrans" cxnId="{6B8FD9DC-EADA-4A7C-94E1-CEB061B03719}">
      <dgm:prSet/>
      <dgm:spPr/>
      <dgm:t>
        <a:bodyPr/>
        <a:lstStyle/>
        <a:p>
          <a:endParaRPr lang="es-ES"/>
        </a:p>
      </dgm:t>
    </dgm:pt>
    <dgm:pt modelId="{FD045492-A030-4C86-BB58-AD665D1E8077}" type="sibTrans" cxnId="{6B8FD9DC-EADA-4A7C-94E1-CEB061B03719}">
      <dgm:prSet/>
      <dgm:spPr/>
      <dgm:t>
        <a:bodyPr/>
        <a:lstStyle/>
        <a:p>
          <a:endParaRPr lang="es-ES"/>
        </a:p>
      </dgm:t>
    </dgm:pt>
    <dgm:pt modelId="{D0EBFD9E-0B6C-46C5-8839-47A775D5BD96}">
      <dgm:prSet/>
      <dgm:spPr/>
      <dgm:t>
        <a:bodyPr/>
        <a:lstStyle/>
        <a:p>
          <a:r>
            <a:rPr lang="es-ES" noProof="0" dirty="0"/>
            <a:t>Cada imagen se deconstruirá en múltiples niveles de detalle, desde formas grandes y generales hasta líneas pequeñas. </a:t>
          </a:r>
        </a:p>
      </dgm:t>
    </dgm:pt>
    <dgm:pt modelId="{6EB0596B-74FE-4571-AF86-8801952ECB4A}" type="parTrans" cxnId="{EA5F32B0-91A4-49F5-ACE1-B20D9793613F}">
      <dgm:prSet/>
      <dgm:spPr/>
      <dgm:t>
        <a:bodyPr/>
        <a:lstStyle/>
        <a:p>
          <a:endParaRPr lang="es-ES"/>
        </a:p>
      </dgm:t>
    </dgm:pt>
    <dgm:pt modelId="{0D7162A0-373A-4FEC-9812-4BB18F83230F}" type="sibTrans" cxnId="{EA5F32B0-91A4-49F5-ACE1-B20D9793613F}">
      <dgm:prSet/>
      <dgm:spPr/>
      <dgm:t>
        <a:bodyPr/>
        <a:lstStyle/>
        <a:p>
          <a:endParaRPr lang="es-ES"/>
        </a:p>
      </dgm:t>
    </dgm:pt>
    <dgm:pt modelId="{5A6D9AA0-74E7-48CA-8DE0-718196373565}">
      <dgm:prSet/>
      <dgm:spPr/>
      <dgm:t>
        <a:bodyPr/>
        <a:lstStyle/>
        <a:p>
          <a:r>
            <a:rPr lang="es-ES" noProof="0" dirty="0"/>
            <a:t>Si una forma se repite mucho, el algoritmo lo etiquetará como una característica importante.</a:t>
          </a:r>
        </a:p>
      </dgm:t>
    </dgm:pt>
    <dgm:pt modelId="{8641FE78-3C7F-4D49-A18B-78FF86842520}" type="parTrans" cxnId="{CA1EE37F-5BF0-44B7-8772-A0DFFF39CF6B}">
      <dgm:prSet/>
      <dgm:spPr/>
      <dgm:t>
        <a:bodyPr/>
        <a:lstStyle/>
        <a:p>
          <a:endParaRPr lang="es-ES"/>
        </a:p>
      </dgm:t>
    </dgm:pt>
    <dgm:pt modelId="{4FC06228-FF13-410D-B65E-626E49D30E44}" type="sibTrans" cxnId="{CA1EE37F-5BF0-44B7-8772-A0DFFF39CF6B}">
      <dgm:prSet/>
      <dgm:spPr/>
      <dgm:t>
        <a:bodyPr/>
        <a:lstStyle/>
        <a:p>
          <a:endParaRPr lang="es-ES"/>
        </a:p>
      </dgm:t>
    </dgm:pt>
    <dgm:pt modelId="{2B3E14F2-BF71-4220-8498-886543B38993}">
      <dgm:prSet/>
      <dgm:spPr/>
      <dgm:t>
        <a:bodyPr/>
        <a:lstStyle/>
        <a:p>
          <a:r>
            <a:rPr lang="es-ES" noProof="0" dirty="0"/>
            <a:t>Tras analizar suficientes imágenes, el algoritmo ya sabrá reconocer los patrones que definen lo que es un Coche y podrá identificarlo en cualquier otro escenario</a:t>
          </a:r>
          <a:endParaRPr lang="es-ES" dirty="0"/>
        </a:p>
      </dgm:t>
    </dgm:pt>
    <dgm:pt modelId="{92BA795E-719E-49E3-B7AF-1B0403B4668F}" type="parTrans" cxnId="{39B1A9B9-A8E9-4D93-B1B5-1F4A79B2BEDC}">
      <dgm:prSet/>
      <dgm:spPr/>
      <dgm:t>
        <a:bodyPr/>
        <a:lstStyle/>
        <a:p>
          <a:endParaRPr lang="es-ES"/>
        </a:p>
      </dgm:t>
    </dgm:pt>
    <dgm:pt modelId="{0D91E2D4-E424-43A6-97A7-79C95A45BE00}" type="sibTrans" cxnId="{39B1A9B9-A8E9-4D93-B1B5-1F4A79B2BEDC}">
      <dgm:prSet/>
      <dgm:spPr/>
      <dgm:t>
        <a:bodyPr/>
        <a:lstStyle/>
        <a:p>
          <a:endParaRPr lang="es-ES"/>
        </a:p>
      </dgm:t>
    </dgm:pt>
    <dgm:pt modelId="{BD94512B-AF95-411F-B2D2-F34D85004CD1}">
      <dgm:prSet custT="1"/>
      <dgm:spPr/>
      <dgm:t>
        <a:bodyPr/>
        <a:lstStyle/>
        <a:p>
          <a:pPr>
            <a:spcAft>
              <a:spcPts val="600"/>
            </a:spcAft>
          </a:pPr>
          <a:r>
            <a:rPr lang="es-ES" sz="1200" noProof="0" dirty="0"/>
            <a:t>Consiste en hacer que una máquina sea capaz de pensar como un ser humano. </a:t>
          </a:r>
          <a:endParaRPr lang="es-ES" sz="1200" dirty="0"/>
        </a:p>
      </dgm:t>
    </dgm:pt>
    <dgm:pt modelId="{8899918F-0474-4BA3-A524-529096EB0CDB}" type="parTrans" cxnId="{93DE64C1-79CC-4F32-B9A0-C5256FBB53CE}">
      <dgm:prSet/>
      <dgm:spPr/>
      <dgm:t>
        <a:bodyPr/>
        <a:lstStyle/>
        <a:p>
          <a:endParaRPr lang="es-ES"/>
        </a:p>
      </dgm:t>
    </dgm:pt>
    <dgm:pt modelId="{0759647B-7E4C-4B90-81B0-6A0D310F6EDB}" type="sibTrans" cxnId="{93DE64C1-79CC-4F32-B9A0-C5256FBB53CE}">
      <dgm:prSet/>
      <dgm:spPr/>
      <dgm:t>
        <a:bodyPr/>
        <a:lstStyle/>
        <a:p>
          <a:endParaRPr lang="es-ES"/>
        </a:p>
      </dgm:t>
    </dgm:pt>
    <dgm:pt modelId="{787C2C56-0478-4682-92B9-51E97F2C2600}" type="pres">
      <dgm:prSet presAssocID="{7856D12A-E740-4889-A1E2-32C1B96D447E}" presName="diagram" presStyleCnt="0">
        <dgm:presLayoutVars>
          <dgm:dir/>
          <dgm:animLvl val="lvl"/>
          <dgm:resizeHandles val="exact"/>
        </dgm:presLayoutVars>
      </dgm:prSet>
      <dgm:spPr/>
    </dgm:pt>
    <dgm:pt modelId="{2075BC7B-BA8C-418B-AE76-7250069F70A5}" type="pres">
      <dgm:prSet presAssocID="{3454AD3F-894C-435F-B1DE-4288C41C7388}" presName="compNode" presStyleCnt="0"/>
      <dgm:spPr/>
    </dgm:pt>
    <dgm:pt modelId="{A426228A-1A3D-4673-B84B-5089E7F7257C}" type="pres">
      <dgm:prSet presAssocID="{3454AD3F-894C-435F-B1DE-4288C41C7388}" presName="childRect" presStyleLbl="bgAcc1" presStyleIdx="0" presStyleCnt="3">
        <dgm:presLayoutVars>
          <dgm:bulletEnabled val="1"/>
        </dgm:presLayoutVars>
      </dgm:prSet>
      <dgm:spPr/>
    </dgm:pt>
    <dgm:pt modelId="{808C34F0-9DED-4C64-8D8C-EEA439132E08}" type="pres">
      <dgm:prSet presAssocID="{3454AD3F-894C-435F-B1DE-4288C41C7388}" presName="parentText" presStyleLbl="node1" presStyleIdx="0" presStyleCnt="0">
        <dgm:presLayoutVars>
          <dgm:chMax val="0"/>
          <dgm:bulletEnabled val="1"/>
        </dgm:presLayoutVars>
      </dgm:prSet>
      <dgm:spPr/>
    </dgm:pt>
    <dgm:pt modelId="{658D8928-E969-4295-86B7-1E2282A00761}" type="pres">
      <dgm:prSet presAssocID="{3454AD3F-894C-435F-B1DE-4288C41C7388}" presName="parentRect" presStyleLbl="alignNode1" presStyleIdx="0" presStyleCnt="3"/>
      <dgm:spPr/>
    </dgm:pt>
    <dgm:pt modelId="{E28371BB-C2F9-4427-81C7-97EA734D823E}" type="pres">
      <dgm:prSet presAssocID="{3454AD3F-894C-435F-B1DE-4288C41C7388}" presName="adorn" presStyleLbl="fgAccFollowNode1" presStyleIdx="0" presStyleCnt="3"/>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pt>
    <dgm:pt modelId="{FF679F1E-EF7B-4D49-BC60-F45D8D88CBA3}" type="pres">
      <dgm:prSet presAssocID="{9E4A524A-94CD-48E1-A0EC-CEA866522E9D}" presName="sibTrans" presStyleLbl="sibTrans2D1" presStyleIdx="0" presStyleCnt="0"/>
      <dgm:spPr/>
    </dgm:pt>
    <dgm:pt modelId="{7E28F894-010B-4180-8C4D-9AEFB0FB50FA}" type="pres">
      <dgm:prSet presAssocID="{15BA6EB0-8AA5-43D6-BEC1-32F1EC5BE2D2}" presName="compNode" presStyleCnt="0"/>
      <dgm:spPr/>
    </dgm:pt>
    <dgm:pt modelId="{D7494EF6-804B-40FF-8F08-88F7AE32B0DC}" type="pres">
      <dgm:prSet presAssocID="{15BA6EB0-8AA5-43D6-BEC1-32F1EC5BE2D2}" presName="childRect" presStyleLbl="bgAcc1" presStyleIdx="1" presStyleCnt="3">
        <dgm:presLayoutVars>
          <dgm:bulletEnabled val="1"/>
        </dgm:presLayoutVars>
      </dgm:prSet>
      <dgm:spPr/>
    </dgm:pt>
    <dgm:pt modelId="{326FC7EA-7902-49BA-8C04-F417CCBF3DAE}" type="pres">
      <dgm:prSet presAssocID="{15BA6EB0-8AA5-43D6-BEC1-32F1EC5BE2D2}" presName="parentText" presStyleLbl="node1" presStyleIdx="0" presStyleCnt="0">
        <dgm:presLayoutVars>
          <dgm:chMax val="0"/>
          <dgm:bulletEnabled val="1"/>
        </dgm:presLayoutVars>
      </dgm:prSet>
      <dgm:spPr/>
    </dgm:pt>
    <dgm:pt modelId="{63D92E6F-D7A7-42AF-80EA-490E9AD25964}" type="pres">
      <dgm:prSet presAssocID="{15BA6EB0-8AA5-43D6-BEC1-32F1EC5BE2D2}" presName="parentRect" presStyleLbl="alignNode1" presStyleIdx="1" presStyleCnt="3"/>
      <dgm:spPr/>
    </dgm:pt>
    <dgm:pt modelId="{77237DEF-D8AC-48CD-9D11-0CE5041CAB40}" type="pres">
      <dgm:prSet presAssocID="{15BA6EB0-8AA5-43D6-BEC1-32F1EC5BE2D2}" presName="adorn" presStyleLbl="fgAccFollowNod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pt>
    <dgm:pt modelId="{B65B6CC9-B280-44C3-BE48-38187803B633}" type="pres">
      <dgm:prSet presAssocID="{340B2901-BA27-4CA5-B9E2-6C8429345DBA}" presName="sibTrans" presStyleLbl="sibTrans2D1" presStyleIdx="0" presStyleCnt="0"/>
      <dgm:spPr/>
    </dgm:pt>
    <dgm:pt modelId="{55DFFDE4-D8F2-4DC7-976A-80BAC51032D1}" type="pres">
      <dgm:prSet presAssocID="{12CD52BE-CE76-4D30-9002-6DAE866E11D3}" presName="compNode" presStyleCnt="0"/>
      <dgm:spPr/>
    </dgm:pt>
    <dgm:pt modelId="{8AD9CF11-73F7-4E05-B5C3-FA02DD5F2DEE}" type="pres">
      <dgm:prSet presAssocID="{12CD52BE-CE76-4D30-9002-6DAE866E11D3}" presName="childRect" presStyleLbl="bgAcc1" presStyleIdx="2" presStyleCnt="3">
        <dgm:presLayoutVars>
          <dgm:bulletEnabled val="1"/>
        </dgm:presLayoutVars>
      </dgm:prSet>
      <dgm:spPr/>
    </dgm:pt>
    <dgm:pt modelId="{4FB7BF10-7B26-4413-8F09-8DD55614E57C}" type="pres">
      <dgm:prSet presAssocID="{12CD52BE-CE76-4D30-9002-6DAE866E11D3}" presName="parentText" presStyleLbl="node1" presStyleIdx="0" presStyleCnt="0">
        <dgm:presLayoutVars>
          <dgm:chMax val="0"/>
          <dgm:bulletEnabled val="1"/>
        </dgm:presLayoutVars>
      </dgm:prSet>
      <dgm:spPr/>
    </dgm:pt>
    <dgm:pt modelId="{4F870585-6C66-4323-AACF-2EBBB7C0506D}" type="pres">
      <dgm:prSet presAssocID="{12CD52BE-CE76-4D30-9002-6DAE866E11D3}" presName="parentRect" presStyleLbl="alignNode1" presStyleIdx="2" presStyleCnt="3"/>
      <dgm:spPr/>
    </dgm:pt>
    <dgm:pt modelId="{812C3CE8-328F-4892-B2FD-DD039522DCE3}" type="pres">
      <dgm:prSet presAssocID="{12CD52BE-CE76-4D30-9002-6DAE866E11D3}" presName="adorn" presStyleLbl="fgAccFollowNode1" presStyleIdx="2" presStyleCnt="3"/>
      <dgm:spPr>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pt>
  </dgm:ptLst>
  <dgm:cxnLst>
    <dgm:cxn modelId="{6E9F5B0B-BD5B-40F3-AB93-5E48A3898FBB}" type="presOf" srcId="{340B2901-BA27-4CA5-B9E2-6C8429345DBA}" destId="{B65B6CC9-B280-44C3-BE48-38187803B633}" srcOrd="0" destOrd="0" presId="urn:microsoft.com/office/officeart/2005/8/layout/bList2"/>
    <dgm:cxn modelId="{65EC360D-E915-479F-8D7A-36121D35DDCE}" type="presOf" srcId="{15BA6EB0-8AA5-43D6-BEC1-32F1EC5BE2D2}" destId="{326FC7EA-7902-49BA-8C04-F417CCBF3DAE}" srcOrd="0" destOrd="0" presId="urn:microsoft.com/office/officeart/2005/8/layout/bList2"/>
    <dgm:cxn modelId="{67EAD511-506D-4401-BB98-6B9B84AD9020}" type="presOf" srcId="{5A6D9AA0-74E7-48CA-8DE0-718196373565}" destId="{8AD9CF11-73F7-4E05-B5C3-FA02DD5F2DEE}" srcOrd="0" destOrd="3" presId="urn:microsoft.com/office/officeart/2005/8/layout/bList2"/>
    <dgm:cxn modelId="{09B0CA25-3C25-4303-A783-A4B2CE70BF36}" type="presOf" srcId="{969ED090-89F6-450D-AFB8-DA46F5E86073}" destId="{A426228A-1A3D-4673-B84B-5089E7F7257C}" srcOrd="0" destOrd="0" presId="urn:microsoft.com/office/officeart/2005/8/layout/bList2"/>
    <dgm:cxn modelId="{8C067D61-C3A7-4E87-8C0F-C1258489622B}" type="presOf" srcId="{AD03C313-85F4-4A50-B218-C2B463467911}" destId="{8AD9CF11-73F7-4E05-B5C3-FA02DD5F2DEE}" srcOrd="0" destOrd="1" presId="urn:microsoft.com/office/officeart/2005/8/layout/bList2"/>
    <dgm:cxn modelId="{75984643-AE62-429B-A9D0-9F54EA8A5C7D}" type="presOf" srcId="{BD94512B-AF95-411F-B2D2-F34D85004CD1}" destId="{A426228A-1A3D-4673-B84B-5089E7F7257C}" srcOrd="0" destOrd="1" presId="urn:microsoft.com/office/officeart/2005/8/layout/bList2"/>
    <dgm:cxn modelId="{98064165-D7E4-401B-96B1-B32950B0F118}" srcId="{3454AD3F-894C-435F-B1DE-4288C41C7388}" destId="{27B8FD85-ABD2-4174-A3B6-E5F78993973D}" srcOrd="2" destOrd="0" parTransId="{7DCE12D4-18EF-44A2-8044-1378D4F1EA16}" sibTransId="{C7ACB143-50DE-486D-80FB-53FB2C6CF1E4}"/>
    <dgm:cxn modelId="{6348D849-6F57-4960-8865-B58F11A50DAF}" type="presOf" srcId="{9E4A524A-94CD-48E1-A0EC-CEA866522E9D}" destId="{FF679F1E-EF7B-4D49-BC60-F45D8D88CBA3}" srcOrd="0" destOrd="0" presId="urn:microsoft.com/office/officeart/2005/8/layout/bList2"/>
    <dgm:cxn modelId="{EB28EB49-39C3-4F17-B1FB-D17E3D2195E6}" type="presOf" srcId="{2B3E14F2-BF71-4220-8498-886543B38993}" destId="{8AD9CF11-73F7-4E05-B5C3-FA02DD5F2DEE}" srcOrd="0" destOrd="4" presId="urn:microsoft.com/office/officeart/2005/8/layout/bList2"/>
    <dgm:cxn modelId="{C781F049-8E3F-4450-9D3E-D9F4B57C2AA0}" type="presOf" srcId="{06CBF0ED-C816-4C3D-9128-A920418609A9}" destId="{D7494EF6-804B-40FF-8F08-88F7AE32B0DC}" srcOrd="0" destOrd="1" presId="urn:microsoft.com/office/officeart/2005/8/layout/bList2"/>
    <dgm:cxn modelId="{36C8B86A-2EA4-412F-889D-D61E6A008F23}" type="presOf" srcId="{D0EBFD9E-0B6C-46C5-8839-47A775D5BD96}" destId="{8AD9CF11-73F7-4E05-B5C3-FA02DD5F2DEE}" srcOrd="0" destOrd="2" presId="urn:microsoft.com/office/officeart/2005/8/layout/bList2"/>
    <dgm:cxn modelId="{386A1E6B-BA34-49FE-8FEE-2C21A502A7E9}" type="presOf" srcId="{37A4448E-F506-4935-972C-D05FC783A0FA}" destId="{A426228A-1A3D-4673-B84B-5089E7F7257C}" srcOrd="0" destOrd="5" presId="urn:microsoft.com/office/officeart/2005/8/layout/bList2"/>
    <dgm:cxn modelId="{C318874B-1FAE-4094-B5C2-A5F561E2730E}" type="presOf" srcId="{4E372A8E-53FF-4859-8E7E-02B86FD0FB8C}" destId="{D7494EF6-804B-40FF-8F08-88F7AE32B0DC}" srcOrd="0" destOrd="4" presId="urn:microsoft.com/office/officeart/2005/8/layout/bList2"/>
    <dgm:cxn modelId="{24A7544D-EF74-4DC6-A066-3238A4FF052F}" type="presOf" srcId="{3454AD3F-894C-435F-B1DE-4288C41C7388}" destId="{808C34F0-9DED-4C64-8D8C-EEA439132E08}" srcOrd="0" destOrd="0" presId="urn:microsoft.com/office/officeart/2005/8/layout/bList2"/>
    <dgm:cxn modelId="{37AC3F70-3BE7-405D-BFC9-BE9F530D65B6}" srcId="{06CBF0ED-C816-4C3D-9128-A920418609A9}" destId="{67A10C2C-AB9A-448D-8C03-DA9537EDBA21}" srcOrd="1" destOrd="0" parTransId="{17340D05-E7BA-4A2B-8B97-CD53B44484A4}" sibTransId="{CD1728ED-CC28-4394-8CEC-7C1F78C2715A}"/>
    <dgm:cxn modelId="{BCF8E351-4D73-4245-8D1F-F31E1E12700B}" srcId="{15BA6EB0-8AA5-43D6-BEC1-32F1EC5BE2D2}" destId="{06CBF0ED-C816-4C3D-9128-A920418609A9}" srcOrd="1" destOrd="0" parTransId="{E0BD43F0-980A-4555-96C1-5A42E9490757}" sibTransId="{09AB675D-E746-41F4-8E31-EF43A1965EE3}"/>
    <dgm:cxn modelId="{6C1E7972-5CE3-4A32-B588-FD31EC9A56D8}" type="presOf" srcId="{15BA6EB0-8AA5-43D6-BEC1-32F1EC5BE2D2}" destId="{63D92E6F-D7A7-42AF-80EA-490E9AD25964}" srcOrd="1" destOrd="0" presId="urn:microsoft.com/office/officeart/2005/8/layout/bList2"/>
    <dgm:cxn modelId="{BEB82078-54CB-44EE-B219-D3103F473FB1}" srcId="{7856D12A-E740-4889-A1E2-32C1B96D447E}" destId="{3454AD3F-894C-435F-B1DE-4288C41C7388}" srcOrd="0" destOrd="0" parTransId="{015DAF7E-AE0D-4746-A201-F2BB0B140C4A}" sibTransId="{9E4A524A-94CD-48E1-A0EC-CEA866522E9D}"/>
    <dgm:cxn modelId="{92E32459-024A-42CF-9A3A-4C2E2CC73B92}" srcId="{15BA6EB0-8AA5-43D6-BEC1-32F1EC5BE2D2}" destId="{3B9DF63B-31D8-4803-B8F0-C68325B3AAA8}" srcOrd="0" destOrd="0" parTransId="{86D872D0-908F-43D4-9A10-E825AFE62FC5}" sibTransId="{FD235D57-735F-4A9C-A0A9-E9316464C111}"/>
    <dgm:cxn modelId="{0A8C447A-2803-46A7-984F-826F215202C6}" type="presOf" srcId="{F14F7BB1-0059-4693-991C-DAB124D4B6D8}" destId="{D7494EF6-804B-40FF-8F08-88F7AE32B0DC}" srcOrd="0" destOrd="2" presId="urn:microsoft.com/office/officeart/2005/8/layout/bList2"/>
    <dgm:cxn modelId="{65B8E45A-E3DF-4C50-989B-DDABD801C7DE}" type="presOf" srcId="{67A10C2C-AB9A-448D-8C03-DA9537EDBA21}" destId="{D7494EF6-804B-40FF-8F08-88F7AE32B0DC}" srcOrd="0" destOrd="3" presId="urn:microsoft.com/office/officeart/2005/8/layout/bList2"/>
    <dgm:cxn modelId="{CA1EE37F-5BF0-44B7-8772-A0DFFF39CF6B}" srcId="{12CD52BE-CE76-4D30-9002-6DAE866E11D3}" destId="{5A6D9AA0-74E7-48CA-8DE0-718196373565}" srcOrd="3" destOrd="0" parTransId="{8641FE78-3C7F-4D49-A18B-78FF86842520}" sibTransId="{4FC06228-FF13-410D-B65E-626E49D30E44}"/>
    <dgm:cxn modelId="{4CFDC889-1ED2-469E-9BC8-CA7DE4AB4D32}" srcId="{27B8FD85-ABD2-4174-A3B6-E5F78993973D}" destId="{A8346233-051E-47CB-887F-AAB859156226}" srcOrd="0" destOrd="0" parTransId="{A0D2BB02-4B44-40CF-B2A0-095F0F43239C}" sibTransId="{2CCEC92C-A4BA-4051-B05A-861898FBC080}"/>
    <dgm:cxn modelId="{2050BD9D-40C8-4335-86AF-32EA209D0BB7}" type="presOf" srcId="{3B9DF63B-31D8-4803-B8F0-C68325B3AAA8}" destId="{D7494EF6-804B-40FF-8F08-88F7AE32B0DC}" srcOrd="0" destOrd="0" presId="urn:microsoft.com/office/officeart/2005/8/layout/bList2"/>
    <dgm:cxn modelId="{0736F9A1-162B-4C03-B59C-FC60C4FA12B3}" type="presOf" srcId="{12CD52BE-CE76-4D30-9002-6DAE866E11D3}" destId="{4FB7BF10-7B26-4413-8F09-8DD55614E57C}" srcOrd="0" destOrd="0" presId="urn:microsoft.com/office/officeart/2005/8/layout/bList2"/>
    <dgm:cxn modelId="{9CE73AA7-0E45-4500-95D8-AEA02DD89F2E}" srcId="{A8346233-051E-47CB-887F-AAB859156226}" destId="{21629E9E-10FB-415A-AC5C-0192C34621E6}" srcOrd="0" destOrd="0" parTransId="{A030ECEF-3FAA-4FAB-83B4-5E036882E366}" sibTransId="{52772124-D9DF-4405-9990-4B0C6AA093C8}"/>
    <dgm:cxn modelId="{5C148DA7-807C-4F8A-BBA1-F6D34B545D2C}" type="presOf" srcId="{3454AD3F-894C-435F-B1DE-4288C41C7388}" destId="{658D8928-E969-4295-86B7-1E2282A00761}" srcOrd="1" destOrd="0" presId="urn:microsoft.com/office/officeart/2005/8/layout/bList2"/>
    <dgm:cxn modelId="{3E32E5AF-A263-4EDB-B419-772A6FDA36F1}" srcId="{27B8FD85-ABD2-4174-A3B6-E5F78993973D}" destId="{C6D227A5-6A8D-4389-BECB-76AA1DB8B88B}" srcOrd="1" destOrd="0" parTransId="{65F8E6B1-89BF-4F92-A09B-EF4EF2FD2C42}" sibTransId="{521D7D6D-9562-41A1-9A62-5E3D9EE4DA70}"/>
    <dgm:cxn modelId="{EA5F32B0-91A4-49F5-ACE1-B20D9793613F}" srcId="{12CD52BE-CE76-4D30-9002-6DAE866E11D3}" destId="{D0EBFD9E-0B6C-46C5-8839-47A775D5BD96}" srcOrd="2" destOrd="0" parTransId="{6EB0596B-74FE-4571-AF86-8801952ECB4A}" sibTransId="{0D7162A0-373A-4FEC-9812-4BB18F83230F}"/>
    <dgm:cxn modelId="{39B1A9B9-A8E9-4D93-B1B5-1F4A79B2BEDC}" srcId="{12CD52BE-CE76-4D30-9002-6DAE866E11D3}" destId="{2B3E14F2-BF71-4220-8498-886543B38993}" srcOrd="4" destOrd="0" parTransId="{92BA795E-719E-49E3-B7AF-1B0403B4668F}" sibTransId="{0D91E2D4-E424-43A6-97A7-79C95A45BE00}"/>
    <dgm:cxn modelId="{93DE64C1-79CC-4F32-B9A0-C5256FBB53CE}" srcId="{3454AD3F-894C-435F-B1DE-4288C41C7388}" destId="{BD94512B-AF95-411F-B2D2-F34D85004CD1}" srcOrd="1" destOrd="0" parTransId="{8899918F-0474-4BA3-A524-529096EB0CDB}" sibTransId="{0759647B-7E4C-4B90-81B0-6A0D310F6EDB}"/>
    <dgm:cxn modelId="{F94FAEC5-BF29-4EA8-A321-6F13EC9CA11A}" srcId="{A8346233-051E-47CB-887F-AAB859156226}" destId="{37A4448E-F506-4935-972C-D05FC783A0FA}" srcOrd="1" destOrd="0" parTransId="{78336E8F-D365-4F6E-94B2-D668C0D33AC9}" sibTransId="{CDE14F97-2EB9-4B11-B8B1-C07C8A140696}"/>
    <dgm:cxn modelId="{82E61DCD-C575-486D-A3B2-230E13B8F38E}" type="presOf" srcId="{700F2A88-BDE3-4E28-AC55-E62503CD8120}" destId="{8AD9CF11-73F7-4E05-B5C3-FA02DD5F2DEE}" srcOrd="0" destOrd="0" presId="urn:microsoft.com/office/officeart/2005/8/layout/bList2"/>
    <dgm:cxn modelId="{7C3844D6-D9E6-4B21-BEFB-23CC96864275}" srcId="{7856D12A-E740-4889-A1E2-32C1B96D447E}" destId="{12CD52BE-CE76-4D30-9002-6DAE866E11D3}" srcOrd="2" destOrd="0" parTransId="{4DBD5DBB-11E2-4AE1-8D4C-2C9D3C52867C}" sibTransId="{F9DDA4E7-BD4F-45C5-8613-1B1451D77428}"/>
    <dgm:cxn modelId="{1623ABD6-D810-4055-A3BA-1DCBB58E1CF2}" type="presOf" srcId="{12CD52BE-CE76-4D30-9002-6DAE866E11D3}" destId="{4F870585-6C66-4323-AACF-2EBBB7C0506D}" srcOrd="1" destOrd="0" presId="urn:microsoft.com/office/officeart/2005/8/layout/bList2"/>
    <dgm:cxn modelId="{F74225DB-600C-45D9-82AC-F01223C83607}" srcId="{12CD52BE-CE76-4D30-9002-6DAE866E11D3}" destId="{700F2A88-BDE3-4E28-AC55-E62503CD8120}" srcOrd="0" destOrd="0" parTransId="{B99495E6-C826-48A7-8727-E6F66CF34FDA}" sibTransId="{0D549773-A874-4838-8C56-E9BDFA7AB2AF}"/>
    <dgm:cxn modelId="{F88D24DC-D933-458F-91A2-D648A7B6FFCC}" srcId="{3454AD3F-894C-435F-B1DE-4288C41C7388}" destId="{969ED090-89F6-450D-AFB8-DA46F5E86073}" srcOrd="0" destOrd="0" parTransId="{C5619FE2-7515-4B8A-8564-1F5B8AFB1CA4}" sibTransId="{0600CF08-C6F9-4A43-B315-70F232704A13}"/>
    <dgm:cxn modelId="{6B8FD9DC-EADA-4A7C-94E1-CEB061B03719}" srcId="{12CD52BE-CE76-4D30-9002-6DAE866E11D3}" destId="{AD03C313-85F4-4A50-B218-C2B463467911}" srcOrd="1" destOrd="0" parTransId="{8AD54414-2394-4607-A83D-4C6D1DFAE958}" sibTransId="{FD045492-A030-4C86-BB58-AD665D1E8077}"/>
    <dgm:cxn modelId="{9A5312DD-440E-4AD1-AE91-5FF056DCE06E}" type="presOf" srcId="{7856D12A-E740-4889-A1E2-32C1B96D447E}" destId="{787C2C56-0478-4682-92B9-51E97F2C2600}" srcOrd="0" destOrd="0" presId="urn:microsoft.com/office/officeart/2005/8/layout/bList2"/>
    <dgm:cxn modelId="{522245DE-6BDB-47A5-A1CD-3887628501E7}" srcId="{06CBF0ED-C816-4C3D-9128-A920418609A9}" destId="{4E372A8E-53FF-4859-8E7E-02B86FD0FB8C}" srcOrd="2" destOrd="0" parTransId="{1E3BE7E8-941D-4D39-BC4D-515A807465B2}" sibTransId="{AEA3B880-18D8-408E-9E43-5067BA934A98}"/>
    <dgm:cxn modelId="{8BACA3E3-BFD7-49E1-8BE1-F19757C63544}" type="presOf" srcId="{21629E9E-10FB-415A-AC5C-0192C34621E6}" destId="{A426228A-1A3D-4673-B84B-5089E7F7257C}" srcOrd="0" destOrd="4" presId="urn:microsoft.com/office/officeart/2005/8/layout/bList2"/>
    <dgm:cxn modelId="{8A1C58E6-080C-439C-9A28-AF0E2CAA2DD8}" type="presOf" srcId="{C6D227A5-6A8D-4389-BECB-76AA1DB8B88B}" destId="{A426228A-1A3D-4673-B84B-5089E7F7257C}" srcOrd="0" destOrd="6" presId="urn:microsoft.com/office/officeart/2005/8/layout/bList2"/>
    <dgm:cxn modelId="{704AEDF0-6DF0-4A73-89B5-A2A0FC5CEBF5}" srcId="{7856D12A-E740-4889-A1E2-32C1B96D447E}" destId="{15BA6EB0-8AA5-43D6-BEC1-32F1EC5BE2D2}" srcOrd="1" destOrd="0" parTransId="{01DA7AD0-1805-4CEA-9F7A-1F9C2E42252C}" sibTransId="{340B2901-BA27-4CA5-B9E2-6C8429345DBA}"/>
    <dgm:cxn modelId="{2B0A80F4-9243-423B-9E85-5BCB14720B7F}" type="presOf" srcId="{A8346233-051E-47CB-887F-AAB859156226}" destId="{A426228A-1A3D-4673-B84B-5089E7F7257C}" srcOrd="0" destOrd="3" presId="urn:microsoft.com/office/officeart/2005/8/layout/bList2"/>
    <dgm:cxn modelId="{1A4E5BF8-C17B-4E51-A5CA-D9E0C443B1CD}" srcId="{06CBF0ED-C816-4C3D-9128-A920418609A9}" destId="{F14F7BB1-0059-4693-991C-DAB124D4B6D8}" srcOrd="0" destOrd="0" parTransId="{0AD96B14-F560-427E-BF45-C5C3BDA19149}" sibTransId="{CA38CFD6-2EB7-4CCE-A878-887D22E31D6F}"/>
    <dgm:cxn modelId="{652C4AFA-8C70-4846-859D-6A99B7FD45F5}" type="presOf" srcId="{27B8FD85-ABD2-4174-A3B6-E5F78993973D}" destId="{A426228A-1A3D-4673-B84B-5089E7F7257C}" srcOrd="0" destOrd="2" presId="urn:microsoft.com/office/officeart/2005/8/layout/bList2"/>
    <dgm:cxn modelId="{4B1925C9-9CC7-4E68-8F84-00FF92840BCE}" type="presParOf" srcId="{787C2C56-0478-4682-92B9-51E97F2C2600}" destId="{2075BC7B-BA8C-418B-AE76-7250069F70A5}" srcOrd="0" destOrd="0" presId="urn:microsoft.com/office/officeart/2005/8/layout/bList2"/>
    <dgm:cxn modelId="{C82EFF57-883F-4B73-B796-FBEB9CC03A08}" type="presParOf" srcId="{2075BC7B-BA8C-418B-AE76-7250069F70A5}" destId="{A426228A-1A3D-4673-B84B-5089E7F7257C}" srcOrd="0" destOrd="0" presId="urn:microsoft.com/office/officeart/2005/8/layout/bList2"/>
    <dgm:cxn modelId="{793B02BC-807C-41BE-8E00-89C1261297C7}" type="presParOf" srcId="{2075BC7B-BA8C-418B-AE76-7250069F70A5}" destId="{808C34F0-9DED-4C64-8D8C-EEA439132E08}" srcOrd="1" destOrd="0" presId="urn:microsoft.com/office/officeart/2005/8/layout/bList2"/>
    <dgm:cxn modelId="{EA7CDD74-1B63-489B-AEBE-3CFD9F9C9926}" type="presParOf" srcId="{2075BC7B-BA8C-418B-AE76-7250069F70A5}" destId="{658D8928-E969-4295-86B7-1E2282A00761}" srcOrd="2" destOrd="0" presId="urn:microsoft.com/office/officeart/2005/8/layout/bList2"/>
    <dgm:cxn modelId="{CC45C8AA-FCEE-41B0-AD96-5D0362EF8931}" type="presParOf" srcId="{2075BC7B-BA8C-418B-AE76-7250069F70A5}" destId="{E28371BB-C2F9-4427-81C7-97EA734D823E}" srcOrd="3" destOrd="0" presId="urn:microsoft.com/office/officeart/2005/8/layout/bList2"/>
    <dgm:cxn modelId="{8A67BC1C-C910-43D8-935B-9BE51986D9F5}" type="presParOf" srcId="{787C2C56-0478-4682-92B9-51E97F2C2600}" destId="{FF679F1E-EF7B-4D49-BC60-F45D8D88CBA3}" srcOrd="1" destOrd="0" presId="urn:microsoft.com/office/officeart/2005/8/layout/bList2"/>
    <dgm:cxn modelId="{58AD7EDB-3788-4752-8268-90F50F6D0855}" type="presParOf" srcId="{787C2C56-0478-4682-92B9-51E97F2C2600}" destId="{7E28F894-010B-4180-8C4D-9AEFB0FB50FA}" srcOrd="2" destOrd="0" presId="urn:microsoft.com/office/officeart/2005/8/layout/bList2"/>
    <dgm:cxn modelId="{97BDEAD4-9129-42D8-A8EC-A04E53A2D844}" type="presParOf" srcId="{7E28F894-010B-4180-8C4D-9AEFB0FB50FA}" destId="{D7494EF6-804B-40FF-8F08-88F7AE32B0DC}" srcOrd="0" destOrd="0" presId="urn:microsoft.com/office/officeart/2005/8/layout/bList2"/>
    <dgm:cxn modelId="{BBB1EAE2-D5CB-493D-8148-A176EC3512DB}" type="presParOf" srcId="{7E28F894-010B-4180-8C4D-9AEFB0FB50FA}" destId="{326FC7EA-7902-49BA-8C04-F417CCBF3DAE}" srcOrd="1" destOrd="0" presId="urn:microsoft.com/office/officeart/2005/8/layout/bList2"/>
    <dgm:cxn modelId="{0A78973C-5991-4AEF-B1A0-2BB55865E8FF}" type="presParOf" srcId="{7E28F894-010B-4180-8C4D-9AEFB0FB50FA}" destId="{63D92E6F-D7A7-42AF-80EA-490E9AD25964}" srcOrd="2" destOrd="0" presId="urn:microsoft.com/office/officeart/2005/8/layout/bList2"/>
    <dgm:cxn modelId="{D2F0F48E-670D-4FAA-A915-F61F4DE5F960}" type="presParOf" srcId="{7E28F894-010B-4180-8C4D-9AEFB0FB50FA}" destId="{77237DEF-D8AC-48CD-9D11-0CE5041CAB40}" srcOrd="3" destOrd="0" presId="urn:microsoft.com/office/officeart/2005/8/layout/bList2"/>
    <dgm:cxn modelId="{FB85944C-6050-4A6D-A5B2-F18AA6908673}" type="presParOf" srcId="{787C2C56-0478-4682-92B9-51E97F2C2600}" destId="{B65B6CC9-B280-44C3-BE48-38187803B633}" srcOrd="3" destOrd="0" presId="urn:microsoft.com/office/officeart/2005/8/layout/bList2"/>
    <dgm:cxn modelId="{7E44B9FC-16F3-45CD-BCB5-9E90F3A811A1}" type="presParOf" srcId="{787C2C56-0478-4682-92B9-51E97F2C2600}" destId="{55DFFDE4-D8F2-4DC7-976A-80BAC51032D1}" srcOrd="4" destOrd="0" presId="urn:microsoft.com/office/officeart/2005/8/layout/bList2"/>
    <dgm:cxn modelId="{70A8DE8F-9F4E-43B6-81AA-391FD3CCBAE7}" type="presParOf" srcId="{55DFFDE4-D8F2-4DC7-976A-80BAC51032D1}" destId="{8AD9CF11-73F7-4E05-B5C3-FA02DD5F2DEE}" srcOrd="0" destOrd="0" presId="urn:microsoft.com/office/officeart/2005/8/layout/bList2"/>
    <dgm:cxn modelId="{4F539371-0C6E-4CD9-B46E-6E7275A1BB2F}" type="presParOf" srcId="{55DFFDE4-D8F2-4DC7-976A-80BAC51032D1}" destId="{4FB7BF10-7B26-4413-8F09-8DD55614E57C}" srcOrd="1" destOrd="0" presId="urn:microsoft.com/office/officeart/2005/8/layout/bList2"/>
    <dgm:cxn modelId="{582DE656-FB84-46C1-ABC4-5381D12ADB28}" type="presParOf" srcId="{55DFFDE4-D8F2-4DC7-976A-80BAC51032D1}" destId="{4F870585-6C66-4323-AACF-2EBBB7C0506D}" srcOrd="2" destOrd="0" presId="urn:microsoft.com/office/officeart/2005/8/layout/bList2"/>
    <dgm:cxn modelId="{B0C6A280-7948-4F65-8CD8-2E06EDA9361C}" type="presParOf" srcId="{55DFFDE4-D8F2-4DC7-976A-80BAC51032D1}" destId="{812C3CE8-328F-4892-B2FD-DD039522DCE3}"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35B3597E-E881-43E0-9E1A-0B7827BAE0BB}" type="doc">
      <dgm:prSet loTypeId="urn:microsoft.com/office/officeart/2005/8/layout/hProcess10" loCatId="process" qsTypeId="urn:microsoft.com/office/officeart/2005/8/quickstyle/simple3" qsCatId="simple" csTypeId="urn:microsoft.com/office/officeart/2005/8/colors/accent1_1" csCatId="accent1" phldr="1"/>
      <dgm:spPr/>
      <dgm:t>
        <a:bodyPr/>
        <a:lstStyle/>
        <a:p>
          <a:endParaRPr lang="es-ES"/>
        </a:p>
      </dgm:t>
    </dgm:pt>
    <dgm:pt modelId="{50C6BC23-A9F3-4015-BFD7-DB7BF6B5F04C}">
      <dgm:prSet phldrT="[Texto]" custT="1"/>
      <dgm:spPr/>
      <dgm:t>
        <a:bodyPr/>
        <a:lstStyle/>
        <a:p>
          <a:r>
            <a:rPr lang="es-ES" sz="1600" b="1" dirty="0"/>
            <a:t>Aprendizaje supervisado</a:t>
          </a:r>
        </a:p>
      </dgm:t>
    </dgm:pt>
    <dgm:pt modelId="{E7F24567-9CE8-4B37-A214-58E45149E569}" type="parTrans" cxnId="{83237698-4EB4-4FC5-B4E9-977F05EB6B44}">
      <dgm:prSet/>
      <dgm:spPr/>
      <dgm:t>
        <a:bodyPr/>
        <a:lstStyle/>
        <a:p>
          <a:endParaRPr lang="es-ES"/>
        </a:p>
      </dgm:t>
    </dgm:pt>
    <dgm:pt modelId="{EFA1D912-6FBE-4814-B719-FD634999C26D}" type="sibTrans" cxnId="{83237698-4EB4-4FC5-B4E9-977F05EB6B44}">
      <dgm:prSet/>
      <dgm:spPr/>
      <dgm:t>
        <a:bodyPr/>
        <a:lstStyle/>
        <a:p>
          <a:endParaRPr lang="es-ES" dirty="0"/>
        </a:p>
      </dgm:t>
    </dgm:pt>
    <dgm:pt modelId="{38B83918-DE4B-43BF-AC80-4BF3B0F975CB}">
      <dgm:prSet phldrT="[Texto]" custT="1"/>
      <dgm:spPr/>
      <dgm:t>
        <a:bodyPr/>
        <a:lstStyle/>
        <a:p>
          <a:r>
            <a:rPr lang="es-ES" sz="1200" dirty="0"/>
            <a:t>se entrena a los sistemas con datos etiquetados o ejemplos concretos. </a:t>
          </a:r>
        </a:p>
      </dgm:t>
    </dgm:pt>
    <dgm:pt modelId="{0FA9FBE4-CAF8-45A0-807C-F5233C7C41B5}" type="parTrans" cxnId="{E680FCA4-7922-4BF4-95CC-8DB20C403E74}">
      <dgm:prSet/>
      <dgm:spPr/>
      <dgm:t>
        <a:bodyPr/>
        <a:lstStyle/>
        <a:p>
          <a:endParaRPr lang="es-ES"/>
        </a:p>
      </dgm:t>
    </dgm:pt>
    <dgm:pt modelId="{D76EE90B-B988-4D4D-9CDA-3359DA079A83}" type="sibTrans" cxnId="{E680FCA4-7922-4BF4-95CC-8DB20C403E74}">
      <dgm:prSet/>
      <dgm:spPr/>
      <dgm:t>
        <a:bodyPr/>
        <a:lstStyle/>
        <a:p>
          <a:endParaRPr lang="es-ES"/>
        </a:p>
      </dgm:t>
    </dgm:pt>
    <dgm:pt modelId="{AD656C55-22F3-4259-8526-E0550482233E}">
      <dgm:prSet phldrT="[Texto]" custT="1"/>
      <dgm:spPr/>
      <dgm:t>
        <a:bodyPr/>
        <a:lstStyle/>
        <a:p>
          <a:r>
            <a:rPr lang="es-ES" sz="1600" b="1" dirty="0"/>
            <a:t>Aprendizaje no supervisado</a:t>
          </a:r>
        </a:p>
      </dgm:t>
    </dgm:pt>
    <dgm:pt modelId="{C81E2F82-11DB-4A16-8F2D-7F8D12C4DDA3}" type="parTrans" cxnId="{43F51457-A408-4382-889F-9862095506C6}">
      <dgm:prSet/>
      <dgm:spPr/>
      <dgm:t>
        <a:bodyPr/>
        <a:lstStyle/>
        <a:p>
          <a:endParaRPr lang="es-ES"/>
        </a:p>
      </dgm:t>
    </dgm:pt>
    <dgm:pt modelId="{8FDC80B8-AB7A-44A0-BB90-0627CD773C61}" type="sibTrans" cxnId="{43F51457-A408-4382-889F-9862095506C6}">
      <dgm:prSet/>
      <dgm:spPr/>
      <dgm:t>
        <a:bodyPr/>
        <a:lstStyle/>
        <a:p>
          <a:endParaRPr lang="es-ES" dirty="0"/>
        </a:p>
      </dgm:t>
    </dgm:pt>
    <dgm:pt modelId="{3E0C80AB-B5B7-4C42-8DD8-180CC427977E}">
      <dgm:prSet phldrT="[Texto]" custT="1"/>
      <dgm:spPr/>
      <dgm:t>
        <a:bodyPr/>
        <a:lstStyle/>
        <a:p>
          <a:r>
            <a:rPr lang="es-ES" sz="1200" dirty="0"/>
            <a:t>los algoritmos no cuentan con un conocimiento previo</a:t>
          </a:r>
        </a:p>
      </dgm:t>
    </dgm:pt>
    <dgm:pt modelId="{B4370A70-4479-456A-BDF3-F3EDD05EAF83}" type="parTrans" cxnId="{FF192C3A-4AD6-4C5F-A975-2D6501EE81A8}">
      <dgm:prSet/>
      <dgm:spPr/>
      <dgm:t>
        <a:bodyPr/>
        <a:lstStyle/>
        <a:p>
          <a:endParaRPr lang="es-ES"/>
        </a:p>
      </dgm:t>
    </dgm:pt>
    <dgm:pt modelId="{FB888F7A-2FB2-45E0-B48A-E52533678CA1}" type="sibTrans" cxnId="{FF192C3A-4AD6-4C5F-A975-2D6501EE81A8}">
      <dgm:prSet/>
      <dgm:spPr/>
      <dgm:t>
        <a:bodyPr/>
        <a:lstStyle/>
        <a:p>
          <a:endParaRPr lang="es-ES"/>
        </a:p>
      </dgm:t>
    </dgm:pt>
    <dgm:pt modelId="{595CBA00-D195-4EEE-8F70-CFA2CD99572F}">
      <dgm:prSet phldrT="[Texto]" custT="1"/>
      <dgm:spPr/>
      <dgm:t>
        <a:bodyPr/>
        <a:lstStyle/>
        <a:p>
          <a:r>
            <a:rPr lang="es-ES" sz="1600" b="1" dirty="0"/>
            <a:t>Aprendizaje por refuerzo</a:t>
          </a:r>
        </a:p>
      </dgm:t>
    </dgm:pt>
    <dgm:pt modelId="{451EC523-611C-4317-A2A8-973143D7CA50}" type="parTrans" cxnId="{F41D43BB-9814-46B2-978A-ED6D732A12F3}">
      <dgm:prSet/>
      <dgm:spPr/>
      <dgm:t>
        <a:bodyPr/>
        <a:lstStyle/>
        <a:p>
          <a:endParaRPr lang="es-ES"/>
        </a:p>
      </dgm:t>
    </dgm:pt>
    <dgm:pt modelId="{49FF6FAF-E09F-4BE5-8D51-A8E71EDEC4FE}" type="sibTrans" cxnId="{F41D43BB-9814-46B2-978A-ED6D732A12F3}">
      <dgm:prSet/>
      <dgm:spPr/>
      <dgm:t>
        <a:bodyPr/>
        <a:lstStyle/>
        <a:p>
          <a:endParaRPr lang="es-ES"/>
        </a:p>
      </dgm:t>
    </dgm:pt>
    <dgm:pt modelId="{C8964FAE-0443-4389-A545-F8A2DE715C11}">
      <dgm:prSet phldrT="[Texto]" custT="1"/>
      <dgm:spPr/>
      <dgm:t>
        <a:bodyPr/>
        <a:lstStyle/>
        <a:p>
          <a:r>
            <a:rPr lang="es-ES" sz="1200" dirty="0"/>
            <a:t>el sistema aprende a partir de su propia experiencia</a:t>
          </a:r>
        </a:p>
      </dgm:t>
    </dgm:pt>
    <dgm:pt modelId="{1FB9C33A-A992-4979-B9CF-871C0B2137B4}" type="parTrans" cxnId="{E8A6DB48-5D3D-4655-A6B7-CC5E3F242970}">
      <dgm:prSet/>
      <dgm:spPr/>
      <dgm:t>
        <a:bodyPr/>
        <a:lstStyle/>
        <a:p>
          <a:endParaRPr lang="es-ES"/>
        </a:p>
      </dgm:t>
    </dgm:pt>
    <dgm:pt modelId="{033C55B2-EA06-43FF-B33B-1E008D66EF50}" type="sibTrans" cxnId="{E8A6DB48-5D3D-4655-A6B7-CC5E3F242970}">
      <dgm:prSet/>
      <dgm:spPr/>
      <dgm:t>
        <a:bodyPr/>
        <a:lstStyle/>
        <a:p>
          <a:endParaRPr lang="es-ES"/>
        </a:p>
      </dgm:t>
    </dgm:pt>
    <dgm:pt modelId="{6D4F385E-9107-49A0-8586-0C0F2A68878C}">
      <dgm:prSet phldrT="[Texto]" custT="1"/>
      <dgm:spPr/>
      <dgm:t>
        <a:bodyPr/>
        <a:lstStyle/>
        <a:p>
          <a:r>
            <a:rPr lang="es-ES" sz="1200" dirty="0"/>
            <a:t>Con esta información previa, los algoritmos buscarán lo mismo en nuevos conjuntos de datos.</a:t>
          </a:r>
        </a:p>
      </dgm:t>
    </dgm:pt>
    <dgm:pt modelId="{F52E51C7-15A7-44FF-98F9-61CAE11287B6}" type="parTrans" cxnId="{A3177226-4A88-4C25-AD51-082B5B63E789}">
      <dgm:prSet/>
      <dgm:spPr/>
      <dgm:t>
        <a:bodyPr/>
        <a:lstStyle/>
        <a:p>
          <a:endParaRPr lang="es-ES"/>
        </a:p>
      </dgm:t>
    </dgm:pt>
    <dgm:pt modelId="{1DD6A5AC-E4AF-4019-85B1-897D48B13376}" type="sibTrans" cxnId="{A3177226-4A88-4C25-AD51-082B5B63E789}">
      <dgm:prSet/>
      <dgm:spPr/>
      <dgm:t>
        <a:bodyPr/>
        <a:lstStyle/>
        <a:p>
          <a:endParaRPr lang="es-ES"/>
        </a:p>
      </dgm:t>
    </dgm:pt>
    <dgm:pt modelId="{765CE75A-CCBB-4234-AB52-94D2A7D0C5EE}">
      <dgm:prSet phldrT="[Texto]" custT="1"/>
      <dgm:spPr/>
      <dgm:t>
        <a:bodyPr/>
        <a:lstStyle/>
        <a:p>
          <a:r>
            <a:rPr lang="es-ES" sz="1200" dirty="0"/>
            <a:t>Es el propio sistema el que observa las características o comportamientos de los datos y busca similitudes y patrones para agruparlos de alguna forma</a:t>
          </a:r>
        </a:p>
      </dgm:t>
    </dgm:pt>
    <dgm:pt modelId="{7CB97E68-25CE-433C-B3A2-1E796342AF2B}" type="parTrans" cxnId="{1CFA00D2-F63E-4E91-98F9-A7D6684F6066}">
      <dgm:prSet/>
      <dgm:spPr/>
      <dgm:t>
        <a:bodyPr/>
        <a:lstStyle/>
        <a:p>
          <a:endParaRPr lang="es-ES"/>
        </a:p>
      </dgm:t>
    </dgm:pt>
    <dgm:pt modelId="{1376FD75-F892-4E04-B869-05246432F312}" type="sibTrans" cxnId="{1CFA00D2-F63E-4E91-98F9-A7D6684F6066}">
      <dgm:prSet/>
      <dgm:spPr/>
      <dgm:t>
        <a:bodyPr/>
        <a:lstStyle/>
        <a:p>
          <a:endParaRPr lang="es-ES"/>
        </a:p>
      </dgm:t>
    </dgm:pt>
    <dgm:pt modelId="{0486BF79-3388-4B44-8171-0325BDB5F0F7}">
      <dgm:prSet phldrT="[Texto]" custT="1"/>
      <dgm:spPr/>
      <dgm:t>
        <a:bodyPr/>
        <a:lstStyle/>
        <a:p>
          <a:r>
            <a:rPr lang="es-ES" sz="1200" dirty="0"/>
            <a:t>O detectar patrones anómalos que pueden resultar de interés.</a:t>
          </a:r>
        </a:p>
      </dgm:t>
    </dgm:pt>
    <dgm:pt modelId="{5100F271-6A76-4EB0-9F0C-19ED7562EEC6}" type="parTrans" cxnId="{48589AF5-1633-488E-955F-8B818E9FBB43}">
      <dgm:prSet/>
      <dgm:spPr/>
      <dgm:t>
        <a:bodyPr/>
        <a:lstStyle/>
        <a:p>
          <a:endParaRPr lang="es-ES"/>
        </a:p>
      </dgm:t>
    </dgm:pt>
    <dgm:pt modelId="{7250C8DA-43EC-4122-8876-6F6F4AF45828}" type="sibTrans" cxnId="{48589AF5-1633-488E-955F-8B818E9FBB43}">
      <dgm:prSet/>
      <dgm:spPr/>
      <dgm:t>
        <a:bodyPr/>
        <a:lstStyle/>
        <a:p>
          <a:endParaRPr lang="es-ES"/>
        </a:p>
      </dgm:t>
    </dgm:pt>
    <dgm:pt modelId="{E076DFBA-726E-4A5E-B1E3-5886D52B0B5E}">
      <dgm:prSet phldrT="[Texto]" custT="1"/>
      <dgm:spPr/>
      <dgm:t>
        <a:bodyPr/>
        <a:lstStyle/>
        <a:p>
          <a:r>
            <a:rPr lang="es-ES" sz="1200" dirty="0"/>
            <a:t>En base a un proceso de prueba y error y recompensas si toma decisiones correctas.</a:t>
          </a:r>
        </a:p>
      </dgm:t>
    </dgm:pt>
    <dgm:pt modelId="{86858845-615D-4996-93FF-4ED29FB364FA}" type="parTrans" cxnId="{F58F8797-7F73-4877-A64D-7BA377F7436C}">
      <dgm:prSet/>
      <dgm:spPr/>
      <dgm:t>
        <a:bodyPr/>
        <a:lstStyle/>
        <a:p>
          <a:endParaRPr lang="es-ES"/>
        </a:p>
      </dgm:t>
    </dgm:pt>
    <dgm:pt modelId="{848F7615-9307-4257-80DF-860A8198B87A}" type="sibTrans" cxnId="{F58F8797-7F73-4877-A64D-7BA377F7436C}">
      <dgm:prSet/>
      <dgm:spPr/>
      <dgm:t>
        <a:bodyPr/>
        <a:lstStyle/>
        <a:p>
          <a:endParaRPr lang="es-ES"/>
        </a:p>
      </dgm:t>
    </dgm:pt>
    <dgm:pt modelId="{FE8869E5-E5C9-4503-94CE-9740D81DCCAD}">
      <dgm:prSet phldrT="[Texto]" custT="1"/>
      <dgm:spPr/>
      <dgm:t>
        <a:bodyPr/>
        <a:lstStyle/>
        <a:p>
          <a:r>
            <a:rPr lang="es-ES" sz="1200" dirty="0"/>
            <a:t>Así llegará a generar automáticamente estrategias</a:t>
          </a:r>
        </a:p>
      </dgm:t>
    </dgm:pt>
    <dgm:pt modelId="{A4F6A73D-F4F4-47F4-96E2-BB028D9B4C99}" type="parTrans" cxnId="{FA32BFAA-D9E1-4EB8-B467-3ED3CA4CF4FA}">
      <dgm:prSet/>
      <dgm:spPr/>
      <dgm:t>
        <a:bodyPr/>
        <a:lstStyle/>
        <a:p>
          <a:endParaRPr lang="es-ES"/>
        </a:p>
      </dgm:t>
    </dgm:pt>
    <dgm:pt modelId="{9E0CF211-5469-4AF4-8C9B-5F873D854C67}" type="sibTrans" cxnId="{FA32BFAA-D9E1-4EB8-B467-3ED3CA4CF4FA}">
      <dgm:prSet/>
      <dgm:spPr/>
      <dgm:t>
        <a:bodyPr/>
        <a:lstStyle/>
        <a:p>
          <a:endParaRPr lang="es-ES"/>
        </a:p>
      </dgm:t>
    </dgm:pt>
    <dgm:pt modelId="{62ED1AF5-D299-4FBF-995F-9E64C0881965}" type="pres">
      <dgm:prSet presAssocID="{35B3597E-E881-43E0-9E1A-0B7827BAE0BB}" presName="Name0" presStyleCnt="0">
        <dgm:presLayoutVars>
          <dgm:dir/>
          <dgm:resizeHandles val="exact"/>
        </dgm:presLayoutVars>
      </dgm:prSet>
      <dgm:spPr/>
    </dgm:pt>
    <dgm:pt modelId="{B34A6429-E43F-41C8-9D75-1D8D7209C527}" type="pres">
      <dgm:prSet presAssocID="{50C6BC23-A9F3-4015-BFD7-DB7BF6B5F04C}" presName="composite" presStyleCnt="0"/>
      <dgm:spPr/>
    </dgm:pt>
    <dgm:pt modelId="{205032A1-B7A6-4593-8736-66E5462F04C1}" type="pres">
      <dgm:prSet presAssocID="{50C6BC23-A9F3-4015-BFD7-DB7BF6B5F04C}" presName="imagSh" presStyleLbl="bgImgPlace1" presStyleIdx="0" presStyleCnt="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530ECB41-4C4E-4091-8BA6-C9E1C5EAA570}" type="pres">
      <dgm:prSet presAssocID="{50C6BC23-A9F3-4015-BFD7-DB7BF6B5F04C}" presName="txNode" presStyleLbl="node1" presStyleIdx="0" presStyleCnt="3">
        <dgm:presLayoutVars>
          <dgm:bulletEnabled val="1"/>
        </dgm:presLayoutVars>
      </dgm:prSet>
      <dgm:spPr/>
    </dgm:pt>
    <dgm:pt modelId="{D451815C-695F-4FD9-9015-8067EE104C17}" type="pres">
      <dgm:prSet presAssocID="{EFA1D912-6FBE-4814-B719-FD634999C26D}" presName="sibTrans" presStyleLbl="sibTrans2D1" presStyleIdx="0" presStyleCnt="2"/>
      <dgm:spPr/>
    </dgm:pt>
    <dgm:pt modelId="{92436B6F-06B5-4355-A1AC-3E6B8FFCD35B}" type="pres">
      <dgm:prSet presAssocID="{EFA1D912-6FBE-4814-B719-FD634999C26D}" presName="connTx" presStyleLbl="sibTrans2D1" presStyleIdx="0" presStyleCnt="2"/>
      <dgm:spPr/>
    </dgm:pt>
    <dgm:pt modelId="{C9D9560D-7132-4C84-A4E8-503D381620A0}" type="pres">
      <dgm:prSet presAssocID="{AD656C55-22F3-4259-8526-E0550482233E}" presName="composite" presStyleCnt="0"/>
      <dgm:spPr/>
    </dgm:pt>
    <dgm:pt modelId="{E62258D9-E934-40E7-B2CB-466E8243E740}" type="pres">
      <dgm:prSet presAssocID="{AD656C55-22F3-4259-8526-E0550482233E}" presName="imagSh" presStyleLbl="bgImgPlace1" presStyleIdx="1" presStyleCnt="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0242FCD2-F7DF-47C1-A91A-FEEE3134E99D}" type="pres">
      <dgm:prSet presAssocID="{AD656C55-22F3-4259-8526-E0550482233E}" presName="txNode" presStyleLbl="node1" presStyleIdx="1" presStyleCnt="3" custScaleX="119438">
        <dgm:presLayoutVars>
          <dgm:bulletEnabled val="1"/>
        </dgm:presLayoutVars>
      </dgm:prSet>
      <dgm:spPr/>
    </dgm:pt>
    <dgm:pt modelId="{DE87525A-D008-424E-A581-BDBD5A605D84}" type="pres">
      <dgm:prSet presAssocID="{8FDC80B8-AB7A-44A0-BB90-0627CD773C61}" presName="sibTrans" presStyleLbl="sibTrans2D1" presStyleIdx="1" presStyleCnt="2"/>
      <dgm:spPr/>
    </dgm:pt>
    <dgm:pt modelId="{803912B2-527B-46B4-9222-61CF55F783CF}" type="pres">
      <dgm:prSet presAssocID="{8FDC80B8-AB7A-44A0-BB90-0627CD773C61}" presName="connTx" presStyleLbl="sibTrans2D1" presStyleIdx="1" presStyleCnt="2"/>
      <dgm:spPr/>
    </dgm:pt>
    <dgm:pt modelId="{4046F5CA-08A5-4812-AAB3-C4E564CAFF13}" type="pres">
      <dgm:prSet presAssocID="{595CBA00-D195-4EEE-8F70-CFA2CD99572F}" presName="composite" presStyleCnt="0"/>
      <dgm:spPr/>
    </dgm:pt>
    <dgm:pt modelId="{1DA9BBE0-B4D7-4874-8756-C818598604A6}" type="pres">
      <dgm:prSet presAssocID="{595CBA00-D195-4EEE-8F70-CFA2CD99572F}" presName="imagSh" presStyleLbl="bgImgPlace1" presStyleIdx="2" presStyleCnt="3"/>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DEEC4AAA-85A8-4D70-A048-DB7A9404F56C}" type="pres">
      <dgm:prSet presAssocID="{595CBA00-D195-4EEE-8F70-CFA2CD99572F}" presName="txNode" presStyleLbl="node1" presStyleIdx="2" presStyleCnt="3">
        <dgm:presLayoutVars>
          <dgm:bulletEnabled val="1"/>
        </dgm:presLayoutVars>
      </dgm:prSet>
      <dgm:spPr/>
    </dgm:pt>
  </dgm:ptLst>
  <dgm:cxnLst>
    <dgm:cxn modelId="{D49ECF04-8B23-4258-86BD-EE2A96C642F4}" type="presOf" srcId="{50C6BC23-A9F3-4015-BFD7-DB7BF6B5F04C}" destId="{530ECB41-4C4E-4091-8BA6-C9E1C5EAA570}" srcOrd="0" destOrd="0" presId="urn:microsoft.com/office/officeart/2005/8/layout/hProcess10"/>
    <dgm:cxn modelId="{17901C17-EB5E-4854-B40A-3E8E00F6FA2B}" type="presOf" srcId="{AD656C55-22F3-4259-8526-E0550482233E}" destId="{0242FCD2-F7DF-47C1-A91A-FEEE3134E99D}" srcOrd="0" destOrd="0" presId="urn:microsoft.com/office/officeart/2005/8/layout/hProcess10"/>
    <dgm:cxn modelId="{7E1ECA19-DF20-49F9-BAD2-E6A106DB0589}" type="presOf" srcId="{3E0C80AB-B5B7-4C42-8DD8-180CC427977E}" destId="{0242FCD2-F7DF-47C1-A91A-FEEE3134E99D}" srcOrd="0" destOrd="1" presId="urn:microsoft.com/office/officeart/2005/8/layout/hProcess10"/>
    <dgm:cxn modelId="{6C3A641F-F96E-40EC-8D36-672065FD208E}" type="presOf" srcId="{EFA1D912-6FBE-4814-B719-FD634999C26D}" destId="{D451815C-695F-4FD9-9015-8067EE104C17}" srcOrd="0" destOrd="0" presId="urn:microsoft.com/office/officeart/2005/8/layout/hProcess10"/>
    <dgm:cxn modelId="{A3177226-4A88-4C25-AD51-082B5B63E789}" srcId="{50C6BC23-A9F3-4015-BFD7-DB7BF6B5F04C}" destId="{6D4F385E-9107-49A0-8586-0C0F2A68878C}" srcOrd="1" destOrd="0" parTransId="{F52E51C7-15A7-44FF-98F9-61CAE11287B6}" sibTransId="{1DD6A5AC-E4AF-4019-85B1-897D48B13376}"/>
    <dgm:cxn modelId="{7C75DA34-5F54-4755-AF7D-7CB5D48DF38E}" type="presOf" srcId="{C8964FAE-0443-4389-A545-F8A2DE715C11}" destId="{DEEC4AAA-85A8-4D70-A048-DB7A9404F56C}" srcOrd="0" destOrd="1" presId="urn:microsoft.com/office/officeart/2005/8/layout/hProcess10"/>
    <dgm:cxn modelId="{56E44D37-16DE-4933-972A-882B2C64E11F}" type="presOf" srcId="{FE8869E5-E5C9-4503-94CE-9740D81DCCAD}" destId="{DEEC4AAA-85A8-4D70-A048-DB7A9404F56C}" srcOrd="0" destOrd="3" presId="urn:microsoft.com/office/officeart/2005/8/layout/hProcess10"/>
    <dgm:cxn modelId="{FF192C3A-4AD6-4C5F-A975-2D6501EE81A8}" srcId="{AD656C55-22F3-4259-8526-E0550482233E}" destId="{3E0C80AB-B5B7-4C42-8DD8-180CC427977E}" srcOrd="0" destOrd="0" parTransId="{B4370A70-4479-456A-BDF3-F3EDD05EAF83}" sibTransId="{FB888F7A-2FB2-45E0-B48A-E52533678CA1}"/>
    <dgm:cxn modelId="{E8A6DB48-5D3D-4655-A6B7-CC5E3F242970}" srcId="{595CBA00-D195-4EEE-8F70-CFA2CD99572F}" destId="{C8964FAE-0443-4389-A545-F8A2DE715C11}" srcOrd="0" destOrd="0" parTransId="{1FB9C33A-A992-4979-B9CF-871C0B2137B4}" sibTransId="{033C55B2-EA06-43FF-B33B-1E008D66EF50}"/>
    <dgm:cxn modelId="{0AA3A36A-7DE1-4F4C-A6C5-07F7D046FB29}" type="presOf" srcId="{8FDC80B8-AB7A-44A0-BB90-0627CD773C61}" destId="{DE87525A-D008-424E-A581-BDBD5A605D84}" srcOrd="0" destOrd="0" presId="urn:microsoft.com/office/officeart/2005/8/layout/hProcess10"/>
    <dgm:cxn modelId="{EF6EA975-0407-4C7E-AD8A-B992F80241B9}" type="presOf" srcId="{6D4F385E-9107-49A0-8586-0C0F2A68878C}" destId="{530ECB41-4C4E-4091-8BA6-C9E1C5EAA570}" srcOrd="0" destOrd="2" presId="urn:microsoft.com/office/officeart/2005/8/layout/hProcess10"/>
    <dgm:cxn modelId="{43F51457-A408-4382-889F-9862095506C6}" srcId="{35B3597E-E881-43E0-9E1A-0B7827BAE0BB}" destId="{AD656C55-22F3-4259-8526-E0550482233E}" srcOrd="1" destOrd="0" parTransId="{C81E2F82-11DB-4A16-8F2D-7F8D12C4DDA3}" sibTransId="{8FDC80B8-AB7A-44A0-BB90-0627CD773C61}"/>
    <dgm:cxn modelId="{E51B7588-D27A-4321-A8A7-9E35F72C32DD}" type="presOf" srcId="{38B83918-DE4B-43BF-AC80-4BF3B0F975CB}" destId="{530ECB41-4C4E-4091-8BA6-C9E1C5EAA570}" srcOrd="0" destOrd="1" presId="urn:microsoft.com/office/officeart/2005/8/layout/hProcess10"/>
    <dgm:cxn modelId="{F58F8797-7F73-4877-A64D-7BA377F7436C}" srcId="{595CBA00-D195-4EEE-8F70-CFA2CD99572F}" destId="{E076DFBA-726E-4A5E-B1E3-5886D52B0B5E}" srcOrd="1" destOrd="0" parTransId="{86858845-615D-4996-93FF-4ED29FB364FA}" sibTransId="{848F7615-9307-4257-80DF-860A8198B87A}"/>
    <dgm:cxn modelId="{83237698-4EB4-4FC5-B4E9-977F05EB6B44}" srcId="{35B3597E-E881-43E0-9E1A-0B7827BAE0BB}" destId="{50C6BC23-A9F3-4015-BFD7-DB7BF6B5F04C}" srcOrd="0" destOrd="0" parTransId="{E7F24567-9CE8-4B37-A214-58E45149E569}" sibTransId="{EFA1D912-6FBE-4814-B719-FD634999C26D}"/>
    <dgm:cxn modelId="{E680FCA4-7922-4BF4-95CC-8DB20C403E74}" srcId="{50C6BC23-A9F3-4015-BFD7-DB7BF6B5F04C}" destId="{38B83918-DE4B-43BF-AC80-4BF3B0F975CB}" srcOrd="0" destOrd="0" parTransId="{0FA9FBE4-CAF8-45A0-807C-F5233C7C41B5}" sibTransId="{D76EE90B-B988-4D4D-9CDA-3359DA079A83}"/>
    <dgm:cxn modelId="{AB0486A7-1E14-4B2D-8213-7ACB7A76023E}" type="presOf" srcId="{8FDC80B8-AB7A-44A0-BB90-0627CD773C61}" destId="{803912B2-527B-46B4-9222-61CF55F783CF}" srcOrd="1" destOrd="0" presId="urn:microsoft.com/office/officeart/2005/8/layout/hProcess10"/>
    <dgm:cxn modelId="{FA32BFAA-D9E1-4EB8-B467-3ED3CA4CF4FA}" srcId="{595CBA00-D195-4EEE-8F70-CFA2CD99572F}" destId="{FE8869E5-E5C9-4503-94CE-9740D81DCCAD}" srcOrd="2" destOrd="0" parTransId="{A4F6A73D-F4F4-47F4-96E2-BB028D9B4C99}" sibTransId="{9E0CF211-5469-4AF4-8C9B-5F873D854C67}"/>
    <dgm:cxn modelId="{170E73BA-8F12-4F35-9FCF-D53E9377BFB7}" type="presOf" srcId="{765CE75A-CCBB-4234-AB52-94D2A7D0C5EE}" destId="{0242FCD2-F7DF-47C1-A91A-FEEE3134E99D}" srcOrd="0" destOrd="2" presId="urn:microsoft.com/office/officeart/2005/8/layout/hProcess10"/>
    <dgm:cxn modelId="{F41D43BB-9814-46B2-978A-ED6D732A12F3}" srcId="{35B3597E-E881-43E0-9E1A-0B7827BAE0BB}" destId="{595CBA00-D195-4EEE-8F70-CFA2CD99572F}" srcOrd="2" destOrd="0" parTransId="{451EC523-611C-4317-A2A8-973143D7CA50}" sibTransId="{49FF6FAF-E09F-4BE5-8D51-A8E71EDEC4FE}"/>
    <dgm:cxn modelId="{C19C38C0-65B1-401E-81B5-C976787E7FD3}" type="presOf" srcId="{35B3597E-E881-43E0-9E1A-0B7827BAE0BB}" destId="{62ED1AF5-D299-4FBF-995F-9E64C0881965}" srcOrd="0" destOrd="0" presId="urn:microsoft.com/office/officeart/2005/8/layout/hProcess10"/>
    <dgm:cxn modelId="{1CFA00D2-F63E-4E91-98F9-A7D6684F6066}" srcId="{AD656C55-22F3-4259-8526-E0550482233E}" destId="{765CE75A-CCBB-4234-AB52-94D2A7D0C5EE}" srcOrd="1" destOrd="0" parTransId="{7CB97E68-25CE-433C-B3A2-1E796342AF2B}" sibTransId="{1376FD75-F892-4E04-B869-05246432F312}"/>
    <dgm:cxn modelId="{573462E0-2BB6-401E-81BE-4D6AF95F8069}" type="presOf" srcId="{0486BF79-3388-4B44-8171-0325BDB5F0F7}" destId="{0242FCD2-F7DF-47C1-A91A-FEEE3134E99D}" srcOrd="0" destOrd="3" presId="urn:microsoft.com/office/officeart/2005/8/layout/hProcess10"/>
    <dgm:cxn modelId="{A5A5BCE2-6B06-4637-9ACF-96D817CE418C}" type="presOf" srcId="{595CBA00-D195-4EEE-8F70-CFA2CD99572F}" destId="{DEEC4AAA-85A8-4D70-A048-DB7A9404F56C}" srcOrd="0" destOrd="0" presId="urn:microsoft.com/office/officeart/2005/8/layout/hProcess10"/>
    <dgm:cxn modelId="{48589AF5-1633-488E-955F-8B818E9FBB43}" srcId="{AD656C55-22F3-4259-8526-E0550482233E}" destId="{0486BF79-3388-4B44-8171-0325BDB5F0F7}" srcOrd="2" destOrd="0" parTransId="{5100F271-6A76-4EB0-9F0C-19ED7562EEC6}" sibTransId="{7250C8DA-43EC-4122-8876-6F6F4AF45828}"/>
    <dgm:cxn modelId="{D05CFBF8-F09A-43A7-9995-67A29A69B191}" type="presOf" srcId="{E076DFBA-726E-4A5E-B1E3-5886D52B0B5E}" destId="{DEEC4AAA-85A8-4D70-A048-DB7A9404F56C}" srcOrd="0" destOrd="2" presId="urn:microsoft.com/office/officeart/2005/8/layout/hProcess10"/>
    <dgm:cxn modelId="{68E2EAFA-CB84-43A1-817F-B9966D645A70}" type="presOf" srcId="{EFA1D912-6FBE-4814-B719-FD634999C26D}" destId="{92436B6F-06B5-4355-A1AC-3E6B8FFCD35B}" srcOrd="1" destOrd="0" presId="urn:microsoft.com/office/officeart/2005/8/layout/hProcess10"/>
    <dgm:cxn modelId="{8260EBC0-FEFB-4B6A-A9B8-9BE76739D514}" type="presParOf" srcId="{62ED1AF5-D299-4FBF-995F-9E64C0881965}" destId="{B34A6429-E43F-41C8-9D75-1D8D7209C527}" srcOrd="0" destOrd="0" presId="urn:microsoft.com/office/officeart/2005/8/layout/hProcess10"/>
    <dgm:cxn modelId="{CA8D3C81-93BC-4F8E-880D-BC4E33EAB3EF}" type="presParOf" srcId="{B34A6429-E43F-41C8-9D75-1D8D7209C527}" destId="{205032A1-B7A6-4593-8736-66E5462F04C1}" srcOrd="0" destOrd="0" presId="urn:microsoft.com/office/officeart/2005/8/layout/hProcess10"/>
    <dgm:cxn modelId="{D54908E7-A3C5-406B-9A85-847E0855B721}" type="presParOf" srcId="{B34A6429-E43F-41C8-9D75-1D8D7209C527}" destId="{530ECB41-4C4E-4091-8BA6-C9E1C5EAA570}" srcOrd="1" destOrd="0" presId="urn:microsoft.com/office/officeart/2005/8/layout/hProcess10"/>
    <dgm:cxn modelId="{63A60167-AE19-4DA8-82C0-20FD339D6EE4}" type="presParOf" srcId="{62ED1AF5-D299-4FBF-995F-9E64C0881965}" destId="{D451815C-695F-4FD9-9015-8067EE104C17}" srcOrd="1" destOrd="0" presId="urn:microsoft.com/office/officeart/2005/8/layout/hProcess10"/>
    <dgm:cxn modelId="{18522747-BE97-4F90-A42C-8D98025DDE41}" type="presParOf" srcId="{D451815C-695F-4FD9-9015-8067EE104C17}" destId="{92436B6F-06B5-4355-A1AC-3E6B8FFCD35B}" srcOrd="0" destOrd="0" presId="urn:microsoft.com/office/officeart/2005/8/layout/hProcess10"/>
    <dgm:cxn modelId="{2FA808B5-19DF-4380-BCF0-3D0ADA981329}" type="presParOf" srcId="{62ED1AF5-D299-4FBF-995F-9E64C0881965}" destId="{C9D9560D-7132-4C84-A4E8-503D381620A0}" srcOrd="2" destOrd="0" presId="urn:microsoft.com/office/officeart/2005/8/layout/hProcess10"/>
    <dgm:cxn modelId="{DCA8A3EA-07AE-4DDC-8A83-ACEB79714116}" type="presParOf" srcId="{C9D9560D-7132-4C84-A4E8-503D381620A0}" destId="{E62258D9-E934-40E7-B2CB-466E8243E740}" srcOrd="0" destOrd="0" presId="urn:microsoft.com/office/officeart/2005/8/layout/hProcess10"/>
    <dgm:cxn modelId="{9ED948D3-8F4F-401C-9EE3-609B258BE458}" type="presParOf" srcId="{C9D9560D-7132-4C84-A4E8-503D381620A0}" destId="{0242FCD2-F7DF-47C1-A91A-FEEE3134E99D}" srcOrd="1" destOrd="0" presId="urn:microsoft.com/office/officeart/2005/8/layout/hProcess10"/>
    <dgm:cxn modelId="{E27ED3AB-7937-49A9-B236-591F0BA0F147}" type="presParOf" srcId="{62ED1AF5-D299-4FBF-995F-9E64C0881965}" destId="{DE87525A-D008-424E-A581-BDBD5A605D84}" srcOrd="3" destOrd="0" presId="urn:microsoft.com/office/officeart/2005/8/layout/hProcess10"/>
    <dgm:cxn modelId="{56A77694-8F75-42B6-BBBD-61E587DD334C}" type="presParOf" srcId="{DE87525A-D008-424E-A581-BDBD5A605D84}" destId="{803912B2-527B-46B4-9222-61CF55F783CF}" srcOrd="0" destOrd="0" presId="urn:microsoft.com/office/officeart/2005/8/layout/hProcess10"/>
    <dgm:cxn modelId="{49A90912-8102-4EA8-960A-6E9ADFDF5CBA}" type="presParOf" srcId="{62ED1AF5-D299-4FBF-995F-9E64C0881965}" destId="{4046F5CA-08A5-4812-AAB3-C4E564CAFF13}" srcOrd="4" destOrd="0" presId="urn:microsoft.com/office/officeart/2005/8/layout/hProcess10"/>
    <dgm:cxn modelId="{F03C6277-F29C-4373-998D-037FCA138741}" type="presParOf" srcId="{4046F5CA-08A5-4812-AAB3-C4E564CAFF13}" destId="{1DA9BBE0-B4D7-4874-8756-C818598604A6}" srcOrd="0" destOrd="0" presId="urn:microsoft.com/office/officeart/2005/8/layout/hProcess10"/>
    <dgm:cxn modelId="{C610C9E2-6C4C-49A6-B4F5-EEF17F9FB32D}" type="presParOf" srcId="{4046F5CA-08A5-4812-AAB3-C4E564CAFF13}" destId="{DEEC4AAA-85A8-4D70-A048-DB7A9404F56C}" srcOrd="1" destOrd="0" presId="urn:microsoft.com/office/officeart/2005/8/layout/hProcess10"/>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138AD38F-17C9-402E-8044-C77342BF0A26}" type="doc">
      <dgm:prSet loTypeId="urn:microsoft.com/office/officeart/2005/8/layout/vList2" loCatId="list" qsTypeId="urn:microsoft.com/office/officeart/2005/8/quickstyle/simple3" qsCatId="simple" csTypeId="urn:microsoft.com/office/officeart/2005/8/colors/accent1_3" csCatId="accent1" phldr="1"/>
      <dgm:spPr/>
      <dgm:t>
        <a:bodyPr/>
        <a:lstStyle/>
        <a:p>
          <a:endParaRPr lang="es-ES"/>
        </a:p>
      </dgm:t>
    </dgm:pt>
    <dgm:pt modelId="{78B960FD-379B-445C-80AD-98C0823FCD21}">
      <dgm:prSet phldrT="[Texto]" custT="1"/>
      <dgm:spPr/>
      <dgm:t>
        <a:bodyPr/>
        <a:lstStyle/>
        <a:p>
          <a:r>
            <a:rPr lang="es-ES" sz="2000" dirty="0"/>
            <a:t>Se le recompensa cuando hace lo correcto y se le "castiga" (no se le recompensa) cuando se equivoca.</a:t>
          </a:r>
        </a:p>
      </dgm:t>
    </dgm:pt>
    <dgm:pt modelId="{18CA8DA4-F4B8-4F7C-A1B6-304CEDE978FE}" type="parTrans" cxnId="{DD0CADD9-E5A9-4FD6-8730-B745534C794A}">
      <dgm:prSet/>
      <dgm:spPr/>
      <dgm:t>
        <a:bodyPr/>
        <a:lstStyle/>
        <a:p>
          <a:endParaRPr lang="es-ES" sz="1600"/>
        </a:p>
      </dgm:t>
    </dgm:pt>
    <dgm:pt modelId="{FBED99CF-C86D-4B55-9685-CBC69C5156C2}" type="sibTrans" cxnId="{DD0CADD9-E5A9-4FD6-8730-B745534C794A}">
      <dgm:prSet/>
      <dgm:spPr/>
      <dgm:t>
        <a:bodyPr/>
        <a:lstStyle/>
        <a:p>
          <a:endParaRPr lang="es-ES" sz="1600"/>
        </a:p>
      </dgm:t>
    </dgm:pt>
    <dgm:pt modelId="{8A809070-0680-4217-9214-0207BF0CA52C}">
      <dgm:prSet custT="1"/>
      <dgm:spPr/>
      <dgm:t>
        <a:bodyPr/>
        <a:lstStyle/>
        <a:p>
          <a:r>
            <a:rPr lang="es-ES" sz="2000" dirty="0"/>
            <a:t>Aprendizaje por Refuerzo Asistido (Se proporciona al algoritmo cierta información adicional para guiar su aprendizaje). Por ejemplo:</a:t>
          </a:r>
        </a:p>
      </dgm:t>
    </dgm:pt>
    <dgm:pt modelId="{990C8A8D-292C-4CAB-B1DD-65762F148409}" type="parTrans" cxnId="{942CE421-32B1-454B-B87A-BA0BDF86B35F}">
      <dgm:prSet/>
      <dgm:spPr/>
      <dgm:t>
        <a:bodyPr/>
        <a:lstStyle/>
        <a:p>
          <a:endParaRPr lang="es-ES" sz="1600"/>
        </a:p>
      </dgm:t>
    </dgm:pt>
    <dgm:pt modelId="{13CDC976-4EBC-4FAE-BB1F-D9C6BC6F4164}" type="sibTrans" cxnId="{942CE421-32B1-454B-B87A-BA0BDF86B35F}">
      <dgm:prSet/>
      <dgm:spPr/>
      <dgm:t>
        <a:bodyPr/>
        <a:lstStyle/>
        <a:p>
          <a:endParaRPr lang="es-ES" sz="1600"/>
        </a:p>
      </dgm:t>
    </dgm:pt>
    <dgm:pt modelId="{94F7D8D4-01D7-4C48-A2D3-C58F0EAD4FB2}">
      <dgm:prSet custT="1"/>
      <dgm:spPr/>
      <dgm:t>
        <a:bodyPr/>
        <a:lstStyle/>
        <a:p>
          <a:r>
            <a:rPr lang="es-ES" sz="1400" dirty="0"/>
            <a:t>Demostraciones: Se muestra al algoritmo cómo realizar una tarea para que pueda imitarla.</a:t>
          </a:r>
        </a:p>
      </dgm:t>
    </dgm:pt>
    <dgm:pt modelId="{1341C913-615D-4451-9818-20BA79287689}" type="parTrans" cxnId="{D0BC5DA6-4FB5-4A23-B74E-9C00A9B7A8E9}">
      <dgm:prSet/>
      <dgm:spPr/>
      <dgm:t>
        <a:bodyPr/>
        <a:lstStyle/>
        <a:p>
          <a:endParaRPr lang="es-ES" sz="1600"/>
        </a:p>
      </dgm:t>
    </dgm:pt>
    <dgm:pt modelId="{50CFFE2A-BA26-4B41-8DDC-82FD1AC32024}" type="sibTrans" cxnId="{D0BC5DA6-4FB5-4A23-B74E-9C00A9B7A8E9}">
      <dgm:prSet/>
      <dgm:spPr/>
      <dgm:t>
        <a:bodyPr/>
        <a:lstStyle/>
        <a:p>
          <a:endParaRPr lang="es-ES" sz="1600"/>
        </a:p>
      </dgm:t>
    </dgm:pt>
    <dgm:pt modelId="{2C3752AF-DCEE-41C8-9965-13EED1FC7760}">
      <dgm:prSet custT="1"/>
      <dgm:spPr/>
      <dgm:t>
        <a:bodyPr/>
        <a:lstStyle/>
        <a:p>
          <a:r>
            <a:rPr lang="es-ES" sz="1400" dirty="0"/>
            <a:t>Consejos: Se le dan sugerencias sobre las acciones que podría tomar.</a:t>
          </a:r>
        </a:p>
      </dgm:t>
    </dgm:pt>
    <dgm:pt modelId="{7792D63D-774C-470C-8DBB-BE56820B3C91}" type="parTrans" cxnId="{FF9D7E18-5F4A-46E8-B26F-76487FC4FCE9}">
      <dgm:prSet/>
      <dgm:spPr/>
      <dgm:t>
        <a:bodyPr/>
        <a:lstStyle/>
        <a:p>
          <a:endParaRPr lang="es-ES" sz="1600"/>
        </a:p>
      </dgm:t>
    </dgm:pt>
    <dgm:pt modelId="{D16C7CBC-70F9-4BD5-A539-6856448BEA82}" type="sibTrans" cxnId="{FF9D7E18-5F4A-46E8-B26F-76487FC4FCE9}">
      <dgm:prSet/>
      <dgm:spPr/>
      <dgm:t>
        <a:bodyPr/>
        <a:lstStyle/>
        <a:p>
          <a:endParaRPr lang="es-ES" sz="1600"/>
        </a:p>
      </dgm:t>
    </dgm:pt>
    <dgm:pt modelId="{DA5ADD6D-7451-4953-9BB4-27678EAFAFFF}">
      <dgm:prSet custT="1"/>
      <dgm:spPr/>
      <dgm:t>
        <a:bodyPr/>
        <a:lstStyle/>
        <a:p>
          <a:r>
            <a:rPr lang="es-ES" sz="1400" dirty="0"/>
            <a:t>Recompensas parciales: Se le otorgan recompensas intermedias para dirigirlo hacia el objetivo final.</a:t>
          </a:r>
        </a:p>
      </dgm:t>
    </dgm:pt>
    <dgm:pt modelId="{189B742B-70CA-4D01-AE9E-44FA5E90C5F0}" type="parTrans" cxnId="{81D900BF-3ADF-4F1D-851F-57D06F7147D4}">
      <dgm:prSet/>
      <dgm:spPr/>
      <dgm:t>
        <a:bodyPr/>
        <a:lstStyle/>
        <a:p>
          <a:endParaRPr lang="es-ES" sz="1600"/>
        </a:p>
      </dgm:t>
    </dgm:pt>
    <dgm:pt modelId="{73BA81AC-E745-4D92-97FD-E2BE8CC41239}" type="sibTrans" cxnId="{81D900BF-3ADF-4F1D-851F-57D06F7147D4}">
      <dgm:prSet/>
      <dgm:spPr/>
      <dgm:t>
        <a:bodyPr/>
        <a:lstStyle/>
        <a:p>
          <a:endParaRPr lang="es-ES" sz="1600"/>
        </a:p>
      </dgm:t>
    </dgm:pt>
    <dgm:pt modelId="{C546486D-8137-4AD0-86F4-70A212F614CB}">
      <dgm:prSet custT="1"/>
      <dgm:spPr/>
      <dgm:t>
        <a:bodyPr/>
        <a:lstStyle/>
        <a:p>
          <a:r>
            <a:rPr lang="es-ES" sz="2000" dirty="0"/>
            <a:t>Aprendizaje por Refuerzo No Asistido: </a:t>
          </a:r>
        </a:p>
      </dgm:t>
    </dgm:pt>
    <dgm:pt modelId="{2412F62C-EC88-4D0F-9ADD-622681A286F4}" type="parTrans" cxnId="{8145053B-266D-4FD5-83C7-6088B0598427}">
      <dgm:prSet/>
      <dgm:spPr/>
      <dgm:t>
        <a:bodyPr/>
        <a:lstStyle/>
        <a:p>
          <a:endParaRPr lang="es-ES" sz="1600"/>
        </a:p>
      </dgm:t>
    </dgm:pt>
    <dgm:pt modelId="{CE250222-1730-41C1-BF85-7F1117DBF806}" type="sibTrans" cxnId="{8145053B-266D-4FD5-83C7-6088B0598427}">
      <dgm:prSet/>
      <dgm:spPr/>
      <dgm:t>
        <a:bodyPr/>
        <a:lstStyle/>
        <a:p>
          <a:endParaRPr lang="es-ES" sz="1600"/>
        </a:p>
      </dgm:t>
    </dgm:pt>
    <dgm:pt modelId="{21EBFC77-BCB1-4F62-9598-27442D9B3673}">
      <dgm:prSet custT="1"/>
      <dgm:spPr/>
      <dgm:t>
        <a:bodyPr/>
        <a:lstStyle/>
        <a:p>
          <a:r>
            <a:rPr lang="es-ES" sz="1400" dirty="0"/>
            <a:t>El algoritmo aprende completamente por sí solo, interactuando directamente con el entorno y recibiendo únicamente una señal de recompensa al final de cada episodio.</a:t>
          </a:r>
        </a:p>
      </dgm:t>
    </dgm:pt>
    <dgm:pt modelId="{28E18334-97D8-4E10-8429-D8DED23F5551}" type="parTrans" cxnId="{852FEB2B-367C-4BF1-8A84-331ACC532719}">
      <dgm:prSet/>
      <dgm:spPr/>
      <dgm:t>
        <a:bodyPr/>
        <a:lstStyle/>
        <a:p>
          <a:endParaRPr lang="es-ES" sz="1600"/>
        </a:p>
      </dgm:t>
    </dgm:pt>
    <dgm:pt modelId="{3A91C0BA-C349-4FBE-8319-B59ECF953F20}" type="sibTrans" cxnId="{852FEB2B-367C-4BF1-8A84-331ACC532719}">
      <dgm:prSet/>
      <dgm:spPr/>
      <dgm:t>
        <a:bodyPr/>
        <a:lstStyle/>
        <a:p>
          <a:endParaRPr lang="es-ES" sz="1600"/>
        </a:p>
      </dgm:t>
    </dgm:pt>
    <dgm:pt modelId="{053B8596-12D8-4E3C-9D9D-A4A265974470}" type="pres">
      <dgm:prSet presAssocID="{138AD38F-17C9-402E-8044-C77342BF0A26}" presName="linear" presStyleCnt="0">
        <dgm:presLayoutVars>
          <dgm:animLvl val="lvl"/>
          <dgm:resizeHandles val="exact"/>
        </dgm:presLayoutVars>
      </dgm:prSet>
      <dgm:spPr/>
    </dgm:pt>
    <dgm:pt modelId="{A5920A0B-9ACB-4B15-A936-143744E73C7C}" type="pres">
      <dgm:prSet presAssocID="{78B960FD-379B-445C-80AD-98C0823FCD21}" presName="parentText" presStyleLbl="node1" presStyleIdx="0" presStyleCnt="3">
        <dgm:presLayoutVars>
          <dgm:chMax val="0"/>
          <dgm:bulletEnabled val="1"/>
        </dgm:presLayoutVars>
      </dgm:prSet>
      <dgm:spPr/>
    </dgm:pt>
    <dgm:pt modelId="{848E2B03-29FF-434E-8A4D-58BFC18A8E0B}" type="pres">
      <dgm:prSet presAssocID="{FBED99CF-C86D-4B55-9685-CBC69C5156C2}" presName="spacer" presStyleCnt="0"/>
      <dgm:spPr/>
    </dgm:pt>
    <dgm:pt modelId="{69189A0C-FFF0-4B50-92E7-9DBFBD73E5B6}" type="pres">
      <dgm:prSet presAssocID="{8A809070-0680-4217-9214-0207BF0CA52C}" presName="parentText" presStyleLbl="node1" presStyleIdx="1" presStyleCnt="3">
        <dgm:presLayoutVars>
          <dgm:chMax val="0"/>
          <dgm:bulletEnabled val="1"/>
        </dgm:presLayoutVars>
      </dgm:prSet>
      <dgm:spPr/>
    </dgm:pt>
    <dgm:pt modelId="{A28EA74A-DE0C-4E49-8145-4A86774D375F}" type="pres">
      <dgm:prSet presAssocID="{8A809070-0680-4217-9214-0207BF0CA52C}" presName="childText" presStyleLbl="revTx" presStyleIdx="0" presStyleCnt="2">
        <dgm:presLayoutVars>
          <dgm:bulletEnabled val="1"/>
        </dgm:presLayoutVars>
      </dgm:prSet>
      <dgm:spPr/>
    </dgm:pt>
    <dgm:pt modelId="{4FEE0E1D-F75C-477C-94C5-B503B30D3D5C}" type="pres">
      <dgm:prSet presAssocID="{C546486D-8137-4AD0-86F4-70A212F614CB}" presName="parentText" presStyleLbl="node1" presStyleIdx="2" presStyleCnt="3">
        <dgm:presLayoutVars>
          <dgm:chMax val="0"/>
          <dgm:bulletEnabled val="1"/>
        </dgm:presLayoutVars>
      </dgm:prSet>
      <dgm:spPr/>
    </dgm:pt>
    <dgm:pt modelId="{74077333-20D6-4467-A424-EB1942F7294E}" type="pres">
      <dgm:prSet presAssocID="{C546486D-8137-4AD0-86F4-70A212F614CB}" presName="childText" presStyleLbl="revTx" presStyleIdx="1" presStyleCnt="2">
        <dgm:presLayoutVars>
          <dgm:bulletEnabled val="1"/>
        </dgm:presLayoutVars>
      </dgm:prSet>
      <dgm:spPr/>
    </dgm:pt>
  </dgm:ptLst>
  <dgm:cxnLst>
    <dgm:cxn modelId="{0CF33603-451D-4227-B890-191FE1396699}" type="presOf" srcId="{DA5ADD6D-7451-4953-9BB4-27678EAFAFFF}" destId="{A28EA74A-DE0C-4E49-8145-4A86774D375F}" srcOrd="0" destOrd="2" presId="urn:microsoft.com/office/officeart/2005/8/layout/vList2"/>
    <dgm:cxn modelId="{FF9D7E18-5F4A-46E8-B26F-76487FC4FCE9}" srcId="{8A809070-0680-4217-9214-0207BF0CA52C}" destId="{2C3752AF-DCEE-41C8-9965-13EED1FC7760}" srcOrd="1" destOrd="0" parTransId="{7792D63D-774C-470C-8DBB-BE56820B3C91}" sibTransId="{D16C7CBC-70F9-4BD5-A539-6856448BEA82}"/>
    <dgm:cxn modelId="{942CE421-32B1-454B-B87A-BA0BDF86B35F}" srcId="{138AD38F-17C9-402E-8044-C77342BF0A26}" destId="{8A809070-0680-4217-9214-0207BF0CA52C}" srcOrd="1" destOrd="0" parTransId="{990C8A8D-292C-4CAB-B1DD-65762F148409}" sibTransId="{13CDC976-4EBC-4FAE-BB1F-D9C6BC6F4164}"/>
    <dgm:cxn modelId="{852FEB2B-367C-4BF1-8A84-331ACC532719}" srcId="{C546486D-8137-4AD0-86F4-70A212F614CB}" destId="{21EBFC77-BCB1-4F62-9598-27442D9B3673}" srcOrd="0" destOrd="0" parTransId="{28E18334-97D8-4E10-8429-D8DED23F5551}" sibTransId="{3A91C0BA-C349-4FBE-8319-B59ECF953F20}"/>
    <dgm:cxn modelId="{990ABD34-8E4B-447F-BF3F-033C6488E442}" type="presOf" srcId="{21EBFC77-BCB1-4F62-9598-27442D9B3673}" destId="{74077333-20D6-4467-A424-EB1942F7294E}" srcOrd="0" destOrd="0" presId="urn:microsoft.com/office/officeart/2005/8/layout/vList2"/>
    <dgm:cxn modelId="{8145053B-266D-4FD5-83C7-6088B0598427}" srcId="{138AD38F-17C9-402E-8044-C77342BF0A26}" destId="{C546486D-8137-4AD0-86F4-70A212F614CB}" srcOrd="2" destOrd="0" parTransId="{2412F62C-EC88-4D0F-9ADD-622681A286F4}" sibTransId="{CE250222-1730-41C1-BF85-7F1117DBF806}"/>
    <dgm:cxn modelId="{3CADC95B-BF1F-4E33-955F-D477BD9AC629}" type="presOf" srcId="{94F7D8D4-01D7-4C48-A2D3-C58F0EAD4FB2}" destId="{A28EA74A-DE0C-4E49-8145-4A86774D375F}" srcOrd="0" destOrd="0" presId="urn:microsoft.com/office/officeart/2005/8/layout/vList2"/>
    <dgm:cxn modelId="{058A497D-4249-44F7-A63C-5830537C185A}" type="presOf" srcId="{2C3752AF-DCEE-41C8-9965-13EED1FC7760}" destId="{A28EA74A-DE0C-4E49-8145-4A86774D375F}" srcOrd="0" destOrd="1" presId="urn:microsoft.com/office/officeart/2005/8/layout/vList2"/>
    <dgm:cxn modelId="{7C455A9C-8786-4A0E-AF9E-27DDE305BB66}" type="presOf" srcId="{138AD38F-17C9-402E-8044-C77342BF0A26}" destId="{053B8596-12D8-4E3C-9D9D-A4A265974470}" srcOrd="0" destOrd="0" presId="urn:microsoft.com/office/officeart/2005/8/layout/vList2"/>
    <dgm:cxn modelId="{D0BC5DA6-4FB5-4A23-B74E-9C00A9B7A8E9}" srcId="{8A809070-0680-4217-9214-0207BF0CA52C}" destId="{94F7D8D4-01D7-4C48-A2D3-C58F0EAD4FB2}" srcOrd="0" destOrd="0" parTransId="{1341C913-615D-4451-9818-20BA79287689}" sibTransId="{50CFFE2A-BA26-4B41-8DDC-82FD1AC32024}"/>
    <dgm:cxn modelId="{BC51C6B9-6457-4E84-A382-5B0A7CBC4F1E}" type="presOf" srcId="{8A809070-0680-4217-9214-0207BF0CA52C}" destId="{69189A0C-FFF0-4B50-92E7-9DBFBD73E5B6}" srcOrd="0" destOrd="0" presId="urn:microsoft.com/office/officeart/2005/8/layout/vList2"/>
    <dgm:cxn modelId="{88E728BD-6FC0-49AD-B030-8525BBEF126D}" type="presOf" srcId="{78B960FD-379B-445C-80AD-98C0823FCD21}" destId="{A5920A0B-9ACB-4B15-A936-143744E73C7C}" srcOrd="0" destOrd="0" presId="urn:microsoft.com/office/officeart/2005/8/layout/vList2"/>
    <dgm:cxn modelId="{81D900BF-3ADF-4F1D-851F-57D06F7147D4}" srcId="{8A809070-0680-4217-9214-0207BF0CA52C}" destId="{DA5ADD6D-7451-4953-9BB4-27678EAFAFFF}" srcOrd="2" destOrd="0" parTransId="{189B742B-70CA-4D01-AE9E-44FA5E90C5F0}" sibTransId="{73BA81AC-E745-4D92-97FD-E2BE8CC41239}"/>
    <dgm:cxn modelId="{DD0CADD9-E5A9-4FD6-8730-B745534C794A}" srcId="{138AD38F-17C9-402E-8044-C77342BF0A26}" destId="{78B960FD-379B-445C-80AD-98C0823FCD21}" srcOrd="0" destOrd="0" parTransId="{18CA8DA4-F4B8-4F7C-A1B6-304CEDE978FE}" sibTransId="{FBED99CF-C86D-4B55-9685-CBC69C5156C2}"/>
    <dgm:cxn modelId="{D7E1B4FB-B7A7-4A69-A6BC-EFF4E3E5A817}" type="presOf" srcId="{C546486D-8137-4AD0-86F4-70A212F614CB}" destId="{4FEE0E1D-F75C-477C-94C5-B503B30D3D5C}" srcOrd="0" destOrd="0" presId="urn:microsoft.com/office/officeart/2005/8/layout/vList2"/>
    <dgm:cxn modelId="{C85AEBA1-6F4C-4396-B5E0-DCF53ECCCFED}" type="presParOf" srcId="{053B8596-12D8-4E3C-9D9D-A4A265974470}" destId="{A5920A0B-9ACB-4B15-A936-143744E73C7C}" srcOrd="0" destOrd="0" presId="urn:microsoft.com/office/officeart/2005/8/layout/vList2"/>
    <dgm:cxn modelId="{7D8089D2-24B5-4836-97E6-D2E2A932001A}" type="presParOf" srcId="{053B8596-12D8-4E3C-9D9D-A4A265974470}" destId="{848E2B03-29FF-434E-8A4D-58BFC18A8E0B}" srcOrd="1" destOrd="0" presId="urn:microsoft.com/office/officeart/2005/8/layout/vList2"/>
    <dgm:cxn modelId="{C28845A9-B37C-4888-9893-4B4A2120D437}" type="presParOf" srcId="{053B8596-12D8-4E3C-9D9D-A4A265974470}" destId="{69189A0C-FFF0-4B50-92E7-9DBFBD73E5B6}" srcOrd="2" destOrd="0" presId="urn:microsoft.com/office/officeart/2005/8/layout/vList2"/>
    <dgm:cxn modelId="{81E8C731-BA6A-47CD-8463-D6AF8400B585}" type="presParOf" srcId="{053B8596-12D8-4E3C-9D9D-A4A265974470}" destId="{A28EA74A-DE0C-4E49-8145-4A86774D375F}" srcOrd="3" destOrd="0" presId="urn:microsoft.com/office/officeart/2005/8/layout/vList2"/>
    <dgm:cxn modelId="{51645715-C623-4087-B2D8-FDD0AFFD2797}" type="presParOf" srcId="{053B8596-12D8-4E3C-9D9D-A4A265974470}" destId="{4FEE0E1D-F75C-477C-94C5-B503B30D3D5C}" srcOrd="4" destOrd="0" presId="urn:microsoft.com/office/officeart/2005/8/layout/vList2"/>
    <dgm:cxn modelId="{DA18443B-108E-4756-A5CF-0A02C7066C2D}" type="presParOf" srcId="{053B8596-12D8-4E3C-9D9D-A4A265974470}" destId="{74077333-20D6-4467-A424-EB1942F7294E}"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146603D6-CFFF-4432-97E0-9CF3185736BA}" type="doc">
      <dgm:prSet loTypeId="urn:microsoft.com/office/officeart/2005/8/layout/hList1" loCatId="list" qsTypeId="urn:microsoft.com/office/officeart/2005/8/quickstyle/simple1" qsCatId="simple" csTypeId="urn:microsoft.com/office/officeart/2005/8/colors/accent3_2" csCatId="accent3" phldr="1"/>
      <dgm:spPr/>
      <dgm:t>
        <a:bodyPr/>
        <a:lstStyle/>
        <a:p>
          <a:endParaRPr lang="es-ES"/>
        </a:p>
      </dgm:t>
    </dgm:pt>
    <dgm:pt modelId="{895D3576-F33D-49B0-AE96-B7EE853717D1}">
      <dgm:prSet/>
      <dgm:spPr/>
      <dgm:t>
        <a:bodyPr/>
        <a:lstStyle/>
        <a:p>
          <a:r>
            <a:rPr lang="es-ES" b="1" dirty="0"/>
            <a:t>Q-learning:</a:t>
          </a:r>
        </a:p>
      </dgm:t>
    </dgm:pt>
    <dgm:pt modelId="{5BA8991C-91A9-4CA8-ABC8-8D1F0E664630}" type="parTrans" cxnId="{B2EB4FDA-C2FD-4AD7-A61A-A40E4C7E32CA}">
      <dgm:prSet/>
      <dgm:spPr/>
      <dgm:t>
        <a:bodyPr/>
        <a:lstStyle/>
        <a:p>
          <a:endParaRPr lang="es-ES"/>
        </a:p>
      </dgm:t>
    </dgm:pt>
    <dgm:pt modelId="{676E4C15-2233-4348-9CDC-E7F2EED2C559}" type="sibTrans" cxnId="{B2EB4FDA-C2FD-4AD7-A61A-A40E4C7E32CA}">
      <dgm:prSet/>
      <dgm:spPr/>
      <dgm:t>
        <a:bodyPr/>
        <a:lstStyle/>
        <a:p>
          <a:endParaRPr lang="es-ES"/>
        </a:p>
      </dgm:t>
    </dgm:pt>
    <dgm:pt modelId="{94AE610C-08C1-4CD0-B104-FF39D57C77F2}">
      <dgm:prSet/>
      <dgm:spPr/>
      <dgm:t>
        <a:bodyPr/>
        <a:lstStyle/>
        <a:p>
          <a:pPr>
            <a:buFont typeface="Arial" panose="020B0604020202020204" pitchFamily="34" charset="0"/>
            <a:buChar char="•"/>
          </a:pPr>
          <a:r>
            <a:rPr lang="es-ES" b="1" dirty="0"/>
            <a:t>Funcionamiento:</a:t>
          </a:r>
          <a:r>
            <a:rPr lang="es-ES" dirty="0"/>
            <a:t> Es uno de los algoritmos más simples y populares. Crea una tabla Q que almacena el valor esperado de tomar una acción particular en un estado dado. A medida que el agente interactúa con el entorno, actualiza estos valores.</a:t>
          </a:r>
        </a:p>
      </dgm:t>
    </dgm:pt>
    <dgm:pt modelId="{DBC655D3-5941-41EC-A947-4252FC5C879D}" type="parTrans" cxnId="{6D8C656A-A3A3-4D8D-B8FE-19E3A98255FB}">
      <dgm:prSet/>
      <dgm:spPr/>
      <dgm:t>
        <a:bodyPr/>
        <a:lstStyle/>
        <a:p>
          <a:endParaRPr lang="es-ES"/>
        </a:p>
      </dgm:t>
    </dgm:pt>
    <dgm:pt modelId="{05FBB63E-FD23-47ED-918B-EEE521274C5E}" type="sibTrans" cxnId="{6D8C656A-A3A3-4D8D-B8FE-19E3A98255FB}">
      <dgm:prSet/>
      <dgm:spPr/>
      <dgm:t>
        <a:bodyPr/>
        <a:lstStyle/>
        <a:p>
          <a:endParaRPr lang="es-ES"/>
        </a:p>
      </dgm:t>
    </dgm:pt>
    <dgm:pt modelId="{14557023-EE4F-4EB3-8BCD-E0B561836DC6}">
      <dgm:prSet/>
      <dgm:spPr/>
      <dgm:t>
        <a:bodyPr/>
        <a:lstStyle/>
        <a:p>
          <a:pPr>
            <a:buFont typeface="Arial" panose="020B0604020202020204" pitchFamily="34" charset="0"/>
            <a:buChar char="•"/>
          </a:pPr>
          <a:r>
            <a:rPr lang="es-ES" b="1" dirty="0"/>
            <a:t>Aplicación:</a:t>
          </a:r>
          <a:r>
            <a:rPr lang="es-ES" dirty="0"/>
            <a:t> Se utiliza en una amplia gama de problemas, desde juegos simples hasta control de robots.</a:t>
          </a:r>
        </a:p>
      </dgm:t>
    </dgm:pt>
    <dgm:pt modelId="{D73B3236-0ACC-4392-BD77-20A4DD342969}" type="parTrans" cxnId="{565F2BB0-47CB-40CD-B8B3-7F010F4121CB}">
      <dgm:prSet/>
      <dgm:spPr/>
      <dgm:t>
        <a:bodyPr/>
        <a:lstStyle/>
        <a:p>
          <a:endParaRPr lang="es-ES"/>
        </a:p>
      </dgm:t>
    </dgm:pt>
    <dgm:pt modelId="{533934F1-B0C6-4A59-9276-F24260BBDA8A}" type="sibTrans" cxnId="{565F2BB0-47CB-40CD-B8B3-7F010F4121CB}">
      <dgm:prSet/>
      <dgm:spPr/>
      <dgm:t>
        <a:bodyPr/>
        <a:lstStyle/>
        <a:p>
          <a:endParaRPr lang="es-ES"/>
        </a:p>
      </dgm:t>
    </dgm:pt>
    <dgm:pt modelId="{D9A965B1-D82C-495B-8C31-E9345A683ABD}">
      <dgm:prSet/>
      <dgm:spPr/>
      <dgm:t>
        <a:bodyPr/>
        <a:lstStyle/>
        <a:p>
          <a:pPr>
            <a:buFont typeface="Arial" panose="020B0604020202020204" pitchFamily="34" charset="0"/>
            <a:buChar char="•"/>
          </a:pPr>
          <a:r>
            <a:rPr lang="es-ES" b="1" dirty="0"/>
            <a:t>Desafíos:</a:t>
          </a:r>
          <a:r>
            <a:rPr lang="es-ES" dirty="0"/>
            <a:t> Puede ser computacionalmente costoso para entornos grandes y continuos.</a:t>
          </a:r>
        </a:p>
      </dgm:t>
    </dgm:pt>
    <dgm:pt modelId="{62600C1A-E581-4450-A428-DD786AA971FE}" type="parTrans" cxnId="{60CEB11E-9179-4935-A22E-0F0D8768BCFB}">
      <dgm:prSet/>
      <dgm:spPr/>
      <dgm:t>
        <a:bodyPr/>
        <a:lstStyle/>
        <a:p>
          <a:endParaRPr lang="es-ES"/>
        </a:p>
      </dgm:t>
    </dgm:pt>
    <dgm:pt modelId="{2C387BC6-5872-49CA-AF51-CDC54EBC730E}" type="sibTrans" cxnId="{60CEB11E-9179-4935-A22E-0F0D8768BCFB}">
      <dgm:prSet/>
      <dgm:spPr/>
      <dgm:t>
        <a:bodyPr/>
        <a:lstStyle/>
        <a:p>
          <a:endParaRPr lang="es-ES"/>
        </a:p>
      </dgm:t>
    </dgm:pt>
    <dgm:pt modelId="{64325EC1-9C51-4F07-9A90-1281A29CB210}">
      <dgm:prSet/>
      <dgm:spPr/>
      <dgm:t>
        <a:bodyPr/>
        <a:lstStyle/>
        <a:p>
          <a:r>
            <a:rPr lang="es-ES" b="1" dirty="0"/>
            <a:t>Gradiente de Políticas:</a:t>
          </a:r>
          <a:endParaRPr lang="es-ES" dirty="0"/>
        </a:p>
      </dgm:t>
    </dgm:pt>
    <dgm:pt modelId="{B562F844-6692-4E3C-9115-8FA3463EA768}" type="parTrans" cxnId="{1CCEEBDA-CD45-4D8D-A2C8-80EFBD4EB0EB}">
      <dgm:prSet/>
      <dgm:spPr/>
      <dgm:t>
        <a:bodyPr/>
        <a:lstStyle/>
        <a:p>
          <a:endParaRPr lang="es-ES"/>
        </a:p>
      </dgm:t>
    </dgm:pt>
    <dgm:pt modelId="{C8B38A5B-8C62-4378-BF3E-012DFDF90C39}" type="sibTrans" cxnId="{1CCEEBDA-CD45-4D8D-A2C8-80EFBD4EB0EB}">
      <dgm:prSet/>
      <dgm:spPr/>
      <dgm:t>
        <a:bodyPr/>
        <a:lstStyle/>
        <a:p>
          <a:endParaRPr lang="es-ES"/>
        </a:p>
      </dgm:t>
    </dgm:pt>
    <dgm:pt modelId="{C823EF29-3D28-490A-BEC3-5CEBC24A6A07}">
      <dgm:prSet/>
      <dgm:spPr/>
      <dgm:t>
        <a:bodyPr/>
        <a:lstStyle/>
        <a:p>
          <a:pPr>
            <a:buFont typeface="Arial" panose="020B0604020202020204" pitchFamily="34" charset="0"/>
            <a:buChar char="•"/>
          </a:pPr>
          <a:r>
            <a:rPr lang="es-ES" b="1" dirty="0"/>
            <a:t>Funcionamiento:</a:t>
          </a:r>
          <a:r>
            <a:rPr lang="es-ES" dirty="0"/>
            <a:t> En lugar de aprender los valores de los estados, estos métodos aprenden directamente una política que mapea los estados a acciones. Se utilizan técnicas de optimización para mejorar la política.</a:t>
          </a:r>
        </a:p>
      </dgm:t>
    </dgm:pt>
    <dgm:pt modelId="{447B0C1A-EF85-4AA5-9D29-DABE9F7B2BEF}" type="parTrans" cxnId="{CA75E6FE-82F9-498B-ACED-A743C9A4BA29}">
      <dgm:prSet/>
      <dgm:spPr/>
      <dgm:t>
        <a:bodyPr/>
        <a:lstStyle/>
        <a:p>
          <a:endParaRPr lang="es-ES"/>
        </a:p>
      </dgm:t>
    </dgm:pt>
    <dgm:pt modelId="{D4E36AB3-4E41-4F14-A4F8-BAF57524B4F8}" type="sibTrans" cxnId="{CA75E6FE-82F9-498B-ACED-A743C9A4BA29}">
      <dgm:prSet/>
      <dgm:spPr/>
      <dgm:t>
        <a:bodyPr/>
        <a:lstStyle/>
        <a:p>
          <a:endParaRPr lang="es-ES"/>
        </a:p>
      </dgm:t>
    </dgm:pt>
    <dgm:pt modelId="{3169AE59-D539-4CD1-B20B-FA8FAAD45667}">
      <dgm:prSet/>
      <dgm:spPr/>
      <dgm:t>
        <a:bodyPr/>
        <a:lstStyle/>
        <a:p>
          <a:pPr>
            <a:buFont typeface="Arial" panose="020B0604020202020204" pitchFamily="34" charset="0"/>
            <a:buChar char="•"/>
          </a:pPr>
          <a:r>
            <a:rPr lang="es-ES" b="1" dirty="0"/>
            <a:t>Aplicación:</a:t>
          </a:r>
          <a:r>
            <a:rPr lang="es-ES" dirty="0"/>
            <a:t> Son ideales para problemas con espacios de acción continuos.</a:t>
          </a:r>
        </a:p>
      </dgm:t>
    </dgm:pt>
    <dgm:pt modelId="{98FA8903-7C29-470A-AD2B-42BD3E93077E}" type="parTrans" cxnId="{32249F4B-DA5A-4E10-8D82-875BF88B1EE6}">
      <dgm:prSet/>
      <dgm:spPr/>
      <dgm:t>
        <a:bodyPr/>
        <a:lstStyle/>
        <a:p>
          <a:endParaRPr lang="es-ES"/>
        </a:p>
      </dgm:t>
    </dgm:pt>
    <dgm:pt modelId="{0B397057-9A30-43A0-A64B-2A35DA6E8C2D}" type="sibTrans" cxnId="{32249F4B-DA5A-4E10-8D82-875BF88B1EE6}">
      <dgm:prSet/>
      <dgm:spPr/>
      <dgm:t>
        <a:bodyPr/>
        <a:lstStyle/>
        <a:p>
          <a:endParaRPr lang="es-ES"/>
        </a:p>
      </dgm:t>
    </dgm:pt>
    <dgm:pt modelId="{93DC5BF8-E0F3-4EB6-A479-1EF7001EECCC}">
      <dgm:prSet/>
      <dgm:spPr/>
      <dgm:t>
        <a:bodyPr/>
        <a:lstStyle/>
        <a:p>
          <a:pPr>
            <a:buFont typeface="Arial" panose="020B0604020202020204" pitchFamily="34" charset="0"/>
            <a:buChar char="•"/>
          </a:pPr>
          <a:r>
            <a:rPr lang="es-ES" b="1" dirty="0"/>
            <a:t>Desafíos:</a:t>
          </a:r>
          <a:r>
            <a:rPr lang="es-ES" dirty="0"/>
            <a:t> La convergencia puede ser más lenta que en Q-learning y requiere un ajuste cuidadoso de los hiperparámetros.</a:t>
          </a:r>
        </a:p>
      </dgm:t>
    </dgm:pt>
    <dgm:pt modelId="{EA75C903-C768-4197-A963-9BD9E2F65D5F}" type="parTrans" cxnId="{05F4CDB8-FD2D-4EBC-B2E7-887427A4646D}">
      <dgm:prSet/>
      <dgm:spPr/>
      <dgm:t>
        <a:bodyPr/>
        <a:lstStyle/>
        <a:p>
          <a:endParaRPr lang="es-ES"/>
        </a:p>
      </dgm:t>
    </dgm:pt>
    <dgm:pt modelId="{43A4B2C0-4DC0-4C64-956B-34CF59401976}" type="sibTrans" cxnId="{05F4CDB8-FD2D-4EBC-B2E7-887427A4646D}">
      <dgm:prSet/>
      <dgm:spPr/>
      <dgm:t>
        <a:bodyPr/>
        <a:lstStyle/>
        <a:p>
          <a:endParaRPr lang="es-ES"/>
        </a:p>
      </dgm:t>
    </dgm:pt>
    <dgm:pt modelId="{083C7C4A-566D-4D04-AABD-35C7CA3E759C}">
      <dgm:prSet/>
      <dgm:spPr/>
      <dgm:t>
        <a:bodyPr/>
        <a:lstStyle/>
        <a:p>
          <a:r>
            <a:rPr lang="es-ES" b="1" dirty="0"/>
            <a:t>Monte Carlo:</a:t>
          </a:r>
          <a:endParaRPr lang="es-ES" dirty="0"/>
        </a:p>
      </dgm:t>
    </dgm:pt>
    <dgm:pt modelId="{4C07DAA1-8623-4D9B-8BE3-33C6F48E1449}" type="parTrans" cxnId="{99A6BC1D-24F1-46D2-8904-79BC9914300F}">
      <dgm:prSet/>
      <dgm:spPr/>
      <dgm:t>
        <a:bodyPr/>
        <a:lstStyle/>
        <a:p>
          <a:endParaRPr lang="es-ES"/>
        </a:p>
      </dgm:t>
    </dgm:pt>
    <dgm:pt modelId="{7BCB6B67-212D-48FD-891A-AB9D0A86A349}" type="sibTrans" cxnId="{99A6BC1D-24F1-46D2-8904-79BC9914300F}">
      <dgm:prSet/>
      <dgm:spPr/>
      <dgm:t>
        <a:bodyPr/>
        <a:lstStyle/>
        <a:p>
          <a:endParaRPr lang="es-ES"/>
        </a:p>
      </dgm:t>
    </dgm:pt>
    <dgm:pt modelId="{ACE7D6C3-F876-4F21-AD2F-90528DAABDFB}">
      <dgm:prSet/>
      <dgm:spPr/>
      <dgm:t>
        <a:bodyPr/>
        <a:lstStyle/>
        <a:p>
          <a:pPr>
            <a:buFont typeface="Arial" panose="020B0604020202020204" pitchFamily="34" charset="0"/>
            <a:buChar char="•"/>
          </a:pPr>
          <a:r>
            <a:rPr lang="es-ES" b="1" dirty="0"/>
            <a:t>Funcionamiento:</a:t>
          </a:r>
          <a:r>
            <a:rPr lang="es-ES" dirty="0"/>
            <a:t> Se basan en estimar el valor de una política mediante simulación. El agente sigue una política y estima el valor de los estados visitados en cada episodio.</a:t>
          </a:r>
        </a:p>
      </dgm:t>
    </dgm:pt>
    <dgm:pt modelId="{447B8DE3-DD08-4FD3-B36F-D805929AF55B}" type="parTrans" cxnId="{EAFF222A-A795-4D29-8A75-C8438CABA2DC}">
      <dgm:prSet/>
      <dgm:spPr/>
      <dgm:t>
        <a:bodyPr/>
        <a:lstStyle/>
        <a:p>
          <a:endParaRPr lang="es-ES"/>
        </a:p>
      </dgm:t>
    </dgm:pt>
    <dgm:pt modelId="{714AF963-7660-468B-ABB3-1F9112D3C161}" type="sibTrans" cxnId="{EAFF222A-A795-4D29-8A75-C8438CABA2DC}">
      <dgm:prSet/>
      <dgm:spPr/>
      <dgm:t>
        <a:bodyPr/>
        <a:lstStyle/>
        <a:p>
          <a:endParaRPr lang="es-ES"/>
        </a:p>
      </dgm:t>
    </dgm:pt>
    <dgm:pt modelId="{5C1690BC-9541-4A80-ACEB-491AAE0D1E8E}">
      <dgm:prSet/>
      <dgm:spPr/>
      <dgm:t>
        <a:bodyPr/>
        <a:lstStyle/>
        <a:p>
          <a:pPr>
            <a:buFont typeface="Arial" panose="020B0604020202020204" pitchFamily="34" charset="0"/>
            <a:buChar char="•"/>
          </a:pPr>
          <a:r>
            <a:rPr lang="es-ES" b="1" dirty="0"/>
            <a:t>Aplicación:</a:t>
          </a:r>
          <a:r>
            <a:rPr lang="es-ES" dirty="0"/>
            <a:t> Son útiles para problemas con entornos estocásticos.</a:t>
          </a:r>
        </a:p>
      </dgm:t>
    </dgm:pt>
    <dgm:pt modelId="{723FBF38-6B1E-4CD2-8242-E67D66CF3E45}" type="parTrans" cxnId="{4A43C048-0C26-4D5D-B47B-02EE3FB19711}">
      <dgm:prSet/>
      <dgm:spPr/>
      <dgm:t>
        <a:bodyPr/>
        <a:lstStyle/>
        <a:p>
          <a:endParaRPr lang="es-ES"/>
        </a:p>
      </dgm:t>
    </dgm:pt>
    <dgm:pt modelId="{D25DDDEB-6FC1-4931-BFB7-D4673F6B94AA}" type="sibTrans" cxnId="{4A43C048-0C26-4D5D-B47B-02EE3FB19711}">
      <dgm:prSet/>
      <dgm:spPr/>
      <dgm:t>
        <a:bodyPr/>
        <a:lstStyle/>
        <a:p>
          <a:endParaRPr lang="es-ES"/>
        </a:p>
      </dgm:t>
    </dgm:pt>
    <dgm:pt modelId="{44CCC4C4-FA2C-4D26-8C25-543F34E13C19}">
      <dgm:prSet/>
      <dgm:spPr/>
      <dgm:t>
        <a:bodyPr/>
        <a:lstStyle/>
        <a:p>
          <a:pPr>
            <a:buFont typeface="Arial" panose="020B0604020202020204" pitchFamily="34" charset="0"/>
            <a:buChar char="•"/>
          </a:pPr>
          <a:r>
            <a:rPr lang="es-ES" b="1" dirty="0"/>
            <a:t>Desafíos:</a:t>
          </a:r>
          <a:r>
            <a:rPr lang="es-ES" dirty="0"/>
            <a:t> Pueden ser ineficientes para problemas con horizontes de tiempo largos.</a:t>
          </a:r>
        </a:p>
      </dgm:t>
    </dgm:pt>
    <dgm:pt modelId="{D75BFE8E-CA27-4272-B9F5-BCEE463C34A8}" type="parTrans" cxnId="{887FD852-0E90-42F7-92A7-F46968EAE229}">
      <dgm:prSet/>
      <dgm:spPr/>
      <dgm:t>
        <a:bodyPr/>
        <a:lstStyle/>
        <a:p>
          <a:endParaRPr lang="es-ES"/>
        </a:p>
      </dgm:t>
    </dgm:pt>
    <dgm:pt modelId="{E23F2BD3-C7D7-41D9-AA2F-ABD38E65E04F}" type="sibTrans" cxnId="{887FD852-0E90-42F7-92A7-F46968EAE229}">
      <dgm:prSet/>
      <dgm:spPr/>
      <dgm:t>
        <a:bodyPr/>
        <a:lstStyle/>
        <a:p>
          <a:endParaRPr lang="es-ES"/>
        </a:p>
      </dgm:t>
    </dgm:pt>
    <dgm:pt modelId="{E53ADEB7-B12D-49F8-8D8A-78470EE44296}">
      <dgm:prSet/>
      <dgm:spPr/>
      <dgm:t>
        <a:bodyPr/>
        <a:lstStyle/>
        <a:p>
          <a:r>
            <a:rPr lang="es-ES" b="1" dirty="0"/>
            <a:t>Aprendizaje por Diferencia Temporal (TD):</a:t>
          </a:r>
          <a:endParaRPr lang="es-ES" dirty="0"/>
        </a:p>
      </dgm:t>
    </dgm:pt>
    <dgm:pt modelId="{612BC022-18C9-4399-A9F9-816B07A1EE05}" type="parTrans" cxnId="{4428E280-947D-4CDF-90CC-6B1B760FBB4D}">
      <dgm:prSet/>
      <dgm:spPr/>
      <dgm:t>
        <a:bodyPr/>
        <a:lstStyle/>
        <a:p>
          <a:endParaRPr lang="es-ES"/>
        </a:p>
      </dgm:t>
    </dgm:pt>
    <dgm:pt modelId="{4DBA864F-14A2-4C71-B219-F9A884EAF7EE}" type="sibTrans" cxnId="{4428E280-947D-4CDF-90CC-6B1B760FBB4D}">
      <dgm:prSet/>
      <dgm:spPr/>
      <dgm:t>
        <a:bodyPr/>
        <a:lstStyle/>
        <a:p>
          <a:endParaRPr lang="es-ES"/>
        </a:p>
      </dgm:t>
    </dgm:pt>
    <dgm:pt modelId="{7D50E28D-DFC3-4867-8D6B-CE15409D4E0C}">
      <dgm:prSet/>
      <dgm:spPr/>
      <dgm:t>
        <a:bodyPr/>
        <a:lstStyle/>
        <a:p>
          <a:pPr>
            <a:buFont typeface="Arial" panose="020B0604020202020204" pitchFamily="34" charset="0"/>
            <a:buChar char="•"/>
          </a:pPr>
          <a:r>
            <a:rPr lang="es-ES" b="1" dirty="0"/>
            <a:t>Funcionamiento:</a:t>
          </a:r>
          <a:r>
            <a:rPr lang="es-ES" dirty="0"/>
            <a:t> Combina elementos de los métodos de Monte Carlo y de los métodos de valor. Permite actualizar los valores de los estados antes de que termine un episodio.</a:t>
          </a:r>
        </a:p>
      </dgm:t>
    </dgm:pt>
    <dgm:pt modelId="{78D2E2A7-E3C3-456F-BCC4-341EA6D9F4E1}" type="parTrans" cxnId="{6315F7B3-885C-4C0C-844E-32A30CE6B5A5}">
      <dgm:prSet/>
      <dgm:spPr/>
      <dgm:t>
        <a:bodyPr/>
        <a:lstStyle/>
        <a:p>
          <a:endParaRPr lang="es-ES"/>
        </a:p>
      </dgm:t>
    </dgm:pt>
    <dgm:pt modelId="{8E1D3A5F-2E3B-4B4F-92C1-21006E21C30D}" type="sibTrans" cxnId="{6315F7B3-885C-4C0C-844E-32A30CE6B5A5}">
      <dgm:prSet/>
      <dgm:spPr/>
      <dgm:t>
        <a:bodyPr/>
        <a:lstStyle/>
        <a:p>
          <a:endParaRPr lang="es-ES"/>
        </a:p>
      </dgm:t>
    </dgm:pt>
    <dgm:pt modelId="{09624ECD-1AC3-4E6D-94A6-CF0DE8DFE009}">
      <dgm:prSet/>
      <dgm:spPr/>
      <dgm:t>
        <a:bodyPr/>
        <a:lstStyle/>
        <a:p>
          <a:pPr>
            <a:buFont typeface="Arial" panose="020B0604020202020204" pitchFamily="34" charset="0"/>
            <a:buChar char="•"/>
          </a:pPr>
          <a:r>
            <a:rPr lang="es-ES" b="1" dirty="0"/>
            <a:t>Aplicación:</a:t>
          </a:r>
          <a:r>
            <a:rPr lang="es-ES" dirty="0"/>
            <a:t> Se utiliza ampliamente en una variedad de problemas, como juegos y control de robots.</a:t>
          </a:r>
        </a:p>
      </dgm:t>
    </dgm:pt>
    <dgm:pt modelId="{A79BE5EE-E019-4CFE-AC50-B652257E9890}" type="parTrans" cxnId="{761EC19A-DA21-4E59-90A2-0A31B31AEBEC}">
      <dgm:prSet/>
      <dgm:spPr/>
      <dgm:t>
        <a:bodyPr/>
        <a:lstStyle/>
        <a:p>
          <a:endParaRPr lang="es-ES"/>
        </a:p>
      </dgm:t>
    </dgm:pt>
    <dgm:pt modelId="{3A9F4A11-92A0-43CE-B3B1-484F663DCC39}" type="sibTrans" cxnId="{761EC19A-DA21-4E59-90A2-0A31B31AEBEC}">
      <dgm:prSet/>
      <dgm:spPr/>
      <dgm:t>
        <a:bodyPr/>
        <a:lstStyle/>
        <a:p>
          <a:endParaRPr lang="es-ES"/>
        </a:p>
      </dgm:t>
    </dgm:pt>
    <dgm:pt modelId="{DCFA596F-FE0E-4C44-8565-B8D0D93A8A11}">
      <dgm:prSet/>
      <dgm:spPr/>
      <dgm:t>
        <a:bodyPr/>
        <a:lstStyle/>
        <a:p>
          <a:pPr>
            <a:buFont typeface="Arial" panose="020B0604020202020204" pitchFamily="34" charset="0"/>
            <a:buChar char="•"/>
          </a:pPr>
          <a:r>
            <a:rPr lang="es-ES" b="1" dirty="0"/>
            <a:t>Desafíos:</a:t>
          </a:r>
          <a:r>
            <a:rPr lang="es-ES" dirty="0"/>
            <a:t> La elección del factor de descuento es crucial para el rendimiento del algoritmo.</a:t>
          </a:r>
        </a:p>
      </dgm:t>
    </dgm:pt>
    <dgm:pt modelId="{01276704-BD6B-4975-9E24-7F3ABA537107}" type="parTrans" cxnId="{EF531016-A16B-4E37-907C-412DC14AD798}">
      <dgm:prSet/>
      <dgm:spPr/>
      <dgm:t>
        <a:bodyPr/>
        <a:lstStyle/>
        <a:p>
          <a:endParaRPr lang="es-ES"/>
        </a:p>
      </dgm:t>
    </dgm:pt>
    <dgm:pt modelId="{BE47672E-C692-4BFD-8619-B221B030A488}" type="sibTrans" cxnId="{EF531016-A16B-4E37-907C-412DC14AD798}">
      <dgm:prSet/>
      <dgm:spPr/>
      <dgm:t>
        <a:bodyPr/>
        <a:lstStyle/>
        <a:p>
          <a:endParaRPr lang="es-ES"/>
        </a:p>
      </dgm:t>
    </dgm:pt>
    <dgm:pt modelId="{6429304A-E732-43CE-A6FE-43548C8E0B7E}">
      <dgm:prSet/>
      <dgm:spPr/>
      <dgm:t>
        <a:bodyPr/>
        <a:lstStyle/>
        <a:p>
          <a:r>
            <a:rPr lang="es-ES" b="1" dirty="0"/>
            <a:t>Deep Reinforcement Learning:</a:t>
          </a:r>
          <a:endParaRPr lang="es-ES" dirty="0"/>
        </a:p>
      </dgm:t>
    </dgm:pt>
    <dgm:pt modelId="{087AAD9C-A81B-406B-B778-4F13FC546AD1}" type="parTrans" cxnId="{7E10C354-151D-4482-AE00-A79224C9B406}">
      <dgm:prSet/>
      <dgm:spPr/>
      <dgm:t>
        <a:bodyPr/>
        <a:lstStyle/>
        <a:p>
          <a:endParaRPr lang="es-ES"/>
        </a:p>
      </dgm:t>
    </dgm:pt>
    <dgm:pt modelId="{D2CF25F4-3E2A-44F3-8162-7B3FCD56350B}" type="sibTrans" cxnId="{7E10C354-151D-4482-AE00-A79224C9B406}">
      <dgm:prSet/>
      <dgm:spPr/>
      <dgm:t>
        <a:bodyPr/>
        <a:lstStyle/>
        <a:p>
          <a:endParaRPr lang="es-ES"/>
        </a:p>
      </dgm:t>
    </dgm:pt>
    <dgm:pt modelId="{E1CDB56C-A09F-4A13-B89C-1D5EDE3E180E}">
      <dgm:prSet/>
      <dgm:spPr/>
      <dgm:t>
        <a:bodyPr/>
        <a:lstStyle/>
        <a:p>
          <a:pPr>
            <a:buFont typeface="Arial" panose="020B0604020202020204" pitchFamily="34" charset="0"/>
            <a:buChar char="•"/>
          </a:pPr>
          <a:r>
            <a:rPr lang="es-ES" b="1" dirty="0"/>
            <a:t>Funcionamiento:</a:t>
          </a:r>
          <a:r>
            <a:rPr lang="es-ES" dirty="0"/>
            <a:t> Combina redes neuronales profundas con aprendizaje por refuerzo para abordar problemas más complejos.</a:t>
          </a:r>
        </a:p>
      </dgm:t>
    </dgm:pt>
    <dgm:pt modelId="{DD7A15B6-79B8-49B9-B747-71DB6060C112}" type="parTrans" cxnId="{B1A878AF-AA72-4450-BAED-8A889E389982}">
      <dgm:prSet/>
      <dgm:spPr/>
      <dgm:t>
        <a:bodyPr/>
        <a:lstStyle/>
        <a:p>
          <a:endParaRPr lang="es-ES"/>
        </a:p>
      </dgm:t>
    </dgm:pt>
    <dgm:pt modelId="{44A03F6F-62B5-45FB-BFB9-2F83317E156B}" type="sibTrans" cxnId="{B1A878AF-AA72-4450-BAED-8A889E389982}">
      <dgm:prSet/>
      <dgm:spPr/>
      <dgm:t>
        <a:bodyPr/>
        <a:lstStyle/>
        <a:p>
          <a:endParaRPr lang="es-ES"/>
        </a:p>
      </dgm:t>
    </dgm:pt>
    <dgm:pt modelId="{9B5B9137-A251-4D51-B9F2-098EC160AE5E}">
      <dgm:prSet/>
      <dgm:spPr/>
      <dgm:t>
        <a:bodyPr/>
        <a:lstStyle/>
        <a:p>
          <a:pPr>
            <a:buFont typeface="Arial" panose="020B0604020202020204" pitchFamily="34" charset="0"/>
            <a:buChar char="•"/>
          </a:pPr>
          <a:r>
            <a:rPr lang="es-ES" b="1" dirty="0"/>
            <a:t>Aplicación:</a:t>
          </a:r>
          <a:r>
            <a:rPr lang="es-ES" dirty="0"/>
            <a:t> Se utiliza en juegos como Go, Atari y en robótica avanzada.</a:t>
          </a:r>
        </a:p>
      </dgm:t>
    </dgm:pt>
    <dgm:pt modelId="{BC3FBFA3-AFA2-4C16-9444-573CAF1A008D}" type="parTrans" cxnId="{AA6B6B9A-9C4F-421B-BE31-15127B786CF4}">
      <dgm:prSet/>
      <dgm:spPr/>
      <dgm:t>
        <a:bodyPr/>
        <a:lstStyle/>
        <a:p>
          <a:endParaRPr lang="es-ES"/>
        </a:p>
      </dgm:t>
    </dgm:pt>
    <dgm:pt modelId="{C9EE3F38-A2AA-4B26-AB85-1CB738F2FEB4}" type="sibTrans" cxnId="{AA6B6B9A-9C4F-421B-BE31-15127B786CF4}">
      <dgm:prSet/>
      <dgm:spPr/>
      <dgm:t>
        <a:bodyPr/>
        <a:lstStyle/>
        <a:p>
          <a:endParaRPr lang="es-ES"/>
        </a:p>
      </dgm:t>
    </dgm:pt>
    <dgm:pt modelId="{D74BF432-2351-4E1D-A404-8DB981434412}">
      <dgm:prSet/>
      <dgm:spPr/>
      <dgm:t>
        <a:bodyPr/>
        <a:lstStyle/>
        <a:p>
          <a:pPr>
            <a:buFont typeface="Arial" panose="020B0604020202020204" pitchFamily="34" charset="0"/>
            <a:buChar char="•"/>
          </a:pPr>
          <a:r>
            <a:rPr lang="es-ES" b="1" dirty="0"/>
            <a:t>Desafíos:</a:t>
          </a:r>
          <a:r>
            <a:rPr lang="es-ES" dirty="0"/>
            <a:t> Requiere grandes cantidades de datos y poder computacional.</a:t>
          </a:r>
        </a:p>
      </dgm:t>
    </dgm:pt>
    <dgm:pt modelId="{A2870FE5-1EA8-48FF-A530-BD3F1F5B505F}" type="parTrans" cxnId="{5F7DBE5C-9BE2-4007-ABAC-01E23F959F3D}">
      <dgm:prSet/>
      <dgm:spPr/>
      <dgm:t>
        <a:bodyPr/>
        <a:lstStyle/>
        <a:p>
          <a:endParaRPr lang="es-ES"/>
        </a:p>
      </dgm:t>
    </dgm:pt>
    <dgm:pt modelId="{272DE5B7-DF58-4E17-B1FD-60B96AACA09C}" type="sibTrans" cxnId="{5F7DBE5C-9BE2-4007-ABAC-01E23F959F3D}">
      <dgm:prSet/>
      <dgm:spPr/>
      <dgm:t>
        <a:bodyPr/>
        <a:lstStyle/>
        <a:p>
          <a:endParaRPr lang="es-ES"/>
        </a:p>
      </dgm:t>
    </dgm:pt>
    <dgm:pt modelId="{8E26DA61-A28C-4F25-A249-8C66252C2AC3}" type="pres">
      <dgm:prSet presAssocID="{146603D6-CFFF-4432-97E0-9CF3185736BA}" presName="Name0" presStyleCnt="0">
        <dgm:presLayoutVars>
          <dgm:dir/>
          <dgm:animLvl val="lvl"/>
          <dgm:resizeHandles val="exact"/>
        </dgm:presLayoutVars>
      </dgm:prSet>
      <dgm:spPr/>
    </dgm:pt>
    <dgm:pt modelId="{3E80EF7D-80EA-41DF-8738-88C15217E25E}" type="pres">
      <dgm:prSet presAssocID="{895D3576-F33D-49B0-AE96-B7EE853717D1}" presName="composite" presStyleCnt="0"/>
      <dgm:spPr/>
    </dgm:pt>
    <dgm:pt modelId="{425969A9-193E-4D9C-850A-94588BB7E103}" type="pres">
      <dgm:prSet presAssocID="{895D3576-F33D-49B0-AE96-B7EE853717D1}" presName="parTx" presStyleLbl="alignNode1" presStyleIdx="0" presStyleCnt="5">
        <dgm:presLayoutVars>
          <dgm:chMax val="0"/>
          <dgm:chPref val="0"/>
          <dgm:bulletEnabled val="1"/>
        </dgm:presLayoutVars>
      </dgm:prSet>
      <dgm:spPr/>
    </dgm:pt>
    <dgm:pt modelId="{6A82D0D4-8AE0-40A2-A7FC-85F7E566FB85}" type="pres">
      <dgm:prSet presAssocID="{895D3576-F33D-49B0-AE96-B7EE853717D1}" presName="desTx" presStyleLbl="alignAccFollowNode1" presStyleIdx="0" presStyleCnt="5">
        <dgm:presLayoutVars>
          <dgm:bulletEnabled val="1"/>
        </dgm:presLayoutVars>
      </dgm:prSet>
      <dgm:spPr/>
    </dgm:pt>
    <dgm:pt modelId="{79E7DAC5-A1CD-4C2E-A609-5B4CDF8FA19E}" type="pres">
      <dgm:prSet presAssocID="{676E4C15-2233-4348-9CDC-E7F2EED2C559}" presName="space" presStyleCnt="0"/>
      <dgm:spPr/>
    </dgm:pt>
    <dgm:pt modelId="{7C61828B-C0F2-4375-83A4-5FE0D17FC714}" type="pres">
      <dgm:prSet presAssocID="{64325EC1-9C51-4F07-9A90-1281A29CB210}" presName="composite" presStyleCnt="0"/>
      <dgm:spPr/>
    </dgm:pt>
    <dgm:pt modelId="{EE3FB6B4-A7EF-438F-9E99-59DB6C7FAF1F}" type="pres">
      <dgm:prSet presAssocID="{64325EC1-9C51-4F07-9A90-1281A29CB210}" presName="parTx" presStyleLbl="alignNode1" presStyleIdx="1" presStyleCnt="5">
        <dgm:presLayoutVars>
          <dgm:chMax val="0"/>
          <dgm:chPref val="0"/>
          <dgm:bulletEnabled val="1"/>
        </dgm:presLayoutVars>
      </dgm:prSet>
      <dgm:spPr/>
    </dgm:pt>
    <dgm:pt modelId="{AB838AA5-03FB-469C-A5C3-462484F108C0}" type="pres">
      <dgm:prSet presAssocID="{64325EC1-9C51-4F07-9A90-1281A29CB210}" presName="desTx" presStyleLbl="alignAccFollowNode1" presStyleIdx="1" presStyleCnt="5">
        <dgm:presLayoutVars>
          <dgm:bulletEnabled val="1"/>
        </dgm:presLayoutVars>
      </dgm:prSet>
      <dgm:spPr/>
    </dgm:pt>
    <dgm:pt modelId="{E53959E3-FFAC-48AE-BDB0-1B7A4C317EAD}" type="pres">
      <dgm:prSet presAssocID="{C8B38A5B-8C62-4378-BF3E-012DFDF90C39}" presName="space" presStyleCnt="0"/>
      <dgm:spPr/>
    </dgm:pt>
    <dgm:pt modelId="{D8FCCD2A-675C-428E-8E56-D522A8233076}" type="pres">
      <dgm:prSet presAssocID="{083C7C4A-566D-4D04-AABD-35C7CA3E759C}" presName="composite" presStyleCnt="0"/>
      <dgm:spPr/>
    </dgm:pt>
    <dgm:pt modelId="{B145AF3F-7C9F-4B8C-BE2A-FB933CEDCF98}" type="pres">
      <dgm:prSet presAssocID="{083C7C4A-566D-4D04-AABD-35C7CA3E759C}" presName="parTx" presStyleLbl="alignNode1" presStyleIdx="2" presStyleCnt="5">
        <dgm:presLayoutVars>
          <dgm:chMax val="0"/>
          <dgm:chPref val="0"/>
          <dgm:bulletEnabled val="1"/>
        </dgm:presLayoutVars>
      </dgm:prSet>
      <dgm:spPr/>
    </dgm:pt>
    <dgm:pt modelId="{65B91BD6-B322-4619-8A26-C1AC9692AE9B}" type="pres">
      <dgm:prSet presAssocID="{083C7C4A-566D-4D04-AABD-35C7CA3E759C}" presName="desTx" presStyleLbl="alignAccFollowNode1" presStyleIdx="2" presStyleCnt="5">
        <dgm:presLayoutVars>
          <dgm:bulletEnabled val="1"/>
        </dgm:presLayoutVars>
      </dgm:prSet>
      <dgm:spPr/>
    </dgm:pt>
    <dgm:pt modelId="{FDE5014B-B73D-49F0-AA1F-3DCF51802C08}" type="pres">
      <dgm:prSet presAssocID="{7BCB6B67-212D-48FD-891A-AB9D0A86A349}" presName="space" presStyleCnt="0"/>
      <dgm:spPr/>
    </dgm:pt>
    <dgm:pt modelId="{B635FF8D-EFC2-4CA3-8768-99BAC7A83EE2}" type="pres">
      <dgm:prSet presAssocID="{E53ADEB7-B12D-49F8-8D8A-78470EE44296}" presName="composite" presStyleCnt="0"/>
      <dgm:spPr/>
    </dgm:pt>
    <dgm:pt modelId="{8ABDB8A1-A510-4826-A5B3-1062D5250861}" type="pres">
      <dgm:prSet presAssocID="{E53ADEB7-B12D-49F8-8D8A-78470EE44296}" presName="parTx" presStyleLbl="alignNode1" presStyleIdx="3" presStyleCnt="5">
        <dgm:presLayoutVars>
          <dgm:chMax val="0"/>
          <dgm:chPref val="0"/>
          <dgm:bulletEnabled val="1"/>
        </dgm:presLayoutVars>
      </dgm:prSet>
      <dgm:spPr/>
    </dgm:pt>
    <dgm:pt modelId="{E40ADE48-61A7-447F-A6EB-94373C333CFB}" type="pres">
      <dgm:prSet presAssocID="{E53ADEB7-B12D-49F8-8D8A-78470EE44296}" presName="desTx" presStyleLbl="alignAccFollowNode1" presStyleIdx="3" presStyleCnt="5">
        <dgm:presLayoutVars>
          <dgm:bulletEnabled val="1"/>
        </dgm:presLayoutVars>
      </dgm:prSet>
      <dgm:spPr/>
    </dgm:pt>
    <dgm:pt modelId="{63383537-4D10-4C1F-8145-4F3F40BB81E7}" type="pres">
      <dgm:prSet presAssocID="{4DBA864F-14A2-4C71-B219-F9A884EAF7EE}" presName="space" presStyleCnt="0"/>
      <dgm:spPr/>
    </dgm:pt>
    <dgm:pt modelId="{C83ED286-D971-44A2-8E90-3135D4A86962}" type="pres">
      <dgm:prSet presAssocID="{6429304A-E732-43CE-A6FE-43548C8E0B7E}" presName="composite" presStyleCnt="0"/>
      <dgm:spPr/>
    </dgm:pt>
    <dgm:pt modelId="{B7C0019A-0E76-433E-8933-B4A838D0C311}" type="pres">
      <dgm:prSet presAssocID="{6429304A-E732-43CE-A6FE-43548C8E0B7E}" presName="parTx" presStyleLbl="alignNode1" presStyleIdx="4" presStyleCnt="5">
        <dgm:presLayoutVars>
          <dgm:chMax val="0"/>
          <dgm:chPref val="0"/>
          <dgm:bulletEnabled val="1"/>
        </dgm:presLayoutVars>
      </dgm:prSet>
      <dgm:spPr/>
    </dgm:pt>
    <dgm:pt modelId="{CCB42678-5751-44F9-8DD1-E1EA8C354B76}" type="pres">
      <dgm:prSet presAssocID="{6429304A-E732-43CE-A6FE-43548C8E0B7E}" presName="desTx" presStyleLbl="alignAccFollowNode1" presStyleIdx="4" presStyleCnt="5">
        <dgm:presLayoutVars>
          <dgm:bulletEnabled val="1"/>
        </dgm:presLayoutVars>
      </dgm:prSet>
      <dgm:spPr/>
    </dgm:pt>
  </dgm:ptLst>
  <dgm:cxnLst>
    <dgm:cxn modelId="{0A89E212-C15F-44F1-A3FC-F7FA28AA30C9}" type="presOf" srcId="{ACE7D6C3-F876-4F21-AD2F-90528DAABDFB}" destId="{65B91BD6-B322-4619-8A26-C1AC9692AE9B}" srcOrd="0" destOrd="0" presId="urn:microsoft.com/office/officeart/2005/8/layout/hList1"/>
    <dgm:cxn modelId="{EF531016-A16B-4E37-907C-412DC14AD798}" srcId="{E53ADEB7-B12D-49F8-8D8A-78470EE44296}" destId="{DCFA596F-FE0E-4C44-8565-B8D0D93A8A11}" srcOrd="2" destOrd="0" parTransId="{01276704-BD6B-4975-9E24-7F3ABA537107}" sibTransId="{BE47672E-C692-4BFD-8619-B221B030A488}"/>
    <dgm:cxn modelId="{99A6BC1D-24F1-46D2-8904-79BC9914300F}" srcId="{146603D6-CFFF-4432-97E0-9CF3185736BA}" destId="{083C7C4A-566D-4D04-AABD-35C7CA3E759C}" srcOrd="2" destOrd="0" parTransId="{4C07DAA1-8623-4D9B-8BE3-33C6F48E1449}" sibTransId="{7BCB6B67-212D-48FD-891A-AB9D0A86A349}"/>
    <dgm:cxn modelId="{60CEB11E-9179-4935-A22E-0F0D8768BCFB}" srcId="{895D3576-F33D-49B0-AE96-B7EE853717D1}" destId="{D9A965B1-D82C-495B-8C31-E9345A683ABD}" srcOrd="2" destOrd="0" parTransId="{62600C1A-E581-4450-A428-DD786AA971FE}" sibTransId="{2C387BC6-5872-49CA-AF51-CDC54EBC730E}"/>
    <dgm:cxn modelId="{F773F11E-9790-472C-8151-BC189DB1C7B4}" type="presOf" srcId="{7D50E28D-DFC3-4867-8D6B-CE15409D4E0C}" destId="{E40ADE48-61A7-447F-A6EB-94373C333CFB}" srcOrd="0" destOrd="0" presId="urn:microsoft.com/office/officeart/2005/8/layout/hList1"/>
    <dgm:cxn modelId="{38612320-904C-4516-B7FD-36EB7016E3A7}" type="presOf" srcId="{93DC5BF8-E0F3-4EB6-A479-1EF7001EECCC}" destId="{AB838AA5-03FB-469C-A5C3-462484F108C0}" srcOrd="0" destOrd="2" presId="urn:microsoft.com/office/officeart/2005/8/layout/hList1"/>
    <dgm:cxn modelId="{CD89A425-9EA2-45E4-8E2D-F7F13739B950}" type="presOf" srcId="{14557023-EE4F-4EB3-8BCD-E0B561836DC6}" destId="{6A82D0D4-8AE0-40A2-A7FC-85F7E566FB85}" srcOrd="0" destOrd="1" presId="urn:microsoft.com/office/officeart/2005/8/layout/hList1"/>
    <dgm:cxn modelId="{EAFF222A-A795-4D29-8A75-C8438CABA2DC}" srcId="{083C7C4A-566D-4D04-AABD-35C7CA3E759C}" destId="{ACE7D6C3-F876-4F21-AD2F-90528DAABDFB}" srcOrd="0" destOrd="0" parTransId="{447B8DE3-DD08-4FD3-B36F-D805929AF55B}" sibTransId="{714AF963-7660-468B-ABB3-1F9112D3C161}"/>
    <dgm:cxn modelId="{83E63331-10F3-4B93-8D61-4DFA46ED382E}" type="presOf" srcId="{E1CDB56C-A09F-4A13-B89C-1D5EDE3E180E}" destId="{CCB42678-5751-44F9-8DD1-E1EA8C354B76}" srcOrd="0" destOrd="0" presId="urn:microsoft.com/office/officeart/2005/8/layout/hList1"/>
    <dgm:cxn modelId="{8414F137-435C-4DFE-A0EE-24AA8C411062}" type="presOf" srcId="{D9A965B1-D82C-495B-8C31-E9345A683ABD}" destId="{6A82D0D4-8AE0-40A2-A7FC-85F7E566FB85}" srcOrd="0" destOrd="2" presId="urn:microsoft.com/office/officeart/2005/8/layout/hList1"/>
    <dgm:cxn modelId="{E6DF573A-CE26-459F-97C9-3A782D82885D}" type="presOf" srcId="{895D3576-F33D-49B0-AE96-B7EE853717D1}" destId="{425969A9-193E-4D9C-850A-94588BB7E103}" srcOrd="0" destOrd="0" presId="urn:microsoft.com/office/officeart/2005/8/layout/hList1"/>
    <dgm:cxn modelId="{353EF63D-1DEB-422B-99B9-D3E3064FDAA7}" type="presOf" srcId="{3169AE59-D539-4CD1-B20B-FA8FAAD45667}" destId="{AB838AA5-03FB-469C-A5C3-462484F108C0}" srcOrd="0" destOrd="1" presId="urn:microsoft.com/office/officeart/2005/8/layout/hList1"/>
    <dgm:cxn modelId="{7D91805B-E57F-4172-928F-15558BAD2609}" type="presOf" srcId="{09624ECD-1AC3-4E6D-94A6-CF0DE8DFE009}" destId="{E40ADE48-61A7-447F-A6EB-94373C333CFB}" srcOrd="0" destOrd="1" presId="urn:microsoft.com/office/officeart/2005/8/layout/hList1"/>
    <dgm:cxn modelId="{5F7DBE5C-9BE2-4007-ABAC-01E23F959F3D}" srcId="{6429304A-E732-43CE-A6FE-43548C8E0B7E}" destId="{D74BF432-2351-4E1D-A404-8DB981434412}" srcOrd="2" destOrd="0" parTransId="{A2870FE5-1EA8-48FF-A530-BD3F1F5B505F}" sibTransId="{272DE5B7-DF58-4E17-B1FD-60B96AACA09C}"/>
    <dgm:cxn modelId="{584C7D64-AC79-4B5D-9A1E-CCB90A58F159}" type="presOf" srcId="{5C1690BC-9541-4A80-ACEB-491AAE0D1E8E}" destId="{65B91BD6-B322-4619-8A26-C1AC9692AE9B}" srcOrd="0" destOrd="1" presId="urn:microsoft.com/office/officeart/2005/8/layout/hList1"/>
    <dgm:cxn modelId="{52470168-A95D-46FF-9F0B-53781F5B2D02}" type="presOf" srcId="{9B5B9137-A251-4D51-B9F2-098EC160AE5E}" destId="{CCB42678-5751-44F9-8DD1-E1EA8C354B76}" srcOrd="0" destOrd="1" presId="urn:microsoft.com/office/officeart/2005/8/layout/hList1"/>
    <dgm:cxn modelId="{4A43C048-0C26-4D5D-B47B-02EE3FB19711}" srcId="{083C7C4A-566D-4D04-AABD-35C7CA3E759C}" destId="{5C1690BC-9541-4A80-ACEB-491AAE0D1E8E}" srcOrd="1" destOrd="0" parTransId="{723FBF38-6B1E-4CD2-8242-E67D66CF3E45}" sibTransId="{D25DDDEB-6FC1-4931-BFB7-D4673F6B94AA}"/>
    <dgm:cxn modelId="{6D8C656A-A3A3-4D8D-B8FE-19E3A98255FB}" srcId="{895D3576-F33D-49B0-AE96-B7EE853717D1}" destId="{94AE610C-08C1-4CD0-B104-FF39D57C77F2}" srcOrd="0" destOrd="0" parTransId="{DBC655D3-5941-41EC-A947-4252FC5C879D}" sibTransId="{05FBB63E-FD23-47ED-918B-EEE521274C5E}"/>
    <dgm:cxn modelId="{32249F4B-DA5A-4E10-8D82-875BF88B1EE6}" srcId="{64325EC1-9C51-4F07-9A90-1281A29CB210}" destId="{3169AE59-D539-4CD1-B20B-FA8FAAD45667}" srcOrd="1" destOrd="0" parTransId="{98FA8903-7C29-470A-AD2B-42BD3E93077E}" sibTransId="{0B397057-9A30-43A0-A64B-2A35DA6E8C2D}"/>
    <dgm:cxn modelId="{887FD852-0E90-42F7-92A7-F46968EAE229}" srcId="{083C7C4A-566D-4D04-AABD-35C7CA3E759C}" destId="{44CCC4C4-FA2C-4D26-8C25-543F34E13C19}" srcOrd="2" destOrd="0" parTransId="{D75BFE8E-CA27-4272-B9F5-BCEE463C34A8}" sibTransId="{E23F2BD3-C7D7-41D9-AA2F-ABD38E65E04F}"/>
    <dgm:cxn modelId="{5D339A53-04AD-4828-816A-AD9899104336}" type="presOf" srcId="{64325EC1-9C51-4F07-9A90-1281A29CB210}" destId="{EE3FB6B4-A7EF-438F-9E99-59DB6C7FAF1F}" srcOrd="0" destOrd="0" presId="urn:microsoft.com/office/officeart/2005/8/layout/hList1"/>
    <dgm:cxn modelId="{7E10C354-151D-4482-AE00-A79224C9B406}" srcId="{146603D6-CFFF-4432-97E0-9CF3185736BA}" destId="{6429304A-E732-43CE-A6FE-43548C8E0B7E}" srcOrd="4" destOrd="0" parTransId="{087AAD9C-A81B-406B-B778-4F13FC546AD1}" sibTransId="{D2CF25F4-3E2A-44F3-8162-7B3FCD56350B}"/>
    <dgm:cxn modelId="{62E04776-4ACD-4B1B-BD80-B0CE3D3B9094}" type="presOf" srcId="{146603D6-CFFF-4432-97E0-9CF3185736BA}" destId="{8E26DA61-A28C-4F25-A249-8C66252C2AC3}" srcOrd="0" destOrd="0" presId="urn:microsoft.com/office/officeart/2005/8/layout/hList1"/>
    <dgm:cxn modelId="{C9F8877C-400A-4A96-830C-76FAB8B51BBB}" type="presOf" srcId="{C823EF29-3D28-490A-BEC3-5CEBC24A6A07}" destId="{AB838AA5-03FB-469C-A5C3-462484F108C0}" srcOrd="0" destOrd="0" presId="urn:microsoft.com/office/officeart/2005/8/layout/hList1"/>
    <dgm:cxn modelId="{9462107E-8A8B-4F15-870F-7E5794A2A621}" type="presOf" srcId="{6429304A-E732-43CE-A6FE-43548C8E0B7E}" destId="{B7C0019A-0E76-433E-8933-B4A838D0C311}" srcOrd="0" destOrd="0" presId="urn:microsoft.com/office/officeart/2005/8/layout/hList1"/>
    <dgm:cxn modelId="{4428E280-947D-4CDF-90CC-6B1B760FBB4D}" srcId="{146603D6-CFFF-4432-97E0-9CF3185736BA}" destId="{E53ADEB7-B12D-49F8-8D8A-78470EE44296}" srcOrd="3" destOrd="0" parTransId="{612BC022-18C9-4399-A9F9-816B07A1EE05}" sibTransId="{4DBA864F-14A2-4C71-B219-F9A884EAF7EE}"/>
    <dgm:cxn modelId="{AA6B6B9A-9C4F-421B-BE31-15127B786CF4}" srcId="{6429304A-E732-43CE-A6FE-43548C8E0B7E}" destId="{9B5B9137-A251-4D51-B9F2-098EC160AE5E}" srcOrd="1" destOrd="0" parTransId="{BC3FBFA3-AFA2-4C16-9444-573CAF1A008D}" sibTransId="{C9EE3F38-A2AA-4B26-AB85-1CB738F2FEB4}"/>
    <dgm:cxn modelId="{761EC19A-DA21-4E59-90A2-0A31B31AEBEC}" srcId="{E53ADEB7-B12D-49F8-8D8A-78470EE44296}" destId="{09624ECD-1AC3-4E6D-94A6-CF0DE8DFE009}" srcOrd="1" destOrd="0" parTransId="{A79BE5EE-E019-4CFE-AC50-B652257E9890}" sibTransId="{3A9F4A11-92A0-43CE-B3B1-484F663DCC39}"/>
    <dgm:cxn modelId="{4B9E519C-8BE6-42A8-8900-85C17AE272A8}" type="presOf" srcId="{E53ADEB7-B12D-49F8-8D8A-78470EE44296}" destId="{8ABDB8A1-A510-4826-A5B3-1062D5250861}" srcOrd="0" destOrd="0" presId="urn:microsoft.com/office/officeart/2005/8/layout/hList1"/>
    <dgm:cxn modelId="{F719C39C-B966-407D-9CF5-EE505D46AEC8}" type="presOf" srcId="{D74BF432-2351-4E1D-A404-8DB981434412}" destId="{CCB42678-5751-44F9-8DD1-E1EA8C354B76}" srcOrd="0" destOrd="2" presId="urn:microsoft.com/office/officeart/2005/8/layout/hList1"/>
    <dgm:cxn modelId="{B1A878AF-AA72-4450-BAED-8A889E389982}" srcId="{6429304A-E732-43CE-A6FE-43548C8E0B7E}" destId="{E1CDB56C-A09F-4A13-B89C-1D5EDE3E180E}" srcOrd="0" destOrd="0" parTransId="{DD7A15B6-79B8-49B9-B747-71DB6060C112}" sibTransId="{44A03F6F-62B5-45FB-BFB9-2F83317E156B}"/>
    <dgm:cxn modelId="{565F2BB0-47CB-40CD-B8B3-7F010F4121CB}" srcId="{895D3576-F33D-49B0-AE96-B7EE853717D1}" destId="{14557023-EE4F-4EB3-8BCD-E0B561836DC6}" srcOrd="1" destOrd="0" parTransId="{D73B3236-0ACC-4392-BD77-20A4DD342969}" sibTransId="{533934F1-B0C6-4A59-9276-F24260BBDA8A}"/>
    <dgm:cxn modelId="{ABD5B1B3-C348-4057-8A63-E2DD8CEE9B69}" type="presOf" srcId="{94AE610C-08C1-4CD0-B104-FF39D57C77F2}" destId="{6A82D0D4-8AE0-40A2-A7FC-85F7E566FB85}" srcOrd="0" destOrd="0" presId="urn:microsoft.com/office/officeart/2005/8/layout/hList1"/>
    <dgm:cxn modelId="{6315F7B3-885C-4C0C-844E-32A30CE6B5A5}" srcId="{E53ADEB7-B12D-49F8-8D8A-78470EE44296}" destId="{7D50E28D-DFC3-4867-8D6B-CE15409D4E0C}" srcOrd="0" destOrd="0" parTransId="{78D2E2A7-E3C3-456F-BCC4-341EA6D9F4E1}" sibTransId="{8E1D3A5F-2E3B-4B4F-92C1-21006E21C30D}"/>
    <dgm:cxn modelId="{05F4CDB8-FD2D-4EBC-B2E7-887427A4646D}" srcId="{64325EC1-9C51-4F07-9A90-1281A29CB210}" destId="{93DC5BF8-E0F3-4EB6-A479-1EF7001EECCC}" srcOrd="2" destOrd="0" parTransId="{EA75C903-C768-4197-A963-9BD9E2F65D5F}" sibTransId="{43A4B2C0-4DC0-4C64-956B-34CF59401976}"/>
    <dgm:cxn modelId="{CBC5FDB9-3919-434F-BD25-D7355083554D}" type="presOf" srcId="{083C7C4A-566D-4D04-AABD-35C7CA3E759C}" destId="{B145AF3F-7C9F-4B8C-BE2A-FB933CEDCF98}" srcOrd="0" destOrd="0" presId="urn:microsoft.com/office/officeart/2005/8/layout/hList1"/>
    <dgm:cxn modelId="{C2DF54CF-0277-4A1C-987B-34B5552D9577}" type="presOf" srcId="{44CCC4C4-FA2C-4D26-8C25-543F34E13C19}" destId="{65B91BD6-B322-4619-8A26-C1AC9692AE9B}" srcOrd="0" destOrd="2" presId="urn:microsoft.com/office/officeart/2005/8/layout/hList1"/>
    <dgm:cxn modelId="{B2EB4FDA-C2FD-4AD7-A61A-A40E4C7E32CA}" srcId="{146603D6-CFFF-4432-97E0-9CF3185736BA}" destId="{895D3576-F33D-49B0-AE96-B7EE853717D1}" srcOrd="0" destOrd="0" parTransId="{5BA8991C-91A9-4CA8-ABC8-8D1F0E664630}" sibTransId="{676E4C15-2233-4348-9CDC-E7F2EED2C559}"/>
    <dgm:cxn modelId="{1CCEEBDA-CD45-4D8D-A2C8-80EFBD4EB0EB}" srcId="{146603D6-CFFF-4432-97E0-9CF3185736BA}" destId="{64325EC1-9C51-4F07-9A90-1281A29CB210}" srcOrd="1" destOrd="0" parTransId="{B562F844-6692-4E3C-9115-8FA3463EA768}" sibTransId="{C8B38A5B-8C62-4378-BF3E-012DFDF90C39}"/>
    <dgm:cxn modelId="{1AB687DF-AD24-436B-879C-86D6D4B5F778}" type="presOf" srcId="{DCFA596F-FE0E-4C44-8565-B8D0D93A8A11}" destId="{E40ADE48-61A7-447F-A6EB-94373C333CFB}" srcOrd="0" destOrd="2" presId="urn:microsoft.com/office/officeart/2005/8/layout/hList1"/>
    <dgm:cxn modelId="{CA75E6FE-82F9-498B-ACED-A743C9A4BA29}" srcId="{64325EC1-9C51-4F07-9A90-1281A29CB210}" destId="{C823EF29-3D28-490A-BEC3-5CEBC24A6A07}" srcOrd="0" destOrd="0" parTransId="{447B0C1A-EF85-4AA5-9D29-DABE9F7B2BEF}" sibTransId="{D4E36AB3-4E41-4F14-A4F8-BAF57524B4F8}"/>
    <dgm:cxn modelId="{958B56E8-7E4D-4838-A5E2-DBB4DAADBD9F}" type="presParOf" srcId="{8E26DA61-A28C-4F25-A249-8C66252C2AC3}" destId="{3E80EF7D-80EA-41DF-8738-88C15217E25E}" srcOrd="0" destOrd="0" presId="urn:microsoft.com/office/officeart/2005/8/layout/hList1"/>
    <dgm:cxn modelId="{FFDFDB04-671A-4951-B143-25FF4212D587}" type="presParOf" srcId="{3E80EF7D-80EA-41DF-8738-88C15217E25E}" destId="{425969A9-193E-4D9C-850A-94588BB7E103}" srcOrd="0" destOrd="0" presId="urn:microsoft.com/office/officeart/2005/8/layout/hList1"/>
    <dgm:cxn modelId="{13167094-B624-4C67-8E9E-2BE30A88281A}" type="presParOf" srcId="{3E80EF7D-80EA-41DF-8738-88C15217E25E}" destId="{6A82D0D4-8AE0-40A2-A7FC-85F7E566FB85}" srcOrd="1" destOrd="0" presId="urn:microsoft.com/office/officeart/2005/8/layout/hList1"/>
    <dgm:cxn modelId="{C687B58D-65C8-47FE-8A56-8C0CEEB67DAE}" type="presParOf" srcId="{8E26DA61-A28C-4F25-A249-8C66252C2AC3}" destId="{79E7DAC5-A1CD-4C2E-A609-5B4CDF8FA19E}" srcOrd="1" destOrd="0" presId="urn:microsoft.com/office/officeart/2005/8/layout/hList1"/>
    <dgm:cxn modelId="{524EE79B-C4AD-401C-A752-72461437569D}" type="presParOf" srcId="{8E26DA61-A28C-4F25-A249-8C66252C2AC3}" destId="{7C61828B-C0F2-4375-83A4-5FE0D17FC714}" srcOrd="2" destOrd="0" presId="urn:microsoft.com/office/officeart/2005/8/layout/hList1"/>
    <dgm:cxn modelId="{E59A4912-DFBF-48C9-9381-23600508D574}" type="presParOf" srcId="{7C61828B-C0F2-4375-83A4-5FE0D17FC714}" destId="{EE3FB6B4-A7EF-438F-9E99-59DB6C7FAF1F}" srcOrd="0" destOrd="0" presId="urn:microsoft.com/office/officeart/2005/8/layout/hList1"/>
    <dgm:cxn modelId="{47DB3F3F-6B82-41C9-90FE-0AA47E490F15}" type="presParOf" srcId="{7C61828B-C0F2-4375-83A4-5FE0D17FC714}" destId="{AB838AA5-03FB-469C-A5C3-462484F108C0}" srcOrd="1" destOrd="0" presId="urn:microsoft.com/office/officeart/2005/8/layout/hList1"/>
    <dgm:cxn modelId="{3838C09A-D2CE-43B5-9D0B-3B6C5E32B699}" type="presParOf" srcId="{8E26DA61-A28C-4F25-A249-8C66252C2AC3}" destId="{E53959E3-FFAC-48AE-BDB0-1B7A4C317EAD}" srcOrd="3" destOrd="0" presId="urn:microsoft.com/office/officeart/2005/8/layout/hList1"/>
    <dgm:cxn modelId="{315DF887-1496-49AE-B034-D0A775E86974}" type="presParOf" srcId="{8E26DA61-A28C-4F25-A249-8C66252C2AC3}" destId="{D8FCCD2A-675C-428E-8E56-D522A8233076}" srcOrd="4" destOrd="0" presId="urn:microsoft.com/office/officeart/2005/8/layout/hList1"/>
    <dgm:cxn modelId="{7C9B2AC7-2E73-45E8-852B-1741D5A67675}" type="presParOf" srcId="{D8FCCD2A-675C-428E-8E56-D522A8233076}" destId="{B145AF3F-7C9F-4B8C-BE2A-FB933CEDCF98}" srcOrd="0" destOrd="0" presId="urn:microsoft.com/office/officeart/2005/8/layout/hList1"/>
    <dgm:cxn modelId="{0DD8F3B5-C094-4D57-B86B-3346898B967A}" type="presParOf" srcId="{D8FCCD2A-675C-428E-8E56-D522A8233076}" destId="{65B91BD6-B322-4619-8A26-C1AC9692AE9B}" srcOrd="1" destOrd="0" presId="urn:microsoft.com/office/officeart/2005/8/layout/hList1"/>
    <dgm:cxn modelId="{87206BDF-E09B-48F2-827C-3027E92DC171}" type="presParOf" srcId="{8E26DA61-A28C-4F25-A249-8C66252C2AC3}" destId="{FDE5014B-B73D-49F0-AA1F-3DCF51802C08}" srcOrd="5" destOrd="0" presId="urn:microsoft.com/office/officeart/2005/8/layout/hList1"/>
    <dgm:cxn modelId="{644EEC3C-C85B-4FF2-86E6-AA422A3CDDBF}" type="presParOf" srcId="{8E26DA61-A28C-4F25-A249-8C66252C2AC3}" destId="{B635FF8D-EFC2-4CA3-8768-99BAC7A83EE2}" srcOrd="6" destOrd="0" presId="urn:microsoft.com/office/officeart/2005/8/layout/hList1"/>
    <dgm:cxn modelId="{CD584329-35CD-4771-8635-9A4DD18A20ED}" type="presParOf" srcId="{B635FF8D-EFC2-4CA3-8768-99BAC7A83EE2}" destId="{8ABDB8A1-A510-4826-A5B3-1062D5250861}" srcOrd="0" destOrd="0" presId="urn:microsoft.com/office/officeart/2005/8/layout/hList1"/>
    <dgm:cxn modelId="{88C2F816-D213-4157-9318-747963300069}" type="presParOf" srcId="{B635FF8D-EFC2-4CA3-8768-99BAC7A83EE2}" destId="{E40ADE48-61A7-447F-A6EB-94373C333CFB}" srcOrd="1" destOrd="0" presId="urn:microsoft.com/office/officeart/2005/8/layout/hList1"/>
    <dgm:cxn modelId="{646FF526-526F-4A5F-934B-AC3B1BDA633F}" type="presParOf" srcId="{8E26DA61-A28C-4F25-A249-8C66252C2AC3}" destId="{63383537-4D10-4C1F-8145-4F3F40BB81E7}" srcOrd="7" destOrd="0" presId="urn:microsoft.com/office/officeart/2005/8/layout/hList1"/>
    <dgm:cxn modelId="{350BE92F-27D8-46B8-8270-39893030A895}" type="presParOf" srcId="{8E26DA61-A28C-4F25-A249-8C66252C2AC3}" destId="{C83ED286-D971-44A2-8E90-3135D4A86962}" srcOrd="8" destOrd="0" presId="urn:microsoft.com/office/officeart/2005/8/layout/hList1"/>
    <dgm:cxn modelId="{0D1F5DE5-4E76-46F0-A995-389AE6928D72}" type="presParOf" srcId="{C83ED286-D971-44A2-8E90-3135D4A86962}" destId="{B7C0019A-0E76-433E-8933-B4A838D0C311}" srcOrd="0" destOrd="0" presId="urn:microsoft.com/office/officeart/2005/8/layout/hList1"/>
    <dgm:cxn modelId="{A65339D4-2133-46DF-9478-570B1AAE4FF1}" type="presParOf" srcId="{C83ED286-D971-44A2-8E90-3135D4A86962}" destId="{CCB42678-5751-44F9-8DD1-E1EA8C354B7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791D755E-DEA1-40AB-84A7-D62F387CAFE3}" type="doc">
      <dgm:prSet loTypeId="urn:microsoft.com/office/officeart/2008/layout/PictureLineup" loCatId="picture" qsTypeId="urn:microsoft.com/office/officeart/2005/8/quickstyle/simple1" qsCatId="simple" csTypeId="urn:microsoft.com/office/officeart/2005/8/colors/accent0_3" csCatId="mainScheme" phldr="1"/>
      <dgm:spPr/>
      <dgm:t>
        <a:bodyPr/>
        <a:lstStyle/>
        <a:p>
          <a:endParaRPr lang="es-ES"/>
        </a:p>
      </dgm:t>
    </dgm:pt>
    <dgm:pt modelId="{18FA4415-AB8B-4725-A267-291D04B460FA}">
      <dgm:prSet phldrT="[Texto]"/>
      <dgm:spPr/>
      <dgm:t>
        <a:bodyPr/>
        <a:lstStyle/>
        <a:p>
          <a:r>
            <a:rPr lang="es-ES" dirty="0"/>
            <a:t>Chat GPT</a:t>
          </a:r>
        </a:p>
      </dgm:t>
    </dgm:pt>
    <dgm:pt modelId="{277D954A-240E-4892-80D4-29451A3BB4D7}" type="parTrans" cxnId="{663B13BB-02F2-430F-B5D2-BB042CD06BAD}">
      <dgm:prSet/>
      <dgm:spPr/>
      <dgm:t>
        <a:bodyPr/>
        <a:lstStyle/>
        <a:p>
          <a:endParaRPr lang="es-ES"/>
        </a:p>
      </dgm:t>
    </dgm:pt>
    <dgm:pt modelId="{B8E363F7-7D50-491A-9728-6F24519177A9}" type="sibTrans" cxnId="{663B13BB-02F2-430F-B5D2-BB042CD06BAD}">
      <dgm:prSet/>
      <dgm:spPr/>
      <dgm:t>
        <a:bodyPr/>
        <a:lstStyle/>
        <a:p>
          <a:endParaRPr lang="es-ES"/>
        </a:p>
      </dgm:t>
    </dgm:pt>
    <dgm:pt modelId="{3EB5801D-57EE-401E-A43B-B48768B5FD83}">
      <dgm:prSet/>
      <dgm:spPr/>
      <dgm:t>
        <a:bodyPr/>
        <a:lstStyle/>
        <a:p>
          <a:r>
            <a:rPr lang="es-ES" dirty="0"/>
            <a:t>Open AI y Microsoft</a:t>
          </a:r>
        </a:p>
      </dgm:t>
    </dgm:pt>
    <dgm:pt modelId="{73860919-DACB-44E6-8DCE-730D285FE327}" type="parTrans" cxnId="{A44CCFEB-CCC1-4731-AE01-5504473BBB8E}">
      <dgm:prSet/>
      <dgm:spPr/>
      <dgm:t>
        <a:bodyPr/>
        <a:lstStyle/>
        <a:p>
          <a:endParaRPr lang="es-ES"/>
        </a:p>
      </dgm:t>
    </dgm:pt>
    <dgm:pt modelId="{B3801CC5-2532-41AE-9E5E-2A11BDC8EE11}" type="sibTrans" cxnId="{A44CCFEB-CCC1-4731-AE01-5504473BBB8E}">
      <dgm:prSet/>
      <dgm:spPr/>
      <dgm:t>
        <a:bodyPr/>
        <a:lstStyle/>
        <a:p>
          <a:endParaRPr lang="es-ES"/>
        </a:p>
      </dgm:t>
    </dgm:pt>
    <dgm:pt modelId="{BD4F6FF8-E4FA-498F-B4EA-B5CF159E458F}">
      <dgm:prSet/>
      <dgm:spPr/>
      <dgm:t>
        <a:bodyPr/>
        <a:lstStyle/>
        <a:p>
          <a:r>
            <a:rPr lang="es-ES" dirty="0"/>
            <a:t>Google Gemini</a:t>
          </a:r>
        </a:p>
      </dgm:t>
    </dgm:pt>
    <dgm:pt modelId="{D6EF2D2F-8B5E-4816-8E9C-26E6D66A03CF}" type="parTrans" cxnId="{D5FFAC49-2180-4725-A2AE-DA6C6309C59F}">
      <dgm:prSet/>
      <dgm:spPr/>
      <dgm:t>
        <a:bodyPr/>
        <a:lstStyle/>
        <a:p>
          <a:endParaRPr lang="es-ES"/>
        </a:p>
      </dgm:t>
    </dgm:pt>
    <dgm:pt modelId="{3D8B4E76-8DBF-4C2F-B4CB-5514C1B4D326}" type="sibTrans" cxnId="{D5FFAC49-2180-4725-A2AE-DA6C6309C59F}">
      <dgm:prSet/>
      <dgm:spPr/>
      <dgm:t>
        <a:bodyPr/>
        <a:lstStyle/>
        <a:p>
          <a:endParaRPr lang="es-ES"/>
        </a:p>
      </dgm:t>
    </dgm:pt>
    <dgm:pt modelId="{3ADD01D5-ADEF-4B11-A091-AC0674D3980D}">
      <dgm:prSet/>
      <dgm:spPr/>
      <dgm:t>
        <a:bodyPr/>
        <a:lstStyle/>
        <a:p>
          <a:r>
            <a:rPr lang="es-ES" dirty="0"/>
            <a:t>Google</a:t>
          </a:r>
        </a:p>
      </dgm:t>
    </dgm:pt>
    <dgm:pt modelId="{0CAE8B5F-B810-4B84-8C2E-9EC1E9266438}" type="parTrans" cxnId="{EFABAD7B-A6B9-4917-9575-FCA8FF0D34AE}">
      <dgm:prSet/>
      <dgm:spPr/>
      <dgm:t>
        <a:bodyPr/>
        <a:lstStyle/>
        <a:p>
          <a:endParaRPr lang="es-ES"/>
        </a:p>
      </dgm:t>
    </dgm:pt>
    <dgm:pt modelId="{95DE4106-300B-478D-88C5-81C4A9A1529D}" type="sibTrans" cxnId="{EFABAD7B-A6B9-4917-9575-FCA8FF0D34AE}">
      <dgm:prSet/>
      <dgm:spPr/>
      <dgm:t>
        <a:bodyPr/>
        <a:lstStyle/>
        <a:p>
          <a:endParaRPr lang="es-ES"/>
        </a:p>
      </dgm:t>
    </dgm:pt>
    <dgm:pt modelId="{F2C49516-A9E0-4AD3-ACD7-C0D326299F2A}">
      <dgm:prSet/>
      <dgm:spPr/>
      <dgm:t>
        <a:bodyPr/>
        <a:lstStyle/>
        <a:p>
          <a:r>
            <a:rPr lang="es-ES" dirty="0"/>
            <a:t>Entrenado a una fecha 2023</a:t>
          </a:r>
        </a:p>
      </dgm:t>
    </dgm:pt>
    <dgm:pt modelId="{FF98DA7F-4EE6-463F-B487-50DB1743613B}" type="parTrans" cxnId="{B4772ED6-3E5D-4FCF-953F-46CD499F7F88}">
      <dgm:prSet/>
      <dgm:spPr/>
      <dgm:t>
        <a:bodyPr/>
        <a:lstStyle/>
        <a:p>
          <a:endParaRPr lang="es-ES"/>
        </a:p>
      </dgm:t>
    </dgm:pt>
    <dgm:pt modelId="{76CE9FFE-7E66-4D30-9B40-22A88A72C1A8}" type="sibTrans" cxnId="{B4772ED6-3E5D-4FCF-953F-46CD499F7F88}">
      <dgm:prSet/>
      <dgm:spPr/>
      <dgm:t>
        <a:bodyPr/>
        <a:lstStyle/>
        <a:p>
          <a:endParaRPr lang="es-ES"/>
        </a:p>
      </dgm:t>
    </dgm:pt>
    <dgm:pt modelId="{35A2B25F-8613-4A37-8E98-2FBB115346AD}">
      <dgm:prSet/>
      <dgm:spPr/>
      <dgm:t>
        <a:bodyPr/>
        <a:lstStyle/>
        <a:p>
          <a:r>
            <a:rPr lang="es-ES" dirty="0"/>
            <a:t>Va a internet es decir es actual</a:t>
          </a:r>
        </a:p>
      </dgm:t>
    </dgm:pt>
    <dgm:pt modelId="{A0CD39D2-9972-4722-B9FD-B579A8370B24}" type="parTrans" cxnId="{01B35EEE-6E58-4676-812D-8861CB4F20C3}">
      <dgm:prSet/>
      <dgm:spPr/>
      <dgm:t>
        <a:bodyPr/>
        <a:lstStyle/>
        <a:p>
          <a:endParaRPr lang="es-ES"/>
        </a:p>
      </dgm:t>
    </dgm:pt>
    <dgm:pt modelId="{1DDF1F65-8CE3-413C-AFE9-08CA28E01EC4}" type="sibTrans" cxnId="{01B35EEE-6E58-4676-812D-8861CB4F20C3}">
      <dgm:prSet/>
      <dgm:spPr/>
      <dgm:t>
        <a:bodyPr/>
        <a:lstStyle/>
        <a:p>
          <a:endParaRPr lang="es-ES"/>
        </a:p>
      </dgm:t>
    </dgm:pt>
    <dgm:pt modelId="{5032DCA3-2806-49BC-92A1-A05C888FF22F}">
      <dgm:prSet/>
      <dgm:spPr/>
      <dgm:t>
        <a:bodyPr/>
        <a:lstStyle/>
        <a:p>
          <a:r>
            <a:rPr lang="es-ES" dirty="0"/>
            <a:t>Si no sabe, se inventa cosas.</a:t>
          </a:r>
        </a:p>
      </dgm:t>
    </dgm:pt>
    <dgm:pt modelId="{5E5FDAAA-0BD7-4B1B-B172-C2A0D6BB9BA2}" type="parTrans" cxnId="{D32C2BA8-9863-4C29-BA86-4736300EEDE1}">
      <dgm:prSet/>
      <dgm:spPr/>
      <dgm:t>
        <a:bodyPr/>
        <a:lstStyle/>
        <a:p>
          <a:endParaRPr lang="es-ES"/>
        </a:p>
      </dgm:t>
    </dgm:pt>
    <dgm:pt modelId="{062447DA-FCE1-4BEE-A033-279569D44666}" type="sibTrans" cxnId="{D32C2BA8-9863-4C29-BA86-4736300EEDE1}">
      <dgm:prSet/>
      <dgm:spPr/>
      <dgm:t>
        <a:bodyPr/>
        <a:lstStyle/>
        <a:p>
          <a:endParaRPr lang="es-ES"/>
        </a:p>
      </dgm:t>
    </dgm:pt>
    <dgm:pt modelId="{16C26928-B7C1-45D5-931C-828162E2894C}">
      <dgm:prSet/>
      <dgm:spPr/>
      <dgm:t>
        <a:bodyPr/>
        <a:lstStyle/>
        <a:p>
          <a:r>
            <a:rPr lang="es-ES" dirty="0"/>
            <a:t>Si no sabe lo suele decir.</a:t>
          </a:r>
        </a:p>
      </dgm:t>
    </dgm:pt>
    <dgm:pt modelId="{6F7DDEE0-A847-43A6-B3DC-B7E4B90705AF}" type="parTrans" cxnId="{E8853F05-4D31-4CA6-A5CE-6D75BB8AE2F0}">
      <dgm:prSet/>
      <dgm:spPr/>
      <dgm:t>
        <a:bodyPr/>
        <a:lstStyle/>
        <a:p>
          <a:endParaRPr lang="es-ES"/>
        </a:p>
      </dgm:t>
    </dgm:pt>
    <dgm:pt modelId="{C2D0FAAF-1CC6-40E2-99F4-F4D47F658609}" type="sibTrans" cxnId="{E8853F05-4D31-4CA6-A5CE-6D75BB8AE2F0}">
      <dgm:prSet/>
      <dgm:spPr/>
      <dgm:t>
        <a:bodyPr/>
        <a:lstStyle/>
        <a:p>
          <a:endParaRPr lang="es-ES"/>
        </a:p>
      </dgm:t>
    </dgm:pt>
    <dgm:pt modelId="{0778509F-D141-42C9-931E-9E9C8F6FC4CF}">
      <dgm:prSet/>
      <dgm:spPr/>
      <dgm:t>
        <a:bodyPr/>
        <a:lstStyle/>
        <a:p>
          <a:r>
            <a:rPr lang="es-ES" dirty="0"/>
            <a:t>Satya Nadella, Elon Musk, Sam Altman.</a:t>
          </a:r>
        </a:p>
      </dgm:t>
    </dgm:pt>
    <dgm:pt modelId="{639B4575-8A75-4F35-8F9F-CFD5B3710264}" type="parTrans" cxnId="{C31732E6-A5D1-46CF-8B0E-53E434B50494}">
      <dgm:prSet/>
      <dgm:spPr/>
    </dgm:pt>
    <dgm:pt modelId="{9C5AE91E-EC25-48F2-8C3E-DD96FDF90356}" type="sibTrans" cxnId="{C31732E6-A5D1-46CF-8B0E-53E434B50494}">
      <dgm:prSet/>
      <dgm:spPr/>
    </dgm:pt>
    <dgm:pt modelId="{EAB67B93-A757-4C85-B827-F76C39619870}">
      <dgm:prSet/>
      <dgm:spPr/>
      <dgm:t>
        <a:bodyPr/>
        <a:lstStyle/>
        <a:p>
          <a:endParaRPr lang="es-ES" dirty="0"/>
        </a:p>
      </dgm:t>
    </dgm:pt>
    <dgm:pt modelId="{FDDB9A79-5BE6-4D00-B3C8-70BA3255C72D}" type="parTrans" cxnId="{91805498-F595-4FEC-9D89-F242A3D1C8B9}">
      <dgm:prSet/>
      <dgm:spPr/>
    </dgm:pt>
    <dgm:pt modelId="{BD269FE3-0A6B-4A12-A1DC-C6B0B04DE98C}" type="sibTrans" cxnId="{91805498-F595-4FEC-9D89-F242A3D1C8B9}">
      <dgm:prSet/>
      <dgm:spPr/>
    </dgm:pt>
    <dgm:pt modelId="{272E32AC-2F03-41D3-8648-34D18A50C4B8}">
      <dgm:prSet/>
      <dgm:spPr/>
      <dgm:t>
        <a:bodyPr/>
        <a:lstStyle/>
        <a:p>
          <a:endParaRPr lang="es-ES" dirty="0"/>
        </a:p>
      </dgm:t>
    </dgm:pt>
    <dgm:pt modelId="{D8FA486E-4D29-418F-BE2F-EF1309355947}" type="parTrans" cxnId="{070CCA24-007C-41B5-A834-76E92008F52D}">
      <dgm:prSet/>
      <dgm:spPr/>
    </dgm:pt>
    <dgm:pt modelId="{0FB5A480-8301-4480-B3E0-80617AAD0B49}" type="sibTrans" cxnId="{070CCA24-007C-41B5-A834-76E92008F52D}">
      <dgm:prSet/>
      <dgm:spPr/>
    </dgm:pt>
    <dgm:pt modelId="{7E7D229F-3659-4854-BCF1-221FFA927E92}" type="pres">
      <dgm:prSet presAssocID="{791D755E-DEA1-40AB-84A7-D62F387CAFE3}" presName="Name0" presStyleCnt="0">
        <dgm:presLayoutVars>
          <dgm:chMax/>
          <dgm:chPref/>
          <dgm:dir/>
          <dgm:animLvl val="lvl"/>
          <dgm:resizeHandles val="exact"/>
        </dgm:presLayoutVars>
      </dgm:prSet>
      <dgm:spPr/>
    </dgm:pt>
    <dgm:pt modelId="{E52EE21A-EE08-4E68-BF14-B3D9F7FD2FBC}" type="pres">
      <dgm:prSet presAssocID="{18FA4415-AB8B-4725-A267-291D04B460FA}" presName="composite" presStyleCnt="0"/>
      <dgm:spPr/>
    </dgm:pt>
    <dgm:pt modelId="{C94EBB57-AAF9-40D1-A450-119741038344}" type="pres">
      <dgm:prSet presAssocID="{18FA4415-AB8B-4725-A267-291D04B460FA}" presName="Image" presStyleLbl="alignNode1" presStyleIdx="0" presStyleCnt="2"/>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8207FE5D-7169-47FA-9541-412CBBA4014F}" type="pres">
      <dgm:prSet presAssocID="{18FA4415-AB8B-4725-A267-291D04B460FA}" presName="Accent" presStyleLbl="parChTrans1D1" presStyleIdx="0" presStyleCnt="2"/>
      <dgm:spPr/>
    </dgm:pt>
    <dgm:pt modelId="{20CF592D-E978-4C91-83CB-5FBDB213E4AD}" type="pres">
      <dgm:prSet presAssocID="{18FA4415-AB8B-4725-A267-291D04B460FA}" presName="Parent" presStyleLbl="revTx" presStyleIdx="0" presStyleCnt="2">
        <dgm:presLayoutVars>
          <dgm:chMax val="0"/>
          <dgm:chPref val="0"/>
          <dgm:bulletEnabled val="1"/>
        </dgm:presLayoutVars>
      </dgm:prSet>
      <dgm:spPr/>
    </dgm:pt>
    <dgm:pt modelId="{07D266D4-66A5-4CE5-BA18-F4ACF2DEC17C}" type="pres">
      <dgm:prSet presAssocID="{B8E363F7-7D50-491A-9728-6F24519177A9}" presName="sibTrans" presStyleCnt="0"/>
      <dgm:spPr/>
    </dgm:pt>
    <dgm:pt modelId="{ABB6FFB0-4D54-4172-A2B4-45599443297F}" type="pres">
      <dgm:prSet presAssocID="{BD4F6FF8-E4FA-498F-B4EA-B5CF159E458F}" presName="composite" presStyleCnt="0"/>
      <dgm:spPr/>
    </dgm:pt>
    <dgm:pt modelId="{5530265D-9D44-4DCC-A299-E07F683A54F9}" type="pres">
      <dgm:prSet presAssocID="{BD4F6FF8-E4FA-498F-B4EA-B5CF159E458F}" presName="Image" presStyleLbl="alignNode1" presStyleIdx="1" presStyleCnt="2"/>
      <dgm:spPr>
        <a:blipFill dpi="0" rotWithShape="1">
          <a:blip xmlns:r="http://schemas.openxmlformats.org/officeDocument/2006/relationships" r:embed="rId2"/>
          <a:srcRect/>
          <a:stretch>
            <a:fillRect t="31574" b="31574"/>
          </a:stretch>
        </a:blipFill>
      </dgm:spPr>
    </dgm:pt>
    <dgm:pt modelId="{D3AD9A15-70AE-4A32-8D71-A3CB5D71E12A}" type="pres">
      <dgm:prSet presAssocID="{BD4F6FF8-E4FA-498F-B4EA-B5CF159E458F}" presName="Accent" presStyleLbl="parChTrans1D1" presStyleIdx="1" presStyleCnt="2"/>
      <dgm:spPr/>
    </dgm:pt>
    <dgm:pt modelId="{5949BE47-FE66-4047-B3DF-3D18277FF316}" type="pres">
      <dgm:prSet presAssocID="{BD4F6FF8-E4FA-498F-B4EA-B5CF159E458F}" presName="Parent" presStyleLbl="revTx" presStyleIdx="1" presStyleCnt="2">
        <dgm:presLayoutVars>
          <dgm:chMax val="0"/>
          <dgm:chPref val="0"/>
          <dgm:bulletEnabled val="1"/>
        </dgm:presLayoutVars>
      </dgm:prSet>
      <dgm:spPr/>
    </dgm:pt>
  </dgm:ptLst>
  <dgm:cxnLst>
    <dgm:cxn modelId="{E8853F05-4D31-4CA6-A5CE-6D75BB8AE2F0}" srcId="{18FA4415-AB8B-4725-A267-291D04B460FA}" destId="{16C26928-B7C1-45D5-931C-828162E2894C}" srcOrd="3" destOrd="0" parTransId="{6F7DDEE0-A847-43A6-B3DC-B7E4B90705AF}" sibTransId="{C2D0FAAF-1CC6-40E2-99F4-F4D47F658609}"/>
    <dgm:cxn modelId="{070CCA24-007C-41B5-A834-76E92008F52D}" srcId="{BD4F6FF8-E4FA-498F-B4EA-B5CF159E458F}" destId="{272E32AC-2F03-41D3-8648-34D18A50C4B8}" srcOrd="2" destOrd="0" parTransId="{D8FA486E-4D29-418F-BE2F-EF1309355947}" sibTransId="{0FB5A480-8301-4480-B3E0-80617AAD0B49}"/>
    <dgm:cxn modelId="{D5FFAC49-2180-4725-A2AE-DA6C6309C59F}" srcId="{791D755E-DEA1-40AB-84A7-D62F387CAFE3}" destId="{BD4F6FF8-E4FA-498F-B4EA-B5CF159E458F}" srcOrd="1" destOrd="0" parTransId="{D6EF2D2F-8B5E-4816-8E9C-26E6D66A03CF}" sibTransId="{3D8B4E76-8DBF-4C2F-B4CB-5514C1B4D326}"/>
    <dgm:cxn modelId="{2D96EF6E-C43B-4C67-9AFE-B034A1B84EF2}" type="presOf" srcId="{791D755E-DEA1-40AB-84A7-D62F387CAFE3}" destId="{7E7D229F-3659-4854-BCF1-221FFA927E92}" srcOrd="0" destOrd="0" presId="urn:microsoft.com/office/officeart/2008/layout/PictureLineup"/>
    <dgm:cxn modelId="{EFABAD7B-A6B9-4917-9575-FCA8FF0D34AE}" srcId="{BD4F6FF8-E4FA-498F-B4EA-B5CF159E458F}" destId="{3ADD01D5-ADEF-4B11-A091-AC0674D3980D}" srcOrd="0" destOrd="0" parTransId="{0CAE8B5F-B810-4B84-8C2E-9EC1E9266438}" sibTransId="{95DE4106-300B-478D-88C5-81C4A9A1529D}"/>
    <dgm:cxn modelId="{999B9681-18B9-4BDA-ADA5-8D47472CC42F}" type="presOf" srcId="{EAB67B93-A757-4C85-B827-F76C39619870}" destId="{5949BE47-FE66-4047-B3DF-3D18277FF316}" srcOrd="0" destOrd="2" presId="urn:microsoft.com/office/officeart/2008/layout/PictureLineup"/>
    <dgm:cxn modelId="{D27F0998-7428-4277-AA1D-910D3F05F203}" type="presOf" srcId="{3ADD01D5-ADEF-4B11-A091-AC0674D3980D}" destId="{5949BE47-FE66-4047-B3DF-3D18277FF316}" srcOrd="0" destOrd="1" presId="urn:microsoft.com/office/officeart/2008/layout/PictureLineup"/>
    <dgm:cxn modelId="{91805498-F595-4FEC-9D89-F242A3D1C8B9}" srcId="{BD4F6FF8-E4FA-498F-B4EA-B5CF159E458F}" destId="{EAB67B93-A757-4C85-B827-F76C39619870}" srcOrd="1" destOrd="0" parTransId="{FDDB9A79-5BE6-4D00-B3C8-70BA3255C72D}" sibTransId="{BD269FE3-0A6B-4A12-A1DC-C6B0B04DE98C}"/>
    <dgm:cxn modelId="{D32C2BA8-9863-4C29-BA86-4736300EEDE1}" srcId="{BD4F6FF8-E4FA-498F-B4EA-B5CF159E458F}" destId="{5032DCA3-2806-49BC-92A1-A05C888FF22F}" srcOrd="4" destOrd="0" parTransId="{5E5FDAAA-0BD7-4B1B-B172-C2A0D6BB9BA2}" sibTransId="{062447DA-FCE1-4BEE-A033-279569D44666}"/>
    <dgm:cxn modelId="{762986B3-2DA5-4048-AB4A-34CE029BBE43}" type="presOf" srcId="{18FA4415-AB8B-4725-A267-291D04B460FA}" destId="{20CF592D-E978-4C91-83CB-5FBDB213E4AD}" srcOrd="0" destOrd="0" presId="urn:microsoft.com/office/officeart/2008/layout/PictureLineup"/>
    <dgm:cxn modelId="{663B13BB-02F2-430F-B5D2-BB042CD06BAD}" srcId="{791D755E-DEA1-40AB-84A7-D62F387CAFE3}" destId="{18FA4415-AB8B-4725-A267-291D04B460FA}" srcOrd="0" destOrd="0" parTransId="{277D954A-240E-4892-80D4-29451A3BB4D7}" sibTransId="{B8E363F7-7D50-491A-9728-6F24519177A9}"/>
    <dgm:cxn modelId="{1157C5C5-E823-4771-B8D8-0F73A121C4AD}" type="presOf" srcId="{3EB5801D-57EE-401E-A43B-B48768B5FD83}" destId="{20CF592D-E978-4C91-83CB-5FBDB213E4AD}" srcOrd="0" destOrd="1" presId="urn:microsoft.com/office/officeart/2008/layout/PictureLineup"/>
    <dgm:cxn modelId="{C29849CD-D4A1-46EE-8F62-8BFFC1A834E6}" type="presOf" srcId="{16C26928-B7C1-45D5-931C-828162E2894C}" destId="{20CF592D-E978-4C91-83CB-5FBDB213E4AD}" srcOrd="0" destOrd="4" presId="urn:microsoft.com/office/officeart/2008/layout/PictureLineup"/>
    <dgm:cxn modelId="{866792CD-8795-438B-B256-D5C5EFAEA162}" type="presOf" srcId="{F2C49516-A9E0-4AD3-ACD7-C0D326299F2A}" destId="{20CF592D-E978-4C91-83CB-5FBDB213E4AD}" srcOrd="0" destOrd="3" presId="urn:microsoft.com/office/officeart/2008/layout/PictureLineup"/>
    <dgm:cxn modelId="{460B29D5-D4E8-4589-8B9D-05B5E0D656B3}" type="presOf" srcId="{BD4F6FF8-E4FA-498F-B4EA-B5CF159E458F}" destId="{5949BE47-FE66-4047-B3DF-3D18277FF316}" srcOrd="0" destOrd="0" presId="urn:microsoft.com/office/officeart/2008/layout/PictureLineup"/>
    <dgm:cxn modelId="{B4772ED6-3E5D-4FCF-953F-46CD499F7F88}" srcId="{18FA4415-AB8B-4725-A267-291D04B460FA}" destId="{F2C49516-A9E0-4AD3-ACD7-C0D326299F2A}" srcOrd="2" destOrd="0" parTransId="{FF98DA7F-4EE6-463F-B487-50DB1743613B}" sibTransId="{76CE9FFE-7E66-4D30-9B40-22A88A72C1A8}"/>
    <dgm:cxn modelId="{5901EDD7-3BC0-4505-8DC2-FD1F6795C765}" type="presOf" srcId="{0778509F-D141-42C9-931E-9E9C8F6FC4CF}" destId="{20CF592D-E978-4C91-83CB-5FBDB213E4AD}" srcOrd="0" destOrd="2" presId="urn:microsoft.com/office/officeart/2008/layout/PictureLineup"/>
    <dgm:cxn modelId="{C31732E6-A5D1-46CF-8B0E-53E434B50494}" srcId="{18FA4415-AB8B-4725-A267-291D04B460FA}" destId="{0778509F-D141-42C9-931E-9E9C8F6FC4CF}" srcOrd="1" destOrd="0" parTransId="{639B4575-8A75-4F35-8F9F-CFD5B3710264}" sibTransId="{9C5AE91E-EC25-48F2-8C3E-DD96FDF90356}"/>
    <dgm:cxn modelId="{A44CCFEB-CCC1-4731-AE01-5504473BBB8E}" srcId="{18FA4415-AB8B-4725-A267-291D04B460FA}" destId="{3EB5801D-57EE-401E-A43B-B48768B5FD83}" srcOrd="0" destOrd="0" parTransId="{73860919-DACB-44E6-8DCE-730D285FE327}" sibTransId="{B3801CC5-2532-41AE-9E5E-2A11BDC8EE11}"/>
    <dgm:cxn modelId="{01B35EEE-6E58-4676-812D-8861CB4F20C3}" srcId="{BD4F6FF8-E4FA-498F-B4EA-B5CF159E458F}" destId="{35A2B25F-8613-4A37-8E98-2FBB115346AD}" srcOrd="3" destOrd="0" parTransId="{A0CD39D2-9972-4722-B9FD-B579A8370B24}" sibTransId="{1DDF1F65-8CE3-413C-AFE9-08CA28E01EC4}"/>
    <dgm:cxn modelId="{F8A369F3-FFBA-445E-81F7-DB9EB4013E32}" type="presOf" srcId="{35A2B25F-8613-4A37-8E98-2FBB115346AD}" destId="{5949BE47-FE66-4047-B3DF-3D18277FF316}" srcOrd="0" destOrd="4" presId="urn:microsoft.com/office/officeart/2008/layout/PictureLineup"/>
    <dgm:cxn modelId="{CBA96CF9-25EC-48ED-9C3B-6C0D18342727}" type="presOf" srcId="{272E32AC-2F03-41D3-8648-34D18A50C4B8}" destId="{5949BE47-FE66-4047-B3DF-3D18277FF316}" srcOrd="0" destOrd="3" presId="urn:microsoft.com/office/officeart/2008/layout/PictureLineup"/>
    <dgm:cxn modelId="{0F3EC4FC-D98A-4B93-8824-E0A54A7B5FA7}" type="presOf" srcId="{5032DCA3-2806-49BC-92A1-A05C888FF22F}" destId="{5949BE47-FE66-4047-B3DF-3D18277FF316}" srcOrd="0" destOrd="5" presId="urn:microsoft.com/office/officeart/2008/layout/PictureLineup"/>
    <dgm:cxn modelId="{AC7150B8-618D-4781-8C01-F5570E5F1035}" type="presParOf" srcId="{7E7D229F-3659-4854-BCF1-221FFA927E92}" destId="{E52EE21A-EE08-4E68-BF14-B3D9F7FD2FBC}" srcOrd="0" destOrd="0" presId="urn:microsoft.com/office/officeart/2008/layout/PictureLineup"/>
    <dgm:cxn modelId="{518B823D-52DB-4E58-88D4-9A6437188E9F}" type="presParOf" srcId="{E52EE21A-EE08-4E68-BF14-B3D9F7FD2FBC}" destId="{C94EBB57-AAF9-40D1-A450-119741038344}" srcOrd="0" destOrd="0" presId="urn:microsoft.com/office/officeart/2008/layout/PictureLineup"/>
    <dgm:cxn modelId="{FEA6CBA1-01BF-45BE-8A0E-49C90A372DFD}" type="presParOf" srcId="{E52EE21A-EE08-4E68-BF14-B3D9F7FD2FBC}" destId="{8207FE5D-7169-47FA-9541-412CBBA4014F}" srcOrd="1" destOrd="0" presId="urn:microsoft.com/office/officeart/2008/layout/PictureLineup"/>
    <dgm:cxn modelId="{E9D883E6-6F25-45F0-81D2-6DB2A4020F86}" type="presParOf" srcId="{E52EE21A-EE08-4E68-BF14-B3D9F7FD2FBC}" destId="{20CF592D-E978-4C91-83CB-5FBDB213E4AD}" srcOrd="2" destOrd="0" presId="urn:microsoft.com/office/officeart/2008/layout/PictureLineup"/>
    <dgm:cxn modelId="{73294F72-B7AB-46E9-A8B3-2D1993BF3D64}" type="presParOf" srcId="{7E7D229F-3659-4854-BCF1-221FFA927E92}" destId="{07D266D4-66A5-4CE5-BA18-F4ACF2DEC17C}" srcOrd="1" destOrd="0" presId="urn:microsoft.com/office/officeart/2008/layout/PictureLineup"/>
    <dgm:cxn modelId="{4083EC4B-AD0C-4FDF-BCBE-32E71120D3EA}" type="presParOf" srcId="{7E7D229F-3659-4854-BCF1-221FFA927E92}" destId="{ABB6FFB0-4D54-4172-A2B4-45599443297F}" srcOrd="2" destOrd="0" presId="urn:microsoft.com/office/officeart/2008/layout/PictureLineup"/>
    <dgm:cxn modelId="{C2D6E425-2941-4472-BE7C-E1506A58AC37}" type="presParOf" srcId="{ABB6FFB0-4D54-4172-A2B4-45599443297F}" destId="{5530265D-9D44-4DCC-A299-E07F683A54F9}" srcOrd="0" destOrd="0" presId="urn:microsoft.com/office/officeart/2008/layout/PictureLineup"/>
    <dgm:cxn modelId="{D3300586-BA15-4A30-97A6-B4FB6954BEE0}" type="presParOf" srcId="{ABB6FFB0-4D54-4172-A2B4-45599443297F}" destId="{D3AD9A15-70AE-4A32-8D71-A3CB5D71E12A}" srcOrd="1" destOrd="0" presId="urn:microsoft.com/office/officeart/2008/layout/PictureLineup"/>
    <dgm:cxn modelId="{EF9F18A2-1109-42AA-ADE8-FE6F5DA419F4}" type="presParOf" srcId="{ABB6FFB0-4D54-4172-A2B4-45599443297F}" destId="{5949BE47-FE66-4047-B3DF-3D18277FF316}" srcOrd="2" destOrd="0" presId="urn:microsoft.com/office/officeart/2008/layout/PictureLineup"/>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FB1A2018-3714-437F-88AC-7E76710B664B}" type="doc">
      <dgm:prSet loTypeId="urn:microsoft.com/office/officeart/2005/8/layout/vList4" loCatId="list" qsTypeId="urn:microsoft.com/office/officeart/2005/8/quickstyle/simple1" qsCatId="simple" csTypeId="urn:microsoft.com/office/officeart/2005/8/colors/accent2_1" csCatId="accent2" phldr="1"/>
      <dgm:spPr/>
      <dgm:t>
        <a:bodyPr/>
        <a:lstStyle/>
        <a:p>
          <a:endParaRPr lang="es-ES"/>
        </a:p>
      </dgm:t>
    </dgm:pt>
    <dgm:pt modelId="{BA5B3925-880F-4FF8-936B-BC74F2EF7907}">
      <dgm:prSet/>
      <dgm:spPr/>
      <dgm:t>
        <a:bodyPr/>
        <a:lstStyle/>
        <a:p>
          <a:r>
            <a:rPr lang="es-ES" dirty="0"/>
            <a:t>Su uso y objetivo</a:t>
          </a:r>
        </a:p>
      </dgm:t>
    </dgm:pt>
    <dgm:pt modelId="{84677756-F0BB-4B4C-BE3C-421E1EC97890}" type="parTrans" cxnId="{6355812A-4384-4858-8CEF-89C3310880D4}">
      <dgm:prSet/>
      <dgm:spPr/>
      <dgm:t>
        <a:bodyPr/>
        <a:lstStyle/>
        <a:p>
          <a:endParaRPr lang="es-ES"/>
        </a:p>
      </dgm:t>
    </dgm:pt>
    <dgm:pt modelId="{F266AE0C-7DF0-4B95-AEFB-48A86B0EC172}" type="sibTrans" cxnId="{6355812A-4384-4858-8CEF-89C3310880D4}">
      <dgm:prSet/>
      <dgm:spPr/>
      <dgm:t>
        <a:bodyPr/>
        <a:lstStyle/>
        <a:p>
          <a:endParaRPr lang="es-ES"/>
        </a:p>
      </dgm:t>
    </dgm:pt>
    <dgm:pt modelId="{FDEBA48F-A863-475E-AD8A-3D89FDEBA195}">
      <dgm:prSet/>
      <dgm:spPr/>
      <dgm:t>
        <a:bodyPr/>
        <a:lstStyle/>
        <a:p>
          <a:r>
            <a:rPr lang="es-ES" dirty="0"/>
            <a:t>Los modelos se pueden mostrar a través de representaciones en 3D y modelado de realidad aumentada.</a:t>
          </a:r>
        </a:p>
      </dgm:t>
    </dgm:pt>
    <dgm:pt modelId="{539C3B9C-8A94-45F4-9B53-019762C399D8}" type="parTrans" cxnId="{59BA6B54-64E1-4758-B401-9CA741BC028B}">
      <dgm:prSet/>
      <dgm:spPr/>
      <dgm:t>
        <a:bodyPr/>
        <a:lstStyle/>
        <a:p>
          <a:endParaRPr lang="es-ES"/>
        </a:p>
      </dgm:t>
    </dgm:pt>
    <dgm:pt modelId="{D014219E-D26B-42BA-AE87-7CC8C945BE19}" type="sibTrans" cxnId="{59BA6B54-64E1-4758-B401-9CA741BC028B}">
      <dgm:prSet/>
      <dgm:spPr/>
      <dgm:t>
        <a:bodyPr/>
        <a:lstStyle/>
        <a:p>
          <a:endParaRPr lang="es-ES"/>
        </a:p>
      </dgm:t>
    </dgm:pt>
    <dgm:pt modelId="{C0344D66-5214-4FB0-8DD1-E59B47D6CCDA}">
      <dgm:prSet/>
      <dgm:spPr/>
      <dgm:t>
        <a:bodyPr/>
        <a:lstStyle/>
        <a:p>
          <a:r>
            <a:rPr lang="es-ES" dirty="0"/>
            <a:t>P.ej: desde una persona (o parte), procesos financieros, un motor a reacción, un parque eólico, hoteles o ciudades enteras. </a:t>
          </a:r>
        </a:p>
      </dgm:t>
    </dgm:pt>
    <dgm:pt modelId="{5466A4D5-FE67-4B2F-BA78-17A296405E80}" type="parTrans" cxnId="{E0577EEA-6E51-4A77-8DCF-DBEDD74BA4C9}">
      <dgm:prSet/>
      <dgm:spPr/>
      <dgm:t>
        <a:bodyPr/>
        <a:lstStyle/>
        <a:p>
          <a:endParaRPr lang="es-ES"/>
        </a:p>
      </dgm:t>
    </dgm:pt>
    <dgm:pt modelId="{41FD2AD4-7847-4282-84B6-530CD77010DD}" type="sibTrans" cxnId="{E0577EEA-6E51-4A77-8DCF-DBEDD74BA4C9}">
      <dgm:prSet/>
      <dgm:spPr/>
      <dgm:t>
        <a:bodyPr/>
        <a:lstStyle/>
        <a:p>
          <a:endParaRPr lang="es-ES"/>
        </a:p>
      </dgm:t>
    </dgm:pt>
    <dgm:pt modelId="{1B2B8793-B6E7-4C4C-B439-0929EE22A1A4}">
      <dgm:prSet/>
      <dgm:spPr/>
      <dgm:t>
        <a:bodyPr/>
        <a:lstStyle/>
        <a:p>
          <a:r>
            <a:rPr lang="es-ES" dirty="0"/>
            <a:t>La versión digital imita y simula lo que está sucediendo con la versión del mundo real en tiempo real.</a:t>
          </a:r>
        </a:p>
      </dgm:t>
    </dgm:pt>
    <dgm:pt modelId="{5A9ED84A-31BA-4926-86FB-99F9CD3B10A5}" type="parTrans" cxnId="{465C8E95-6AF2-434F-A3E1-34D39A115493}">
      <dgm:prSet/>
      <dgm:spPr/>
      <dgm:t>
        <a:bodyPr/>
        <a:lstStyle/>
        <a:p>
          <a:endParaRPr lang="es-ES"/>
        </a:p>
      </dgm:t>
    </dgm:pt>
    <dgm:pt modelId="{98D625C8-2DA4-405E-9584-CA899995B515}" type="sibTrans" cxnId="{465C8E95-6AF2-434F-A3E1-34D39A115493}">
      <dgm:prSet/>
      <dgm:spPr/>
      <dgm:t>
        <a:bodyPr/>
        <a:lstStyle/>
        <a:p>
          <a:endParaRPr lang="es-ES"/>
        </a:p>
      </dgm:t>
    </dgm:pt>
    <dgm:pt modelId="{04EC80BD-33D5-4C3D-8C70-D252D5C661F9}">
      <dgm:prSet/>
      <dgm:spPr/>
      <dgm:t>
        <a:bodyPr/>
        <a:lstStyle/>
        <a:p>
          <a:r>
            <a:rPr lang="es-ES" dirty="0"/>
            <a:t>Son utilizados para hacer simulaciones antes de que se creen e implementen cambios en los objetos reales, a fin de predecir cómo funcionarán.</a:t>
          </a:r>
        </a:p>
      </dgm:t>
    </dgm:pt>
    <dgm:pt modelId="{F88E2FAF-C111-4418-B672-EDB19C532A2A}" type="parTrans" cxnId="{628EC98B-6436-4FB4-AF73-814F42881161}">
      <dgm:prSet/>
      <dgm:spPr/>
      <dgm:t>
        <a:bodyPr/>
        <a:lstStyle/>
        <a:p>
          <a:endParaRPr lang="es-ES"/>
        </a:p>
      </dgm:t>
    </dgm:pt>
    <dgm:pt modelId="{7C646A4F-F37A-4151-B0D9-77DF2C7E543E}" type="sibTrans" cxnId="{628EC98B-6436-4FB4-AF73-814F42881161}">
      <dgm:prSet/>
      <dgm:spPr/>
      <dgm:t>
        <a:bodyPr/>
        <a:lstStyle/>
        <a:p>
          <a:endParaRPr lang="es-ES"/>
        </a:p>
      </dgm:t>
    </dgm:pt>
    <dgm:pt modelId="{4F03FFCB-96C2-4DBF-9D47-1F3B6BA717C5}">
      <dgm:prSet/>
      <dgm:spPr/>
      <dgm:t>
        <a:bodyPr/>
        <a:lstStyle/>
        <a:p>
          <a:r>
            <a:rPr lang="es-ES" dirty="0"/>
            <a:t>Ahorro de costes al no simular en real.</a:t>
          </a:r>
        </a:p>
      </dgm:t>
    </dgm:pt>
    <dgm:pt modelId="{9938304A-206D-4362-B23B-E73AB68D2122}" type="parTrans" cxnId="{DBAABC78-5CF1-45F1-A9C2-DDCB0E1C82D7}">
      <dgm:prSet/>
      <dgm:spPr/>
      <dgm:t>
        <a:bodyPr/>
        <a:lstStyle/>
        <a:p>
          <a:endParaRPr lang="es-ES"/>
        </a:p>
      </dgm:t>
    </dgm:pt>
    <dgm:pt modelId="{C57E8FD4-1ABC-4F22-81F7-F5F6FAC81895}" type="sibTrans" cxnId="{DBAABC78-5CF1-45F1-A9C2-DDCB0E1C82D7}">
      <dgm:prSet/>
      <dgm:spPr/>
      <dgm:t>
        <a:bodyPr/>
        <a:lstStyle/>
        <a:p>
          <a:endParaRPr lang="es-ES"/>
        </a:p>
      </dgm:t>
    </dgm:pt>
    <dgm:pt modelId="{3522264A-7C62-4AFB-BEC0-A2DD8D89BC9C}">
      <dgm:prSet phldrT="[Texto]"/>
      <dgm:spPr/>
      <dgm:t>
        <a:bodyPr/>
        <a:lstStyle/>
        <a:p>
          <a:r>
            <a:rPr lang="es-ES" dirty="0"/>
            <a:t>Es una representación digital mediante un modelo matemático de un objeto, proceso o servicio del mundo físico.</a:t>
          </a:r>
        </a:p>
      </dgm:t>
    </dgm:pt>
    <dgm:pt modelId="{17B73202-D6CC-4189-B55C-139A15D6B3A0}" type="sibTrans" cxnId="{6AFDD742-EB13-49CF-8C8D-60DD2360108F}">
      <dgm:prSet/>
      <dgm:spPr/>
      <dgm:t>
        <a:bodyPr/>
        <a:lstStyle/>
        <a:p>
          <a:endParaRPr lang="es-ES"/>
        </a:p>
      </dgm:t>
    </dgm:pt>
    <dgm:pt modelId="{E8CFA6EA-E69F-4C5F-8632-A97A90746428}" type="parTrans" cxnId="{6AFDD742-EB13-49CF-8C8D-60DD2360108F}">
      <dgm:prSet/>
      <dgm:spPr/>
      <dgm:t>
        <a:bodyPr/>
        <a:lstStyle/>
        <a:p>
          <a:endParaRPr lang="es-ES"/>
        </a:p>
      </dgm:t>
    </dgm:pt>
    <dgm:pt modelId="{03C53C15-0E78-4EF5-9E33-C23CCA87222E}" type="pres">
      <dgm:prSet presAssocID="{FB1A2018-3714-437F-88AC-7E76710B664B}" presName="linear" presStyleCnt="0">
        <dgm:presLayoutVars>
          <dgm:dir/>
          <dgm:resizeHandles val="exact"/>
        </dgm:presLayoutVars>
      </dgm:prSet>
      <dgm:spPr/>
    </dgm:pt>
    <dgm:pt modelId="{649F1018-DE01-41E0-BD1B-E3F68F733B99}" type="pres">
      <dgm:prSet presAssocID="{3522264A-7C62-4AFB-BEC0-A2DD8D89BC9C}" presName="comp" presStyleCnt="0"/>
      <dgm:spPr/>
    </dgm:pt>
    <dgm:pt modelId="{167BA716-E98C-45FF-B542-DE283CEF9CDF}" type="pres">
      <dgm:prSet presAssocID="{3522264A-7C62-4AFB-BEC0-A2DD8D89BC9C}" presName="box" presStyleLbl="node1" presStyleIdx="0" presStyleCnt="2"/>
      <dgm:spPr/>
    </dgm:pt>
    <dgm:pt modelId="{B09C2BAA-88B1-4BAB-AB06-E752F626E287}" type="pres">
      <dgm:prSet presAssocID="{3522264A-7C62-4AFB-BEC0-A2DD8D89BC9C}" presName="img"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171A9027-5A6C-4305-8E5E-E6BFA7D393A8}" type="pres">
      <dgm:prSet presAssocID="{3522264A-7C62-4AFB-BEC0-A2DD8D89BC9C}" presName="text" presStyleLbl="node1" presStyleIdx="0" presStyleCnt="2">
        <dgm:presLayoutVars>
          <dgm:bulletEnabled val="1"/>
        </dgm:presLayoutVars>
      </dgm:prSet>
      <dgm:spPr/>
    </dgm:pt>
    <dgm:pt modelId="{F743459D-F6DF-4CF1-9D67-614347630527}" type="pres">
      <dgm:prSet presAssocID="{17B73202-D6CC-4189-B55C-139A15D6B3A0}" presName="spacer" presStyleCnt="0"/>
      <dgm:spPr/>
    </dgm:pt>
    <dgm:pt modelId="{1DE5DF14-51A9-4FF7-9EAE-27229D97A89A}" type="pres">
      <dgm:prSet presAssocID="{BA5B3925-880F-4FF8-936B-BC74F2EF7907}" presName="comp" presStyleCnt="0"/>
      <dgm:spPr/>
    </dgm:pt>
    <dgm:pt modelId="{D7BB9E13-AE5D-4C52-AC9D-1BC9A0F6EE83}" type="pres">
      <dgm:prSet presAssocID="{BA5B3925-880F-4FF8-936B-BC74F2EF7907}" presName="box" presStyleLbl="node1" presStyleIdx="1" presStyleCnt="2"/>
      <dgm:spPr/>
    </dgm:pt>
    <dgm:pt modelId="{CFD820C3-1C37-4F70-B195-5FE68C2595D8}" type="pres">
      <dgm:prSet presAssocID="{BA5B3925-880F-4FF8-936B-BC74F2EF7907}" presName="img" presStyleLbl="fgImgPlace1" presStyleIdx="1" presStyleCnt="2"/>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D071D49C-02A8-4D77-86AF-0172D69CEC7B}" type="pres">
      <dgm:prSet presAssocID="{BA5B3925-880F-4FF8-936B-BC74F2EF7907}" presName="text" presStyleLbl="node1" presStyleIdx="1" presStyleCnt="2">
        <dgm:presLayoutVars>
          <dgm:bulletEnabled val="1"/>
        </dgm:presLayoutVars>
      </dgm:prSet>
      <dgm:spPr/>
    </dgm:pt>
  </dgm:ptLst>
  <dgm:cxnLst>
    <dgm:cxn modelId="{567F260A-EB60-47F8-B29F-0AF14F9B65EC}" type="presOf" srcId="{04EC80BD-33D5-4C3D-8C70-D252D5C661F9}" destId="{D071D49C-02A8-4D77-86AF-0172D69CEC7B}" srcOrd="1" destOrd="2" presId="urn:microsoft.com/office/officeart/2005/8/layout/vList4"/>
    <dgm:cxn modelId="{9F5AFE1A-EA56-467B-A4C3-D2BF3BA55F92}" type="presOf" srcId="{3522264A-7C62-4AFB-BEC0-A2DD8D89BC9C}" destId="{167BA716-E98C-45FF-B542-DE283CEF9CDF}" srcOrd="0" destOrd="0" presId="urn:microsoft.com/office/officeart/2005/8/layout/vList4"/>
    <dgm:cxn modelId="{6355812A-4384-4858-8CEF-89C3310880D4}" srcId="{FB1A2018-3714-437F-88AC-7E76710B664B}" destId="{BA5B3925-880F-4FF8-936B-BC74F2EF7907}" srcOrd="1" destOrd="0" parTransId="{84677756-F0BB-4B4C-BE3C-421E1EC97890}" sibTransId="{F266AE0C-7DF0-4B95-AEFB-48A86B0EC172}"/>
    <dgm:cxn modelId="{C8BB7030-C837-4B1B-B931-C19E4594F0C6}" type="presOf" srcId="{BA5B3925-880F-4FF8-936B-BC74F2EF7907}" destId="{D7BB9E13-AE5D-4C52-AC9D-1BC9A0F6EE83}" srcOrd="0" destOrd="0" presId="urn:microsoft.com/office/officeart/2005/8/layout/vList4"/>
    <dgm:cxn modelId="{40718636-FA3D-4CB0-A2DA-97E8DEFA72D8}" type="presOf" srcId="{04EC80BD-33D5-4C3D-8C70-D252D5C661F9}" destId="{D7BB9E13-AE5D-4C52-AC9D-1BC9A0F6EE83}" srcOrd="0" destOrd="2" presId="urn:microsoft.com/office/officeart/2005/8/layout/vList4"/>
    <dgm:cxn modelId="{6AFDD742-EB13-49CF-8C8D-60DD2360108F}" srcId="{FB1A2018-3714-437F-88AC-7E76710B664B}" destId="{3522264A-7C62-4AFB-BEC0-A2DD8D89BC9C}" srcOrd="0" destOrd="0" parTransId="{E8CFA6EA-E69F-4C5F-8632-A97A90746428}" sibTransId="{17B73202-D6CC-4189-B55C-139A15D6B3A0}"/>
    <dgm:cxn modelId="{3BD5F066-AEF3-4EEC-88ED-0629808DB3BE}" type="presOf" srcId="{4F03FFCB-96C2-4DBF-9D47-1F3B6BA717C5}" destId="{D071D49C-02A8-4D77-86AF-0172D69CEC7B}" srcOrd="1" destOrd="3" presId="urn:microsoft.com/office/officeart/2005/8/layout/vList4"/>
    <dgm:cxn modelId="{575FC669-96E9-4A03-8383-1A6E823DFDA3}" type="presOf" srcId="{C0344D66-5214-4FB0-8DD1-E59B47D6CCDA}" destId="{171A9027-5A6C-4305-8E5E-E6BFA7D393A8}" srcOrd="1" destOrd="1" presId="urn:microsoft.com/office/officeart/2005/8/layout/vList4"/>
    <dgm:cxn modelId="{59BA6B54-64E1-4758-B401-9CA741BC028B}" srcId="{BA5B3925-880F-4FF8-936B-BC74F2EF7907}" destId="{FDEBA48F-A863-475E-AD8A-3D89FDEBA195}" srcOrd="3" destOrd="0" parTransId="{539C3B9C-8A94-45F4-9B53-019762C399D8}" sibTransId="{D014219E-D26B-42BA-AE87-7CC8C945BE19}"/>
    <dgm:cxn modelId="{B2189656-BBE8-4C48-8AAC-6623D4EE5E0F}" type="presOf" srcId="{1B2B8793-B6E7-4C4C-B439-0929EE22A1A4}" destId="{D7BB9E13-AE5D-4C52-AC9D-1BC9A0F6EE83}" srcOrd="0" destOrd="1" presId="urn:microsoft.com/office/officeart/2005/8/layout/vList4"/>
    <dgm:cxn modelId="{DBAABC78-5CF1-45F1-A9C2-DDCB0E1C82D7}" srcId="{BA5B3925-880F-4FF8-936B-BC74F2EF7907}" destId="{4F03FFCB-96C2-4DBF-9D47-1F3B6BA717C5}" srcOrd="2" destOrd="0" parTransId="{9938304A-206D-4362-B23B-E73AB68D2122}" sibTransId="{C57E8FD4-1ABC-4F22-81F7-F5F6FAC81895}"/>
    <dgm:cxn modelId="{628EC98B-6436-4FB4-AF73-814F42881161}" srcId="{BA5B3925-880F-4FF8-936B-BC74F2EF7907}" destId="{04EC80BD-33D5-4C3D-8C70-D252D5C661F9}" srcOrd="1" destOrd="0" parTransId="{F88E2FAF-C111-4418-B672-EDB19C532A2A}" sibTransId="{7C646A4F-F37A-4151-B0D9-77DF2C7E543E}"/>
    <dgm:cxn modelId="{A0A1AD93-61E0-4710-B4EE-FFA9E53E6B29}" type="presOf" srcId="{3522264A-7C62-4AFB-BEC0-A2DD8D89BC9C}" destId="{171A9027-5A6C-4305-8E5E-E6BFA7D393A8}" srcOrd="1" destOrd="0" presId="urn:microsoft.com/office/officeart/2005/8/layout/vList4"/>
    <dgm:cxn modelId="{465C8E95-6AF2-434F-A3E1-34D39A115493}" srcId="{BA5B3925-880F-4FF8-936B-BC74F2EF7907}" destId="{1B2B8793-B6E7-4C4C-B439-0929EE22A1A4}" srcOrd="0" destOrd="0" parTransId="{5A9ED84A-31BA-4926-86FB-99F9CD3B10A5}" sibTransId="{98D625C8-2DA4-405E-9584-CA899995B515}"/>
    <dgm:cxn modelId="{F7A8CFA5-DBEA-4339-BE6D-C8CE31D32E3C}" type="presOf" srcId="{1B2B8793-B6E7-4C4C-B439-0929EE22A1A4}" destId="{D071D49C-02A8-4D77-86AF-0172D69CEC7B}" srcOrd="1" destOrd="1" presId="urn:microsoft.com/office/officeart/2005/8/layout/vList4"/>
    <dgm:cxn modelId="{27163CA8-689A-4FB7-B7DB-1DF97FF471F1}" type="presOf" srcId="{C0344D66-5214-4FB0-8DD1-E59B47D6CCDA}" destId="{167BA716-E98C-45FF-B542-DE283CEF9CDF}" srcOrd="0" destOrd="1" presId="urn:microsoft.com/office/officeart/2005/8/layout/vList4"/>
    <dgm:cxn modelId="{C772E6AB-E90E-4170-804A-DBB5517AEFFE}" type="presOf" srcId="{BA5B3925-880F-4FF8-936B-BC74F2EF7907}" destId="{D071D49C-02A8-4D77-86AF-0172D69CEC7B}" srcOrd="1" destOrd="0" presId="urn:microsoft.com/office/officeart/2005/8/layout/vList4"/>
    <dgm:cxn modelId="{BECE71B7-74BA-4582-A4A3-7FA99893BF1C}" type="presOf" srcId="{FDEBA48F-A863-475E-AD8A-3D89FDEBA195}" destId="{D7BB9E13-AE5D-4C52-AC9D-1BC9A0F6EE83}" srcOrd="0" destOrd="4" presId="urn:microsoft.com/office/officeart/2005/8/layout/vList4"/>
    <dgm:cxn modelId="{985E38B8-2BD9-452F-829F-608589DA39B6}" type="presOf" srcId="{FB1A2018-3714-437F-88AC-7E76710B664B}" destId="{03C53C15-0E78-4EF5-9E33-C23CCA87222E}" srcOrd="0" destOrd="0" presId="urn:microsoft.com/office/officeart/2005/8/layout/vList4"/>
    <dgm:cxn modelId="{796792E7-A9D3-456C-AAB5-6406EB29B120}" type="presOf" srcId="{FDEBA48F-A863-475E-AD8A-3D89FDEBA195}" destId="{D071D49C-02A8-4D77-86AF-0172D69CEC7B}" srcOrd="1" destOrd="4" presId="urn:microsoft.com/office/officeart/2005/8/layout/vList4"/>
    <dgm:cxn modelId="{E0577EEA-6E51-4A77-8DCF-DBEDD74BA4C9}" srcId="{3522264A-7C62-4AFB-BEC0-A2DD8D89BC9C}" destId="{C0344D66-5214-4FB0-8DD1-E59B47D6CCDA}" srcOrd="0" destOrd="0" parTransId="{5466A4D5-FE67-4B2F-BA78-17A296405E80}" sibTransId="{41FD2AD4-7847-4282-84B6-530CD77010DD}"/>
    <dgm:cxn modelId="{B6C5A0F8-95D1-4E4C-895A-BD34225A0658}" type="presOf" srcId="{4F03FFCB-96C2-4DBF-9D47-1F3B6BA717C5}" destId="{D7BB9E13-AE5D-4C52-AC9D-1BC9A0F6EE83}" srcOrd="0" destOrd="3" presId="urn:microsoft.com/office/officeart/2005/8/layout/vList4"/>
    <dgm:cxn modelId="{9A16CA29-9799-4D84-BCBF-C498122F5ADB}" type="presParOf" srcId="{03C53C15-0E78-4EF5-9E33-C23CCA87222E}" destId="{649F1018-DE01-41E0-BD1B-E3F68F733B99}" srcOrd="0" destOrd="0" presId="urn:microsoft.com/office/officeart/2005/8/layout/vList4"/>
    <dgm:cxn modelId="{A182E5B3-A140-4D3C-BC00-F121A19D3C4E}" type="presParOf" srcId="{649F1018-DE01-41E0-BD1B-E3F68F733B99}" destId="{167BA716-E98C-45FF-B542-DE283CEF9CDF}" srcOrd="0" destOrd="0" presId="urn:microsoft.com/office/officeart/2005/8/layout/vList4"/>
    <dgm:cxn modelId="{89FD795A-17B6-4312-91DB-BB6814720BB4}" type="presParOf" srcId="{649F1018-DE01-41E0-BD1B-E3F68F733B99}" destId="{B09C2BAA-88B1-4BAB-AB06-E752F626E287}" srcOrd="1" destOrd="0" presId="urn:microsoft.com/office/officeart/2005/8/layout/vList4"/>
    <dgm:cxn modelId="{D15B93A1-4C0D-4DC1-A629-5A9878B33929}" type="presParOf" srcId="{649F1018-DE01-41E0-BD1B-E3F68F733B99}" destId="{171A9027-5A6C-4305-8E5E-E6BFA7D393A8}" srcOrd="2" destOrd="0" presId="urn:microsoft.com/office/officeart/2005/8/layout/vList4"/>
    <dgm:cxn modelId="{A5DB2B7F-38BB-4D89-9885-26D98BA2C306}" type="presParOf" srcId="{03C53C15-0E78-4EF5-9E33-C23CCA87222E}" destId="{F743459D-F6DF-4CF1-9D67-614347630527}" srcOrd="1" destOrd="0" presId="urn:microsoft.com/office/officeart/2005/8/layout/vList4"/>
    <dgm:cxn modelId="{B6C6AA06-82E6-475C-B409-29932721E686}" type="presParOf" srcId="{03C53C15-0E78-4EF5-9E33-C23CCA87222E}" destId="{1DE5DF14-51A9-4FF7-9EAE-27229D97A89A}" srcOrd="2" destOrd="0" presId="urn:microsoft.com/office/officeart/2005/8/layout/vList4"/>
    <dgm:cxn modelId="{929CDA7F-588D-4CB3-99C6-87C6EA4B35B1}" type="presParOf" srcId="{1DE5DF14-51A9-4FF7-9EAE-27229D97A89A}" destId="{D7BB9E13-AE5D-4C52-AC9D-1BC9A0F6EE83}" srcOrd="0" destOrd="0" presId="urn:microsoft.com/office/officeart/2005/8/layout/vList4"/>
    <dgm:cxn modelId="{7410D08E-8759-4A0B-9CD1-27CE48D96575}" type="presParOf" srcId="{1DE5DF14-51A9-4FF7-9EAE-27229D97A89A}" destId="{CFD820C3-1C37-4F70-B195-5FE68C2595D8}" srcOrd="1" destOrd="0" presId="urn:microsoft.com/office/officeart/2005/8/layout/vList4"/>
    <dgm:cxn modelId="{DFCE35CF-475E-467E-8410-D28A3E69D52A}" type="presParOf" srcId="{1DE5DF14-51A9-4FF7-9EAE-27229D97A89A}" destId="{D071D49C-02A8-4D77-86AF-0172D69CEC7B}"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4303E407-D107-4A50-8CEA-50B1B53F2CFD}" type="doc">
      <dgm:prSet loTypeId="urn:microsoft.com/office/officeart/2008/layout/IncreasingCircleProcess" loCatId="list" qsTypeId="urn:microsoft.com/office/officeart/2005/8/quickstyle/simple1" qsCatId="simple" csTypeId="urn:microsoft.com/office/officeart/2005/8/colors/accent1_2" csCatId="accent1" phldr="1"/>
      <dgm:spPr/>
      <dgm:t>
        <a:bodyPr/>
        <a:lstStyle/>
        <a:p>
          <a:endParaRPr lang="es-ES"/>
        </a:p>
      </dgm:t>
    </dgm:pt>
    <dgm:pt modelId="{978206ED-7587-49C1-8B41-6A2CCDF48B39}">
      <dgm:prSet phldrT="[Texto]" custT="1"/>
      <dgm:spPr/>
      <dgm:t>
        <a:bodyPr/>
        <a:lstStyle/>
        <a:p>
          <a:r>
            <a:rPr lang="es-ES" sz="3200" dirty="0"/>
            <a:t>1991 </a:t>
          </a:r>
        </a:p>
      </dgm:t>
    </dgm:pt>
    <dgm:pt modelId="{AD383FE8-9A00-4793-96DA-450988DE0F3A}" type="parTrans" cxnId="{528E4246-4197-4F0E-BE9E-792F300F9461}">
      <dgm:prSet/>
      <dgm:spPr/>
      <dgm:t>
        <a:bodyPr/>
        <a:lstStyle/>
        <a:p>
          <a:endParaRPr lang="es-ES" sz="2000"/>
        </a:p>
      </dgm:t>
    </dgm:pt>
    <dgm:pt modelId="{EBE1203B-0636-4961-87BE-20F97A9E905C}" type="sibTrans" cxnId="{528E4246-4197-4F0E-BE9E-792F300F9461}">
      <dgm:prSet/>
      <dgm:spPr/>
      <dgm:t>
        <a:bodyPr/>
        <a:lstStyle/>
        <a:p>
          <a:endParaRPr lang="es-ES" sz="2000"/>
        </a:p>
      </dgm:t>
    </dgm:pt>
    <dgm:pt modelId="{0D464D37-D1BF-4E8A-A714-268A2FA9B76B}">
      <dgm:prSet custT="1"/>
      <dgm:spPr/>
      <dgm:t>
        <a:bodyPr/>
        <a:lstStyle/>
        <a:p>
          <a:r>
            <a:rPr lang="es-ES" sz="1400" dirty="0"/>
            <a:t>El concepto se atribuye a David Gelernter y a su libro "Mirror Worlds“. </a:t>
          </a:r>
        </a:p>
      </dgm:t>
    </dgm:pt>
    <dgm:pt modelId="{BB1EF442-B331-406C-889F-0CEAFBF1C1B2}" type="parTrans" cxnId="{98F4E44F-2AA0-4B87-8B75-3E09B1EAD8B0}">
      <dgm:prSet/>
      <dgm:spPr/>
      <dgm:t>
        <a:bodyPr/>
        <a:lstStyle/>
        <a:p>
          <a:endParaRPr lang="es-ES" sz="2000"/>
        </a:p>
      </dgm:t>
    </dgm:pt>
    <dgm:pt modelId="{D242ED45-13CD-4858-B013-4E0ADD36DA99}" type="sibTrans" cxnId="{98F4E44F-2AA0-4B87-8B75-3E09B1EAD8B0}">
      <dgm:prSet/>
      <dgm:spPr/>
      <dgm:t>
        <a:bodyPr/>
        <a:lstStyle/>
        <a:p>
          <a:endParaRPr lang="es-ES" sz="2000"/>
        </a:p>
      </dgm:t>
    </dgm:pt>
    <dgm:pt modelId="{D2BDE57F-70AB-48CE-A174-52A50A19B3BD}">
      <dgm:prSet custT="1"/>
      <dgm:spPr/>
      <dgm:t>
        <a:bodyPr/>
        <a:lstStyle/>
        <a:p>
          <a:r>
            <a:rPr lang="es-ES" sz="3200" dirty="0"/>
            <a:t>2002 </a:t>
          </a:r>
        </a:p>
      </dgm:t>
    </dgm:pt>
    <dgm:pt modelId="{F0FAC5B5-0E47-4525-ADEA-B129EB72E026}" type="parTrans" cxnId="{95F0A08D-E62A-450E-82A3-645ADEB82587}">
      <dgm:prSet/>
      <dgm:spPr/>
      <dgm:t>
        <a:bodyPr/>
        <a:lstStyle/>
        <a:p>
          <a:endParaRPr lang="es-ES" sz="2000"/>
        </a:p>
      </dgm:t>
    </dgm:pt>
    <dgm:pt modelId="{B799E569-C012-4CF4-B152-003474539BEE}" type="sibTrans" cxnId="{95F0A08D-E62A-450E-82A3-645ADEB82587}">
      <dgm:prSet/>
      <dgm:spPr/>
      <dgm:t>
        <a:bodyPr/>
        <a:lstStyle/>
        <a:p>
          <a:endParaRPr lang="es-ES" sz="2000"/>
        </a:p>
      </dgm:t>
    </dgm:pt>
    <dgm:pt modelId="{3D69E34D-653B-4D00-9C1B-CD842980E0F4}">
      <dgm:prSet custT="1"/>
      <dgm:spPr/>
      <dgm:t>
        <a:bodyPr/>
        <a:lstStyle/>
        <a:p>
          <a:r>
            <a:rPr lang="es-ES" sz="1400" dirty="0"/>
            <a:t>Michael Grieves (Instituto de Tecnología de Florida) lo aplicó al concepto de fabricación.</a:t>
          </a:r>
        </a:p>
      </dgm:t>
    </dgm:pt>
    <dgm:pt modelId="{87EDD091-4639-4B17-B173-08D698086611}" type="parTrans" cxnId="{6A3756EB-1EC3-4698-A4C2-5A009E7CE11A}">
      <dgm:prSet/>
      <dgm:spPr/>
      <dgm:t>
        <a:bodyPr/>
        <a:lstStyle/>
        <a:p>
          <a:endParaRPr lang="es-ES" sz="2000"/>
        </a:p>
      </dgm:t>
    </dgm:pt>
    <dgm:pt modelId="{B251BBF7-8D21-4103-9A33-0B9C9E83A34A}" type="sibTrans" cxnId="{6A3756EB-1EC3-4698-A4C2-5A009E7CE11A}">
      <dgm:prSet/>
      <dgm:spPr/>
      <dgm:t>
        <a:bodyPr/>
        <a:lstStyle/>
        <a:p>
          <a:endParaRPr lang="es-ES" sz="2000"/>
        </a:p>
      </dgm:t>
    </dgm:pt>
    <dgm:pt modelId="{DC32BC40-5531-45BA-8B81-ED839E1808FB}">
      <dgm:prSet custT="1"/>
      <dgm:spPr/>
      <dgm:t>
        <a:bodyPr/>
        <a:lstStyle/>
        <a:p>
          <a:r>
            <a:rPr lang="es-ES" sz="3200" dirty="0"/>
            <a:t>2010</a:t>
          </a:r>
        </a:p>
      </dgm:t>
    </dgm:pt>
    <dgm:pt modelId="{F51479CE-C8F7-4920-9980-AAE00BD46A8E}" type="parTrans" cxnId="{6075B29E-2BDB-42EA-840F-DD4C4718E899}">
      <dgm:prSet/>
      <dgm:spPr/>
      <dgm:t>
        <a:bodyPr/>
        <a:lstStyle/>
        <a:p>
          <a:endParaRPr lang="es-ES" sz="2000"/>
        </a:p>
      </dgm:t>
    </dgm:pt>
    <dgm:pt modelId="{C5BB2B1E-08E9-4429-B032-1656F68711A2}" type="sibTrans" cxnId="{6075B29E-2BDB-42EA-840F-DD4C4718E899}">
      <dgm:prSet/>
      <dgm:spPr/>
      <dgm:t>
        <a:bodyPr/>
        <a:lstStyle/>
        <a:p>
          <a:endParaRPr lang="es-ES" sz="2000"/>
        </a:p>
      </dgm:t>
    </dgm:pt>
    <dgm:pt modelId="{D770F951-D4C3-4EC3-B415-59F3E95D7A93}">
      <dgm:prSet custT="1"/>
      <dgm:spPr/>
      <dgm:t>
        <a:bodyPr/>
        <a:lstStyle/>
        <a:p>
          <a:r>
            <a:rPr lang="es-ES" sz="1400" dirty="0"/>
            <a:t>La NASA adoptó el concepto de gemelo digital, para mantener y reparar sistemas cuando no estaban cerca de ellos. </a:t>
          </a:r>
        </a:p>
        <a:p>
          <a:r>
            <a:rPr lang="es-ES" sz="1400" dirty="0"/>
            <a:t>Crearon simulaciones digitales de cápsulas espaciales y naves para realizar pruebas. </a:t>
          </a:r>
        </a:p>
      </dgm:t>
    </dgm:pt>
    <dgm:pt modelId="{8AE60B2E-41FC-442B-AF2B-24620702274E}" type="parTrans" cxnId="{43149467-C209-4A4D-9F12-FD5AAC645FF7}">
      <dgm:prSet/>
      <dgm:spPr/>
      <dgm:t>
        <a:bodyPr/>
        <a:lstStyle/>
        <a:p>
          <a:endParaRPr lang="es-ES" sz="2000"/>
        </a:p>
      </dgm:t>
    </dgm:pt>
    <dgm:pt modelId="{3D9D6A91-08EA-42BA-BCBA-2ABA090704E5}" type="sibTrans" cxnId="{43149467-C209-4A4D-9F12-FD5AAC645FF7}">
      <dgm:prSet/>
      <dgm:spPr/>
      <dgm:t>
        <a:bodyPr/>
        <a:lstStyle/>
        <a:p>
          <a:endParaRPr lang="es-ES" sz="2000"/>
        </a:p>
      </dgm:t>
    </dgm:pt>
    <dgm:pt modelId="{0DE46C82-3AE4-4659-8E20-6B1EC49E5968}">
      <dgm:prSet custT="1"/>
      <dgm:spPr/>
      <dgm:t>
        <a:bodyPr/>
        <a:lstStyle/>
        <a:p>
          <a:r>
            <a:rPr lang="es-ES" sz="3200" dirty="0"/>
            <a:t>2022</a:t>
          </a:r>
        </a:p>
      </dgm:t>
    </dgm:pt>
    <dgm:pt modelId="{CD3E6EF4-1680-4A3E-B3F3-8E490F706825}" type="parTrans" cxnId="{6154CB1D-0BA2-41A9-B281-AC7964C4D060}">
      <dgm:prSet/>
      <dgm:spPr/>
      <dgm:t>
        <a:bodyPr/>
        <a:lstStyle/>
        <a:p>
          <a:endParaRPr lang="es-ES" sz="2000"/>
        </a:p>
      </dgm:t>
    </dgm:pt>
    <dgm:pt modelId="{16C642ED-FB6C-4F12-873F-70D8AECA4362}" type="sibTrans" cxnId="{6154CB1D-0BA2-41A9-B281-AC7964C4D060}">
      <dgm:prSet/>
      <dgm:spPr/>
      <dgm:t>
        <a:bodyPr/>
        <a:lstStyle/>
        <a:p>
          <a:endParaRPr lang="es-ES" sz="2000"/>
        </a:p>
      </dgm:t>
    </dgm:pt>
    <dgm:pt modelId="{087884E0-3F25-4A43-A99B-C01CD75E3D1F}">
      <dgm:prSet custT="1"/>
      <dgm:spPr/>
      <dgm:t>
        <a:bodyPr/>
        <a:lstStyle/>
        <a:p>
          <a:r>
            <a:rPr lang="es-ES" sz="1400" dirty="0"/>
            <a:t>NASA los utiliza para desarrollar nuevas recomendaciones, hojas de ruta y vehículos y aviones de próxima generación.</a:t>
          </a:r>
        </a:p>
      </dgm:t>
    </dgm:pt>
    <dgm:pt modelId="{04A05293-3852-4F22-A592-842D86F1CB34}" type="parTrans" cxnId="{846F899B-AF4F-42F8-95EF-F706548FADFE}">
      <dgm:prSet/>
      <dgm:spPr/>
      <dgm:t>
        <a:bodyPr/>
        <a:lstStyle/>
        <a:p>
          <a:endParaRPr lang="es-ES" sz="2000"/>
        </a:p>
      </dgm:t>
    </dgm:pt>
    <dgm:pt modelId="{D46123FE-A556-4287-822A-1680870A1BFD}" type="sibTrans" cxnId="{846F899B-AF4F-42F8-95EF-F706548FADFE}">
      <dgm:prSet/>
      <dgm:spPr/>
      <dgm:t>
        <a:bodyPr/>
        <a:lstStyle/>
        <a:p>
          <a:endParaRPr lang="es-ES" sz="2000"/>
        </a:p>
      </dgm:t>
    </dgm:pt>
    <dgm:pt modelId="{A33C610E-9B7C-4AC7-B4D6-C001CD2758C6}">
      <dgm:prSet custT="1"/>
      <dgm:spPr/>
      <dgm:t>
        <a:bodyPr/>
        <a:lstStyle/>
        <a:p>
          <a:r>
            <a:rPr lang="es-ES" sz="1400" dirty="0"/>
            <a:t>Ya está extendido el uso de gemelos digitales en toda la industria</a:t>
          </a:r>
        </a:p>
      </dgm:t>
    </dgm:pt>
    <dgm:pt modelId="{7CEDB173-448E-4EE7-BDF2-12625656CCB7}" type="parTrans" cxnId="{D8D6A066-6DC0-4566-A0B7-286339C33411}">
      <dgm:prSet/>
      <dgm:spPr/>
      <dgm:t>
        <a:bodyPr/>
        <a:lstStyle/>
        <a:p>
          <a:endParaRPr lang="es-ES" sz="2000"/>
        </a:p>
      </dgm:t>
    </dgm:pt>
    <dgm:pt modelId="{56953E6D-81AF-43AC-893F-91B58701A7C3}" type="sibTrans" cxnId="{D8D6A066-6DC0-4566-A0B7-286339C33411}">
      <dgm:prSet/>
      <dgm:spPr/>
      <dgm:t>
        <a:bodyPr/>
        <a:lstStyle/>
        <a:p>
          <a:endParaRPr lang="es-ES" sz="2000"/>
        </a:p>
      </dgm:t>
    </dgm:pt>
    <dgm:pt modelId="{AE664F6F-3C61-4751-ACDE-C37F0D2F6FCF}">
      <dgm:prSet custT="1"/>
      <dgm:spPr/>
      <dgm:t>
        <a:bodyPr/>
        <a:lstStyle/>
        <a:p>
          <a:r>
            <a:rPr lang="es-ES" sz="3200" dirty="0"/>
            <a:t>2023</a:t>
          </a:r>
        </a:p>
      </dgm:t>
    </dgm:pt>
    <dgm:pt modelId="{F8F59A92-E092-48B4-B3CD-7838660663F0}" type="parTrans" cxnId="{1DA605C6-BB03-4285-8DE3-A31FB589B55E}">
      <dgm:prSet/>
      <dgm:spPr/>
      <dgm:t>
        <a:bodyPr/>
        <a:lstStyle/>
        <a:p>
          <a:endParaRPr lang="es-ES" sz="2000"/>
        </a:p>
      </dgm:t>
    </dgm:pt>
    <dgm:pt modelId="{1ECD2D35-9AB3-4BDB-B4BA-8301B2204380}" type="sibTrans" cxnId="{1DA605C6-BB03-4285-8DE3-A31FB589B55E}">
      <dgm:prSet/>
      <dgm:spPr/>
      <dgm:t>
        <a:bodyPr/>
        <a:lstStyle/>
        <a:p>
          <a:endParaRPr lang="es-ES" sz="2000"/>
        </a:p>
      </dgm:t>
    </dgm:pt>
    <dgm:pt modelId="{872F73A1-0458-4415-B921-4A5650F2DDFD}">
      <dgm:prSet custT="1"/>
      <dgm:spPr/>
      <dgm:t>
        <a:bodyPr/>
        <a:lstStyle/>
        <a:p>
          <a:r>
            <a:rPr lang="es-ES" sz="1400" dirty="0"/>
            <a:t>Industria: Predicción de fallos, optimización de procesos, Formación de personas.</a:t>
          </a:r>
        </a:p>
      </dgm:t>
    </dgm:pt>
    <dgm:pt modelId="{9BD8E580-D3CF-4727-8297-21FA411B6987}" type="parTrans" cxnId="{BDE1A012-90BA-4C59-9762-7F2D4A86B2F2}">
      <dgm:prSet/>
      <dgm:spPr/>
      <dgm:t>
        <a:bodyPr/>
        <a:lstStyle/>
        <a:p>
          <a:endParaRPr lang="es-ES" sz="2000"/>
        </a:p>
      </dgm:t>
    </dgm:pt>
    <dgm:pt modelId="{4A98733B-BE8A-4B02-ABAD-4477BBBBFE7A}" type="sibTrans" cxnId="{BDE1A012-90BA-4C59-9762-7F2D4A86B2F2}">
      <dgm:prSet/>
      <dgm:spPr/>
      <dgm:t>
        <a:bodyPr/>
        <a:lstStyle/>
        <a:p>
          <a:endParaRPr lang="es-ES" sz="2000"/>
        </a:p>
      </dgm:t>
    </dgm:pt>
    <dgm:pt modelId="{DB5932F9-850C-4130-9BFC-868B886C7D80}">
      <dgm:prSet custT="1"/>
      <dgm:spPr/>
      <dgm:t>
        <a:bodyPr/>
        <a:lstStyle/>
        <a:p>
          <a:r>
            <a:rPr lang="es-ES" sz="1400" dirty="0"/>
            <a:t>Diseño y desarrollo de productos: Prototipado, pruebas, personalización.</a:t>
          </a:r>
        </a:p>
      </dgm:t>
    </dgm:pt>
    <dgm:pt modelId="{14DC5B26-75BD-4942-BB4F-1E6C80F72A8F}" type="parTrans" cxnId="{EB373BAD-41AF-4C27-B337-581C8744E6D1}">
      <dgm:prSet/>
      <dgm:spPr/>
      <dgm:t>
        <a:bodyPr/>
        <a:lstStyle/>
        <a:p>
          <a:endParaRPr lang="es-ES" sz="2000"/>
        </a:p>
      </dgm:t>
    </dgm:pt>
    <dgm:pt modelId="{0AC4ADC4-26FE-46ED-A995-1019255FA7A7}" type="sibTrans" cxnId="{EB373BAD-41AF-4C27-B337-581C8744E6D1}">
      <dgm:prSet/>
      <dgm:spPr/>
      <dgm:t>
        <a:bodyPr/>
        <a:lstStyle/>
        <a:p>
          <a:endParaRPr lang="es-ES" sz="2000"/>
        </a:p>
      </dgm:t>
    </dgm:pt>
    <dgm:pt modelId="{0559D04E-62EA-4938-A190-268946618AB6}">
      <dgm:prSet custT="1"/>
      <dgm:spPr/>
      <dgm:t>
        <a:bodyPr/>
        <a:lstStyle/>
        <a:p>
          <a:r>
            <a:rPr lang="es-ES" sz="1400" dirty="0"/>
            <a:t>Atención médica, ciudades inteligentes, sostenibilidad. </a:t>
          </a:r>
        </a:p>
      </dgm:t>
    </dgm:pt>
    <dgm:pt modelId="{66BCF1AC-165F-4C41-AD81-44451AB6762D}" type="parTrans" cxnId="{7D215B47-9042-4A2D-9D65-553D2F94662F}">
      <dgm:prSet/>
      <dgm:spPr/>
      <dgm:t>
        <a:bodyPr/>
        <a:lstStyle/>
        <a:p>
          <a:endParaRPr lang="es-ES" sz="2000"/>
        </a:p>
      </dgm:t>
    </dgm:pt>
    <dgm:pt modelId="{E82A9244-8015-48B2-935C-CB0A29E92C8B}" type="sibTrans" cxnId="{7D215B47-9042-4A2D-9D65-553D2F94662F}">
      <dgm:prSet/>
      <dgm:spPr/>
      <dgm:t>
        <a:bodyPr/>
        <a:lstStyle/>
        <a:p>
          <a:endParaRPr lang="es-ES" sz="2000"/>
        </a:p>
      </dgm:t>
    </dgm:pt>
    <dgm:pt modelId="{144B346B-9662-47F4-9E0C-B821F8544F77}" type="pres">
      <dgm:prSet presAssocID="{4303E407-D107-4A50-8CEA-50B1B53F2CFD}" presName="Name0" presStyleCnt="0">
        <dgm:presLayoutVars>
          <dgm:chMax val="7"/>
          <dgm:chPref val="7"/>
          <dgm:dir/>
          <dgm:animOne val="branch"/>
          <dgm:animLvl val="lvl"/>
        </dgm:presLayoutVars>
      </dgm:prSet>
      <dgm:spPr/>
    </dgm:pt>
    <dgm:pt modelId="{165E77B3-A8D8-4300-A8E7-AACAA6B3CE94}" type="pres">
      <dgm:prSet presAssocID="{978206ED-7587-49C1-8B41-6A2CCDF48B39}" presName="composite" presStyleCnt="0"/>
      <dgm:spPr/>
    </dgm:pt>
    <dgm:pt modelId="{75949590-9EA3-4DB6-B3E2-A299CC3EA351}" type="pres">
      <dgm:prSet presAssocID="{978206ED-7587-49C1-8B41-6A2CCDF48B39}" presName="BackAccent" presStyleLbl="bgShp" presStyleIdx="0" presStyleCnt="5"/>
      <dgm:spPr/>
    </dgm:pt>
    <dgm:pt modelId="{1C3261A2-6A5F-431E-9364-A2F474793F0A}" type="pres">
      <dgm:prSet presAssocID="{978206ED-7587-49C1-8B41-6A2CCDF48B39}" presName="Accent" presStyleLbl="alignNode1" presStyleIdx="0" presStyleCnt="5"/>
      <dgm:spPr/>
    </dgm:pt>
    <dgm:pt modelId="{587DF9B1-6659-42B9-811C-26F69FC2AD41}" type="pres">
      <dgm:prSet presAssocID="{978206ED-7587-49C1-8B41-6A2CCDF48B39}" presName="Child" presStyleLbl="revTx" presStyleIdx="0" presStyleCnt="10">
        <dgm:presLayoutVars>
          <dgm:chMax val="0"/>
          <dgm:chPref val="0"/>
          <dgm:bulletEnabled val="1"/>
        </dgm:presLayoutVars>
      </dgm:prSet>
      <dgm:spPr/>
    </dgm:pt>
    <dgm:pt modelId="{F01BE6C7-683D-4206-839C-DC5F865A52EC}" type="pres">
      <dgm:prSet presAssocID="{978206ED-7587-49C1-8B41-6A2CCDF48B39}" presName="Parent" presStyleLbl="revTx" presStyleIdx="1" presStyleCnt="10">
        <dgm:presLayoutVars>
          <dgm:chMax val="1"/>
          <dgm:chPref val="1"/>
          <dgm:bulletEnabled val="1"/>
        </dgm:presLayoutVars>
      </dgm:prSet>
      <dgm:spPr/>
    </dgm:pt>
    <dgm:pt modelId="{4ADDCB3B-EBBB-473C-B039-1F3ABF0E1C48}" type="pres">
      <dgm:prSet presAssocID="{EBE1203B-0636-4961-87BE-20F97A9E905C}" presName="sibTrans" presStyleCnt="0"/>
      <dgm:spPr/>
    </dgm:pt>
    <dgm:pt modelId="{E880E52A-1929-41FD-AD6B-986DEA33098A}" type="pres">
      <dgm:prSet presAssocID="{D2BDE57F-70AB-48CE-A174-52A50A19B3BD}" presName="composite" presStyleCnt="0"/>
      <dgm:spPr/>
    </dgm:pt>
    <dgm:pt modelId="{23CF037E-EC43-4CC9-A675-CBCBB1C9F607}" type="pres">
      <dgm:prSet presAssocID="{D2BDE57F-70AB-48CE-A174-52A50A19B3BD}" presName="BackAccent" presStyleLbl="bgShp" presStyleIdx="1" presStyleCnt="5"/>
      <dgm:spPr/>
    </dgm:pt>
    <dgm:pt modelId="{2DF7B6A1-911D-48F7-BC83-55BD32451021}" type="pres">
      <dgm:prSet presAssocID="{D2BDE57F-70AB-48CE-A174-52A50A19B3BD}" presName="Accent" presStyleLbl="alignNode1" presStyleIdx="1" presStyleCnt="5"/>
      <dgm:spPr/>
    </dgm:pt>
    <dgm:pt modelId="{461A1E62-B75E-44C1-8352-B6D8FDA37A49}" type="pres">
      <dgm:prSet presAssocID="{D2BDE57F-70AB-48CE-A174-52A50A19B3BD}" presName="Child" presStyleLbl="revTx" presStyleIdx="2" presStyleCnt="10">
        <dgm:presLayoutVars>
          <dgm:chMax val="0"/>
          <dgm:chPref val="0"/>
          <dgm:bulletEnabled val="1"/>
        </dgm:presLayoutVars>
      </dgm:prSet>
      <dgm:spPr/>
    </dgm:pt>
    <dgm:pt modelId="{3D751C1E-7881-4BF7-9E53-12FAA156B30D}" type="pres">
      <dgm:prSet presAssocID="{D2BDE57F-70AB-48CE-A174-52A50A19B3BD}" presName="Parent" presStyleLbl="revTx" presStyleIdx="3" presStyleCnt="10">
        <dgm:presLayoutVars>
          <dgm:chMax val="1"/>
          <dgm:chPref val="1"/>
          <dgm:bulletEnabled val="1"/>
        </dgm:presLayoutVars>
      </dgm:prSet>
      <dgm:spPr/>
    </dgm:pt>
    <dgm:pt modelId="{4D87D110-8F22-4C02-A4A1-F8E42412986D}" type="pres">
      <dgm:prSet presAssocID="{B799E569-C012-4CF4-B152-003474539BEE}" presName="sibTrans" presStyleCnt="0"/>
      <dgm:spPr/>
    </dgm:pt>
    <dgm:pt modelId="{62EA0C91-15FE-4DA0-AFF7-8DD0ECB506E1}" type="pres">
      <dgm:prSet presAssocID="{DC32BC40-5531-45BA-8B81-ED839E1808FB}" presName="composite" presStyleCnt="0"/>
      <dgm:spPr/>
    </dgm:pt>
    <dgm:pt modelId="{F64CAB4E-F8BE-481F-B441-CCDE8AE09450}" type="pres">
      <dgm:prSet presAssocID="{DC32BC40-5531-45BA-8B81-ED839E1808FB}" presName="BackAccent" presStyleLbl="bgShp" presStyleIdx="2" presStyleCnt="5"/>
      <dgm:spPr/>
    </dgm:pt>
    <dgm:pt modelId="{5156F3B1-D809-469A-BCBE-86B11AA82E9D}" type="pres">
      <dgm:prSet presAssocID="{DC32BC40-5531-45BA-8B81-ED839E1808FB}" presName="Accent" presStyleLbl="alignNode1" presStyleIdx="2" presStyleCnt="5"/>
      <dgm:spPr/>
    </dgm:pt>
    <dgm:pt modelId="{8343FCF9-4BEC-4359-AB4C-B4B3345A8F19}" type="pres">
      <dgm:prSet presAssocID="{DC32BC40-5531-45BA-8B81-ED839E1808FB}" presName="Child" presStyleLbl="revTx" presStyleIdx="4" presStyleCnt="10">
        <dgm:presLayoutVars>
          <dgm:chMax val="0"/>
          <dgm:chPref val="0"/>
          <dgm:bulletEnabled val="1"/>
        </dgm:presLayoutVars>
      </dgm:prSet>
      <dgm:spPr/>
    </dgm:pt>
    <dgm:pt modelId="{E3A370D5-D90F-4894-A408-DC7B1FC401D5}" type="pres">
      <dgm:prSet presAssocID="{DC32BC40-5531-45BA-8B81-ED839E1808FB}" presName="Parent" presStyleLbl="revTx" presStyleIdx="5" presStyleCnt="10">
        <dgm:presLayoutVars>
          <dgm:chMax val="1"/>
          <dgm:chPref val="1"/>
          <dgm:bulletEnabled val="1"/>
        </dgm:presLayoutVars>
      </dgm:prSet>
      <dgm:spPr/>
    </dgm:pt>
    <dgm:pt modelId="{FE0EFECD-4A00-479C-B512-338F39643450}" type="pres">
      <dgm:prSet presAssocID="{C5BB2B1E-08E9-4429-B032-1656F68711A2}" presName="sibTrans" presStyleCnt="0"/>
      <dgm:spPr/>
    </dgm:pt>
    <dgm:pt modelId="{0322DD0C-B66D-453D-B4E4-D3B9216903BD}" type="pres">
      <dgm:prSet presAssocID="{0DE46C82-3AE4-4659-8E20-6B1EC49E5968}" presName="composite" presStyleCnt="0"/>
      <dgm:spPr/>
    </dgm:pt>
    <dgm:pt modelId="{F6867EAD-53C4-4CA9-A52B-7DE1049D02E3}" type="pres">
      <dgm:prSet presAssocID="{0DE46C82-3AE4-4659-8E20-6B1EC49E5968}" presName="BackAccent" presStyleLbl="bgShp" presStyleIdx="3" presStyleCnt="5"/>
      <dgm:spPr/>
    </dgm:pt>
    <dgm:pt modelId="{F3F72C5D-F724-45B8-BF81-4E63657E1530}" type="pres">
      <dgm:prSet presAssocID="{0DE46C82-3AE4-4659-8E20-6B1EC49E5968}" presName="Accent" presStyleLbl="alignNode1" presStyleIdx="3" presStyleCnt="5"/>
      <dgm:spPr/>
    </dgm:pt>
    <dgm:pt modelId="{29915B34-10BC-4975-8BFC-FD41AC2DBD5B}" type="pres">
      <dgm:prSet presAssocID="{0DE46C82-3AE4-4659-8E20-6B1EC49E5968}" presName="Child" presStyleLbl="revTx" presStyleIdx="6" presStyleCnt="10">
        <dgm:presLayoutVars>
          <dgm:chMax val="0"/>
          <dgm:chPref val="0"/>
          <dgm:bulletEnabled val="1"/>
        </dgm:presLayoutVars>
      </dgm:prSet>
      <dgm:spPr/>
    </dgm:pt>
    <dgm:pt modelId="{531E7D84-8037-4101-AA79-4B5E290E06F5}" type="pres">
      <dgm:prSet presAssocID="{0DE46C82-3AE4-4659-8E20-6B1EC49E5968}" presName="Parent" presStyleLbl="revTx" presStyleIdx="7" presStyleCnt="10">
        <dgm:presLayoutVars>
          <dgm:chMax val="1"/>
          <dgm:chPref val="1"/>
          <dgm:bulletEnabled val="1"/>
        </dgm:presLayoutVars>
      </dgm:prSet>
      <dgm:spPr/>
    </dgm:pt>
    <dgm:pt modelId="{D8B8C442-12F9-438B-B114-8EBF01FC430D}" type="pres">
      <dgm:prSet presAssocID="{16C642ED-FB6C-4F12-873F-70D8AECA4362}" presName="sibTrans" presStyleCnt="0"/>
      <dgm:spPr/>
    </dgm:pt>
    <dgm:pt modelId="{82703E8B-3BB0-4BFD-8426-2E6EA03048B6}" type="pres">
      <dgm:prSet presAssocID="{AE664F6F-3C61-4751-ACDE-C37F0D2F6FCF}" presName="composite" presStyleCnt="0"/>
      <dgm:spPr/>
    </dgm:pt>
    <dgm:pt modelId="{7399DDEA-B059-4E4B-85B0-07855B63DF7C}" type="pres">
      <dgm:prSet presAssocID="{AE664F6F-3C61-4751-ACDE-C37F0D2F6FCF}" presName="BackAccent" presStyleLbl="bgShp" presStyleIdx="4" presStyleCnt="5"/>
      <dgm:spPr/>
    </dgm:pt>
    <dgm:pt modelId="{9A70715E-3BEA-4E93-B802-15AAEEECDC0A}" type="pres">
      <dgm:prSet presAssocID="{AE664F6F-3C61-4751-ACDE-C37F0D2F6FCF}" presName="Accent" presStyleLbl="alignNode1" presStyleIdx="4" presStyleCnt="5"/>
      <dgm:spPr/>
    </dgm:pt>
    <dgm:pt modelId="{B1E8A1D7-B5BD-4994-87A1-C4D5E6A50A84}" type="pres">
      <dgm:prSet presAssocID="{AE664F6F-3C61-4751-ACDE-C37F0D2F6FCF}" presName="Child" presStyleLbl="revTx" presStyleIdx="8" presStyleCnt="10">
        <dgm:presLayoutVars>
          <dgm:chMax val="0"/>
          <dgm:chPref val="0"/>
          <dgm:bulletEnabled val="1"/>
        </dgm:presLayoutVars>
      </dgm:prSet>
      <dgm:spPr/>
    </dgm:pt>
    <dgm:pt modelId="{97192AA8-7BFF-4D55-8018-C8C12087AD5A}" type="pres">
      <dgm:prSet presAssocID="{AE664F6F-3C61-4751-ACDE-C37F0D2F6FCF}" presName="Parent" presStyleLbl="revTx" presStyleIdx="9" presStyleCnt="10">
        <dgm:presLayoutVars>
          <dgm:chMax val="1"/>
          <dgm:chPref val="1"/>
          <dgm:bulletEnabled val="1"/>
        </dgm:presLayoutVars>
      </dgm:prSet>
      <dgm:spPr/>
    </dgm:pt>
  </dgm:ptLst>
  <dgm:cxnLst>
    <dgm:cxn modelId="{BDE1A012-90BA-4C59-9762-7F2D4A86B2F2}" srcId="{AE664F6F-3C61-4751-ACDE-C37F0D2F6FCF}" destId="{872F73A1-0458-4415-B921-4A5650F2DDFD}" srcOrd="0" destOrd="0" parTransId="{9BD8E580-D3CF-4727-8297-21FA411B6987}" sibTransId="{4A98733B-BE8A-4B02-ABAD-4477BBBBFE7A}"/>
    <dgm:cxn modelId="{6154CB1D-0BA2-41A9-B281-AC7964C4D060}" srcId="{4303E407-D107-4A50-8CEA-50B1B53F2CFD}" destId="{0DE46C82-3AE4-4659-8E20-6B1EC49E5968}" srcOrd="3" destOrd="0" parTransId="{CD3E6EF4-1680-4A3E-B3F3-8E490F706825}" sibTransId="{16C642ED-FB6C-4F12-873F-70D8AECA4362}"/>
    <dgm:cxn modelId="{49125629-CFD4-4568-9F9E-E8536667503E}" type="presOf" srcId="{D2BDE57F-70AB-48CE-A174-52A50A19B3BD}" destId="{3D751C1E-7881-4BF7-9E53-12FAA156B30D}" srcOrd="0" destOrd="0" presId="urn:microsoft.com/office/officeart/2008/layout/IncreasingCircleProcess"/>
    <dgm:cxn modelId="{9CFD1A65-3057-4631-AB89-729450DA623B}" type="presOf" srcId="{0DE46C82-3AE4-4659-8E20-6B1EC49E5968}" destId="{531E7D84-8037-4101-AA79-4B5E290E06F5}" srcOrd="0" destOrd="0" presId="urn:microsoft.com/office/officeart/2008/layout/IncreasingCircleProcess"/>
    <dgm:cxn modelId="{528E4246-4197-4F0E-BE9E-792F300F9461}" srcId="{4303E407-D107-4A50-8CEA-50B1B53F2CFD}" destId="{978206ED-7587-49C1-8B41-6A2CCDF48B39}" srcOrd="0" destOrd="0" parTransId="{AD383FE8-9A00-4793-96DA-450988DE0F3A}" sibTransId="{EBE1203B-0636-4961-87BE-20F97A9E905C}"/>
    <dgm:cxn modelId="{D8D6A066-6DC0-4566-A0B7-286339C33411}" srcId="{0DE46C82-3AE4-4659-8E20-6B1EC49E5968}" destId="{A33C610E-9B7C-4AC7-B4D6-C001CD2758C6}" srcOrd="1" destOrd="0" parTransId="{7CEDB173-448E-4EE7-BDF2-12625656CCB7}" sibTransId="{56953E6D-81AF-43AC-893F-91B58701A7C3}"/>
    <dgm:cxn modelId="{7D215B47-9042-4A2D-9D65-553D2F94662F}" srcId="{AE664F6F-3C61-4751-ACDE-C37F0D2F6FCF}" destId="{0559D04E-62EA-4938-A190-268946618AB6}" srcOrd="2" destOrd="0" parTransId="{66BCF1AC-165F-4C41-AD81-44451AB6762D}" sibTransId="{E82A9244-8015-48B2-935C-CB0A29E92C8B}"/>
    <dgm:cxn modelId="{43149467-C209-4A4D-9F12-FD5AAC645FF7}" srcId="{DC32BC40-5531-45BA-8B81-ED839E1808FB}" destId="{D770F951-D4C3-4EC3-B415-59F3E95D7A93}" srcOrd="0" destOrd="0" parTransId="{8AE60B2E-41FC-442B-AF2B-24620702274E}" sibTransId="{3D9D6A91-08EA-42BA-BCBA-2ABA090704E5}"/>
    <dgm:cxn modelId="{60C4CE49-EDE3-4FEC-83A1-3B6F86605A21}" type="presOf" srcId="{DC32BC40-5531-45BA-8B81-ED839E1808FB}" destId="{E3A370D5-D90F-4894-A408-DC7B1FC401D5}" srcOrd="0" destOrd="0" presId="urn:microsoft.com/office/officeart/2008/layout/IncreasingCircleProcess"/>
    <dgm:cxn modelId="{A824B66A-4F54-4317-9378-A520701FACE0}" type="presOf" srcId="{978206ED-7587-49C1-8B41-6A2CCDF48B39}" destId="{F01BE6C7-683D-4206-839C-DC5F865A52EC}" srcOrd="0" destOrd="0" presId="urn:microsoft.com/office/officeart/2008/layout/IncreasingCircleProcess"/>
    <dgm:cxn modelId="{06C11B6F-44BB-4A04-8E60-2D0FEBA96745}" type="presOf" srcId="{0559D04E-62EA-4938-A190-268946618AB6}" destId="{B1E8A1D7-B5BD-4994-87A1-C4D5E6A50A84}" srcOrd="0" destOrd="2" presId="urn:microsoft.com/office/officeart/2008/layout/IncreasingCircleProcess"/>
    <dgm:cxn modelId="{98F4E44F-2AA0-4B87-8B75-3E09B1EAD8B0}" srcId="{978206ED-7587-49C1-8B41-6A2CCDF48B39}" destId="{0D464D37-D1BF-4E8A-A714-268A2FA9B76B}" srcOrd="0" destOrd="0" parTransId="{BB1EF442-B331-406C-889F-0CEAFBF1C1B2}" sibTransId="{D242ED45-13CD-4858-B013-4E0ADD36DA99}"/>
    <dgm:cxn modelId="{3F4D2188-9464-4FE6-9CBF-95705C84EEFA}" type="presOf" srcId="{872F73A1-0458-4415-B921-4A5650F2DDFD}" destId="{B1E8A1D7-B5BD-4994-87A1-C4D5E6A50A84}" srcOrd="0" destOrd="0" presId="urn:microsoft.com/office/officeart/2008/layout/IncreasingCircleProcess"/>
    <dgm:cxn modelId="{46196A8C-F634-48F1-A885-1B8A52877825}" type="presOf" srcId="{A33C610E-9B7C-4AC7-B4D6-C001CD2758C6}" destId="{29915B34-10BC-4975-8BFC-FD41AC2DBD5B}" srcOrd="0" destOrd="1" presId="urn:microsoft.com/office/officeart/2008/layout/IncreasingCircleProcess"/>
    <dgm:cxn modelId="{95F0A08D-E62A-450E-82A3-645ADEB82587}" srcId="{4303E407-D107-4A50-8CEA-50B1B53F2CFD}" destId="{D2BDE57F-70AB-48CE-A174-52A50A19B3BD}" srcOrd="1" destOrd="0" parTransId="{F0FAC5B5-0E47-4525-ADEA-B129EB72E026}" sibTransId="{B799E569-C012-4CF4-B152-003474539BEE}"/>
    <dgm:cxn modelId="{846F899B-AF4F-42F8-95EF-F706548FADFE}" srcId="{0DE46C82-3AE4-4659-8E20-6B1EC49E5968}" destId="{087884E0-3F25-4A43-A99B-C01CD75E3D1F}" srcOrd="0" destOrd="0" parTransId="{04A05293-3852-4F22-A592-842D86F1CB34}" sibTransId="{D46123FE-A556-4287-822A-1680870A1BFD}"/>
    <dgm:cxn modelId="{6075B29E-2BDB-42EA-840F-DD4C4718E899}" srcId="{4303E407-D107-4A50-8CEA-50B1B53F2CFD}" destId="{DC32BC40-5531-45BA-8B81-ED839E1808FB}" srcOrd="2" destOrd="0" parTransId="{F51479CE-C8F7-4920-9980-AAE00BD46A8E}" sibTransId="{C5BB2B1E-08E9-4429-B032-1656F68711A2}"/>
    <dgm:cxn modelId="{EB373BAD-41AF-4C27-B337-581C8744E6D1}" srcId="{AE664F6F-3C61-4751-ACDE-C37F0D2F6FCF}" destId="{DB5932F9-850C-4130-9BFC-868B886C7D80}" srcOrd="1" destOrd="0" parTransId="{14DC5B26-75BD-4942-BB4F-1E6C80F72A8F}" sibTransId="{0AC4ADC4-26FE-46ED-A995-1019255FA7A7}"/>
    <dgm:cxn modelId="{B08B4FB1-0BF1-4EAF-BC07-14D0AE312E7B}" type="presOf" srcId="{0D464D37-D1BF-4E8A-A714-268A2FA9B76B}" destId="{587DF9B1-6659-42B9-811C-26F69FC2AD41}" srcOrd="0" destOrd="0" presId="urn:microsoft.com/office/officeart/2008/layout/IncreasingCircleProcess"/>
    <dgm:cxn modelId="{38317EBA-D200-4BB6-9245-CE141DC13C3A}" type="presOf" srcId="{AE664F6F-3C61-4751-ACDE-C37F0D2F6FCF}" destId="{97192AA8-7BFF-4D55-8018-C8C12087AD5A}" srcOrd="0" destOrd="0" presId="urn:microsoft.com/office/officeart/2008/layout/IncreasingCircleProcess"/>
    <dgm:cxn modelId="{12D1CDBB-032C-4FAF-87B1-FB6C69BCCE13}" type="presOf" srcId="{D770F951-D4C3-4EC3-B415-59F3E95D7A93}" destId="{8343FCF9-4BEC-4359-AB4C-B4B3345A8F19}" srcOrd="0" destOrd="0" presId="urn:microsoft.com/office/officeart/2008/layout/IncreasingCircleProcess"/>
    <dgm:cxn modelId="{1DA605C6-BB03-4285-8DE3-A31FB589B55E}" srcId="{4303E407-D107-4A50-8CEA-50B1B53F2CFD}" destId="{AE664F6F-3C61-4751-ACDE-C37F0D2F6FCF}" srcOrd="4" destOrd="0" parTransId="{F8F59A92-E092-48B4-B3CD-7838660663F0}" sibTransId="{1ECD2D35-9AB3-4BDB-B4BA-8301B2204380}"/>
    <dgm:cxn modelId="{FD6FFCE1-5DBB-4314-85B7-0EFCFC33CBD5}" type="presOf" srcId="{087884E0-3F25-4A43-A99B-C01CD75E3D1F}" destId="{29915B34-10BC-4975-8BFC-FD41AC2DBD5B}" srcOrd="0" destOrd="0" presId="urn:microsoft.com/office/officeart/2008/layout/IncreasingCircleProcess"/>
    <dgm:cxn modelId="{394AA9E2-04D2-4F3D-9319-E0BFDD4E9515}" type="presOf" srcId="{4303E407-D107-4A50-8CEA-50B1B53F2CFD}" destId="{144B346B-9662-47F4-9E0C-B821F8544F77}" srcOrd="0" destOrd="0" presId="urn:microsoft.com/office/officeart/2008/layout/IncreasingCircleProcess"/>
    <dgm:cxn modelId="{6A3756EB-1EC3-4698-A4C2-5A009E7CE11A}" srcId="{D2BDE57F-70AB-48CE-A174-52A50A19B3BD}" destId="{3D69E34D-653B-4D00-9C1B-CD842980E0F4}" srcOrd="0" destOrd="0" parTransId="{87EDD091-4639-4B17-B173-08D698086611}" sibTransId="{B251BBF7-8D21-4103-9A33-0B9C9E83A34A}"/>
    <dgm:cxn modelId="{12754BEF-5021-4DC9-A584-D7436404F3CC}" type="presOf" srcId="{DB5932F9-850C-4130-9BFC-868B886C7D80}" destId="{B1E8A1D7-B5BD-4994-87A1-C4D5E6A50A84}" srcOrd="0" destOrd="1" presId="urn:microsoft.com/office/officeart/2008/layout/IncreasingCircleProcess"/>
    <dgm:cxn modelId="{2D46DCF6-69FA-4922-B623-1C98CEB079B2}" type="presOf" srcId="{3D69E34D-653B-4D00-9C1B-CD842980E0F4}" destId="{461A1E62-B75E-44C1-8352-B6D8FDA37A49}" srcOrd="0" destOrd="0" presId="urn:microsoft.com/office/officeart/2008/layout/IncreasingCircleProcess"/>
    <dgm:cxn modelId="{49D9FFF2-8A79-4D89-8E21-4BBE6A0CAE8C}" type="presParOf" srcId="{144B346B-9662-47F4-9E0C-B821F8544F77}" destId="{165E77B3-A8D8-4300-A8E7-AACAA6B3CE94}" srcOrd="0" destOrd="0" presId="urn:microsoft.com/office/officeart/2008/layout/IncreasingCircleProcess"/>
    <dgm:cxn modelId="{7256E787-9D3B-4153-8E99-99B6A5498881}" type="presParOf" srcId="{165E77B3-A8D8-4300-A8E7-AACAA6B3CE94}" destId="{75949590-9EA3-4DB6-B3E2-A299CC3EA351}" srcOrd="0" destOrd="0" presId="urn:microsoft.com/office/officeart/2008/layout/IncreasingCircleProcess"/>
    <dgm:cxn modelId="{49D8816A-1ED8-4FB1-A2A9-113C0264979A}" type="presParOf" srcId="{165E77B3-A8D8-4300-A8E7-AACAA6B3CE94}" destId="{1C3261A2-6A5F-431E-9364-A2F474793F0A}" srcOrd="1" destOrd="0" presId="urn:microsoft.com/office/officeart/2008/layout/IncreasingCircleProcess"/>
    <dgm:cxn modelId="{5FAF3E68-E20A-49BB-9FB5-1C2E3A1A8E23}" type="presParOf" srcId="{165E77B3-A8D8-4300-A8E7-AACAA6B3CE94}" destId="{587DF9B1-6659-42B9-811C-26F69FC2AD41}" srcOrd="2" destOrd="0" presId="urn:microsoft.com/office/officeart/2008/layout/IncreasingCircleProcess"/>
    <dgm:cxn modelId="{5C2299AD-982D-4C90-B984-8E76CE4EF260}" type="presParOf" srcId="{165E77B3-A8D8-4300-A8E7-AACAA6B3CE94}" destId="{F01BE6C7-683D-4206-839C-DC5F865A52EC}" srcOrd="3" destOrd="0" presId="urn:microsoft.com/office/officeart/2008/layout/IncreasingCircleProcess"/>
    <dgm:cxn modelId="{BF286083-B7BD-4AE2-A9D3-06BC10F6D6BC}" type="presParOf" srcId="{144B346B-9662-47F4-9E0C-B821F8544F77}" destId="{4ADDCB3B-EBBB-473C-B039-1F3ABF0E1C48}" srcOrd="1" destOrd="0" presId="urn:microsoft.com/office/officeart/2008/layout/IncreasingCircleProcess"/>
    <dgm:cxn modelId="{A8E836EA-C188-4129-B4DC-6F216ED44213}" type="presParOf" srcId="{144B346B-9662-47F4-9E0C-B821F8544F77}" destId="{E880E52A-1929-41FD-AD6B-986DEA33098A}" srcOrd="2" destOrd="0" presId="urn:microsoft.com/office/officeart/2008/layout/IncreasingCircleProcess"/>
    <dgm:cxn modelId="{9534C861-D68A-418D-9799-EBF9E33D05C5}" type="presParOf" srcId="{E880E52A-1929-41FD-AD6B-986DEA33098A}" destId="{23CF037E-EC43-4CC9-A675-CBCBB1C9F607}" srcOrd="0" destOrd="0" presId="urn:microsoft.com/office/officeart/2008/layout/IncreasingCircleProcess"/>
    <dgm:cxn modelId="{3C31A1A1-916D-40AD-AA56-BAA82FF60498}" type="presParOf" srcId="{E880E52A-1929-41FD-AD6B-986DEA33098A}" destId="{2DF7B6A1-911D-48F7-BC83-55BD32451021}" srcOrd="1" destOrd="0" presId="urn:microsoft.com/office/officeart/2008/layout/IncreasingCircleProcess"/>
    <dgm:cxn modelId="{587735B4-4E90-4BA2-9373-8EEBFB8B3C87}" type="presParOf" srcId="{E880E52A-1929-41FD-AD6B-986DEA33098A}" destId="{461A1E62-B75E-44C1-8352-B6D8FDA37A49}" srcOrd="2" destOrd="0" presId="urn:microsoft.com/office/officeart/2008/layout/IncreasingCircleProcess"/>
    <dgm:cxn modelId="{910BC0A6-B694-4FF9-A953-039F5D797B35}" type="presParOf" srcId="{E880E52A-1929-41FD-AD6B-986DEA33098A}" destId="{3D751C1E-7881-4BF7-9E53-12FAA156B30D}" srcOrd="3" destOrd="0" presId="urn:microsoft.com/office/officeart/2008/layout/IncreasingCircleProcess"/>
    <dgm:cxn modelId="{7EB70DF6-AD06-4A1D-9689-D7B48E1891C4}" type="presParOf" srcId="{144B346B-9662-47F4-9E0C-B821F8544F77}" destId="{4D87D110-8F22-4C02-A4A1-F8E42412986D}" srcOrd="3" destOrd="0" presId="urn:microsoft.com/office/officeart/2008/layout/IncreasingCircleProcess"/>
    <dgm:cxn modelId="{0A3DCC41-1889-4EAB-967F-017A1374C0AE}" type="presParOf" srcId="{144B346B-9662-47F4-9E0C-B821F8544F77}" destId="{62EA0C91-15FE-4DA0-AFF7-8DD0ECB506E1}" srcOrd="4" destOrd="0" presId="urn:microsoft.com/office/officeart/2008/layout/IncreasingCircleProcess"/>
    <dgm:cxn modelId="{6246D8B1-6C72-4E96-AE78-49BA10A4F9BE}" type="presParOf" srcId="{62EA0C91-15FE-4DA0-AFF7-8DD0ECB506E1}" destId="{F64CAB4E-F8BE-481F-B441-CCDE8AE09450}" srcOrd="0" destOrd="0" presId="urn:microsoft.com/office/officeart/2008/layout/IncreasingCircleProcess"/>
    <dgm:cxn modelId="{0CFF2609-B2C8-4A1F-9727-C948C1EC202C}" type="presParOf" srcId="{62EA0C91-15FE-4DA0-AFF7-8DD0ECB506E1}" destId="{5156F3B1-D809-469A-BCBE-86B11AA82E9D}" srcOrd="1" destOrd="0" presId="urn:microsoft.com/office/officeart/2008/layout/IncreasingCircleProcess"/>
    <dgm:cxn modelId="{78FF8905-4AD4-4F85-BA77-76A93502CAB6}" type="presParOf" srcId="{62EA0C91-15FE-4DA0-AFF7-8DD0ECB506E1}" destId="{8343FCF9-4BEC-4359-AB4C-B4B3345A8F19}" srcOrd="2" destOrd="0" presId="urn:microsoft.com/office/officeart/2008/layout/IncreasingCircleProcess"/>
    <dgm:cxn modelId="{8BB387BB-DAE4-497D-A030-06E5F9A8CD56}" type="presParOf" srcId="{62EA0C91-15FE-4DA0-AFF7-8DD0ECB506E1}" destId="{E3A370D5-D90F-4894-A408-DC7B1FC401D5}" srcOrd="3" destOrd="0" presId="urn:microsoft.com/office/officeart/2008/layout/IncreasingCircleProcess"/>
    <dgm:cxn modelId="{048C9028-1DC1-4C01-A07C-DA9CDEFC9C60}" type="presParOf" srcId="{144B346B-9662-47F4-9E0C-B821F8544F77}" destId="{FE0EFECD-4A00-479C-B512-338F39643450}" srcOrd="5" destOrd="0" presId="urn:microsoft.com/office/officeart/2008/layout/IncreasingCircleProcess"/>
    <dgm:cxn modelId="{8896DA21-68E8-42E0-8B90-70C704A3E29A}" type="presParOf" srcId="{144B346B-9662-47F4-9E0C-B821F8544F77}" destId="{0322DD0C-B66D-453D-B4E4-D3B9216903BD}" srcOrd="6" destOrd="0" presId="urn:microsoft.com/office/officeart/2008/layout/IncreasingCircleProcess"/>
    <dgm:cxn modelId="{40CF782F-F00F-4464-91C3-AE0B736E7667}" type="presParOf" srcId="{0322DD0C-B66D-453D-B4E4-D3B9216903BD}" destId="{F6867EAD-53C4-4CA9-A52B-7DE1049D02E3}" srcOrd="0" destOrd="0" presId="urn:microsoft.com/office/officeart/2008/layout/IncreasingCircleProcess"/>
    <dgm:cxn modelId="{AC8CBCA7-C61B-4443-9B19-80995D2CC9F8}" type="presParOf" srcId="{0322DD0C-B66D-453D-B4E4-D3B9216903BD}" destId="{F3F72C5D-F724-45B8-BF81-4E63657E1530}" srcOrd="1" destOrd="0" presId="urn:microsoft.com/office/officeart/2008/layout/IncreasingCircleProcess"/>
    <dgm:cxn modelId="{FC820D54-56AD-40AC-83F7-5F8FDAC4617D}" type="presParOf" srcId="{0322DD0C-B66D-453D-B4E4-D3B9216903BD}" destId="{29915B34-10BC-4975-8BFC-FD41AC2DBD5B}" srcOrd="2" destOrd="0" presId="urn:microsoft.com/office/officeart/2008/layout/IncreasingCircleProcess"/>
    <dgm:cxn modelId="{2BB50E08-CB92-439A-86DF-2A61AC245217}" type="presParOf" srcId="{0322DD0C-B66D-453D-B4E4-D3B9216903BD}" destId="{531E7D84-8037-4101-AA79-4B5E290E06F5}" srcOrd="3" destOrd="0" presId="urn:microsoft.com/office/officeart/2008/layout/IncreasingCircleProcess"/>
    <dgm:cxn modelId="{32322A8B-0465-4C66-8F65-B477B837643A}" type="presParOf" srcId="{144B346B-9662-47F4-9E0C-B821F8544F77}" destId="{D8B8C442-12F9-438B-B114-8EBF01FC430D}" srcOrd="7" destOrd="0" presId="urn:microsoft.com/office/officeart/2008/layout/IncreasingCircleProcess"/>
    <dgm:cxn modelId="{DED3C510-3208-44D3-BC1D-7FB02C9C2E25}" type="presParOf" srcId="{144B346B-9662-47F4-9E0C-B821F8544F77}" destId="{82703E8B-3BB0-4BFD-8426-2E6EA03048B6}" srcOrd="8" destOrd="0" presId="urn:microsoft.com/office/officeart/2008/layout/IncreasingCircleProcess"/>
    <dgm:cxn modelId="{B9FFC59F-3BC3-4120-BFFD-ED96CBFDCBD9}" type="presParOf" srcId="{82703E8B-3BB0-4BFD-8426-2E6EA03048B6}" destId="{7399DDEA-B059-4E4B-85B0-07855B63DF7C}" srcOrd="0" destOrd="0" presId="urn:microsoft.com/office/officeart/2008/layout/IncreasingCircleProcess"/>
    <dgm:cxn modelId="{92CFD3F9-4139-4907-9F58-B6F936B27F6A}" type="presParOf" srcId="{82703E8B-3BB0-4BFD-8426-2E6EA03048B6}" destId="{9A70715E-3BEA-4E93-B802-15AAEEECDC0A}" srcOrd="1" destOrd="0" presId="urn:microsoft.com/office/officeart/2008/layout/IncreasingCircleProcess"/>
    <dgm:cxn modelId="{64D52553-9FD7-4591-91D0-AA3B67802A70}" type="presParOf" srcId="{82703E8B-3BB0-4BFD-8426-2E6EA03048B6}" destId="{B1E8A1D7-B5BD-4994-87A1-C4D5E6A50A84}" srcOrd="2" destOrd="0" presId="urn:microsoft.com/office/officeart/2008/layout/IncreasingCircleProcess"/>
    <dgm:cxn modelId="{F439DAF7-D774-4C67-A082-ED19E0B1E8E7}" type="presParOf" srcId="{82703E8B-3BB0-4BFD-8426-2E6EA03048B6}" destId="{97192AA8-7BFF-4D55-8018-C8C12087AD5A}"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8F5019FD-E9A6-45DA-B33D-130C990BD5B7}" type="doc">
      <dgm:prSet loTypeId="urn:microsoft.com/office/officeart/2005/8/layout/lProcess2" loCatId="list" qsTypeId="urn:microsoft.com/office/officeart/2005/8/quickstyle/simple1" qsCatId="simple" csTypeId="urn:microsoft.com/office/officeart/2005/8/colors/accent1_1" csCatId="accent1" phldr="1"/>
      <dgm:spPr/>
      <dgm:t>
        <a:bodyPr/>
        <a:lstStyle/>
        <a:p>
          <a:endParaRPr lang="es-ES"/>
        </a:p>
      </dgm:t>
    </dgm:pt>
    <dgm:pt modelId="{E0BCCD49-2A4D-43BC-A953-505AB39B7EA2}">
      <dgm:prSet phldrT="[Texto]"/>
      <dgm:spPr/>
      <dgm:t>
        <a:bodyPr/>
        <a:lstStyle/>
        <a:p>
          <a:r>
            <a:rPr lang="es-ES" dirty="0"/>
            <a:t>Un gemelo digital puede ser tan complejo o tan simple como se necesite:</a:t>
          </a:r>
        </a:p>
      </dgm:t>
    </dgm:pt>
    <dgm:pt modelId="{159C4C59-84B3-4AA4-A9F3-0EB06A8541A1}" type="parTrans" cxnId="{1FFB5180-E413-4500-B88E-9BCE6F3B2520}">
      <dgm:prSet/>
      <dgm:spPr/>
      <dgm:t>
        <a:bodyPr/>
        <a:lstStyle/>
        <a:p>
          <a:endParaRPr lang="es-ES"/>
        </a:p>
      </dgm:t>
    </dgm:pt>
    <dgm:pt modelId="{37D71D7B-B7FD-4966-B78D-4364AF3BF817}" type="sibTrans" cxnId="{1FFB5180-E413-4500-B88E-9BCE6F3B2520}">
      <dgm:prSet/>
      <dgm:spPr/>
      <dgm:t>
        <a:bodyPr/>
        <a:lstStyle/>
        <a:p>
          <a:endParaRPr lang="es-ES"/>
        </a:p>
      </dgm:t>
    </dgm:pt>
    <dgm:pt modelId="{A5373614-7B56-412B-ABF8-7CDFCD8FB071}">
      <dgm:prSet/>
      <dgm:spPr/>
      <dgm:t>
        <a:bodyPr/>
        <a:lstStyle/>
        <a:p>
          <a:r>
            <a:rPr lang="es-ES" dirty="0"/>
            <a:t>Al definir el gemelo, habrá que tener en  cuenta:</a:t>
          </a:r>
        </a:p>
      </dgm:t>
    </dgm:pt>
    <dgm:pt modelId="{D53D1FF6-E5D1-401E-99F3-F93D47A4E4B4}" type="parTrans" cxnId="{07754A12-F232-4684-B4B2-B004D6276D59}">
      <dgm:prSet/>
      <dgm:spPr/>
      <dgm:t>
        <a:bodyPr/>
        <a:lstStyle/>
        <a:p>
          <a:endParaRPr lang="es-ES"/>
        </a:p>
      </dgm:t>
    </dgm:pt>
    <dgm:pt modelId="{F4DD3814-4139-4845-8AB5-E9D4CFB665C3}" type="sibTrans" cxnId="{07754A12-F232-4684-B4B2-B004D6276D59}">
      <dgm:prSet/>
      <dgm:spPr/>
      <dgm:t>
        <a:bodyPr/>
        <a:lstStyle/>
        <a:p>
          <a:endParaRPr lang="es-ES"/>
        </a:p>
      </dgm:t>
    </dgm:pt>
    <dgm:pt modelId="{B54CE6CF-CEDD-4408-AD87-3113830A6AB6}">
      <dgm:prSet/>
      <dgm:spPr/>
      <dgm:t>
        <a:bodyPr/>
        <a:lstStyle/>
        <a:p>
          <a:r>
            <a:rPr lang="es-ES" dirty="0"/>
            <a:t>La ingeniería, Física, Química, Estadística, Lógica empresarial.</a:t>
          </a:r>
        </a:p>
      </dgm:t>
    </dgm:pt>
    <dgm:pt modelId="{F65FB2A2-B8C2-4753-916F-D64765EC6859}" type="parTrans" cxnId="{9BB79D13-0B27-4AC2-A623-40233BE9A93A}">
      <dgm:prSet/>
      <dgm:spPr/>
      <dgm:t>
        <a:bodyPr/>
        <a:lstStyle/>
        <a:p>
          <a:endParaRPr lang="es-ES"/>
        </a:p>
      </dgm:t>
    </dgm:pt>
    <dgm:pt modelId="{A01477F0-9545-4F89-B319-24CBCE9A8866}" type="sibTrans" cxnId="{9BB79D13-0B27-4AC2-A623-40233BE9A93A}">
      <dgm:prSet/>
      <dgm:spPr/>
      <dgm:t>
        <a:bodyPr/>
        <a:lstStyle/>
        <a:p>
          <a:endParaRPr lang="es-ES"/>
        </a:p>
      </dgm:t>
    </dgm:pt>
    <dgm:pt modelId="{86391110-A530-437F-ADF3-E9964578F464}">
      <dgm:prSet/>
      <dgm:spPr/>
      <dgm:t>
        <a:bodyPr/>
        <a:lstStyle/>
        <a:p>
          <a:r>
            <a:rPr lang="es-ES" dirty="0"/>
            <a:t>Reto</a:t>
          </a:r>
        </a:p>
      </dgm:t>
    </dgm:pt>
    <dgm:pt modelId="{35A5C707-D48F-496D-8EFE-CADCF110339C}" type="parTrans" cxnId="{FEDEE442-96F7-4B54-8ED6-0F85BABE5FCE}">
      <dgm:prSet/>
      <dgm:spPr/>
      <dgm:t>
        <a:bodyPr/>
        <a:lstStyle/>
        <a:p>
          <a:endParaRPr lang="es-ES"/>
        </a:p>
      </dgm:t>
    </dgm:pt>
    <dgm:pt modelId="{DD9F5388-D430-4EC5-AA58-D9ED4F466F94}" type="sibTrans" cxnId="{FEDEE442-96F7-4B54-8ED6-0F85BABE5FCE}">
      <dgm:prSet/>
      <dgm:spPr/>
      <dgm:t>
        <a:bodyPr/>
        <a:lstStyle/>
        <a:p>
          <a:endParaRPr lang="es-ES"/>
        </a:p>
      </dgm:t>
    </dgm:pt>
    <dgm:pt modelId="{2567F8FE-5C02-4938-8B61-A30EDA1CDF2F}">
      <dgm:prSet/>
      <dgm:spPr/>
      <dgm:t>
        <a:bodyPr/>
        <a:lstStyle/>
        <a:p>
          <a:r>
            <a:rPr lang="es-ES" dirty="0"/>
            <a:t>La relación entre el modelo físico y el digital.</a:t>
          </a:r>
        </a:p>
      </dgm:t>
    </dgm:pt>
    <dgm:pt modelId="{E48ED082-79DC-404C-8F36-89C7EE07B9A1}" type="parTrans" cxnId="{6AAA8099-B23B-4D8C-A11B-9B48200B2D1B}">
      <dgm:prSet/>
      <dgm:spPr/>
      <dgm:t>
        <a:bodyPr/>
        <a:lstStyle/>
        <a:p>
          <a:endParaRPr lang="es-ES"/>
        </a:p>
      </dgm:t>
    </dgm:pt>
    <dgm:pt modelId="{5681A3DF-B3C2-4630-B33A-89E88C2E39E8}" type="sibTrans" cxnId="{6AAA8099-B23B-4D8C-A11B-9B48200B2D1B}">
      <dgm:prSet/>
      <dgm:spPr/>
      <dgm:t>
        <a:bodyPr/>
        <a:lstStyle/>
        <a:p>
          <a:endParaRPr lang="es-ES"/>
        </a:p>
      </dgm:t>
    </dgm:pt>
    <dgm:pt modelId="{7B508448-3708-4781-ABCF-E42AD27FC2E6}">
      <dgm:prSet/>
      <dgm:spPr/>
      <dgm:t>
        <a:bodyPr/>
        <a:lstStyle/>
        <a:p>
          <a:r>
            <a:rPr lang="es-ES" dirty="0"/>
            <a:t>La colección de datos del mundo físico y del digital y su relación… dato a dato </a:t>
          </a:r>
        </a:p>
      </dgm:t>
    </dgm:pt>
    <dgm:pt modelId="{A550EF5F-5C56-4834-9870-18BE01F80809}" type="parTrans" cxnId="{7648FCB5-845D-4EB0-92D9-C4C93082AAA9}">
      <dgm:prSet/>
      <dgm:spPr/>
      <dgm:t>
        <a:bodyPr/>
        <a:lstStyle/>
        <a:p>
          <a:endParaRPr lang="es-ES"/>
        </a:p>
      </dgm:t>
    </dgm:pt>
    <dgm:pt modelId="{D264F403-8F76-4233-9056-D913592A52E5}" type="sibTrans" cxnId="{7648FCB5-845D-4EB0-92D9-C4C93082AAA9}">
      <dgm:prSet/>
      <dgm:spPr/>
      <dgm:t>
        <a:bodyPr/>
        <a:lstStyle/>
        <a:p>
          <a:endParaRPr lang="es-ES"/>
        </a:p>
      </dgm:t>
    </dgm:pt>
    <dgm:pt modelId="{837FE725-0159-4453-8C21-67E95C5AD4CE}">
      <dgm:prSet phldrT="[Texto]"/>
      <dgm:spPr/>
      <dgm:t>
        <a:bodyPr/>
        <a:lstStyle/>
        <a:p>
          <a:r>
            <a:rPr lang="en-US" dirty="0"/>
            <a:t>Desde un objeto simple</a:t>
          </a:r>
          <a:endParaRPr lang="es-ES" dirty="0"/>
        </a:p>
      </dgm:t>
    </dgm:pt>
    <dgm:pt modelId="{4CE9F356-01C7-4EFB-8FFC-3712A8C94B04}" type="parTrans" cxnId="{85FE93B8-3133-4BEE-9766-45A87066B97B}">
      <dgm:prSet/>
      <dgm:spPr/>
      <dgm:t>
        <a:bodyPr/>
        <a:lstStyle/>
        <a:p>
          <a:endParaRPr lang="es-ES"/>
        </a:p>
      </dgm:t>
    </dgm:pt>
    <dgm:pt modelId="{E25B3F3B-397B-41D4-8452-590EC03B9C0E}" type="sibTrans" cxnId="{85FE93B8-3133-4BEE-9766-45A87066B97B}">
      <dgm:prSet/>
      <dgm:spPr/>
      <dgm:t>
        <a:bodyPr/>
        <a:lstStyle/>
        <a:p>
          <a:endParaRPr lang="es-ES"/>
        </a:p>
      </dgm:t>
    </dgm:pt>
    <dgm:pt modelId="{869D8F62-40CE-47F0-A188-C918E4919A3C}">
      <dgm:prSet phldrT="[Texto]"/>
      <dgm:spPr/>
      <dgm:t>
        <a:bodyPr/>
        <a:lstStyle/>
        <a:p>
          <a:r>
            <a:rPr lang="en-US" dirty="0"/>
            <a:t>A una factoría completa a una ciudad completa.</a:t>
          </a:r>
          <a:endParaRPr lang="es-ES" dirty="0"/>
        </a:p>
      </dgm:t>
    </dgm:pt>
    <dgm:pt modelId="{D148DD5D-4C69-4D9A-A688-8F092FE10FA5}" type="parTrans" cxnId="{8DAAD450-D703-455B-A3F1-8475905DC10A}">
      <dgm:prSet/>
      <dgm:spPr/>
      <dgm:t>
        <a:bodyPr/>
        <a:lstStyle/>
        <a:p>
          <a:endParaRPr lang="es-ES"/>
        </a:p>
      </dgm:t>
    </dgm:pt>
    <dgm:pt modelId="{086ECB52-A988-4EC2-BC87-0249ABDB0645}" type="sibTrans" cxnId="{8DAAD450-D703-455B-A3F1-8475905DC10A}">
      <dgm:prSet/>
      <dgm:spPr/>
      <dgm:t>
        <a:bodyPr/>
        <a:lstStyle/>
        <a:p>
          <a:endParaRPr lang="es-ES"/>
        </a:p>
      </dgm:t>
    </dgm:pt>
    <dgm:pt modelId="{B41AE3DE-9F5F-40BD-9C46-FADEFE884670}">
      <dgm:prSet/>
      <dgm:spPr/>
      <dgm:t>
        <a:bodyPr/>
        <a:lstStyle/>
        <a:p>
          <a:r>
            <a:rPr lang="en-US" dirty="0"/>
            <a:t>Los profesionales</a:t>
          </a:r>
          <a:endParaRPr lang="es-ES" dirty="0"/>
        </a:p>
      </dgm:t>
    </dgm:pt>
    <dgm:pt modelId="{ABDE0859-DF04-425F-8185-56F157D50EB4}" type="parTrans" cxnId="{3E8BF753-3464-4D7C-8456-A3B4F9E63ECB}">
      <dgm:prSet/>
      <dgm:spPr/>
      <dgm:t>
        <a:bodyPr/>
        <a:lstStyle/>
        <a:p>
          <a:endParaRPr lang="es-ES"/>
        </a:p>
      </dgm:t>
    </dgm:pt>
    <dgm:pt modelId="{1372B1BE-9D5A-4590-AE55-66D03D11A4E6}" type="sibTrans" cxnId="{3E8BF753-3464-4D7C-8456-A3B4F9E63ECB}">
      <dgm:prSet/>
      <dgm:spPr/>
      <dgm:t>
        <a:bodyPr/>
        <a:lstStyle/>
        <a:p>
          <a:endParaRPr lang="es-ES"/>
        </a:p>
      </dgm:t>
    </dgm:pt>
    <dgm:pt modelId="{9C55AA81-FAC2-4B69-8A0D-8963113B3F94}">
      <dgm:prSet phldrT="[Texto]"/>
      <dgm:spPr/>
      <dgm:t>
        <a:bodyPr/>
        <a:lstStyle/>
        <a:p>
          <a:r>
            <a:rPr lang="es-ES" dirty="0"/>
            <a:t>Suelen ser expertos en matemáticas aplicadas o ciencia de datos. </a:t>
          </a:r>
          <a:endParaRPr lang="en-US" dirty="0"/>
        </a:p>
      </dgm:t>
    </dgm:pt>
    <dgm:pt modelId="{C30CD21E-E7F7-4E41-B6F9-830723F3BEC0}" type="parTrans" cxnId="{08617028-8EDC-41E0-8778-5EE3D3DD11FB}">
      <dgm:prSet/>
      <dgm:spPr/>
      <dgm:t>
        <a:bodyPr/>
        <a:lstStyle/>
        <a:p>
          <a:endParaRPr lang="es-ES"/>
        </a:p>
      </dgm:t>
    </dgm:pt>
    <dgm:pt modelId="{3320FCAF-0A80-4D62-9316-A42CD966ECAB}" type="sibTrans" cxnId="{08617028-8EDC-41E0-8778-5EE3D3DD11FB}">
      <dgm:prSet/>
      <dgm:spPr/>
      <dgm:t>
        <a:bodyPr/>
        <a:lstStyle/>
        <a:p>
          <a:endParaRPr lang="es-ES"/>
        </a:p>
      </dgm:t>
    </dgm:pt>
    <dgm:pt modelId="{F038E316-E62F-42C8-95C9-F02D7C12E899}">
      <dgm:prSet/>
      <dgm:spPr/>
      <dgm:t>
        <a:bodyPr/>
        <a:lstStyle/>
        <a:p>
          <a:r>
            <a:rPr lang="es-ES" dirty="0"/>
            <a:t>Analizan la física y los datos operativos de un objeto y desarrollan un modelo matemático que simula el original.</a:t>
          </a:r>
        </a:p>
      </dgm:t>
    </dgm:pt>
    <dgm:pt modelId="{3B70FBA5-A81C-476D-9D87-29F2672700F7}" type="parTrans" cxnId="{7B032B5A-C8B7-40CD-BF4A-A7CABFCB49F9}">
      <dgm:prSet/>
      <dgm:spPr/>
      <dgm:t>
        <a:bodyPr/>
        <a:lstStyle/>
        <a:p>
          <a:endParaRPr lang="es-ES"/>
        </a:p>
      </dgm:t>
    </dgm:pt>
    <dgm:pt modelId="{D836458B-CE6A-489F-8127-7FB4D1D56E01}" type="sibTrans" cxnId="{7B032B5A-C8B7-40CD-BF4A-A7CABFCB49F9}">
      <dgm:prSet/>
      <dgm:spPr/>
      <dgm:t>
        <a:bodyPr/>
        <a:lstStyle/>
        <a:p>
          <a:endParaRPr lang="es-ES"/>
        </a:p>
      </dgm:t>
    </dgm:pt>
    <dgm:pt modelId="{843CD1AC-067C-43C3-A6FA-C55EC0BDDCBB}" type="pres">
      <dgm:prSet presAssocID="{8F5019FD-E9A6-45DA-B33D-130C990BD5B7}" presName="theList" presStyleCnt="0">
        <dgm:presLayoutVars>
          <dgm:dir/>
          <dgm:animLvl val="lvl"/>
          <dgm:resizeHandles val="exact"/>
        </dgm:presLayoutVars>
      </dgm:prSet>
      <dgm:spPr/>
    </dgm:pt>
    <dgm:pt modelId="{1CA30015-057D-4C7B-9D9C-3719285F79A7}" type="pres">
      <dgm:prSet presAssocID="{E0BCCD49-2A4D-43BC-A953-505AB39B7EA2}" presName="compNode" presStyleCnt="0"/>
      <dgm:spPr/>
    </dgm:pt>
    <dgm:pt modelId="{FD7CBFBA-E46C-4438-9138-87493F9141FB}" type="pres">
      <dgm:prSet presAssocID="{E0BCCD49-2A4D-43BC-A953-505AB39B7EA2}" presName="aNode" presStyleLbl="bgShp" presStyleIdx="0" presStyleCnt="4"/>
      <dgm:spPr/>
    </dgm:pt>
    <dgm:pt modelId="{14FB31F7-6D2A-4DDB-A2A4-84877A188D1C}" type="pres">
      <dgm:prSet presAssocID="{E0BCCD49-2A4D-43BC-A953-505AB39B7EA2}" presName="textNode" presStyleLbl="bgShp" presStyleIdx="0" presStyleCnt="4"/>
      <dgm:spPr/>
    </dgm:pt>
    <dgm:pt modelId="{C2A9A8A7-F9ED-42A1-9A62-0FDFE37EE39B}" type="pres">
      <dgm:prSet presAssocID="{E0BCCD49-2A4D-43BC-A953-505AB39B7EA2}" presName="compChildNode" presStyleCnt="0"/>
      <dgm:spPr/>
    </dgm:pt>
    <dgm:pt modelId="{98812E80-0D54-4639-BD94-4AABBDDE8C1D}" type="pres">
      <dgm:prSet presAssocID="{E0BCCD49-2A4D-43BC-A953-505AB39B7EA2}" presName="theInnerList" presStyleCnt="0"/>
      <dgm:spPr/>
    </dgm:pt>
    <dgm:pt modelId="{D4D4CA6E-D2E5-4474-925C-900EA3E8CCAA}" type="pres">
      <dgm:prSet presAssocID="{837FE725-0159-4453-8C21-67E95C5AD4CE}" presName="childNode" presStyleLbl="node1" presStyleIdx="0" presStyleCnt="7">
        <dgm:presLayoutVars>
          <dgm:bulletEnabled val="1"/>
        </dgm:presLayoutVars>
      </dgm:prSet>
      <dgm:spPr/>
    </dgm:pt>
    <dgm:pt modelId="{750EF9CC-0F47-443E-811C-436DCDFD2721}" type="pres">
      <dgm:prSet presAssocID="{837FE725-0159-4453-8C21-67E95C5AD4CE}" presName="aSpace2" presStyleCnt="0"/>
      <dgm:spPr/>
    </dgm:pt>
    <dgm:pt modelId="{51111A17-9557-4BB5-98A1-1C7ADB00113A}" type="pres">
      <dgm:prSet presAssocID="{869D8F62-40CE-47F0-A188-C918E4919A3C}" presName="childNode" presStyleLbl="node1" presStyleIdx="1" presStyleCnt="7">
        <dgm:presLayoutVars>
          <dgm:bulletEnabled val="1"/>
        </dgm:presLayoutVars>
      </dgm:prSet>
      <dgm:spPr/>
    </dgm:pt>
    <dgm:pt modelId="{2485CD22-DC42-4123-929C-1A507A439917}" type="pres">
      <dgm:prSet presAssocID="{E0BCCD49-2A4D-43BC-A953-505AB39B7EA2}" presName="aSpace" presStyleCnt="0"/>
      <dgm:spPr/>
    </dgm:pt>
    <dgm:pt modelId="{273864AE-1131-42D7-A966-F0B590D87A50}" type="pres">
      <dgm:prSet presAssocID="{A5373614-7B56-412B-ABF8-7CDFCD8FB071}" presName="compNode" presStyleCnt="0"/>
      <dgm:spPr/>
    </dgm:pt>
    <dgm:pt modelId="{C2460F87-3A90-4719-8C5D-103CA94BDF4E}" type="pres">
      <dgm:prSet presAssocID="{A5373614-7B56-412B-ABF8-7CDFCD8FB071}" presName="aNode" presStyleLbl="bgShp" presStyleIdx="1" presStyleCnt="4"/>
      <dgm:spPr/>
    </dgm:pt>
    <dgm:pt modelId="{8ADEC16B-D74D-4446-B1E3-F4C98385A135}" type="pres">
      <dgm:prSet presAssocID="{A5373614-7B56-412B-ABF8-7CDFCD8FB071}" presName="textNode" presStyleLbl="bgShp" presStyleIdx="1" presStyleCnt="4"/>
      <dgm:spPr/>
    </dgm:pt>
    <dgm:pt modelId="{DBC4993D-073B-46B4-B779-055F383223F2}" type="pres">
      <dgm:prSet presAssocID="{A5373614-7B56-412B-ABF8-7CDFCD8FB071}" presName="compChildNode" presStyleCnt="0"/>
      <dgm:spPr/>
    </dgm:pt>
    <dgm:pt modelId="{60F65D7C-82EF-45D8-A42A-C3CA2E3B4ACC}" type="pres">
      <dgm:prSet presAssocID="{A5373614-7B56-412B-ABF8-7CDFCD8FB071}" presName="theInnerList" presStyleCnt="0"/>
      <dgm:spPr/>
    </dgm:pt>
    <dgm:pt modelId="{680706C3-65B6-4E40-A788-9EC5E45BC089}" type="pres">
      <dgm:prSet presAssocID="{B54CE6CF-CEDD-4408-AD87-3113830A6AB6}" presName="childNode" presStyleLbl="node1" presStyleIdx="2" presStyleCnt="7">
        <dgm:presLayoutVars>
          <dgm:bulletEnabled val="1"/>
        </dgm:presLayoutVars>
      </dgm:prSet>
      <dgm:spPr/>
    </dgm:pt>
    <dgm:pt modelId="{A81B6829-0C12-4A69-A31C-F9CD4D69F7E3}" type="pres">
      <dgm:prSet presAssocID="{A5373614-7B56-412B-ABF8-7CDFCD8FB071}" presName="aSpace" presStyleCnt="0"/>
      <dgm:spPr/>
    </dgm:pt>
    <dgm:pt modelId="{DF935310-1EE9-4638-A83A-6C14C303BC90}" type="pres">
      <dgm:prSet presAssocID="{B41AE3DE-9F5F-40BD-9C46-FADEFE884670}" presName="compNode" presStyleCnt="0"/>
      <dgm:spPr/>
    </dgm:pt>
    <dgm:pt modelId="{2ACC35DC-7A72-471B-96F6-F4AA09F7F060}" type="pres">
      <dgm:prSet presAssocID="{B41AE3DE-9F5F-40BD-9C46-FADEFE884670}" presName="aNode" presStyleLbl="bgShp" presStyleIdx="2" presStyleCnt="4"/>
      <dgm:spPr/>
    </dgm:pt>
    <dgm:pt modelId="{DD697BFA-979F-4BFA-8CF2-BCD62294D8EB}" type="pres">
      <dgm:prSet presAssocID="{B41AE3DE-9F5F-40BD-9C46-FADEFE884670}" presName="textNode" presStyleLbl="bgShp" presStyleIdx="2" presStyleCnt="4"/>
      <dgm:spPr/>
    </dgm:pt>
    <dgm:pt modelId="{B72642E2-9E7A-4B10-9BBD-C425940F2CA9}" type="pres">
      <dgm:prSet presAssocID="{B41AE3DE-9F5F-40BD-9C46-FADEFE884670}" presName="compChildNode" presStyleCnt="0"/>
      <dgm:spPr/>
    </dgm:pt>
    <dgm:pt modelId="{77619269-E02C-47E2-93CB-277DE040E17E}" type="pres">
      <dgm:prSet presAssocID="{B41AE3DE-9F5F-40BD-9C46-FADEFE884670}" presName="theInnerList" presStyleCnt="0"/>
      <dgm:spPr/>
    </dgm:pt>
    <dgm:pt modelId="{3B95F3A4-06D7-435E-871B-8BBF0F84FA40}" type="pres">
      <dgm:prSet presAssocID="{9C55AA81-FAC2-4B69-8A0D-8963113B3F94}" presName="childNode" presStyleLbl="node1" presStyleIdx="3" presStyleCnt="7">
        <dgm:presLayoutVars>
          <dgm:bulletEnabled val="1"/>
        </dgm:presLayoutVars>
      </dgm:prSet>
      <dgm:spPr/>
    </dgm:pt>
    <dgm:pt modelId="{487DEF3A-AEE6-4E2A-BA6A-A2536DB9A856}" type="pres">
      <dgm:prSet presAssocID="{9C55AA81-FAC2-4B69-8A0D-8963113B3F94}" presName="aSpace2" presStyleCnt="0"/>
      <dgm:spPr/>
    </dgm:pt>
    <dgm:pt modelId="{A04D708D-CC12-4045-A725-E0D298FAF0C7}" type="pres">
      <dgm:prSet presAssocID="{F038E316-E62F-42C8-95C9-F02D7C12E899}" presName="childNode" presStyleLbl="node1" presStyleIdx="4" presStyleCnt="7">
        <dgm:presLayoutVars>
          <dgm:bulletEnabled val="1"/>
        </dgm:presLayoutVars>
      </dgm:prSet>
      <dgm:spPr/>
    </dgm:pt>
    <dgm:pt modelId="{BEF9A4F3-AB3A-46BD-B85B-3B5217A4FA7A}" type="pres">
      <dgm:prSet presAssocID="{B41AE3DE-9F5F-40BD-9C46-FADEFE884670}" presName="aSpace" presStyleCnt="0"/>
      <dgm:spPr/>
    </dgm:pt>
    <dgm:pt modelId="{AB460065-D79E-4434-A985-55888EAFC7F0}" type="pres">
      <dgm:prSet presAssocID="{86391110-A530-437F-ADF3-E9964578F464}" presName="compNode" presStyleCnt="0"/>
      <dgm:spPr/>
    </dgm:pt>
    <dgm:pt modelId="{2E6A22C7-F026-4A5F-B297-D7014961751A}" type="pres">
      <dgm:prSet presAssocID="{86391110-A530-437F-ADF3-E9964578F464}" presName="aNode" presStyleLbl="bgShp" presStyleIdx="3" presStyleCnt="4"/>
      <dgm:spPr/>
    </dgm:pt>
    <dgm:pt modelId="{E4926035-2838-4948-A9D7-DF6B72462C86}" type="pres">
      <dgm:prSet presAssocID="{86391110-A530-437F-ADF3-E9964578F464}" presName="textNode" presStyleLbl="bgShp" presStyleIdx="3" presStyleCnt="4"/>
      <dgm:spPr/>
    </dgm:pt>
    <dgm:pt modelId="{2B36C4F9-ADA4-4985-8627-CF79945F5169}" type="pres">
      <dgm:prSet presAssocID="{86391110-A530-437F-ADF3-E9964578F464}" presName="compChildNode" presStyleCnt="0"/>
      <dgm:spPr/>
    </dgm:pt>
    <dgm:pt modelId="{B122ACFD-F7B3-49C6-AE90-717299374989}" type="pres">
      <dgm:prSet presAssocID="{86391110-A530-437F-ADF3-E9964578F464}" presName="theInnerList" presStyleCnt="0"/>
      <dgm:spPr/>
    </dgm:pt>
    <dgm:pt modelId="{825439CB-C8B1-4D5F-863B-82042C875D97}" type="pres">
      <dgm:prSet presAssocID="{2567F8FE-5C02-4938-8B61-A30EDA1CDF2F}" presName="childNode" presStyleLbl="node1" presStyleIdx="5" presStyleCnt="7">
        <dgm:presLayoutVars>
          <dgm:bulletEnabled val="1"/>
        </dgm:presLayoutVars>
      </dgm:prSet>
      <dgm:spPr/>
    </dgm:pt>
    <dgm:pt modelId="{01F7E333-2F84-4FB1-8261-008829311D7D}" type="pres">
      <dgm:prSet presAssocID="{2567F8FE-5C02-4938-8B61-A30EDA1CDF2F}" presName="aSpace2" presStyleCnt="0"/>
      <dgm:spPr/>
    </dgm:pt>
    <dgm:pt modelId="{93B3E5F4-DEDC-44EA-841F-A2694F2467D9}" type="pres">
      <dgm:prSet presAssocID="{7B508448-3708-4781-ABCF-E42AD27FC2E6}" presName="childNode" presStyleLbl="node1" presStyleIdx="6" presStyleCnt="7">
        <dgm:presLayoutVars>
          <dgm:bulletEnabled val="1"/>
        </dgm:presLayoutVars>
      </dgm:prSet>
      <dgm:spPr/>
    </dgm:pt>
  </dgm:ptLst>
  <dgm:cxnLst>
    <dgm:cxn modelId="{07754A12-F232-4684-B4B2-B004D6276D59}" srcId="{8F5019FD-E9A6-45DA-B33D-130C990BD5B7}" destId="{A5373614-7B56-412B-ABF8-7CDFCD8FB071}" srcOrd="1" destOrd="0" parTransId="{D53D1FF6-E5D1-401E-99F3-F93D47A4E4B4}" sibTransId="{F4DD3814-4139-4845-8AB5-E9D4CFB665C3}"/>
    <dgm:cxn modelId="{CB675A12-0C71-4C5E-B385-13B7F48A2339}" type="presOf" srcId="{E0BCCD49-2A4D-43BC-A953-505AB39B7EA2}" destId="{FD7CBFBA-E46C-4438-9138-87493F9141FB}" srcOrd="0" destOrd="0" presId="urn:microsoft.com/office/officeart/2005/8/layout/lProcess2"/>
    <dgm:cxn modelId="{9BB79D13-0B27-4AC2-A623-40233BE9A93A}" srcId="{A5373614-7B56-412B-ABF8-7CDFCD8FB071}" destId="{B54CE6CF-CEDD-4408-AD87-3113830A6AB6}" srcOrd="0" destOrd="0" parTransId="{F65FB2A2-B8C2-4753-916F-D64765EC6859}" sibTransId="{A01477F0-9545-4F89-B319-24CBCE9A8866}"/>
    <dgm:cxn modelId="{08617028-8EDC-41E0-8778-5EE3D3DD11FB}" srcId="{B41AE3DE-9F5F-40BD-9C46-FADEFE884670}" destId="{9C55AA81-FAC2-4B69-8A0D-8963113B3F94}" srcOrd="0" destOrd="0" parTransId="{C30CD21E-E7F7-4E41-B6F9-830723F3BEC0}" sibTransId="{3320FCAF-0A80-4D62-9316-A42CD966ECAB}"/>
    <dgm:cxn modelId="{11AE9336-CF3A-4B2D-94DC-CEC43CC6907F}" type="presOf" srcId="{86391110-A530-437F-ADF3-E9964578F464}" destId="{2E6A22C7-F026-4A5F-B297-D7014961751A}" srcOrd="0" destOrd="0" presId="urn:microsoft.com/office/officeart/2005/8/layout/lProcess2"/>
    <dgm:cxn modelId="{F5E7393F-E8FB-4EA5-B882-2A2BD4E0F7B2}" type="presOf" srcId="{B41AE3DE-9F5F-40BD-9C46-FADEFE884670}" destId="{2ACC35DC-7A72-471B-96F6-F4AA09F7F060}" srcOrd="0" destOrd="0" presId="urn:microsoft.com/office/officeart/2005/8/layout/lProcess2"/>
    <dgm:cxn modelId="{FEDEE442-96F7-4B54-8ED6-0F85BABE5FCE}" srcId="{8F5019FD-E9A6-45DA-B33D-130C990BD5B7}" destId="{86391110-A530-437F-ADF3-E9964578F464}" srcOrd="3" destOrd="0" parTransId="{35A5C707-D48F-496D-8EFE-CADCF110339C}" sibTransId="{DD9F5388-D430-4EC5-AA58-D9ED4F466F94}"/>
    <dgm:cxn modelId="{1ED7596A-0402-411D-BE18-F9742A76B1BD}" type="presOf" srcId="{86391110-A530-437F-ADF3-E9964578F464}" destId="{E4926035-2838-4948-A9D7-DF6B72462C86}" srcOrd="1" destOrd="0" presId="urn:microsoft.com/office/officeart/2005/8/layout/lProcess2"/>
    <dgm:cxn modelId="{8DAAD450-D703-455B-A3F1-8475905DC10A}" srcId="{E0BCCD49-2A4D-43BC-A953-505AB39B7EA2}" destId="{869D8F62-40CE-47F0-A188-C918E4919A3C}" srcOrd="1" destOrd="0" parTransId="{D148DD5D-4C69-4D9A-A688-8F092FE10FA5}" sibTransId="{086ECB52-A988-4EC2-BC87-0249ABDB0645}"/>
    <dgm:cxn modelId="{3E8BF753-3464-4D7C-8456-A3B4F9E63ECB}" srcId="{8F5019FD-E9A6-45DA-B33D-130C990BD5B7}" destId="{B41AE3DE-9F5F-40BD-9C46-FADEFE884670}" srcOrd="2" destOrd="0" parTransId="{ABDE0859-DF04-425F-8185-56F157D50EB4}" sibTransId="{1372B1BE-9D5A-4590-AE55-66D03D11A4E6}"/>
    <dgm:cxn modelId="{B021CE76-B5BE-4270-BBE8-B1D25459778F}" type="presOf" srcId="{869D8F62-40CE-47F0-A188-C918E4919A3C}" destId="{51111A17-9557-4BB5-98A1-1C7ADB00113A}" srcOrd="0" destOrd="0" presId="urn:microsoft.com/office/officeart/2005/8/layout/lProcess2"/>
    <dgm:cxn modelId="{7B032B5A-C8B7-40CD-BF4A-A7CABFCB49F9}" srcId="{B41AE3DE-9F5F-40BD-9C46-FADEFE884670}" destId="{F038E316-E62F-42C8-95C9-F02D7C12E899}" srcOrd="1" destOrd="0" parTransId="{3B70FBA5-A81C-476D-9D87-29F2672700F7}" sibTransId="{D836458B-CE6A-489F-8127-7FB4D1D56E01}"/>
    <dgm:cxn modelId="{34AB5A7B-A517-4C50-8EDC-66F43D13B5D6}" type="presOf" srcId="{837FE725-0159-4453-8C21-67E95C5AD4CE}" destId="{D4D4CA6E-D2E5-4474-925C-900EA3E8CCAA}" srcOrd="0" destOrd="0" presId="urn:microsoft.com/office/officeart/2005/8/layout/lProcess2"/>
    <dgm:cxn modelId="{1FFB5180-E413-4500-B88E-9BCE6F3B2520}" srcId="{8F5019FD-E9A6-45DA-B33D-130C990BD5B7}" destId="{E0BCCD49-2A4D-43BC-A953-505AB39B7EA2}" srcOrd="0" destOrd="0" parTransId="{159C4C59-84B3-4AA4-A9F3-0EB06A8541A1}" sibTransId="{37D71D7B-B7FD-4966-B78D-4364AF3BF817}"/>
    <dgm:cxn modelId="{3FACD281-53E3-4AED-AEA1-C2D2DEE7BDB0}" type="presOf" srcId="{A5373614-7B56-412B-ABF8-7CDFCD8FB071}" destId="{8ADEC16B-D74D-4446-B1E3-F4C98385A135}" srcOrd="1" destOrd="0" presId="urn:microsoft.com/office/officeart/2005/8/layout/lProcess2"/>
    <dgm:cxn modelId="{254AFC8D-2BFC-4E0C-8DB2-CEC5DE6B359E}" type="presOf" srcId="{8F5019FD-E9A6-45DA-B33D-130C990BD5B7}" destId="{843CD1AC-067C-43C3-A6FA-C55EC0BDDCBB}" srcOrd="0" destOrd="0" presId="urn:microsoft.com/office/officeart/2005/8/layout/lProcess2"/>
    <dgm:cxn modelId="{6AAA8099-B23B-4D8C-A11B-9B48200B2D1B}" srcId="{86391110-A530-437F-ADF3-E9964578F464}" destId="{2567F8FE-5C02-4938-8B61-A30EDA1CDF2F}" srcOrd="0" destOrd="0" parTransId="{E48ED082-79DC-404C-8F36-89C7EE07B9A1}" sibTransId="{5681A3DF-B3C2-4630-B33A-89E88C2E39E8}"/>
    <dgm:cxn modelId="{6FC991A0-00AD-4F0F-8167-5A93A614C4DE}" type="presOf" srcId="{9C55AA81-FAC2-4B69-8A0D-8963113B3F94}" destId="{3B95F3A4-06D7-435E-871B-8BBF0F84FA40}" srcOrd="0" destOrd="0" presId="urn:microsoft.com/office/officeart/2005/8/layout/lProcess2"/>
    <dgm:cxn modelId="{C040C5A4-9DCD-4F77-A3CC-8B6618B480EF}" type="presOf" srcId="{2567F8FE-5C02-4938-8B61-A30EDA1CDF2F}" destId="{825439CB-C8B1-4D5F-863B-82042C875D97}" srcOrd="0" destOrd="0" presId="urn:microsoft.com/office/officeart/2005/8/layout/lProcess2"/>
    <dgm:cxn modelId="{7648FCB5-845D-4EB0-92D9-C4C93082AAA9}" srcId="{86391110-A530-437F-ADF3-E9964578F464}" destId="{7B508448-3708-4781-ABCF-E42AD27FC2E6}" srcOrd="1" destOrd="0" parTransId="{A550EF5F-5C56-4834-9870-18BE01F80809}" sibTransId="{D264F403-8F76-4233-9056-D913592A52E5}"/>
    <dgm:cxn modelId="{85FE93B8-3133-4BEE-9766-45A87066B97B}" srcId="{E0BCCD49-2A4D-43BC-A953-505AB39B7EA2}" destId="{837FE725-0159-4453-8C21-67E95C5AD4CE}" srcOrd="0" destOrd="0" parTransId="{4CE9F356-01C7-4EFB-8FFC-3712A8C94B04}" sibTransId="{E25B3F3B-397B-41D4-8452-590EC03B9C0E}"/>
    <dgm:cxn modelId="{090C43D6-718A-475F-B222-A5B130A32CBF}" type="presOf" srcId="{7B508448-3708-4781-ABCF-E42AD27FC2E6}" destId="{93B3E5F4-DEDC-44EA-841F-A2694F2467D9}" srcOrd="0" destOrd="0" presId="urn:microsoft.com/office/officeart/2005/8/layout/lProcess2"/>
    <dgm:cxn modelId="{E136DFD8-6C89-442D-B3DA-CA037439C645}" type="presOf" srcId="{B54CE6CF-CEDD-4408-AD87-3113830A6AB6}" destId="{680706C3-65B6-4E40-A788-9EC5E45BC089}" srcOrd="0" destOrd="0" presId="urn:microsoft.com/office/officeart/2005/8/layout/lProcess2"/>
    <dgm:cxn modelId="{6496C4E0-ADEB-4B13-81D7-BED0818DCF47}" type="presOf" srcId="{E0BCCD49-2A4D-43BC-A953-505AB39B7EA2}" destId="{14FB31F7-6D2A-4DDB-A2A4-84877A188D1C}" srcOrd="1" destOrd="0" presId="urn:microsoft.com/office/officeart/2005/8/layout/lProcess2"/>
    <dgm:cxn modelId="{764FA7E7-21BC-449A-82B7-E0E2975D45DD}" type="presOf" srcId="{A5373614-7B56-412B-ABF8-7CDFCD8FB071}" destId="{C2460F87-3A90-4719-8C5D-103CA94BDF4E}" srcOrd="0" destOrd="0" presId="urn:microsoft.com/office/officeart/2005/8/layout/lProcess2"/>
    <dgm:cxn modelId="{AC36CEEB-7D2F-470B-9545-19791730DD91}" type="presOf" srcId="{F038E316-E62F-42C8-95C9-F02D7C12E899}" destId="{A04D708D-CC12-4045-A725-E0D298FAF0C7}" srcOrd="0" destOrd="0" presId="urn:microsoft.com/office/officeart/2005/8/layout/lProcess2"/>
    <dgm:cxn modelId="{CC9778F8-97E8-437E-8686-598C321D0CE6}" type="presOf" srcId="{B41AE3DE-9F5F-40BD-9C46-FADEFE884670}" destId="{DD697BFA-979F-4BFA-8CF2-BCD62294D8EB}" srcOrd="1" destOrd="0" presId="urn:microsoft.com/office/officeart/2005/8/layout/lProcess2"/>
    <dgm:cxn modelId="{D08FBB3E-465D-495F-BB95-41EFA6FED759}" type="presParOf" srcId="{843CD1AC-067C-43C3-A6FA-C55EC0BDDCBB}" destId="{1CA30015-057D-4C7B-9D9C-3719285F79A7}" srcOrd="0" destOrd="0" presId="urn:microsoft.com/office/officeart/2005/8/layout/lProcess2"/>
    <dgm:cxn modelId="{1BF437C9-2589-41EE-B85C-70A999D823CD}" type="presParOf" srcId="{1CA30015-057D-4C7B-9D9C-3719285F79A7}" destId="{FD7CBFBA-E46C-4438-9138-87493F9141FB}" srcOrd="0" destOrd="0" presId="urn:microsoft.com/office/officeart/2005/8/layout/lProcess2"/>
    <dgm:cxn modelId="{094D28B4-90FF-49F8-A167-F848C1E122CF}" type="presParOf" srcId="{1CA30015-057D-4C7B-9D9C-3719285F79A7}" destId="{14FB31F7-6D2A-4DDB-A2A4-84877A188D1C}" srcOrd="1" destOrd="0" presId="urn:microsoft.com/office/officeart/2005/8/layout/lProcess2"/>
    <dgm:cxn modelId="{62AA2296-971E-49DF-B93F-768C6DC3FED1}" type="presParOf" srcId="{1CA30015-057D-4C7B-9D9C-3719285F79A7}" destId="{C2A9A8A7-F9ED-42A1-9A62-0FDFE37EE39B}" srcOrd="2" destOrd="0" presId="urn:microsoft.com/office/officeart/2005/8/layout/lProcess2"/>
    <dgm:cxn modelId="{6A372AB9-BC8B-47E2-97E4-C75CF0AB1BEB}" type="presParOf" srcId="{C2A9A8A7-F9ED-42A1-9A62-0FDFE37EE39B}" destId="{98812E80-0D54-4639-BD94-4AABBDDE8C1D}" srcOrd="0" destOrd="0" presId="urn:microsoft.com/office/officeart/2005/8/layout/lProcess2"/>
    <dgm:cxn modelId="{BB0A9098-C281-42DE-B47E-0BEEFBB5600F}" type="presParOf" srcId="{98812E80-0D54-4639-BD94-4AABBDDE8C1D}" destId="{D4D4CA6E-D2E5-4474-925C-900EA3E8CCAA}" srcOrd="0" destOrd="0" presId="urn:microsoft.com/office/officeart/2005/8/layout/lProcess2"/>
    <dgm:cxn modelId="{4FE5274E-8E57-4141-9FC1-6EB45AEA364A}" type="presParOf" srcId="{98812E80-0D54-4639-BD94-4AABBDDE8C1D}" destId="{750EF9CC-0F47-443E-811C-436DCDFD2721}" srcOrd="1" destOrd="0" presId="urn:microsoft.com/office/officeart/2005/8/layout/lProcess2"/>
    <dgm:cxn modelId="{DD8B69ED-C32D-4269-8F4E-2CD0A37AB09F}" type="presParOf" srcId="{98812E80-0D54-4639-BD94-4AABBDDE8C1D}" destId="{51111A17-9557-4BB5-98A1-1C7ADB00113A}" srcOrd="2" destOrd="0" presId="urn:microsoft.com/office/officeart/2005/8/layout/lProcess2"/>
    <dgm:cxn modelId="{7E22EE27-7FAC-4EA5-A8D3-A5F7A95A2B1F}" type="presParOf" srcId="{843CD1AC-067C-43C3-A6FA-C55EC0BDDCBB}" destId="{2485CD22-DC42-4123-929C-1A507A439917}" srcOrd="1" destOrd="0" presId="urn:microsoft.com/office/officeart/2005/8/layout/lProcess2"/>
    <dgm:cxn modelId="{E1CAAB6E-17DC-40B7-8096-76DCF6AD94B2}" type="presParOf" srcId="{843CD1AC-067C-43C3-A6FA-C55EC0BDDCBB}" destId="{273864AE-1131-42D7-A966-F0B590D87A50}" srcOrd="2" destOrd="0" presId="urn:microsoft.com/office/officeart/2005/8/layout/lProcess2"/>
    <dgm:cxn modelId="{52DD06A3-F8EE-4529-9CFB-B67DBA95F9A0}" type="presParOf" srcId="{273864AE-1131-42D7-A966-F0B590D87A50}" destId="{C2460F87-3A90-4719-8C5D-103CA94BDF4E}" srcOrd="0" destOrd="0" presId="urn:microsoft.com/office/officeart/2005/8/layout/lProcess2"/>
    <dgm:cxn modelId="{38A44FF6-97EF-4898-99CA-0DBB0F5532E5}" type="presParOf" srcId="{273864AE-1131-42D7-A966-F0B590D87A50}" destId="{8ADEC16B-D74D-4446-B1E3-F4C98385A135}" srcOrd="1" destOrd="0" presId="urn:microsoft.com/office/officeart/2005/8/layout/lProcess2"/>
    <dgm:cxn modelId="{289EC5F6-C8F9-4CA0-8532-7B1482D5BB1F}" type="presParOf" srcId="{273864AE-1131-42D7-A966-F0B590D87A50}" destId="{DBC4993D-073B-46B4-B779-055F383223F2}" srcOrd="2" destOrd="0" presId="urn:microsoft.com/office/officeart/2005/8/layout/lProcess2"/>
    <dgm:cxn modelId="{6755F852-6B0C-442B-8A8F-DEE297D02B13}" type="presParOf" srcId="{DBC4993D-073B-46B4-B779-055F383223F2}" destId="{60F65D7C-82EF-45D8-A42A-C3CA2E3B4ACC}" srcOrd="0" destOrd="0" presId="urn:microsoft.com/office/officeart/2005/8/layout/lProcess2"/>
    <dgm:cxn modelId="{757E7F12-DEEA-4581-B240-A890584FEA1E}" type="presParOf" srcId="{60F65D7C-82EF-45D8-A42A-C3CA2E3B4ACC}" destId="{680706C3-65B6-4E40-A788-9EC5E45BC089}" srcOrd="0" destOrd="0" presId="urn:microsoft.com/office/officeart/2005/8/layout/lProcess2"/>
    <dgm:cxn modelId="{7280E823-DAA8-4C60-BFE7-BFA347DB2B53}" type="presParOf" srcId="{843CD1AC-067C-43C3-A6FA-C55EC0BDDCBB}" destId="{A81B6829-0C12-4A69-A31C-F9CD4D69F7E3}" srcOrd="3" destOrd="0" presId="urn:microsoft.com/office/officeart/2005/8/layout/lProcess2"/>
    <dgm:cxn modelId="{C0D9FFA2-10F2-4345-8A91-24C167259B04}" type="presParOf" srcId="{843CD1AC-067C-43C3-A6FA-C55EC0BDDCBB}" destId="{DF935310-1EE9-4638-A83A-6C14C303BC90}" srcOrd="4" destOrd="0" presId="urn:microsoft.com/office/officeart/2005/8/layout/lProcess2"/>
    <dgm:cxn modelId="{BDB6F36B-4254-429A-8950-F83460479C33}" type="presParOf" srcId="{DF935310-1EE9-4638-A83A-6C14C303BC90}" destId="{2ACC35DC-7A72-471B-96F6-F4AA09F7F060}" srcOrd="0" destOrd="0" presId="urn:microsoft.com/office/officeart/2005/8/layout/lProcess2"/>
    <dgm:cxn modelId="{DF405F5F-9AAB-4DA4-B027-A75A9417242F}" type="presParOf" srcId="{DF935310-1EE9-4638-A83A-6C14C303BC90}" destId="{DD697BFA-979F-4BFA-8CF2-BCD62294D8EB}" srcOrd="1" destOrd="0" presId="urn:microsoft.com/office/officeart/2005/8/layout/lProcess2"/>
    <dgm:cxn modelId="{9F6F4A83-4F6E-4B9B-B24F-63641E58D392}" type="presParOf" srcId="{DF935310-1EE9-4638-A83A-6C14C303BC90}" destId="{B72642E2-9E7A-4B10-9BBD-C425940F2CA9}" srcOrd="2" destOrd="0" presId="urn:microsoft.com/office/officeart/2005/8/layout/lProcess2"/>
    <dgm:cxn modelId="{A37B7F4E-81FE-4161-B53F-8BE29E8AF43B}" type="presParOf" srcId="{B72642E2-9E7A-4B10-9BBD-C425940F2CA9}" destId="{77619269-E02C-47E2-93CB-277DE040E17E}" srcOrd="0" destOrd="0" presId="urn:microsoft.com/office/officeart/2005/8/layout/lProcess2"/>
    <dgm:cxn modelId="{6AE87743-FD6B-4925-8D63-5D2222492868}" type="presParOf" srcId="{77619269-E02C-47E2-93CB-277DE040E17E}" destId="{3B95F3A4-06D7-435E-871B-8BBF0F84FA40}" srcOrd="0" destOrd="0" presId="urn:microsoft.com/office/officeart/2005/8/layout/lProcess2"/>
    <dgm:cxn modelId="{149AF933-A4D8-4752-82A8-635A6BE2F51E}" type="presParOf" srcId="{77619269-E02C-47E2-93CB-277DE040E17E}" destId="{487DEF3A-AEE6-4E2A-BA6A-A2536DB9A856}" srcOrd="1" destOrd="0" presId="urn:microsoft.com/office/officeart/2005/8/layout/lProcess2"/>
    <dgm:cxn modelId="{B76A83EC-707A-4F98-B456-747374753E7F}" type="presParOf" srcId="{77619269-E02C-47E2-93CB-277DE040E17E}" destId="{A04D708D-CC12-4045-A725-E0D298FAF0C7}" srcOrd="2" destOrd="0" presId="urn:microsoft.com/office/officeart/2005/8/layout/lProcess2"/>
    <dgm:cxn modelId="{0CDB5A5A-73E2-4760-B937-A0CB9F0D3AD6}" type="presParOf" srcId="{843CD1AC-067C-43C3-A6FA-C55EC0BDDCBB}" destId="{BEF9A4F3-AB3A-46BD-B85B-3B5217A4FA7A}" srcOrd="5" destOrd="0" presId="urn:microsoft.com/office/officeart/2005/8/layout/lProcess2"/>
    <dgm:cxn modelId="{3E7FC32E-2C29-486F-919E-2DF9F5B7A0C7}" type="presParOf" srcId="{843CD1AC-067C-43C3-A6FA-C55EC0BDDCBB}" destId="{AB460065-D79E-4434-A985-55888EAFC7F0}" srcOrd="6" destOrd="0" presId="urn:microsoft.com/office/officeart/2005/8/layout/lProcess2"/>
    <dgm:cxn modelId="{770824AD-26A8-4832-A053-51F2D40C58B9}" type="presParOf" srcId="{AB460065-D79E-4434-A985-55888EAFC7F0}" destId="{2E6A22C7-F026-4A5F-B297-D7014961751A}" srcOrd="0" destOrd="0" presId="urn:microsoft.com/office/officeart/2005/8/layout/lProcess2"/>
    <dgm:cxn modelId="{2809EFE1-5D62-4D6B-B162-E116BE349ED6}" type="presParOf" srcId="{AB460065-D79E-4434-A985-55888EAFC7F0}" destId="{E4926035-2838-4948-A9D7-DF6B72462C86}" srcOrd="1" destOrd="0" presId="urn:microsoft.com/office/officeart/2005/8/layout/lProcess2"/>
    <dgm:cxn modelId="{F01CF485-8960-4690-9619-D970ED2E73CC}" type="presParOf" srcId="{AB460065-D79E-4434-A985-55888EAFC7F0}" destId="{2B36C4F9-ADA4-4985-8627-CF79945F5169}" srcOrd="2" destOrd="0" presId="urn:microsoft.com/office/officeart/2005/8/layout/lProcess2"/>
    <dgm:cxn modelId="{6DC42F12-22BC-4F2D-9A6C-5A9562131796}" type="presParOf" srcId="{2B36C4F9-ADA4-4985-8627-CF79945F5169}" destId="{B122ACFD-F7B3-49C6-AE90-717299374989}" srcOrd="0" destOrd="0" presId="urn:microsoft.com/office/officeart/2005/8/layout/lProcess2"/>
    <dgm:cxn modelId="{A5726B5F-4051-4F2D-800F-05FFF0641AA4}" type="presParOf" srcId="{B122ACFD-F7B3-49C6-AE90-717299374989}" destId="{825439CB-C8B1-4D5F-863B-82042C875D97}" srcOrd="0" destOrd="0" presId="urn:microsoft.com/office/officeart/2005/8/layout/lProcess2"/>
    <dgm:cxn modelId="{F25C741A-366C-432E-873D-6267AA523FF1}" type="presParOf" srcId="{B122ACFD-F7B3-49C6-AE90-717299374989}" destId="{01F7E333-2F84-4FB1-8261-008829311D7D}" srcOrd="1" destOrd="0" presId="urn:microsoft.com/office/officeart/2005/8/layout/lProcess2"/>
    <dgm:cxn modelId="{17076DE4-1870-492B-9ACF-4C821440AA43}" type="presParOf" srcId="{B122ACFD-F7B3-49C6-AE90-717299374989}" destId="{93B3E5F4-DEDC-44EA-841F-A2694F2467D9}"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BBAA32FE-80D4-480A-82CD-7C19051716C6}" type="doc">
      <dgm:prSet loTypeId="urn:microsoft.com/office/officeart/2018/2/layout/IconLabelDescriptionList" loCatId="icon" qsTypeId="urn:microsoft.com/office/officeart/2005/8/quickstyle/simple5" qsCatId="simple" csTypeId="urn:microsoft.com/office/officeart/2005/8/colors/accent1_2" csCatId="accent1" phldr="1"/>
      <dgm:spPr/>
      <dgm:t>
        <a:bodyPr/>
        <a:lstStyle/>
        <a:p>
          <a:endParaRPr lang="en-US"/>
        </a:p>
      </dgm:t>
    </dgm:pt>
    <dgm:pt modelId="{FB7E6314-2B74-49C0-BF92-438578761180}">
      <dgm:prSet custT="1"/>
      <dgm:spPr/>
      <dgm:t>
        <a:bodyPr/>
        <a:lstStyle/>
        <a:p>
          <a:pPr>
            <a:lnSpc>
              <a:spcPct val="100000"/>
            </a:lnSpc>
          </a:pPr>
          <a:r>
            <a:rPr lang="es-ES" sz="1600" dirty="0"/>
            <a:t>Desarrolló la tecnología de gemelos digitales internamente para su proceso de fabricación de motores a reacción.</a:t>
          </a:r>
          <a:endParaRPr lang="en-US" sz="1600" dirty="0"/>
        </a:p>
      </dgm:t>
    </dgm:pt>
    <dgm:pt modelId="{6772761C-C5E3-44A3-AF0D-BED3D4E04C0C}" type="parTrans" cxnId="{222362E1-8D77-4BBC-803E-BC4892818EEB}">
      <dgm:prSet/>
      <dgm:spPr/>
      <dgm:t>
        <a:bodyPr/>
        <a:lstStyle/>
        <a:p>
          <a:endParaRPr lang="en-US" sz="2400"/>
        </a:p>
      </dgm:t>
    </dgm:pt>
    <dgm:pt modelId="{7B85DA65-2286-4F14-8E9D-C580AF063C2A}" type="sibTrans" cxnId="{222362E1-8D77-4BBC-803E-BC4892818EEB}">
      <dgm:prSet/>
      <dgm:spPr/>
      <dgm:t>
        <a:bodyPr/>
        <a:lstStyle/>
        <a:p>
          <a:endParaRPr lang="en-US" sz="2400"/>
        </a:p>
      </dgm:t>
    </dgm:pt>
    <dgm:pt modelId="{4A8CE136-20AE-4FF6-98F1-6C67121675F3}">
      <dgm:prSet custT="1"/>
      <dgm:spPr/>
      <dgm:t>
        <a:bodyPr/>
        <a:lstStyle/>
        <a:p>
          <a:pPr>
            <a:lnSpc>
              <a:spcPct val="100000"/>
            </a:lnSpc>
          </a:pPr>
          <a:r>
            <a:rPr lang="es-ES" sz="1600" dirty="0"/>
            <a:t>Ofrece su experiencia a otras empresas.</a:t>
          </a:r>
          <a:endParaRPr lang="en-US" sz="1600" dirty="0"/>
        </a:p>
      </dgm:t>
    </dgm:pt>
    <dgm:pt modelId="{0FCBE02F-EA6A-480B-B246-1B8FCD14A219}" type="parTrans" cxnId="{BF13C756-EDE7-4C12-8438-61036FD77F9B}">
      <dgm:prSet/>
      <dgm:spPr/>
      <dgm:t>
        <a:bodyPr/>
        <a:lstStyle/>
        <a:p>
          <a:endParaRPr lang="en-US" sz="2400"/>
        </a:p>
      </dgm:t>
    </dgm:pt>
    <dgm:pt modelId="{37E95F71-EA21-49E4-87B5-52EEC8A1A8C3}" type="sibTrans" cxnId="{BF13C756-EDE7-4C12-8438-61036FD77F9B}">
      <dgm:prSet/>
      <dgm:spPr/>
      <dgm:t>
        <a:bodyPr/>
        <a:lstStyle/>
        <a:p>
          <a:endParaRPr lang="en-US" sz="2400"/>
        </a:p>
      </dgm:t>
    </dgm:pt>
    <dgm:pt modelId="{E1D933FA-85BF-406B-86B5-D6425556C89B}">
      <dgm:prSet custT="1"/>
      <dgm:spPr/>
      <dgm:t>
        <a:bodyPr/>
        <a:lstStyle/>
        <a:p>
          <a:pPr>
            <a:lnSpc>
              <a:spcPct val="100000"/>
            </a:lnSpc>
            <a:defRPr b="1"/>
          </a:pPr>
          <a:r>
            <a:rPr lang="es-ES" sz="2000" dirty="0"/>
            <a:t>Otros jugadores:</a:t>
          </a:r>
          <a:endParaRPr lang="en-US" sz="2000" dirty="0"/>
        </a:p>
      </dgm:t>
    </dgm:pt>
    <dgm:pt modelId="{33981B82-5DE3-4DA5-B59B-F463F6DD97DD}" type="parTrans" cxnId="{7D0B7469-31EE-4660-A4D6-C95D6F6DACE1}">
      <dgm:prSet/>
      <dgm:spPr/>
      <dgm:t>
        <a:bodyPr/>
        <a:lstStyle/>
        <a:p>
          <a:endParaRPr lang="en-US" sz="2400"/>
        </a:p>
      </dgm:t>
    </dgm:pt>
    <dgm:pt modelId="{0E49AB68-95E3-4CA6-9073-076CE44A5A9F}" type="sibTrans" cxnId="{7D0B7469-31EE-4660-A4D6-C95D6F6DACE1}">
      <dgm:prSet/>
      <dgm:spPr/>
      <dgm:t>
        <a:bodyPr/>
        <a:lstStyle/>
        <a:p>
          <a:endParaRPr lang="en-US" sz="2400"/>
        </a:p>
      </dgm:t>
    </dgm:pt>
    <dgm:pt modelId="{BCBC828E-E98A-4B55-9E4D-AD6DBE2D9E23}">
      <dgm:prSet custT="1"/>
      <dgm:spPr/>
      <dgm:t>
        <a:bodyPr/>
        <a:lstStyle/>
        <a:p>
          <a:pPr>
            <a:lnSpc>
              <a:spcPct val="100000"/>
            </a:lnSpc>
          </a:pPr>
          <a:r>
            <a:rPr lang="es-ES" sz="1600" dirty="0"/>
            <a:t>Microsoft</a:t>
          </a:r>
        </a:p>
        <a:p>
          <a:pPr>
            <a:lnSpc>
              <a:spcPct val="100000"/>
            </a:lnSpc>
          </a:pPr>
          <a:r>
            <a:rPr lang="es-ES" sz="1600" dirty="0"/>
            <a:t>Google</a:t>
          </a:r>
        </a:p>
        <a:p>
          <a:pPr>
            <a:lnSpc>
              <a:spcPct val="100000"/>
            </a:lnSpc>
          </a:pPr>
          <a:r>
            <a:rPr lang="es-ES" sz="1600" dirty="0"/>
            <a:t>AWS</a:t>
          </a:r>
        </a:p>
        <a:p>
          <a:pPr>
            <a:lnSpc>
              <a:spcPct val="100000"/>
            </a:lnSpc>
          </a:pPr>
          <a:r>
            <a:rPr lang="es-ES" sz="1600" dirty="0"/>
            <a:t>IBM</a:t>
          </a:r>
        </a:p>
        <a:p>
          <a:pPr>
            <a:lnSpc>
              <a:spcPct val="100000"/>
            </a:lnSpc>
          </a:pPr>
          <a:r>
            <a:rPr lang="es-ES" sz="1600" dirty="0"/>
            <a:t>Y multitud de consultoras y empresas de la industria</a:t>
          </a:r>
        </a:p>
      </dgm:t>
    </dgm:pt>
    <dgm:pt modelId="{43026DAB-8A10-495B-9685-167C41EB6FD2}" type="parTrans" cxnId="{A877CCCA-2026-4E56-BC4B-276C7D5E0D7B}">
      <dgm:prSet/>
      <dgm:spPr/>
      <dgm:t>
        <a:bodyPr/>
        <a:lstStyle/>
        <a:p>
          <a:endParaRPr lang="en-US" sz="2400"/>
        </a:p>
      </dgm:t>
    </dgm:pt>
    <dgm:pt modelId="{7E8132C5-B357-4704-B6FC-5A50A29CB1C1}" type="sibTrans" cxnId="{A877CCCA-2026-4E56-BC4B-276C7D5E0D7B}">
      <dgm:prSet/>
      <dgm:spPr/>
      <dgm:t>
        <a:bodyPr/>
        <a:lstStyle/>
        <a:p>
          <a:endParaRPr lang="en-US" sz="2400"/>
        </a:p>
      </dgm:t>
    </dgm:pt>
    <dgm:pt modelId="{D4DA75F4-B176-46B7-B7FC-2192BE62536D}">
      <dgm:prSet custT="1"/>
      <dgm:spPr/>
      <dgm:t>
        <a:bodyPr/>
        <a:lstStyle/>
        <a:p>
          <a:pPr>
            <a:lnSpc>
              <a:spcPct val="100000"/>
            </a:lnSpc>
            <a:defRPr b="1"/>
          </a:pPr>
          <a:r>
            <a:rPr lang="es-ES" sz="2000" dirty="0"/>
            <a:t>General electric</a:t>
          </a:r>
          <a:endParaRPr lang="en-US" sz="2000" dirty="0"/>
        </a:p>
      </dgm:t>
    </dgm:pt>
    <dgm:pt modelId="{E5325613-2481-446E-9CB2-9ABB7975E012}" type="sibTrans" cxnId="{78838A38-68B7-4078-A5A5-B86D89C0BAFC}">
      <dgm:prSet/>
      <dgm:spPr/>
      <dgm:t>
        <a:bodyPr/>
        <a:lstStyle/>
        <a:p>
          <a:endParaRPr lang="en-US" sz="2400"/>
        </a:p>
      </dgm:t>
    </dgm:pt>
    <dgm:pt modelId="{4C385956-89E1-4953-9B82-7D7C6B72F7A8}" type="parTrans" cxnId="{78838A38-68B7-4078-A5A5-B86D89C0BAFC}">
      <dgm:prSet/>
      <dgm:spPr/>
      <dgm:t>
        <a:bodyPr/>
        <a:lstStyle/>
        <a:p>
          <a:endParaRPr lang="en-US" sz="2400"/>
        </a:p>
      </dgm:t>
    </dgm:pt>
    <dgm:pt modelId="{80644043-2216-44D1-B862-3791FCA900B3}" type="pres">
      <dgm:prSet presAssocID="{BBAA32FE-80D4-480A-82CD-7C19051716C6}" presName="root" presStyleCnt="0">
        <dgm:presLayoutVars>
          <dgm:dir/>
          <dgm:resizeHandles val="exact"/>
        </dgm:presLayoutVars>
      </dgm:prSet>
      <dgm:spPr/>
    </dgm:pt>
    <dgm:pt modelId="{E90578CC-05B4-4708-96D1-091EECF9ED18}" type="pres">
      <dgm:prSet presAssocID="{D4DA75F4-B176-46B7-B7FC-2192BE62536D}" presName="compNode" presStyleCnt="0"/>
      <dgm:spPr/>
    </dgm:pt>
    <dgm:pt modelId="{CD1ABB9B-C759-4E14-B5E4-C7CEA42152E6}" type="pres">
      <dgm:prSet presAssocID="{D4DA75F4-B176-46B7-B7FC-2192BE62536D}" presName="iconRect" presStyleLbl="nod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DB839C55-4C85-447C-ABD0-F6EC414ECE59}" type="pres">
      <dgm:prSet presAssocID="{D4DA75F4-B176-46B7-B7FC-2192BE62536D}" presName="iconSpace" presStyleCnt="0"/>
      <dgm:spPr/>
    </dgm:pt>
    <dgm:pt modelId="{230F94F0-E148-4550-B7D6-B404438A7627}" type="pres">
      <dgm:prSet presAssocID="{D4DA75F4-B176-46B7-B7FC-2192BE62536D}" presName="parTx" presStyleLbl="revTx" presStyleIdx="0" presStyleCnt="4">
        <dgm:presLayoutVars>
          <dgm:chMax val="0"/>
          <dgm:chPref val="0"/>
        </dgm:presLayoutVars>
      </dgm:prSet>
      <dgm:spPr/>
    </dgm:pt>
    <dgm:pt modelId="{2C964254-8E58-4090-99BD-AB4DF37CD91C}" type="pres">
      <dgm:prSet presAssocID="{D4DA75F4-B176-46B7-B7FC-2192BE62536D}" presName="txSpace" presStyleCnt="0"/>
      <dgm:spPr/>
    </dgm:pt>
    <dgm:pt modelId="{30432B2E-ADB5-4516-A69A-5B8F35C97D15}" type="pres">
      <dgm:prSet presAssocID="{D4DA75F4-B176-46B7-B7FC-2192BE62536D}" presName="desTx" presStyleLbl="revTx" presStyleIdx="1" presStyleCnt="4">
        <dgm:presLayoutVars/>
      </dgm:prSet>
      <dgm:spPr/>
    </dgm:pt>
    <dgm:pt modelId="{3A8D40DF-3F00-4290-98DE-51330ADC00BA}" type="pres">
      <dgm:prSet presAssocID="{E5325613-2481-446E-9CB2-9ABB7975E012}" presName="sibTrans" presStyleCnt="0"/>
      <dgm:spPr/>
    </dgm:pt>
    <dgm:pt modelId="{7848C27E-150C-4DD7-A451-1A54B4A9D024}" type="pres">
      <dgm:prSet presAssocID="{E1D933FA-85BF-406B-86B5-D6425556C89B}" presName="compNode" presStyleCnt="0"/>
      <dgm:spPr/>
    </dgm:pt>
    <dgm:pt modelId="{B50FE44A-7857-48C1-985F-ED802641E36B}" type="pres">
      <dgm:prSet presAssocID="{E1D933FA-85BF-406B-86B5-D6425556C89B}" presName="iconRect" presStyleLbl="node1" presStyleIdx="1" presStyleCnt="2"/>
      <dgm:spPr>
        <a:blipFill rotWithShape="1">
          <a:blip xmlns:r="http://schemas.openxmlformats.org/officeDocument/2006/relationships" r:embed="rId2"/>
          <a:srcRect/>
          <a:stretch>
            <a:fillRect l="-23000" r="-23000"/>
          </a:stretch>
        </a:blipFill>
      </dgm:spPr>
    </dgm:pt>
    <dgm:pt modelId="{A66BA2AA-338E-4DE0-8BD3-B3FAD6F05367}" type="pres">
      <dgm:prSet presAssocID="{E1D933FA-85BF-406B-86B5-D6425556C89B}" presName="iconSpace" presStyleCnt="0"/>
      <dgm:spPr/>
    </dgm:pt>
    <dgm:pt modelId="{DE9B8363-8B92-4859-A523-73DF5C9F47B3}" type="pres">
      <dgm:prSet presAssocID="{E1D933FA-85BF-406B-86B5-D6425556C89B}" presName="parTx" presStyleLbl="revTx" presStyleIdx="2" presStyleCnt="4">
        <dgm:presLayoutVars>
          <dgm:chMax val="0"/>
          <dgm:chPref val="0"/>
        </dgm:presLayoutVars>
      </dgm:prSet>
      <dgm:spPr/>
    </dgm:pt>
    <dgm:pt modelId="{85EEFF92-E07B-46C1-95A9-379268F06BCB}" type="pres">
      <dgm:prSet presAssocID="{E1D933FA-85BF-406B-86B5-D6425556C89B}" presName="txSpace" presStyleCnt="0"/>
      <dgm:spPr/>
    </dgm:pt>
    <dgm:pt modelId="{BC9735C9-8077-4C18-BDEE-3B2D0E453E24}" type="pres">
      <dgm:prSet presAssocID="{E1D933FA-85BF-406B-86B5-D6425556C89B}" presName="desTx" presStyleLbl="revTx" presStyleIdx="3" presStyleCnt="4">
        <dgm:presLayoutVars/>
      </dgm:prSet>
      <dgm:spPr/>
    </dgm:pt>
  </dgm:ptLst>
  <dgm:cxnLst>
    <dgm:cxn modelId="{E80E7C0C-92FE-44F7-9426-B2C15A5BFDF5}" type="presOf" srcId="{FB7E6314-2B74-49C0-BF92-438578761180}" destId="{30432B2E-ADB5-4516-A69A-5B8F35C97D15}" srcOrd="0" destOrd="0" presId="urn:microsoft.com/office/officeart/2018/2/layout/IconLabelDescriptionList"/>
    <dgm:cxn modelId="{78838A38-68B7-4078-A5A5-B86D89C0BAFC}" srcId="{BBAA32FE-80D4-480A-82CD-7C19051716C6}" destId="{D4DA75F4-B176-46B7-B7FC-2192BE62536D}" srcOrd="0" destOrd="0" parTransId="{4C385956-89E1-4953-9B82-7D7C6B72F7A8}" sibTransId="{E5325613-2481-446E-9CB2-9ABB7975E012}"/>
    <dgm:cxn modelId="{F86B8E43-700A-4C64-A2B4-C378CEDC253A}" type="presOf" srcId="{BCBC828E-E98A-4B55-9E4D-AD6DBE2D9E23}" destId="{BC9735C9-8077-4C18-BDEE-3B2D0E453E24}" srcOrd="0" destOrd="0" presId="urn:microsoft.com/office/officeart/2018/2/layout/IconLabelDescriptionList"/>
    <dgm:cxn modelId="{7D0B7469-31EE-4660-A4D6-C95D6F6DACE1}" srcId="{BBAA32FE-80D4-480A-82CD-7C19051716C6}" destId="{E1D933FA-85BF-406B-86B5-D6425556C89B}" srcOrd="1" destOrd="0" parTransId="{33981B82-5DE3-4DA5-B59B-F463F6DD97DD}" sibTransId="{0E49AB68-95E3-4CA6-9073-076CE44A5A9F}"/>
    <dgm:cxn modelId="{BF13C756-EDE7-4C12-8438-61036FD77F9B}" srcId="{D4DA75F4-B176-46B7-B7FC-2192BE62536D}" destId="{4A8CE136-20AE-4FF6-98F1-6C67121675F3}" srcOrd="1" destOrd="0" parTransId="{0FCBE02F-EA6A-480B-B246-1B8FCD14A219}" sibTransId="{37E95F71-EA21-49E4-87B5-52EEC8A1A8C3}"/>
    <dgm:cxn modelId="{C3620B7D-6E03-4B31-9EA9-731E4F3E6381}" type="presOf" srcId="{BBAA32FE-80D4-480A-82CD-7C19051716C6}" destId="{80644043-2216-44D1-B862-3791FCA900B3}" srcOrd="0" destOrd="0" presId="urn:microsoft.com/office/officeart/2018/2/layout/IconLabelDescriptionList"/>
    <dgm:cxn modelId="{22845C91-FF85-436C-93CC-30B58AC20496}" type="presOf" srcId="{D4DA75F4-B176-46B7-B7FC-2192BE62536D}" destId="{230F94F0-E148-4550-B7D6-B404438A7627}" srcOrd="0" destOrd="0" presId="urn:microsoft.com/office/officeart/2018/2/layout/IconLabelDescriptionList"/>
    <dgm:cxn modelId="{A1943E96-59DA-4B2A-A5DB-845D25D4B756}" type="presOf" srcId="{E1D933FA-85BF-406B-86B5-D6425556C89B}" destId="{DE9B8363-8B92-4859-A523-73DF5C9F47B3}" srcOrd="0" destOrd="0" presId="urn:microsoft.com/office/officeart/2018/2/layout/IconLabelDescriptionList"/>
    <dgm:cxn modelId="{A877CCCA-2026-4E56-BC4B-276C7D5E0D7B}" srcId="{E1D933FA-85BF-406B-86B5-D6425556C89B}" destId="{BCBC828E-E98A-4B55-9E4D-AD6DBE2D9E23}" srcOrd="0" destOrd="0" parTransId="{43026DAB-8A10-495B-9685-167C41EB6FD2}" sibTransId="{7E8132C5-B357-4704-B6FC-5A50A29CB1C1}"/>
    <dgm:cxn modelId="{222362E1-8D77-4BBC-803E-BC4892818EEB}" srcId="{D4DA75F4-B176-46B7-B7FC-2192BE62536D}" destId="{FB7E6314-2B74-49C0-BF92-438578761180}" srcOrd="0" destOrd="0" parTransId="{6772761C-C5E3-44A3-AF0D-BED3D4E04C0C}" sibTransId="{7B85DA65-2286-4F14-8E9D-C580AF063C2A}"/>
    <dgm:cxn modelId="{5E3B5DE2-D7B5-4398-9833-865E4B7EEED3}" type="presOf" srcId="{4A8CE136-20AE-4FF6-98F1-6C67121675F3}" destId="{30432B2E-ADB5-4516-A69A-5B8F35C97D15}" srcOrd="0" destOrd="1" presId="urn:microsoft.com/office/officeart/2018/2/layout/IconLabelDescriptionList"/>
    <dgm:cxn modelId="{24D72B55-9A03-4A71-91A5-E334C0825D8E}" type="presParOf" srcId="{80644043-2216-44D1-B862-3791FCA900B3}" destId="{E90578CC-05B4-4708-96D1-091EECF9ED18}" srcOrd="0" destOrd="0" presId="urn:microsoft.com/office/officeart/2018/2/layout/IconLabelDescriptionList"/>
    <dgm:cxn modelId="{03D9B58E-B9A7-4395-A874-5D0E93261C0C}" type="presParOf" srcId="{E90578CC-05B4-4708-96D1-091EECF9ED18}" destId="{CD1ABB9B-C759-4E14-B5E4-C7CEA42152E6}" srcOrd="0" destOrd="0" presId="urn:microsoft.com/office/officeart/2018/2/layout/IconLabelDescriptionList"/>
    <dgm:cxn modelId="{FB906642-A3CB-4CAF-B1C9-109F5F4ADF4C}" type="presParOf" srcId="{E90578CC-05B4-4708-96D1-091EECF9ED18}" destId="{DB839C55-4C85-447C-ABD0-F6EC414ECE59}" srcOrd="1" destOrd="0" presId="urn:microsoft.com/office/officeart/2018/2/layout/IconLabelDescriptionList"/>
    <dgm:cxn modelId="{219716F9-09EE-4821-8B4C-6AA7ADEFC61C}" type="presParOf" srcId="{E90578CC-05B4-4708-96D1-091EECF9ED18}" destId="{230F94F0-E148-4550-B7D6-B404438A7627}" srcOrd="2" destOrd="0" presId="urn:microsoft.com/office/officeart/2018/2/layout/IconLabelDescriptionList"/>
    <dgm:cxn modelId="{245164BF-EB7E-4E55-A3AB-D913E3A3FBBC}" type="presParOf" srcId="{E90578CC-05B4-4708-96D1-091EECF9ED18}" destId="{2C964254-8E58-4090-99BD-AB4DF37CD91C}" srcOrd="3" destOrd="0" presId="urn:microsoft.com/office/officeart/2018/2/layout/IconLabelDescriptionList"/>
    <dgm:cxn modelId="{8230FAAA-C41E-403F-971A-D3660077A7FC}" type="presParOf" srcId="{E90578CC-05B4-4708-96D1-091EECF9ED18}" destId="{30432B2E-ADB5-4516-A69A-5B8F35C97D15}" srcOrd="4" destOrd="0" presId="urn:microsoft.com/office/officeart/2018/2/layout/IconLabelDescriptionList"/>
    <dgm:cxn modelId="{BEF0EC94-DCF3-444A-88CC-9455090307BA}" type="presParOf" srcId="{80644043-2216-44D1-B862-3791FCA900B3}" destId="{3A8D40DF-3F00-4290-98DE-51330ADC00BA}" srcOrd="1" destOrd="0" presId="urn:microsoft.com/office/officeart/2018/2/layout/IconLabelDescriptionList"/>
    <dgm:cxn modelId="{E77F604B-D840-446A-B697-FDA21FD41BFE}" type="presParOf" srcId="{80644043-2216-44D1-B862-3791FCA900B3}" destId="{7848C27E-150C-4DD7-A451-1A54B4A9D024}" srcOrd="2" destOrd="0" presId="urn:microsoft.com/office/officeart/2018/2/layout/IconLabelDescriptionList"/>
    <dgm:cxn modelId="{171A8EDE-B9DA-48A6-8AAA-E715EFED5FAB}" type="presParOf" srcId="{7848C27E-150C-4DD7-A451-1A54B4A9D024}" destId="{B50FE44A-7857-48C1-985F-ED802641E36B}" srcOrd="0" destOrd="0" presId="urn:microsoft.com/office/officeart/2018/2/layout/IconLabelDescriptionList"/>
    <dgm:cxn modelId="{FED0B3B2-0400-425A-80F7-F660B3137C3C}" type="presParOf" srcId="{7848C27E-150C-4DD7-A451-1A54B4A9D024}" destId="{A66BA2AA-338E-4DE0-8BD3-B3FAD6F05367}" srcOrd="1" destOrd="0" presId="urn:microsoft.com/office/officeart/2018/2/layout/IconLabelDescriptionList"/>
    <dgm:cxn modelId="{BB3E8A2F-E09E-4CF1-96E3-F436305C9BC8}" type="presParOf" srcId="{7848C27E-150C-4DD7-A451-1A54B4A9D024}" destId="{DE9B8363-8B92-4859-A523-73DF5C9F47B3}" srcOrd="2" destOrd="0" presId="urn:microsoft.com/office/officeart/2018/2/layout/IconLabelDescriptionList"/>
    <dgm:cxn modelId="{078F5E85-314F-4033-A2F6-3C947D4A0567}" type="presParOf" srcId="{7848C27E-150C-4DD7-A451-1A54B4A9D024}" destId="{85EEFF92-E07B-46C1-95A9-379268F06BCB}" srcOrd="3" destOrd="0" presId="urn:microsoft.com/office/officeart/2018/2/layout/IconLabelDescriptionList"/>
    <dgm:cxn modelId="{CC207BCB-2DE0-4228-BDD1-78FC257195EA}" type="presParOf" srcId="{7848C27E-150C-4DD7-A451-1A54B4A9D024}" destId="{BC9735C9-8077-4C18-BDEE-3B2D0E453E24}"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41FAC76F-4039-40D3-A078-D35938B106F0}"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s-ES"/>
        </a:p>
      </dgm:t>
    </dgm:pt>
    <dgm:pt modelId="{B705814E-4A91-44B7-8A67-5AE6418E2121}">
      <dgm:prSet phldrT="[Texto]"/>
      <dgm:spPr/>
      <dgm:t>
        <a:bodyPr/>
        <a:lstStyle/>
        <a:p>
          <a:r>
            <a:rPr lang="es-ES" dirty="0"/>
            <a:t>El modelo virtual recibirá información de los sensores que recopilan datos de la versión del mundo real, del objeto y de lo que está a su alrededor. </a:t>
          </a:r>
        </a:p>
      </dgm:t>
    </dgm:pt>
    <dgm:pt modelId="{F260D1D7-606F-4B25-91AA-8E5BAB7867DE}" type="parTrans" cxnId="{1AC57845-9136-4A9D-938B-746F3049BFEC}">
      <dgm:prSet/>
      <dgm:spPr/>
      <dgm:t>
        <a:bodyPr/>
        <a:lstStyle/>
        <a:p>
          <a:endParaRPr lang="es-ES"/>
        </a:p>
      </dgm:t>
    </dgm:pt>
    <dgm:pt modelId="{3318975B-8195-4492-A2B4-1A248289BB75}" type="sibTrans" cxnId="{1AC57845-9136-4A9D-938B-746F3049BFEC}">
      <dgm:prSet/>
      <dgm:spPr/>
      <dgm:t>
        <a:bodyPr/>
        <a:lstStyle/>
        <a:p>
          <a:endParaRPr lang="es-ES"/>
        </a:p>
      </dgm:t>
    </dgm:pt>
    <dgm:pt modelId="{69A2360A-181D-4F7D-B83F-AA971EFEF93D}">
      <dgm:prSet/>
      <dgm:spPr/>
      <dgm:t>
        <a:bodyPr/>
        <a:lstStyle/>
        <a:p>
          <a:r>
            <a:rPr lang="es-ES" dirty="0"/>
            <a:t>La cantidad de datos determinará la precisión con la que el modelo digital simula la versión física.</a:t>
          </a:r>
        </a:p>
      </dgm:t>
    </dgm:pt>
    <dgm:pt modelId="{D4BCE15E-619A-499F-B10C-9467862AEB9E}" type="parTrans" cxnId="{56424AD0-1AF9-4B53-AF82-7833F9AC57A6}">
      <dgm:prSet/>
      <dgm:spPr/>
      <dgm:t>
        <a:bodyPr/>
        <a:lstStyle/>
        <a:p>
          <a:endParaRPr lang="es-ES"/>
        </a:p>
      </dgm:t>
    </dgm:pt>
    <dgm:pt modelId="{BF7DE993-A290-4E09-9B32-2E4727AFD6E8}" type="sibTrans" cxnId="{56424AD0-1AF9-4B53-AF82-7833F9AC57A6}">
      <dgm:prSet/>
      <dgm:spPr/>
      <dgm:t>
        <a:bodyPr/>
        <a:lstStyle/>
        <a:p>
          <a:endParaRPr lang="es-ES"/>
        </a:p>
      </dgm:t>
    </dgm:pt>
    <dgm:pt modelId="{8B864006-4650-451B-89C4-9059D8538648}">
      <dgm:prSet/>
      <dgm:spPr/>
      <dgm:t>
        <a:bodyPr/>
        <a:lstStyle/>
        <a:p>
          <a:r>
            <a:rPr lang="es-ES" dirty="0"/>
            <a:t>Reto: relacionar datos reales con datos virtuales</a:t>
          </a:r>
        </a:p>
      </dgm:t>
    </dgm:pt>
    <dgm:pt modelId="{8E54F87D-7E58-4428-8608-8CB9E3527CEC}" type="parTrans" cxnId="{CD931629-D83A-4700-920C-DA1792BB91E8}">
      <dgm:prSet/>
      <dgm:spPr/>
      <dgm:t>
        <a:bodyPr/>
        <a:lstStyle/>
        <a:p>
          <a:endParaRPr lang="es-ES"/>
        </a:p>
      </dgm:t>
    </dgm:pt>
    <dgm:pt modelId="{011545EF-3DEC-4294-96C6-994182A73419}" type="sibTrans" cxnId="{CD931629-D83A-4700-920C-DA1792BB91E8}">
      <dgm:prSet/>
      <dgm:spPr/>
      <dgm:t>
        <a:bodyPr/>
        <a:lstStyle/>
        <a:p>
          <a:endParaRPr lang="es-ES"/>
        </a:p>
      </dgm:t>
    </dgm:pt>
    <dgm:pt modelId="{57B3A30F-B654-412E-878D-70920B09B62F}">
      <dgm:prSet phldrT="[Texto]"/>
      <dgm:spPr/>
      <dgm:t>
        <a:bodyPr/>
        <a:lstStyle/>
        <a:p>
          <a:r>
            <a:rPr lang="es-ES" dirty="0"/>
            <a:t>Origen: Datos relativos al ciclo de vida de un producto, especificaciones de diseño, procesos de producción, información de ingeniería, de producción (incluyendo materiales, piezas, métodos y control de calidad).</a:t>
          </a:r>
        </a:p>
      </dgm:t>
    </dgm:pt>
    <dgm:pt modelId="{CA3FD64E-56C3-4CE7-89BE-39971E16EDE5}" type="parTrans" cxnId="{0FD4A07C-ABF5-4BDB-9957-D9857874C089}">
      <dgm:prSet/>
      <dgm:spPr/>
      <dgm:t>
        <a:bodyPr/>
        <a:lstStyle/>
        <a:p>
          <a:endParaRPr lang="es-ES"/>
        </a:p>
      </dgm:t>
    </dgm:pt>
    <dgm:pt modelId="{75AA2735-566C-4114-9486-2C8624E30C37}" type="sibTrans" cxnId="{0FD4A07C-ABF5-4BDB-9957-D9857874C089}">
      <dgm:prSet/>
      <dgm:spPr/>
      <dgm:t>
        <a:bodyPr/>
        <a:lstStyle/>
        <a:p>
          <a:endParaRPr lang="es-ES"/>
        </a:p>
      </dgm:t>
    </dgm:pt>
    <dgm:pt modelId="{AB1C39FF-8CEE-459B-A90A-F759AF72B590}">
      <dgm:prSet/>
      <dgm:spPr/>
      <dgm:t>
        <a:bodyPr/>
        <a:lstStyle/>
        <a:p>
          <a:r>
            <a:rPr lang="es-ES" dirty="0"/>
            <a:t>Captura:</a:t>
          </a:r>
        </a:p>
      </dgm:t>
    </dgm:pt>
    <dgm:pt modelId="{5F414E8E-56A0-4D63-B298-9EC96314C4E2}" type="parTrans" cxnId="{501F6412-3E99-4DA6-B93F-87F8D786591B}">
      <dgm:prSet/>
      <dgm:spPr/>
      <dgm:t>
        <a:bodyPr/>
        <a:lstStyle/>
        <a:p>
          <a:endParaRPr lang="es-ES"/>
        </a:p>
      </dgm:t>
    </dgm:pt>
    <dgm:pt modelId="{A17B1EE8-F6C6-4B30-96A1-1651B0CCC13A}" type="sibTrans" cxnId="{501F6412-3E99-4DA6-B93F-87F8D786591B}">
      <dgm:prSet/>
      <dgm:spPr/>
      <dgm:t>
        <a:bodyPr/>
        <a:lstStyle/>
        <a:p>
          <a:endParaRPr lang="es-ES"/>
        </a:p>
      </dgm:t>
    </dgm:pt>
    <dgm:pt modelId="{81A9BA9A-9286-4120-8E27-02767F4ED787}">
      <dgm:prSet/>
      <dgm:spPr/>
      <dgm:t>
        <a:bodyPr/>
        <a:lstStyle/>
        <a:p>
          <a:r>
            <a:rPr lang="es-ES" dirty="0"/>
            <a:t>Origen fundamental (Automático) = IOT y Sensórica. </a:t>
          </a:r>
        </a:p>
      </dgm:t>
    </dgm:pt>
    <dgm:pt modelId="{57C2A630-BC29-4B6D-B560-36264496130B}" type="parTrans" cxnId="{8EBECEB4-E865-45C1-B0C2-BFDAEF762681}">
      <dgm:prSet/>
      <dgm:spPr/>
      <dgm:t>
        <a:bodyPr/>
        <a:lstStyle/>
        <a:p>
          <a:endParaRPr lang="es-ES"/>
        </a:p>
      </dgm:t>
    </dgm:pt>
    <dgm:pt modelId="{0C6C78AE-C28C-413C-A931-449F79611DFE}" type="sibTrans" cxnId="{8EBECEB4-E865-45C1-B0C2-BFDAEF762681}">
      <dgm:prSet/>
      <dgm:spPr/>
      <dgm:t>
        <a:bodyPr/>
        <a:lstStyle/>
        <a:p>
          <a:endParaRPr lang="es-ES"/>
        </a:p>
      </dgm:t>
    </dgm:pt>
    <dgm:pt modelId="{5B7D08FD-20F0-40AE-B9AE-DB62E369FCC2}">
      <dgm:prSet/>
      <dgm:spPr/>
      <dgm:t>
        <a:bodyPr/>
        <a:lstStyle/>
        <a:p>
          <a:r>
            <a:rPr lang="es-ES" dirty="0"/>
            <a:t>API = ERPs y otras aplicaciones.</a:t>
          </a:r>
        </a:p>
      </dgm:t>
    </dgm:pt>
    <dgm:pt modelId="{3BC599C9-88EF-4ECA-BF39-BF7BCE50805F}" type="parTrans" cxnId="{3B097DEB-40D8-4752-A9F9-01743C45A174}">
      <dgm:prSet/>
      <dgm:spPr/>
      <dgm:t>
        <a:bodyPr/>
        <a:lstStyle/>
        <a:p>
          <a:endParaRPr lang="es-ES"/>
        </a:p>
      </dgm:t>
    </dgm:pt>
    <dgm:pt modelId="{4B238E1E-1386-442F-AACD-D32738E8D92A}" type="sibTrans" cxnId="{3B097DEB-40D8-4752-A9F9-01743C45A174}">
      <dgm:prSet/>
      <dgm:spPr/>
      <dgm:t>
        <a:bodyPr/>
        <a:lstStyle/>
        <a:p>
          <a:endParaRPr lang="es-ES"/>
        </a:p>
      </dgm:t>
    </dgm:pt>
    <dgm:pt modelId="{6B357482-27FD-4982-A6EB-08C214F9B934}">
      <dgm:prSet/>
      <dgm:spPr/>
      <dgm:t>
        <a:bodyPr/>
        <a:lstStyle/>
        <a:p>
          <a:r>
            <a:rPr lang="es-ES" dirty="0"/>
            <a:t>Secundario = la opinión de las personas.</a:t>
          </a:r>
        </a:p>
      </dgm:t>
    </dgm:pt>
    <dgm:pt modelId="{C491890F-7CDC-41ED-AEFB-DAC0F41FDBF1}" type="parTrans" cxnId="{042AD79D-180C-4ED1-9CCC-C6A206878B9C}">
      <dgm:prSet/>
      <dgm:spPr/>
      <dgm:t>
        <a:bodyPr/>
        <a:lstStyle/>
        <a:p>
          <a:endParaRPr lang="es-ES"/>
        </a:p>
      </dgm:t>
    </dgm:pt>
    <dgm:pt modelId="{A6240256-0A45-4D0E-B193-101421F819C0}" type="sibTrans" cxnId="{042AD79D-180C-4ED1-9CCC-C6A206878B9C}">
      <dgm:prSet/>
      <dgm:spPr/>
      <dgm:t>
        <a:bodyPr/>
        <a:lstStyle/>
        <a:p>
          <a:endParaRPr lang="es-ES"/>
        </a:p>
      </dgm:t>
    </dgm:pt>
    <dgm:pt modelId="{2229F4DA-FBD7-49ED-944D-A28EB1C53051}" type="pres">
      <dgm:prSet presAssocID="{41FAC76F-4039-40D3-A078-D35938B106F0}" presName="linear" presStyleCnt="0">
        <dgm:presLayoutVars>
          <dgm:animLvl val="lvl"/>
          <dgm:resizeHandles val="exact"/>
        </dgm:presLayoutVars>
      </dgm:prSet>
      <dgm:spPr/>
    </dgm:pt>
    <dgm:pt modelId="{15351C94-6050-41A8-BB5B-7398AFA141C8}" type="pres">
      <dgm:prSet presAssocID="{B705814E-4A91-44B7-8A67-5AE6418E2121}" presName="parentText" presStyleLbl="node1" presStyleIdx="0" presStyleCnt="3">
        <dgm:presLayoutVars>
          <dgm:chMax val="0"/>
          <dgm:bulletEnabled val="1"/>
        </dgm:presLayoutVars>
      </dgm:prSet>
      <dgm:spPr/>
    </dgm:pt>
    <dgm:pt modelId="{20B0249C-5A0F-4BD3-9F87-52586DE2524E}" type="pres">
      <dgm:prSet presAssocID="{B705814E-4A91-44B7-8A67-5AE6418E2121}" presName="childText" presStyleLbl="revTx" presStyleIdx="0" presStyleCnt="1">
        <dgm:presLayoutVars>
          <dgm:bulletEnabled val="1"/>
        </dgm:presLayoutVars>
      </dgm:prSet>
      <dgm:spPr/>
    </dgm:pt>
    <dgm:pt modelId="{3E5E82C8-B746-40AB-ACF4-B5B3B5E1C05E}" type="pres">
      <dgm:prSet presAssocID="{8B864006-4650-451B-89C4-9059D8538648}" presName="parentText" presStyleLbl="node1" presStyleIdx="1" presStyleCnt="3">
        <dgm:presLayoutVars>
          <dgm:chMax val="0"/>
          <dgm:bulletEnabled val="1"/>
        </dgm:presLayoutVars>
      </dgm:prSet>
      <dgm:spPr/>
    </dgm:pt>
    <dgm:pt modelId="{F2DEC984-46A5-48B8-8834-EA338B550C22}" type="pres">
      <dgm:prSet presAssocID="{011545EF-3DEC-4294-96C6-994182A73419}" presName="spacer" presStyleCnt="0"/>
      <dgm:spPr/>
    </dgm:pt>
    <dgm:pt modelId="{5E836F04-35F6-4CFD-A524-5D4B634FB6C6}" type="pres">
      <dgm:prSet presAssocID="{69A2360A-181D-4F7D-B83F-AA971EFEF93D}" presName="parentText" presStyleLbl="node1" presStyleIdx="2" presStyleCnt="3">
        <dgm:presLayoutVars>
          <dgm:chMax val="0"/>
          <dgm:bulletEnabled val="1"/>
        </dgm:presLayoutVars>
      </dgm:prSet>
      <dgm:spPr/>
    </dgm:pt>
  </dgm:ptLst>
  <dgm:cxnLst>
    <dgm:cxn modelId="{501F6412-3E99-4DA6-B93F-87F8D786591B}" srcId="{B705814E-4A91-44B7-8A67-5AE6418E2121}" destId="{AB1C39FF-8CEE-459B-A90A-F759AF72B590}" srcOrd="1" destOrd="0" parTransId="{5F414E8E-56A0-4D63-B298-9EC96314C4E2}" sibTransId="{A17B1EE8-F6C6-4B30-96A1-1651B0CCC13A}"/>
    <dgm:cxn modelId="{CD931629-D83A-4700-920C-DA1792BB91E8}" srcId="{41FAC76F-4039-40D3-A078-D35938B106F0}" destId="{8B864006-4650-451B-89C4-9059D8538648}" srcOrd="1" destOrd="0" parTransId="{8E54F87D-7E58-4428-8608-8CB9E3527CEC}" sibTransId="{011545EF-3DEC-4294-96C6-994182A73419}"/>
    <dgm:cxn modelId="{A9141533-020E-416A-9A51-9EDA2B1DFA5E}" type="presOf" srcId="{81A9BA9A-9286-4120-8E27-02767F4ED787}" destId="{20B0249C-5A0F-4BD3-9F87-52586DE2524E}" srcOrd="0" destOrd="2" presId="urn:microsoft.com/office/officeart/2005/8/layout/vList2"/>
    <dgm:cxn modelId="{26B27F3C-E19B-449C-B095-569E871ABC37}" type="presOf" srcId="{8B864006-4650-451B-89C4-9059D8538648}" destId="{3E5E82C8-B746-40AB-ACF4-B5B3B5E1C05E}" srcOrd="0" destOrd="0" presId="urn:microsoft.com/office/officeart/2005/8/layout/vList2"/>
    <dgm:cxn modelId="{1AC57845-9136-4A9D-938B-746F3049BFEC}" srcId="{41FAC76F-4039-40D3-A078-D35938B106F0}" destId="{B705814E-4A91-44B7-8A67-5AE6418E2121}" srcOrd="0" destOrd="0" parTransId="{F260D1D7-606F-4B25-91AA-8E5BAB7867DE}" sibTransId="{3318975B-8195-4492-A2B4-1A248289BB75}"/>
    <dgm:cxn modelId="{6ABB3C68-0003-441A-AAF0-2319849BAE7B}" type="presOf" srcId="{41FAC76F-4039-40D3-A078-D35938B106F0}" destId="{2229F4DA-FBD7-49ED-944D-A28EB1C53051}" srcOrd="0" destOrd="0" presId="urn:microsoft.com/office/officeart/2005/8/layout/vList2"/>
    <dgm:cxn modelId="{F89B7D49-32E4-45AB-AC93-1162CD4504AF}" type="presOf" srcId="{AB1C39FF-8CEE-459B-A90A-F759AF72B590}" destId="{20B0249C-5A0F-4BD3-9F87-52586DE2524E}" srcOrd="0" destOrd="1" presId="urn:microsoft.com/office/officeart/2005/8/layout/vList2"/>
    <dgm:cxn modelId="{021B377B-0565-41C5-AAC7-B8DD512965C3}" type="presOf" srcId="{69A2360A-181D-4F7D-B83F-AA971EFEF93D}" destId="{5E836F04-35F6-4CFD-A524-5D4B634FB6C6}" srcOrd="0" destOrd="0" presId="urn:microsoft.com/office/officeart/2005/8/layout/vList2"/>
    <dgm:cxn modelId="{0FD4A07C-ABF5-4BDB-9957-D9857874C089}" srcId="{B705814E-4A91-44B7-8A67-5AE6418E2121}" destId="{57B3A30F-B654-412E-878D-70920B09B62F}" srcOrd="0" destOrd="0" parTransId="{CA3FD64E-56C3-4CE7-89BE-39971E16EDE5}" sibTransId="{75AA2735-566C-4114-9486-2C8624E30C37}"/>
    <dgm:cxn modelId="{7C9BB686-3967-4A9C-A11B-FDE9F30C86AE}" type="presOf" srcId="{5B7D08FD-20F0-40AE-B9AE-DB62E369FCC2}" destId="{20B0249C-5A0F-4BD3-9F87-52586DE2524E}" srcOrd="0" destOrd="3" presId="urn:microsoft.com/office/officeart/2005/8/layout/vList2"/>
    <dgm:cxn modelId="{042AD79D-180C-4ED1-9CCC-C6A206878B9C}" srcId="{AB1C39FF-8CEE-459B-A90A-F759AF72B590}" destId="{6B357482-27FD-4982-A6EB-08C214F9B934}" srcOrd="2" destOrd="0" parTransId="{C491890F-7CDC-41ED-AEFB-DAC0F41FDBF1}" sibTransId="{A6240256-0A45-4D0E-B193-101421F819C0}"/>
    <dgm:cxn modelId="{8EBECEB4-E865-45C1-B0C2-BFDAEF762681}" srcId="{AB1C39FF-8CEE-459B-A90A-F759AF72B590}" destId="{81A9BA9A-9286-4120-8E27-02767F4ED787}" srcOrd="0" destOrd="0" parTransId="{57C2A630-BC29-4B6D-B560-36264496130B}" sibTransId="{0C6C78AE-C28C-413C-A931-449F79611DFE}"/>
    <dgm:cxn modelId="{883013C1-B616-4165-B6D0-252C7C2A4546}" type="presOf" srcId="{57B3A30F-B654-412E-878D-70920B09B62F}" destId="{20B0249C-5A0F-4BD3-9F87-52586DE2524E}" srcOrd="0" destOrd="0" presId="urn:microsoft.com/office/officeart/2005/8/layout/vList2"/>
    <dgm:cxn modelId="{B1637AC1-91EC-4EDC-8D7C-BB504A20D734}" type="presOf" srcId="{6B357482-27FD-4982-A6EB-08C214F9B934}" destId="{20B0249C-5A0F-4BD3-9F87-52586DE2524E}" srcOrd="0" destOrd="4" presId="urn:microsoft.com/office/officeart/2005/8/layout/vList2"/>
    <dgm:cxn modelId="{6F052DC4-E4B0-454D-AE5E-075DA1E04254}" type="presOf" srcId="{B705814E-4A91-44B7-8A67-5AE6418E2121}" destId="{15351C94-6050-41A8-BB5B-7398AFA141C8}" srcOrd="0" destOrd="0" presId="urn:microsoft.com/office/officeart/2005/8/layout/vList2"/>
    <dgm:cxn modelId="{56424AD0-1AF9-4B53-AF82-7833F9AC57A6}" srcId="{41FAC76F-4039-40D3-A078-D35938B106F0}" destId="{69A2360A-181D-4F7D-B83F-AA971EFEF93D}" srcOrd="2" destOrd="0" parTransId="{D4BCE15E-619A-499F-B10C-9467862AEB9E}" sibTransId="{BF7DE993-A290-4E09-9B32-2E4727AFD6E8}"/>
    <dgm:cxn modelId="{3B097DEB-40D8-4752-A9F9-01743C45A174}" srcId="{AB1C39FF-8CEE-459B-A90A-F759AF72B590}" destId="{5B7D08FD-20F0-40AE-B9AE-DB62E369FCC2}" srcOrd="1" destOrd="0" parTransId="{3BC599C9-88EF-4ECA-BF39-BF7BCE50805F}" sibTransId="{4B238E1E-1386-442F-AACD-D32738E8D92A}"/>
    <dgm:cxn modelId="{8DAB168E-EE62-4064-8BAE-1AD5625A1E05}" type="presParOf" srcId="{2229F4DA-FBD7-49ED-944D-A28EB1C53051}" destId="{15351C94-6050-41A8-BB5B-7398AFA141C8}" srcOrd="0" destOrd="0" presId="urn:microsoft.com/office/officeart/2005/8/layout/vList2"/>
    <dgm:cxn modelId="{0998E5C7-A476-4D3C-8B11-5E9F0CA051BC}" type="presParOf" srcId="{2229F4DA-FBD7-49ED-944D-A28EB1C53051}" destId="{20B0249C-5A0F-4BD3-9F87-52586DE2524E}" srcOrd="1" destOrd="0" presId="urn:microsoft.com/office/officeart/2005/8/layout/vList2"/>
    <dgm:cxn modelId="{C55F14A8-BDCA-46D7-A5C3-CA446C12C03B}" type="presParOf" srcId="{2229F4DA-FBD7-49ED-944D-A28EB1C53051}" destId="{3E5E82C8-B746-40AB-ACF4-B5B3B5E1C05E}" srcOrd="2" destOrd="0" presId="urn:microsoft.com/office/officeart/2005/8/layout/vList2"/>
    <dgm:cxn modelId="{496AF613-52EF-40BB-8E55-391777618CEC}" type="presParOf" srcId="{2229F4DA-FBD7-49ED-944D-A28EB1C53051}" destId="{F2DEC984-46A5-48B8-8834-EA338B550C22}" srcOrd="3" destOrd="0" presId="urn:microsoft.com/office/officeart/2005/8/layout/vList2"/>
    <dgm:cxn modelId="{4EFF075C-F7D2-491E-A1F5-A16B85287A02}" type="presParOf" srcId="{2229F4DA-FBD7-49ED-944D-A28EB1C53051}" destId="{5E836F04-35F6-4CFD-A524-5D4B634FB6C6}"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5A94C69-5D7C-4EBD-AA92-B2B1D48BCB20}"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US"/>
        </a:p>
      </dgm:t>
    </dgm:pt>
    <dgm:pt modelId="{8D538186-DFD0-41F3-B046-880CDB366FC9}">
      <dgm:prSet custT="1"/>
      <dgm:spPr/>
      <dgm:t>
        <a:bodyPr/>
        <a:lstStyle/>
        <a:p>
          <a:r>
            <a:rPr lang="es-ES" sz="1800" dirty="0"/>
            <a:t>… antes, dedicabas un 30% de tu tiempo en crear un gran servicio y un 70% en difundirlo. Ahora, eso se invierte</a:t>
          </a:r>
          <a:endParaRPr lang="en-US" sz="1800" dirty="0"/>
        </a:p>
      </dgm:t>
    </dgm:pt>
    <dgm:pt modelId="{BE588F36-F899-4033-ABC4-CDD16EB98311}" type="parTrans" cxnId="{CA704E68-78AC-495A-9BBE-9F9BB7A7E1AD}">
      <dgm:prSet/>
      <dgm:spPr/>
      <dgm:t>
        <a:bodyPr/>
        <a:lstStyle/>
        <a:p>
          <a:endParaRPr lang="en-US" sz="1800"/>
        </a:p>
      </dgm:t>
    </dgm:pt>
    <dgm:pt modelId="{352147DC-CB73-4837-8AFB-2E6D1D2600C9}" type="sibTrans" cxnId="{CA704E68-78AC-495A-9BBE-9F9BB7A7E1AD}">
      <dgm:prSet/>
      <dgm:spPr/>
      <dgm:t>
        <a:bodyPr/>
        <a:lstStyle/>
        <a:p>
          <a:endParaRPr lang="en-US" sz="1800"/>
        </a:p>
      </dgm:t>
    </dgm:pt>
    <dgm:pt modelId="{35531546-AC5D-458F-8A47-E6F46552AE9D}">
      <dgm:prSet custT="1"/>
      <dgm:spPr/>
      <dgm:t>
        <a:bodyPr/>
        <a:lstStyle/>
        <a:p>
          <a:r>
            <a:rPr lang="es-ES" sz="1800" dirty="0"/>
            <a:t>.. a que piensen en grande</a:t>
          </a:r>
          <a:endParaRPr lang="en-US" sz="1800" dirty="0"/>
        </a:p>
      </dgm:t>
    </dgm:pt>
    <dgm:pt modelId="{91ED09AE-703D-42C9-95CB-C0B75452CF6F}" type="parTrans" cxnId="{8344723B-39C1-4764-B097-4F21E88F2E3C}">
      <dgm:prSet/>
      <dgm:spPr/>
      <dgm:t>
        <a:bodyPr/>
        <a:lstStyle/>
        <a:p>
          <a:endParaRPr lang="en-US" sz="1800"/>
        </a:p>
      </dgm:t>
    </dgm:pt>
    <dgm:pt modelId="{6CC5A069-BF97-4B22-BEC1-C21E831E8574}" type="sibTrans" cxnId="{8344723B-39C1-4764-B097-4F21E88F2E3C}">
      <dgm:prSet/>
      <dgm:spPr/>
      <dgm:t>
        <a:bodyPr/>
        <a:lstStyle/>
        <a:p>
          <a:endParaRPr lang="en-US" sz="1800"/>
        </a:p>
      </dgm:t>
    </dgm:pt>
    <dgm:pt modelId="{38834E27-FADF-4C2D-9968-6AE90ACDEFE7}">
      <dgm:prSet custT="1"/>
      <dgm:spPr/>
      <dgm:t>
        <a:bodyPr/>
        <a:lstStyle/>
        <a:p>
          <a:r>
            <a:rPr lang="es-ES" sz="1800" dirty="0"/>
            <a:t>La vida es muy corta como para rodearse de gente que no aporta nada a tu vida.</a:t>
          </a:r>
          <a:endParaRPr lang="en-US" sz="1800" dirty="0"/>
        </a:p>
      </dgm:t>
    </dgm:pt>
    <dgm:pt modelId="{9A98ABC6-E7B6-4C08-9440-B6AB6D822A47}" type="parTrans" cxnId="{AF4D7C18-33D8-45B2-9104-47B31024FB72}">
      <dgm:prSet/>
      <dgm:spPr/>
      <dgm:t>
        <a:bodyPr/>
        <a:lstStyle/>
        <a:p>
          <a:endParaRPr lang="en-US" sz="1800"/>
        </a:p>
      </dgm:t>
    </dgm:pt>
    <dgm:pt modelId="{7F416B59-DAB3-443C-8CB2-D5A075F4C21E}" type="sibTrans" cxnId="{AF4D7C18-33D8-45B2-9104-47B31024FB72}">
      <dgm:prSet/>
      <dgm:spPr/>
      <dgm:t>
        <a:bodyPr/>
        <a:lstStyle/>
        <a:p>
          <a:endParaRPr lang="en-US" sz="1800"/>
        </a:p>
      </dgm:t>
    </dgm:pt>
    <dgm:pt modelId="{CF00C067-37A7-4028-ACBE-1B58D0745711}">
      <dgm:prSet custT="1"/>
      <dgm:spPr/>
      <dgm:t>
        <a:bodyPr/>
        <a:lstStyle/>
        <a:p>
          <a:r>
            <a:rPr lang="es-ES" sz="1800" dirty="0"/>
            <a:t>Todos los negocios necesitan ser jóvenes siempre</a:t>
          </a:r>
          <a:endParaRPr lang="en-US" sz="1800" dirty="0"/>
        </a:p>
      </dgm:t>
    </dgm:pt>
    <dgm:pt modelId="{29EF191F-6B2C-4D3F-B114-8D1D001A5D5B}" type="parTrans" cxnId="{531FD4D5-E813-4A21-AD5E-05933C1FCADC}">
      <dgm:prSet/>
      <dgm:spPr/>
      <dgm:t>
        <a:bodyPr/>
        <a:lstStyle/>
        <a:p>
          <a:endParaRPr lang="en-US" sz="1800"/>
        </a:p>
      </dgm:t>
    </dgm:pt>
    <dgm:pt modelId="{CFA00139-137C-4E41-994C-908FB2471202}" type="sibTrans" cxnId="{531FD4D5-E813-4A21-AD5E-05933C1FCADC}">
      <dgm:prSet/>
      <dgm:spPr/>
      <dgm:t>
        <a:bodyPr/>
        <a:lstStyle/>
        <a:p>
          <a:endParaRPr lang="en-US" sz="1800"/>
        </a:p>
      </dgm:t>
    </dgm:pt>
    <dgm:pt modelId="{2AAA53F2-DB4C-4FA8-868A-EE2AC32A4574}">
      <dgm:prSet custT="1"/>
      <dgm:spPr/>
      <dgm:t>
        <a:bodyPr/>
        <a:lstStyle/>
        <a:p>
          <a:r>
            <a:rPr lang="es-ES" sz="1800" dirty="0"/>
            <a:t>Si pretendes que jamás te critiquen, entonces no hagas nada.</a:t>
          </a:r>
          <a:endParaRPr lang="en-US" sz="1800" dirty="0"/>
        </a:p>
      </dgm:t>
    </dgm:pt>
    <dgm:pt modelId="{397255CA-A1B7-40FF-9F34-16469D60B6B3}" type="parTrans" cxnId="{624890BE-08E1-4E63-942D-11CD82E7CF49}">
      <dgm:prSet/>
      <dgm:spPr/>
      <dgm:t>
        <a:bodyPr/>
        <a:lstStyle/>
        <a:p>
          <a:endParaRPr lang="en-US" sz="1800"/>
        </a:p>
      </dgm:t>
    </dgm:pt>
    <dgm:pt modelId="{B7EE6076-B880-40FA-ADFF-095689EA4416}" type="sibTrans" cxnId="{624890BE-08E1-4E63-942D-11CD82E7CF49}">
      <dgm:prSet/>
      <dgm:spPr/>
      <dgm:t>
        <a:bodyPr/>
        <a:lstStyle/>
        <a:p>
          <a:endParaRPr lang="en-US" sz="1800"/>
        </a:p>
      </dgm:t>
    </dgm:pt>
    <dgm:pt modelId="{3083F831-A95F-442F-8EDD-7E9678B3A747}">
      <dgm:prSet custT="1"/>
      <dgm:spPr/>
      <dgm:t>
        <a:bodyPr/>
        <a:lstStyle/>
        <a:p>
          <a:r>
            <a:rPr lang="es-ES" sz="1800" b="0" i="0" dirty="0"/>
            <a:t>"En los negocios lo que es peligroso es no evolucionar“</a:t>
          </a:r>
          <a:endParaRPr lang="en-US" sz="1800" dirty="0"/>
        </a:p>
      </dgm:t>
    </dgm:pt>
    <dgm:pt modelId="{9E4C0821-93CD-46A6-A069-B6D03D80CD47}" type="parTrans" cxnId="{F651C3CC-83AA-463B-9F56-0566E0411C25}">
      <dgm:prSet/>
      <dgm:spPr/>
      <dgm:t>
        <a:bodyPr/>
        <a:lstStyle/>
        <a:p>
          <a:endParaRPr lang="es-ES" sz="1800"/>
        </a:p>
      </dgm:t>
    </dgm:pt>
    <dgm:pt modelId="{AB990801-1C87-489A-BEFE-7799FE5834A2}" type="sibTrans" cxnId="{F651C3CC-83AA-463B-9F56-0566E0411C25}">
      <dgm:prSet/>
      <dgm:spPr/>
      <dgm:t>
        <a:bodyPr/>
        <a:lstStyle/>
        <a:p>
          <a:endParaRPr lang="es-ES" sz="1800"/>
        </a:p>
      </dgm:t>
    </dgm:pt>
    <dgm:pt modelId="{137AC045-FC33-4450-8714-3CA360CEAE65}">
      <dgm:prSet custT="1"/>
      <dgm:spPr/>
      <dgm:t>
        <a:bodyPr/>
        <a:lstStyle/>
        <a:p>
          <a:endParaRPr lang="en-US" sz="1800" dirty="0"/>
        </a:p>
      </dgm:t>
    </dgm:pt>
    <dgm:pt modelId="{29268904-CA4E-4185-B45E-A28372D1D65A}" type="parTrans" cxnId="{25E123AD-D568-4CB9-844B-0BB4C0A5402C}">
      <dgm:prSet/>
      <dgm:spPr/>
      <dgm:t>
        <a:bodyPr/>
        <a:lstStyle/>
        <a:p>
          <a:endParaRPr lang="es-ES"/>
        </a:p>
      </dgm:t>
    </dgm:pt>
    <dgm:pt modelId="{86DBAC41-3ABE-4A65-99F9-E2A0E23F9450}" type="sibTrans" cxnId="{25E123AD-D568-4CB9-844B-0BB4C0A5402C}">
      <dgm:prSet/>
      <dgm:spPr/>
      <dgm:t>
        <a:bodyPr/>
        <a:lstStyle/>
        <a:p>
          <a:endParaRPr lang="es-ES"/>
        </a:p>
      </dgm:t>
    </dgm:pt>
    <dgm:pt modelId="{23F92471-EF51-4C05-A0F5-60440944228A}" type="pres">
      <dgm:prSet presAssocID="{B5A94C69-5D7C-4EBD-AA92-B2B1D48BCB20}" presName="diagram" presStyleCnt="0">
        <dgm:presLayoutVars>
          <dgm:dir/>
          <dgm:resizeHandles val="exact"/>
        </dgm:presLayoutVars>
      </dgm:prSet>
      <dgm:spPr/>
    </dgm:pt>
    <dgm:pt modelId="{87FA3E41-33F7-4689-9D8A-2F4D48416439}" type="pres">
      <dgm:prSet presAssocID="{3083F831-A95F-442F-8EDD-7E9678B3A747}" presName="node" presStyleLbl="node1" presStyleIdx="0" presStyleCnt="7">
        <dgm:presLayoutVars>
          <dgm:bulletEnabled val="1"/>
        </dgm:presLayoutVars>
      </dgm:prSet>
      <dgm:spPr/>
    </dgm:pt>
    <dgm:pt modelId="{916413E4-95DA-47EB-9505-F45997D85A16}" type="pres">
      <dgm:prSet presAssocID="{AB990801-1C87-489A-BEFE-7799FE5834A2}" presName="sibTrans" presStyleCnt="0"/>
      <dgm:spPr/>
    </dgm:pt>
    <dgm:pt modelId="{428C961E-D34E-4D40-9009-E229345939A3}" type="pres">
      <dgm:prSet presAssocID="{8D538186-DFD0-41F3-B046-880CDB366FC9}" presName="node" presStyleLbl="node1" presStyleIdx="1" presStyleCnt="7">
        <dgm:presLayoutVars>
          <dgm:bulletEnabled val="1"/>
        </dgm:presLayoutVars>
      </dgm:prSet>
      <dgm:spPr/>
    </dgm:pt>
    <dgm:pt modelId="{69FC712B-5F74-4898-B23A-DE1FD4B284B0}" type="pres">
      <dgm:prSet presAssocID="{352147DC-CB73-4837-8AFB-2E6D1D2600C9}" presName="sibTrans" presStyleCnt="0"/>
      <dgm:spPr/>
    </dgm:pt>
    <dgm:pt modelId="{1618E4A4-B375-4035-81DC-64FCB47FABBD}" type="pres">
      <dgm:prSet presAssocID="{35531546-AC5D-458F-8A47-E6F46552AE9D}" presName="node" presStyleLbl="node1" presStyleIdx="2" presStyleCnt="7">
        <dgm:presLayoutVars>
          <dgm:bulletEnabled val="1"/>
        </dgm:presLayoutVars>
      </dgm:prSet>
      <dgm:spPr/>
    </dgm:pt>
    <dgm:pt modelId="{BAF331FA-E228-465E-9F6D-23433F2EA77B}" type="pres">
      <dgm:prSet presAssocID="{6CC5A069-BF97-4B22-BEC1-C21E831E8574}" presName="sibTrans" presStyleCnt="0"/>
      <dgm:spPr/>
    </dgm:pt>
    <dgm:pt modelId="{1F91AFB4-DFF0-4BA4-9D6D-5AF334DEA1DF}" type="pres">
      <dgm:prSet presAssocID="{38834E27-FADF-4C2D-9968-6AE90ACDEFE7}" presName="node" presStyleLbl="node1" presStyleIdx="3" presStyleCnt="7">
        <dgm:presLayoutVars>
          <dgm:bulletEnabled val="1"/>
        </dgm:presLayoutVars>
      </dgm:prSet>
      <dgm:spPr/>
    </dgm:pt>
    <dgm:pt modelId="{0C032E4C-2449-42C2-8C04-4886CA7A9946}" type="pres">
      <dgm:prSet presAssocID="{7F416B59-DAB3-443C-8CB2-D5A075F4C21E}" presName="sibTrans" presStyleCnt="0"/>
      <dgm:spPr/>
    </dgm:pt>
    <dgm:pt modelId="{42392913-93E2-41B7-9F04-6E83B0C2CB5D}" type="pres">
      <dgm:prSet presAssocID="{CF00C067-37A7-4028-ACBE-1B58D0745711}" presName="node" presStyleLbl="node1" presStyleIdx="4" presStyleCnt="7">
        <dgm:presLayoutVars>
          <dgm:bulletEnabled val="1"/>
        </dgm:presLayoutVars>
      </dgm:prSet>
      <dgm:spPr/>
    </dgm:pt>
    <dgm:pt modelId="{D6A4B5E3-40EB-4A40-97B1-13F3A5EB176C}" type="pres">
      <dgm:prSet presAssocID="{CFA00139-137C-4E41-994C-908FB2471202}" presName="sibTrans" presStyleCnt="0"/>
      <dgm:spPr/>
    </dgm:pt>
    <dgm:pt modelId="{4177ADA6-1B1A-4344-B66D-5CA792E2BB08}" type="pres">
      <dgm:prSet presAssocID="{2AAA53F2-DB4C-4FA8-868A-EE2AC32A4574}" presName="node" presStyleLbl="node1" presStyleIdx="5" presStyleCnt="7">
        <dgm:presLayoutVars>
          <dgm:bulletEnabled val="1"/>
        </dgm:presLayoutVars>
      </dgm:prSet>
      <dgm:spPr/>
    </dgm:pt>
    <dgm:pt modelId="{D4768CF7-07C2-49F5-BF47-605F51AAE03A}" type="pres">
      <dgm:prSet presAssocID="{B7EE6076-B880-40FA-ADFF-095689EA4416}" presName="sibTrans" presStyleCnt="0"/>
      <dgm:spPr/>
    </dgm:pt>
    <dgm:pt modelId="{DDE37ADC-D6CA-413C-8E98-BFB022F5E276}" type="pres">
      <dgm:prSet presAssocID="{137AC045-FC33-4450-8714-3CA360CEAE65}" presName="node" presStyleLbl="node1" presStyleIdx="6" presStyleCnt="7">
        <dgm:presLayoutVars>
          <dgm:bulletEnabled val="1"/>
        </dgm:presLayoutVars>
      </dgm:prSet>
      <dgm:spPr/>
    </dgm:pt>
  </dgm:ptLst>
  <dgm:cxnLst>
    <dgm:cxn modelId="{AF4D7C18-33D8-45B2-9104-47B31024FB72}" srcId="{B5A94C69-5D7C-4EBD-AA92-B2B1D48BCB20}" destId="{38834E27-FADF-4C2D-9968-6AE90ACDEFE7}" srcOrd="3" destOrd="0" parTransId="{9A98ABC6-E7B6-4C08-9440-B6AB6D822A47}" sibTransId="{7F416B59-DAB3-443C-8CB2-D5A075F4C21E}"/>
    <dgm:cxn modelId="{06ADC837-AE1E-44B7-803D-5E0DBE299B3E}" type="presOf" srcId="{CF00C067-37A7-4028-ACBE-1B58D0745711}" destId="{42392913-93E2-41B7-9F04-6E83B0C2CB5D}" srcOrd="0" destOrd="0" presId="urn:microsoft.com/office/officeart/2005/8/layout/default"/>
    <dgm:cxn modelId="{8344723B-39C1-4764-B097-4F21E88F2E3C}" srcId="{B5A94C69-5D7C-4EBD-AA92-B2B1D48BCB20}" destId="{35531546-AC5D-458F-8A47-E6F46552AE9D}" srcOrd="2" destOrd="0" parTransId="{91ED09AE-703D-42C9-95CB-C0B75452CF6F}" sibTransId="{6CC5A069-BF97-4B22-BEC1-C21E831E8574}"/>
    <dgm:cxn modelId="{7BF2A362-D653-40AE-B88C-F9D0BD29902D}" type="presOf" srcId="{2AAA53F2-DB4C-4FA8-868A-EE2AC32A4574}" destId="{4177ADA6-1B1A-4344-B66D-5CA792E2BB08}" srcOrd="0" destOrd="0" presId="urn:microsoft.com/office/officeart/2005/8/layout/default"/>
    <dgm:cxn modelId="{CA704E68-78AC-495A-9BBE-9F9BB7A7E1AD}" srcId="{B5A94C69-5D7C-4EBD-AA92-B2B1D48BCB20}" destId="{8D538186-DFD0-41F3-B046-880CDB366FC9}" srcOrd="1" destOrd="0" parTransId="{BE588F36-F899-4033-ABC4-CDD16EB98311}" sibTransId="{352147DC-CB73-4837-8AFB-2E6D1D2600C9}"/>
    <dgm:cxn modelId="{50FB2F55-5C7A-4FCD-84ED-459B510DF87D}" type="presOf" srcId="{137AC045-FC33-4450-8714-3CA360CEAE65}" destId="{DDE37ADC-D6CA-413C-8E98-BFB022F5E276}" srcOrd="0" destOrd="0" presId="urn:microsoft.com/office/officeart/2005/8/layout/default"/>
    <dgm:cxn modelId="{83F6BC8A-01FC-4DD0-BF7D-060193EFFD58}" type="presOf" srcId="{38834E27-FADF-4C2D-9968-6AE90ACDEFE7}" destId="{1F91AFB4-DFF0-4BA4-9D6D-5AF334DEA1DF}" srcOrd="0" destOrd="0" presId="urn:microsoft.com/office/officeart/2005/8/layout/default"/>
    <dgm:cxn modelId="{25E123AD-D568-4CB9-844B-0BB4C0A5402C}" srcId="{B5A94C69-5D7C-4EBD-AA92-B2B1D48BCB20}" destId="{137AC045-FC33-4450-8714-3CA360CEAE65}" srcOrd="6" destOrd="0" parTransId="{29268904-CA4E-4185-B45E-A28372D1D65A}" sibTransId="{86DBAC41-3ABE-4A65-99F9-E2A0E23F9450}"/>
    <dgm:cxn modelId="{147A57B0-43B0-430C-98C4-95FF837020AF}" type="presOf" srcId="{B5A94C69-5D7C-4EBD-AA92-B2B1D48BCB20}" destId="{23F92471-EF51-4C05-A0F5-60440944228A}" srcOrd="0" destOrd="0" presId="urn:microsoft.com/office/officeart/2005/8/layout/default"/>
    <dgm:cxn modelId="{23EEC5B0-FBA5-440E-89B6-2717BF57A202}" type="presOf" srcId="{35531546-AC5D-458F-8A47-E6F46552AE9D}" destId="{1618E4A4-B375-4035-81DC-64FCB47FABBD}" srcOrd="0" destOrd="0" presId="urn:microsoft.com/office/officeart/2005/8/layout/default"/>
    <dgm:cxn modelId="{DF292AB2-2307-4263-9609-80A6BF854EB2}" type="presOf" srcId="{8D538186-DFD0-41F3-B046-880CDB366FC9}" destId="{428C961E-D34E-4D40-9009-E229345939A3}" srcOrd="0" destOrd="0" presId="urn:microsoft.com/office/officeart/2005/8/layout/default"/>
    <dgm:cxn modelId="{624890BE-08E1-4E63-942D-11CD82E7CF49}" srcId="{B5A94C69-5D7C-4EBD-AA92-B2B1D48BCB20}" destId="{2AAA53F2-DB4C-4FA8-868A-EE2AC32A4574}" srcOrd="5" destOrd="0" parTransId="{397255CA-A1B7-40FF-9F34-16469D60B6B3}" sibTransId="{B7EE6076-B880-40FA-ADFF-095689EA4416}"/>
    <dgm:cxn modelId="{764E6BC8-A991-4EE5-8119-71286DB987D9}" type="presOf" srcId="{3083F831-A95F-442F-8EDD-7E9678B3A747}" destId="{87FA3E41-33F7-4689-9D8A-2F4D48416439}" srcOrd="0" destOrd="0" presId="urn:microsoft.com/office/officeart/2005/8/layout/default"/>
    <dgm:cxn modelId="{F651C3CC-83AA-463B-9F56-0566E0411C25}" srcId="{B5A94C69-5D7C-4EBD-AA92-B2B1D48BCB20}" destId="{3083F831-A95F-442F-8EDD-7E9678B3A747}" srcOrd="0" destOrd="0" parTransId="{9E4C0821-93CD-46A6-A069-B6D03D80CD47}" sibTransId="{AB990801-1C87-489A-BEFE-7799FE5834A2}"/>
    <dgm:cxn modelId="{531FD4D5-E813-4A21-AD5E-05933C1FCADC}" srcId="{B5A94C69-5D7C-4EBD-AA92-B2B1D48BCB20}" destId="{CF00C067-37A7-4028-ACBE-1B58D0745711}" srcOrd="4" destOrd="0" parTransId="{29EF191F-6B2C-4D3F-B114-8D1D001A5D5B}" sibTransId="{CFA00139-137C-4E41-994C-908FB2471202}"/>
    <dgm:cxn modelId="{E543243E-A41D-4F67-80DA-75498BD2A0B5}" type="presParOf" srcId="{23F92471-EF51-4C05-A0F5-60440944228A}" destId="{87FA3E41-33F7-4689-9D8A-2F4D48416439}" srcOrd="0" destOrd="0" presId="urn:microsoft.com/office/officeart/2005/8/layout/default"/>
    <dgm:cxn modelId="{DC66F0D2-5028-44E3-960F-AE61E49FA487}" type="presParOf" srcId="{23F92471-EF51-4C05-A0F5-60440944228A}" destId="{916413E4-95DA-47EB-9505-F45997D85A16}" srcOrd="1" destOrd="0" presId="urn:microsoft.com/office/officeart/2005/8/layout/default"/>
    <dgm:cxn modelId="{BADD7353-9197-46D7-A066-07D8CA7FA703}" type="presParOf" srcId="{23F92471-EF51-4C05-A0F5-60440944228A}" destId="{428C961E-D34E-4D40-9009-E229345939A3}" srcOrd="2" destOrd="0" presId="urn:microsoft.com/office/officeart/2005/8/layout/default"/>
    <dgm:cxn modelId="{F1F0E130-074A-4196-9928-1856109D02AF}" type="presParOf" srcId="{23F92471-EF51-4C05-A0F5-60440944228A}" destId="{69FC712B-5F74-4898-B23A-DE1FD4B284B0}" srcOrd="3" destOrd="0" presId="urn:microsoft.com/office/officeart/2005/8/layout/default"/>
    <dgm:cxn modelId="{1BC38075-DD04-4D31-B4E3-991CDEFE8A33}" type="presParOf" srcId="{23F92471-EF51-4C05-A0F5-60440944228A}" destId="{1618E4A4-B375-4035-81DC-64FCB47FABBD}" srcOrd="4" destOrd="0" presId="urn:microsoft.com/office/officeart/2005/8/layout/default"/>
    <dgm:cxn modelId="{B94D6C2B-A764-4F67-8590-58BAF6D72E80}" type="presParOf" srcId="{23F92471-EF51-4C05-A0F5-60440944228A}" destId="{BAF331FA-E228-465E-9F6D-23433F2EA77B}" srcOrd="5" destOrd="0" presId="urn:microsoft.com/office/officeart/2005/8/layout/default"/>
    <dgm:cxn modelId="{D86006BD-AFD1-4559-90CA-FAD467F0AEA8}" type="presParOf" srcId="{23F92471-EF51-4C05-A0F5-60440944228A}" destId="{1F91AFB4-DFF0-4BA4-9D6D-5AF334DEA1DF}" srcOrd="6" destOrd="0" presId="urn:microsoft.com/office/officeart/2005/8/layout/default"/>
    <dgm:cxn modelId="{B5333686-D129-4A6D-9A52-DE27B887AC7C}" type="presParOf" srcId="{23F92471-EF51-4C05-A0F5-60440944228A}" destId="{0C032E4C-2449-42C2-8C04-4886CA7A9946}" srcOrd="7" destOrd="0" presId="urn:microsoft.com/office/officeart/2005/8/layout/default"/>
    <dgm:cxn modelId="{1B142BE1-AA5E-4D93-B900-8F10DD30A925}" type="presParOf" srcId="{23F92471-EF51-4C05-A0F5-60440944228A}" destId="{42392913-93E2-41B7-9F04-6E83B0C2CB5D}" srcOrd="8" destOrd="0" presId="urn:microsoft.com/office/officeart/2005/8/layout/default"/>
    <dgm:cxn modelId="{366531CC-5D2B-4004-83A2-452997CD9977}" type="presParOf" srcId="{23F92471-EF51-4C05-A0F5-60440944228A}" destId="{D6A4B5E3-40EB-4A40-97B1-13F3A5EB176C}" srcOrd="9" destOrd="0" presId="urn:microsoft.com/office/officeart/2005/8/layout/default"/>
    <dgm:cxn modelId="{6CDFFDF1-8177-4445-856B-7719182AE25D}" type="presParOf" srcId="{23F92471-EF51-4C05-A0F5-60440944228A}" destId="{4177ADA6-1B1A-4344-B66D-5CA792E2BB08}" srcOrd="10" destOrd="0" presId="urn:microsoft.com/office/officeart/2005/8/layout/default"/>
    <dgm:cxn modelId="{B691EDFF-A82D-4B1F-9E9F-0B2D05132A90}" type="presParOf" srcId="{23F92471-EF51-4C05-A0F5-60440944228A}" destId="{D4768CF7-07C2-49F5-BF47-605F51AAE03A}" srcOrd="11" destOrd="0" presId="urn:microsoft.com/office/officeart/2005/8/layout/default"/>
    <dgm:cxn modelId="{761A810A-3BA7-4414-B3B2-38A5607C21D9}" type="presParOf" srcId="{23F92471-EF51-4C05-A0F5-60440944228A}" destId="{DDE37ADC-D6CA-413C-8E98-BFB022F5E276}"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9FECD60E-A557-4E0D-B3CC-44220AFD0D3A}"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s-ES"/>
        </a:p>
      </dgm:t>
    </dgm:pt>
    <dgm:pt modelId="{41F52889-BF30-448D-B8A7-84B8ECACC9F5}">
      <dgm:prSet phldrT="[Texto]"/>
      <dgm:spPr/>
      <dgm:t>
        <a:bodyPr/>
        <a:lstStyle/>
        <a:p>
          <a:r>
            <a:rPr lang="es-ES" dirty="0"/>
            <a:t>A solucionar: No hay una plataforma estandarizada ni una tecnología estándar ni metodología estándar.</a:t>
          </a:r>
        </a:p>
      </dgm:t>
    </dgm:pt>
    <dgm:pt modelId="{E8CA6C4C-11E5-43BC-BDFF-B814256F6173}" type="parTrans" cxnId="{725ABD57-74C7-41C1-8579-B3ABBAD2CFD2}">
      <dgm:prSet/>
      <dgm:spPr/>
      <dgm:t>
        <a:bodyPr/>
        <a:lstStyle/>
        <a:p>
          <a:endParaRPr lang="es-ES"/>
        </a:p>
      </dgm:t>
    </dgm:pt>
    <dgm:pt modelId="{AD852FEF-FD70-4A62-AE68-223D85A6D40A}" type="sibTrans" cxnId="{725ABD57-74C7-41C1-8579-B3ABBAD2CFD2}">
      <dgm:prSet/>
      <dgm:spPr/>
      <dgm:t>
        <a:bodyPr/>
        <a:lstStyle/>
        <a:p>
          <a:endParaRPr lang="es-ES"/>
        </a:p>
      </dgm:t>
    </dgm:pt>
    <dgm:pt modelId="{305463E1-0DAE-4C40-A9E5-B9D107A1FDD5}">
      <dgm:prSet/>
      <dgm:spPr/>
      <dgm:t>
        <a:bodyPr/>
        <a:lstStyle/>
        <a:p>
          <a:r>
            <a:rPr lang="en-US" dirty="0"/>
            <a:t>Lenguajes: Java, Python, Scala, Scada, Spark.</a:t>
          </a:r>
        </a:p>
      </dgm:t>
    </dgm:pt>
    <dgm:pt modelId="{94ECEC36-8D99-4D04-9DC6-5579B702566C}" type="parTrans" cxnId="{A97DD23C-E8F7-452C-8BC1-6C2576B8B619}">
      <dgm:prSet/>
      <dgm:spPr/>
      <dgm:t>
        <a:bodyPr/>
        <a:lstStyle/>
        <a:p>
          <a:endParaRPr lang="es-ES"/>
        </a:p>
      </dgm:t>
    </dgm:pt>
    <dgm:pt modelId="{6D597A2B-1D20-4739-BFEE-47D9D7924DC1}" type="sibTrans" cxnId="{A97DD23C-E8F7-452C-8BC1-6C2576B8B619}">
      <dgm:prSet/>
      <dgm:spPr/>
      <dgm:t>
        <a:bodyPr/>
        <a:lstStyle/>
        <a:p>
          <a:endParaRPr lang="es-ES"/>
        </a:p>
      </dgm:t>
    </dgm:pt>
    <dgm:pt modelId="{9ED5421C-AA99-4473-94D9-7792C828706D}">
      <dgm:prSet/>
      <dgm:spPr/>
      <dgm:t>
        <a:bodyPr/>
        <a:lstStyle/>
        <a:p>
          <a:r>
            <a:rPr lang="en-US" dirty="0"/>
            <a:t>Inteligencia artificial: modelos pre-entrenados (p.ej Random Forest), redes neuronales, redes convolucionales.</a:t>
          </a:r>
        </a:p>
      </dgm:t>
    </dgm:pt>
    <dgm:pt modelId="{567F83B7-6715-460A-A1DE-21C6780563CA}" type="parTrans" cxnId="{F5A5BA69-ECBA-4BCC-A417-0FC2FE8B7BA0}">
      <dgm:prSet/>
      <dgm:spPr/>
      <dgm:t>
        <a:bodyPr/>
        <a:lstStyle/>
        <a:p>
          <a:endParaRPr lang="es-ES"/>
        </a:p>
      </dgm:t>
    </dgm:pt>
    <dgm:pt modelId="{AED7CCD1-72AA-4DFC-AC45-C35DC3A05BF2}" type="sibTrans" cxnId="{F5A5BA69-ECBA-4BCC-A417-0FC2FE8B7BA0}">
      <dgm:prSet/>
      <dgm:spPr/>
      <dgm:t>
        <a:bodyPr/>
        <a:lstStyle/>
        <a:p>
          <a:endParaRPr lang="es-ES"/>
        </a:p>
      </dgm:t>
    </dgm:pt>
    <dgm:pt modelId="{C9EA4AA9-C65B-4DBB-AE4B-9AB507E37A18}">
      <dgm:prSet/>
      <dgm:spPr/>
      <dgm:t>
        <a:bodyPr/>
        <a:lstStyle/>
        <a:p>
          <a:r>
            <a:rPr lang="en-US" dirty="0"/>
            <a:t>IoT.</a:t>
          </a:r>
        </a:p>
      </dgm:t>
    </dgm:pt>
    <dgm:pt modelId="{85483C36-9F2B-4C93-9DE2-5DB31F5D56F5}" type="parTrans" cxnId="{902E5EA6-D44A-47E6-A66C-1B1879557548}">
      <dgm:prSet/>
      <dgm:spPr/>
      <dgm:t>
        <a:bodyPr/>
        <a:lstStyle/>
        <a:p>
          <a:endParaRPr lang="es-ES"/>
        </a:p>
      </dgm:t>
    </dgm:pt>
    <dgm:pt modelId="{92E2D93D-2CCA-4BB1-8125-A7CD7CA68CC2}" type="sibTrans" cxnId="{902E5EA6-D44A-47E6-A66C-1B1879557548}">
      <dgm:prSet/>
      <dgm:spPr/>
      <dgm:t>
        <a:bodyPr/>
        <a:lstStyle/>
        <a:p>
          <a:endParaRPr lang="es-ES"/>
        </a:p>
      </dgm:t>
    </dgm:pt>
    <dgm:pt modelId="{B416FB47-14B8-477B-9DA5-C263CD55B80F}">
      <dgm:prSet/>
      <dgm:spPr/>
      <dgm:t>
        <a:bodyPr/>
        <a:lstStyle/>
        <a:p>
          <a:r>
            <a:rPr lang="en-US" dirty="0"/>
            <a:t>Realidad aumentada AR, realidad virtual VR.</a:t>
          </a:r>
        </a:p>
      </dgm:t>
    </dgm:pt>
    <dgm:pt modelId="{C8702956-4574-4003-9151-E4F5F770DFA2}" type="parTrans" cxnId="{BBF47C66-A59B-45D1-8B93-453E4CF6CBA9}">
      <dgm:prSet/>
      <dgm:spPr/>
      <dgm:t>
        <a:bodyPr/>
        <a:lstStyle/>
        <a:p>
          <a:endParaRPr lang="es-ES"/>
        </a:p>
      </dgm:t>
    </dgm:pt>
    <dgm:pt modelId="{F58BDFCD-DCA9-487B-BAA3-D85554F66BC0}" type="sibTrans" cxnId="{BBF47C66-A59B-45D1-8B93-453E4CF6CBA9}">
      <dgm:prSet/>
      <dgm:spPr/>
      <dgm:t>
        <a:bodyPr/>
        <a:lstStyle/>
        <a:p>
          <a:endParaRPr lang="es-ES"/>
        </a:p>
      </dgm:t>
    </dgm:pt>
    <dgm:pt modelId="{9EC1A4A9-FE41-43F1-BCB1-DD69D85DCFE6}">
      <dgm:prSet/>
      <dgm:spPr/>
      <dgm:t>
        <a:bodyPr/>
        <a:lstStyle/>
        <a:p>
          <a:r>
            <a:rPr lang="en-US" dirty="0"/>
            <a:t>3D – 4D – 5D.</a:t>
          </a:r>
        </a:p>
      </dgm:t>
    </dgm:pt>
    <dgm:pt modelId="{01DF8286-5B8D-4DE6-8D41-3FF0564AD538}" type="parTrans" cxnId="{E10A57BB-8401-4D5C-B8D0-ED7BECEA9DAD}">
      <dgm:prSet/>
      <dgm:spPr/>
      <dgm:t>
        <a:bodyPr/>
        <a:lstStyle/>
        <a:p>
          <a:endParaRPr lang="es-ES"/>
        </a:p>
      </dgm:t>
    </dgm:pt>
    <dgm:pt modelId="{36FF47FA-22E7-406A-8246-68517E1788E0}" type="sibTrans" cxnId="{E10A57BB-8401-4D5C-B8D0-ED7BECEA9DAD}">
      <dgm:prSet/>
      <dgm:spPr/>
      <dgm:t>
        <a:bodyPr/>
        <a:lstStyle/>
        <a:p>
          <a:endParaRPr lang="es-ES"/>
        </a:p>
      </dgm:t>
    </dgm:pt>
    <dgm:pt modelId="{3CD92646-BC00-4918-8A7B-CFB08F1D2F56}">
      <dgm:prSet/>
      <dgm:spPr/>
      <dgm:t>
        <a:bodyPr/>
        <a:lstStyle/>
        <a:p>
          <a:r>
            <a:rPr lang="en-US" dirty="0"/>
            <a:t>Gafas de VR y otros dispositivos dispositivos wearables</a:t>
          </a:r>
        </a:p>
      </dgm:t>
    </dgm:pt>
    <dgm:pt modelId="{5B904059-605C-4B8A-AA1C-770642E710B9}" type="parTrans" cxnId="{200437A2-DA16-4C66-956A-5F9BC0AB2C41}">
      <dgm:prSet/>
      <dgm:spPr/>
      <dgm:t>
        <a:bodyPr/>
        <a:lstStyle/>
        <a:p>
          <a:endParaRPr lang="es-ES"/>
        </a:p>
      </dgm:t>
    </dgm:pt>
    <dgm:pt modelId="{BEE71EB4-18AA-419B-AB30-A9154DA80127}" type="sibTrans" cxnId="{200437A2-DA16-4C66-956A-5F9BC0AB2C41}">
      <dgm:prSet/>
      <dgm:spPr/>
      <dgm:t>
        <a:bodyPr/>
        <a:lstStyle/>
        <a:p>
          <a:endParaRPr lang="es-ES"/>
        </a:p>
      </dgm:t>
    </dgm:pt>
    <dgm:pt modelId="{0C1B0D72-E4DD-4EA8-BEDB-B6BA478D368A}">
      <dgm:prSet/>
      <dgm:spPr/>
      <dgm:t>
        <a:bodyPr/>
        <a:lstStyle/>
        <a:p>
          <a:r>
            <a:rPr lang="en-US" dirty="0"/>
            <a:t>Tiempo Real.</a:t>
          </a:r>
        </a:p>
      </dgm:t>
    </dgm:pt>
    <dgm:pt modelId="{9F62360C-A73A-46EA-B243-13DD2EC8D518}" type="parTrans" cxnId="{52F3DC08-5B6E-4F7B-A008-0023319C7C77}">
      <dgm:prSet/>
      <dgm:spPr/>
      <dgm:t>
        <a:bodyPr/>
        <a:lstStyle/>
        <a:p>
          <a:endParaRPr lang="es-ES"/>
        </a:p>
      </dgm:t>
    </dgm:pt>
    <dgm:pt modelId="{D3A629C9-A4FE-4F41-B645-F1A4D3CDA5E1}" type="sibTrans" cxnId="{52F3DC08-5B6E-4F7B-A008-0023319C7C77}">
      <dgm:prSet/>
      <dgm:spPr/>
      <dgm:t>
        <a:bodyPr/>
        <a:lstStyle/>
        <a:p>
          <a:endParaRPr lang="es-ES"/>
        </a:p>
      </dgm:t>
    </dgm:pt>
    <dgm:pt modelId="{74430D50-61EA-4BDD-B436-62DD16B2DC86}">
      <dgm:prSet/>
      <dgm:spPr/>
      <dgm:t>
        <a:bodyPr/>
        <a:lstStyle/>
        <a:p>
          <a:r>
            <a:rPr lang="en-US" dirty="0"/>
            <a:t>Nube</a:t>
          </a:r>
        </a:p>
      </dgm:t>
    </dgm:pt>
    <dgm:pt modelId="{732EF5CD-996F-456A-BC5D-689C2CFF27DB}" type="parTrans" cxnId="{C7069514-21EB-4724-8174-E4D71A630BD3}">
      <dgm:prSet/>
      <dgm:spPr/>
      <dgm:t>
        <a:bodyPr/>
        <a:lstStyle/>
        <a:p>
          <a:endParaRPr lang="es-ES"/>
        </a:p>
      </dgm:t>
    </dgm:pt>
    <dgm:pt modelId="{414A814F-DE20-4D99-B2BC-D318D9419F78}" type="sibTrans" cxnId="{C7069514-21EB-4724-8174-E4D71A630BD3}">
      <dgm:prSet/>
      <dgm:spPr/>
      <dgm:t>
        <a:bodyPr/>
        <a:lstStyle/>
        <a:p>
          <a:endParaRPr lang="es-ES"/>
        </a:p>
      </dgm:t>
    </dgm:pt>
    <dgm:pt modelId="{8CB0E54F-92E8-4931-BC46-31239BA4118F}">
      <dgm:prSet/>
      <dgm:spPr/>
      <dgm:t>
        <a:bodyPr/>
        <a:lstStyle/>
        <a:p>
          <a:r>
            <a:rPr lang="en-US" dirty="0"/>
            <a:t>Redes colaborativas multiempresa</a:t>
          </a:r>
        </a:p>
      </dgm:t>
    </dgm:pt>
    <dgm:pt modelId="{4CE5D4EA-0132-4EF7-B68E-DE07D0A19CC0}" type="parTrans" cxnId="{0BD4EFDD-4419-456E-92DE-90DEA975AD26}">
      <dgm:prSet/>
      <dgm:spPr/>
      <dgm:t>
        <a:bodyPr/>
        <a:lstStyle/>
        <a:p>
          <a:endParaRPr lang="es-ES"/>
        </a:p>
      </dgm:t>
    </dgm:pt>
    <dgm:pt modelId="{C6B8D00B-1E20-4D14-A6D6-68B72E894CC9}" type="sibTrans" cxnId="{0BD4EFDD-4419-456E-92DE-90DEA975AD26}">
      <dgm:prSet/>
      <dgm:spPr/>
      <dgm:t>
        <a:bodyPr/>
        <a:lstStyle/>
        <a:p>
          <a:endParaRPr lang="es-ES"/>
        </a:p>
      </dgm:t>
    </dgm:pt>
    <dgm:pt modelId="{80DE2CDD-BCEA-4DC5-8437-C672F40E9493}" type="pres">
      <dgm:prSet presAssocID="{9FECD60E-A557-4E0D-B3CC-44220AFD0D3A}" presName="diagram" presStyleCnt="0">
        <dgm:presLayoutVars>
          <dgm:dir/>
          <dgm:resizeHandles val="exact"/>
        </dgm:presLayoutVars>
      </dgm:prSet>
      <dgm:spPr/>
    </dgm:pt>
    <dgm:pt modelId="{58F3A0ED-A0FC-4DD8-A176-90207B0D7350}" type="pres">
      <dgm:prSet presAssocID="{41F52889-BF30-448D-B8A7-84B8ECACC9F5}" presName="node" presStyleLbl="node1" presStyleIdx="0" presStyleCnt="10">
        <dgm:presLayoutVars>
          <dgm:bulletEnabled val="1"/>
        </dgm:presLayoutVars>
      </dgm:prSet>
      <dgm:spPr/>
    </dgm:pt>
    <dgm:pt modelId="{4A155BA5-1645-4502-A7DF-E3B8126CEF14}" type="pres">
      <dgm:prSet presAssocID="{AD852FEF-FD70-4A62-AE68-223D85A6D40A}" presName="sibTrans" presStyleCnt="0"/>
      <dgm:spPr/>
    </dgm:pt>
    <dgm:pt modelId="{B00A338A-7A77-49EF-A3F8-B6FD21A2B005}" type="pres">
      <dgm:prSet presAssocID="{305463E1-0DAE-4C40-A9E5-B9D107A1FDD5}" presName="node" presStyleLbl="node1" presStyleIdx="1" presStyleCnt="10">
        <dgm:presLayoutVars>
          <dgm:bulletEnabled val="1"/>
        </dgm:presLayoutVars>
      </dgm:prSet>
      <dgm:spPr/>
    </dgm:pt>
    <dgm:pt modelId="{30F94959-F03F-465D-B06F-7F322C342F93}" type="pres">
      <dgm:prSet presAssocID="{6D597A2B-1D20-4739-BFEE-47D9D7924DC1}" presName="sibTrans" presStyleCnt="0"/>
      <dgm:spPr/>
    </dgm:pt>
    <dgm:pt modelId="{58538D75-420C-4D91-A5C2-51FF713373E6}" type="pres">
      <dgm:prSet presAssocID="{9ED5421C-AA99-4473-94D9-7792C828706D}" presName="node" presStyleLbl="node1" presStyleIdx="2" presStyleCnt="10">
        <dgm:presLayoutVars>
          <dgm:bulletEnabled val="1"/>
        </dgm:presLayoutVars>
      </dgm:prSet>
      <dgm:spPr/>
    </dgm:pt>
    <dgm:pt modelId="{C1D38A72-BB43-4B75-9723-447508D7D749}" type="pres">
      <dgm:prSet presAssocID="{AED7CCD1-72AA-4DFC-AC45-C35DC3A05BF2}" presName="sibTrans" presStyleCnt="0"/>
      <dgm:spPr/>
    </dgm:pt>
    <dgm:pt modelId="{568E585A-1585-425E-80B0-0CD8B9244BA5}" type="pres">
      <dgm:prSet presAssocID="{C9EA4AA9-C65B-4DBB-AE4B-9AB507E37A18}" presName="node" presStyleLbl="node1" presStyleIdx="3" presStyleCnt="10">
        <dgm:presLayoutVars>
          <dgm:bulletEnabled val="1"/>
        </dgm:presLayoutVars>
      </dgm:prSet>
      <dgm:spPr/>
    </dgm:pt>
    <dgm:pt modelId="{A0A315B8-C64B-4FDA-AA56-878962927397}" type="pres">
      <dgm:prSet presAssocID="{92E2D93D-2CCA-4BB1-8125-A7CD7CA68CC2}" presName="sibTrans" presStyleCnt="0"/>
      <dgm:spPr/>
    </dgm:pt>
    <dgm:pt modelId="{CBFFD2BF-6658-40CB-8E8A-046045059769}" type="pres">
      <dgm:prSet presAssocID="{B416FB47-14B8-477B-9DA5-C263CD55B80F}" presName="node" presStyleLbl="node1" presStyleIdx="4" presStyleCnt="10">
        <dgm:presLayoutVars>
          <dgm:bulletEnabled val="1"/>
        </dgm:presLayoutVars>
      </dgm:prSet>
      <dgm:spPr/>
    </dgm:pt>
    <dgm:pt modelId="{B38B65C3-5635-4D6F-9370-A273E1F6E463}" type="pres">
      <dgm:prSet presAssocID="{F58BDFCD-DCA9-487B-BAA3-D85554F66BC0}" presName="sibTrans" presStyleCnt="0"/>
      <dgm:spPr/>
    </dgm:pt>
    <dgm:pt modelId="{E0892773-937D-40D2-9D80-4C9389AAB3B5}" type="pres">
      <dgm:prSet presAssocID="{9EC1A4A9-FE41-43F1-BCB1-DD69D85DCFE6}" presName="node" presStyleLbl="node1" presStyleIdx="5" presStyleCnt="10">
        <dgm:presLayoutVars>
          <dgm:bulletEnabled val="1"/>
        </dgm:presLayoutVars>
      </dgm:prSet>
      <dgm:spPr/>
    </dgm:pt>
    <dgm:pt modelId="{A107AFA5-82D5-49DC-B018-E8D9B8A9ACFE}" type="pres">
      <dgm:prSet presAssocID="{36FF47FA-22E7-406A-8246-68517E1788E0}" presName="sibTrans" presStyleCnt="0"/>
      <dgm:spPr/>
    </dgm:pt>
    <dgm:pt modelId="{466CBEFB-897E-4D52-860C-2D1CE6225879}" type="pres">
      <dgm:prSet presAssocID="{3CD92646-BC00-4918-8A7B-CFB08F1D2F56}" presName="node" presStyleLbl="node1" presStyleIdx="6" presStyleCnt="10">
        <dgm:presLayoutVars>
          <dgm:bulletEnabled val="1"/>
        </dgm:presLayoutVars>
      </dgm:prSet>
      <dgm:spPr/>
    </dgm:pt>
    <dgm:pt modelId="{6267AED5-42B4-40A8-9B01-28840024E0D0}" type="pres">
      <dgm:prSet presAssocID="{BEE71EB4-18AA-419B-AB30-A9154DA80127}" presName="sibTrans" presStyleCnt="0"/>
      <dgm:spPr/>
    </dgm:pt>
    <dgm:pt modelId="{DE444B7B-0C1F-4B39-9E2F-35D5E0817168}" type="pres">
      <dgm:prSet presAssocID="{0C1B0D72-E4DD-4EA8-BEDB-B6BA478D368A}" presName="node" presStyleLbl="node1" presStyleIdx="7" presStyleCnt="10">
        <dgm:presLayoutVars>
          <dgm:bulletEnabled val="1"/>
        </dgm:presLayoutVars>
      </dgm:prSet>
      <dgm:spPr/>
    </dgm:pt>
    <dgm:pt modelId="{EE68F097-0A93-4BB1-AAF0-642D810DA300}" type="pres">
      <dgm:prSet presAssocID="{D3A629C9-A4FE-4F41-B645-F1A4D3CDA5E1}" presName="sibTrans" presStyleCnt="0"/>
      <dgm:spPr/>
    </dgm:pt>
    <dgm:pt modelId="{6B546250-EC3B-437D-BA7D-FD44F7A6E3B7}" type="pres">
      <dgm:prSet presAssocID="{74430D50-61EA-4BDD-B436-62DD16B2DC86}" presName="node" presStyleLbl="node1" presStyleIdx="8" presStyleCnt="10">
        <dgm:presLayoutVars>
          <dgm:bulletEnabled val="1"/>
        </dgm:presLayoutVars>
      </dgm:prSet>
      <dgm:spPr/>
    </dgm:pt>
    <dgm:pt modelId="{C30B4A53-7A67-40D7-BB8D-443789B50F43}" type="pres">
      <dgm:prSet presAssocID="{414A814F-DE20-4D99-B2BC-D318D9419F78}" presName="sibTrans" presStyleCnt="0"/>
      <dgm:spPr/>
    </dgm:pt>
    <dgm:pt modelId="{CBCB2025-137E-4E58-BC0B-549E31BFEBBD}" type="pres">
      <dgm:prSet presAssocID="{8CB0E54F-92E8-4931-BC46-31239BA4118F}" presName="node" presStyleLbl="node1" presStyleIdx="9" presStyleCnt="10">
        <dgm:presLayoutVars>
          <dgm:bulletEnabled val="1"/>
        </dgm:presLayoutVars>
      </dgm:prSet>
      <dgm:spPr/>
    </dgm:pt>
  </dgm:ptLst>
  <dgm:cxnLst>
    <dgm:cxn modelId="{52F3DC08-5B6E-4F7B-A008-0023319C7C77}" srcId="{9FECD60E-A557-4E0D-B3CC-44220AFD0D3A}" destId="{0C1B0D72-E4DD-4EA8-BEDB-B6BA478D368A}" srcOrd="7" destOrd="0" parTransId="{9F62360C-A73A-46EA-B243-13DD2EC8D518}" sibTransId="{D3A629C9-A4FE-4F41-B645-F1A4D3CDA5E1}"/>
    <dgm:cxn modelId="{C7069514-21EB-4724-8174-E4D71A630BD3}" srcId="{9FECD60E-A557-4E0D-B3CC-44220AFD0D3A}" destId="{74430D50-61EA-4BDD-B436-62DD16B2DC86}" srcOrd="8" destOrd="0" parTransId="{732EF5CD-996F-456A-BC5D-689C2CFF27DB}" sibTransId="{414A814F-DE20-4D99-B2BC-D318D9419F78}"/>
    <dgm:cxn modelId="{7FA52E1D-8954-4E0B-9109-1AF57D3B0477}" type="presOf" srcId="{9EC1A4A9-FE41-43F1-BCB1-DD69D85DCFE6}" destId="{E0892773-937D-40D2-9D80-4C9389AAB3B5}" srcOrd="0" destOrd="0" presId="urn:microsoft.com/office/officeart/2005/8/layout/default"/>
    <dgm:cxn modelId="{608DC424-CFC5-4EC1-87D1-F064A71CD028}" type="presOf" srcId="{3CD92646-BC00-4918-8A7B-CFB08F1D2F56}" destId="{466CBEFB-897E-4D52-860C-2D1CE6225879}" srcOrd="0" destOrd="0" presId="urn:microsoft.com/office/officeart/2005/8/layout/default"/>
    <dgm:cxn modelId="{A97DD23C-E8F7-452C-8BC1-6C2576B8B619}" srcId="{9FECD60E-A557-4E0D-B3CC-44220AFD0D3A}" destId="{305463E1-0DAE-4C40-A9E5-B9D107A1FDD5}" srcOrd="1" destOrd="0" parTransId="{94ECEC36-8D99-4D04-9DC6-5579B702566C}" sibTransId="{6D597A2B-1D20-4739-BFEE-47D9D7924DC1}"/>
    <dgm:cxn modelId="{B69C4063-C504-4216-AA53-71E74ECFB127}" type="presOf" srcId="{0C1B0D72-E4DD-4EA8-BEDB-B6BA478D368A}" destId="{DE444B7B-0C1F-4B39-9E2F-35D5E0817168}" srcOrd="0" destOrd="0" presId="urn:microsoft.com/office/officeart/2005/8/layout/default"/>
    <dgm:cxn modelId="{BBF47C66-A59B-45D1-8B93-453E4CF6CBA9}" srcId="{9FECD60E-A557-4E0D-B3CC-44220AFD0D3A}" destId="{B416FB47-14B8-477B-9DA5-C263CD55B80F}" srcOrd="4" destOrd="0" parTransId="{C8702956-4574-4003-9151-E4F5F770DFA2}" sibTransId="{F58BDFCD-DCA9-487B-BAA3-D85554F66BC0}"/>
    <dgm:cxn modelId="{F5A5BA69-ECBA-4BCC-A417-0FC2FE8B7BA0}" srcId="{9FECD60E-A557-4E0D-B3CC-44220AFD0D3A}" destId="{9ED5421C-AA99-4473-94D9-7792C828706D}" srcOrd="2" destOrd="0" parTransId="{567F83B7-6715-460A-A1DE-21C6780563CA}" sibTransId="{AED7CCD1-72AA-4DFC-AC45-C35DC3A05BF2}"/>
    <dgm:cxn modelId="{725ABD57-74C7-41C1-8579-B3ABBAD2CFD2}" srcId="{9FECD60E-A557-4E0D-B3CC-44220AFD0D3A}" destId="{41F52889-BF30-448D-B8A7-84B8ECACC9F5}" srcOrd="0" destOrd="0" parTransId="{E8CA6C4C-11E5-43BC-BDFF-B814256F6173}" sibTransId="{AD852FEF-FD70-4A62-AE68-223D85A6D40A}"/>
    <dgm:cxn modelId="{200437A2-DA16-4C66-956A-5F9BC0AB2C41}" srcId="{9FECD60E-A557-4E0D-B3CC-44220AFD0D3A}" destId="{3CD92646-BC00-4918-8A7B-CFB08F1D2F56}" srcOrd="6" destOrd="0" parTransId="{5B904059-605C-4B8A-AA1C-770642E710B9}" sibTransId="{BEE71EB4-18AA-419B-AB30-A9154DA80127}"/>
    <dgm:cxn modelId="{902E5EA6-D44A-47E6-A66C-1B1879557548}" srcId="{9FECD60E-A557-4E0D-B3CC-44220AFD0D3A}" destId="{C9EA4AA9-C65B-4DBB-AE4B-9AB507E37A18}" srcOrd="3" destOrd="0" parTransId="{85483C36-9F2B-4C93-9DE2-5DB31F5D56F5}" sibTransId="{92E2D93D-2CCA-4BB1-8125-A7CD7CA68CC2}"/>
    <dgm:cxn modelId="{A7C398A8-8D27-411C-8F72-5AE78B43F2B9}" type="presOf" srcId="{305463E1-0DAE-4C40-A9E5-B9D107A1FDD5}" destId="{B00A338A-7A77-49EF-A3F8-B6FD21A2B005}" srcOrd="0" destOrd="0" presId="urn:microsoft.com/office/officeart/2005/8/layout/default"/>
    <dgm:cxn modelId="{5378A7AE-07A7-4E51-9B4C-E07C4039B0B6}" type="presOf" srcId="{74430D50-61EA-4BDD-B436-62DD16B2DC86}" destId="{6B546250-EC3B-437D-BA7D-FD44F7A6E3B7}" srcOrd="0" destOrd="0" presId="urn:microsoft.com/office/officeart/2005/8/layout/default"/>
    <dgm:cxn modelId="{750E48B7-68E0-46C1-BB9B-61C6C0C14B0C}" type="presOf" srcId="{9ED5421C-AA99-4473-94D9-7792C828706D}" destId="{58538D75-420C-4D91-A5C2-51FF713373E6}" srcOrd="0" destOrd="0" presId="urn:microsoft.com/office/officeart/2005/8/layout/default"/>
    <dgm:cxn modelId="{E10A57BB-8401-4D5C-B8D0-ED7BECEA9DAD}" srcId="{9FECD60E-A557-4E0D-B3CC-44220AFD0D3A}" destId="{9EC1A4A9-FE41-43F1-BCB1-DD69D85DCFE6}" srcOrd="5" destOrd="0" parTransId="{01DF8286-5B8D-4DE6-8D41-3FF0564AD538}" sibTransId="{36FF47FA-22E7-406A-8246-68517E1788E0}"/>
    <dgm:cxn modelId="{CF165BCB-217A-4A28-A66C-9BAC9E0C1304}" type="presOf" srcId="{41F52889-BF30-448D-B8A7-84B8ECACC9F5}" destId="{58F3A0ED-A0FC-4DD8-A176-90207B0D7350}" srcOrd="0" destOrd="0" presId="urn:microsoft.com/office/officeart/2005/8/layout/default"/>
    <dgm:cxn modelId="{3FBD87CB-5B47-4994-A66D-4C854B295DE4}" type="presOf" srcId="{8CB0E54F-92E8-4931-BC46-31239BA4118F}" destId="{CBCB2025-137E-4E58-BC0B-549E31BFEBBD}" srcOrd="0" destOrd="0" presId="urn:microsoft.com/office/officeart/2005/8/layout/default"/>
    <dgm:cxn modelId="{B22AF0D7-D337-4ACD-8E3F-72A911A45A9C}" type="presOf" srcId="{B416FB47-14B8-477B-9DA5-C263CD55B80F}" destId="{CBFFD2BF-6658-40CB-8E8A-046045059769}" srcOrd="0" destOrd="0" presId="urn:microsoft.com/office/officeart/2005/8/layout/default"/>
    <dgm:cxn modelId="{0BD4EFDD-4419-456E-92DE-90DEA975AD26}" srcId="{9FECD60E-A557-4E0D-B3CC-44220AFD0D3A}" destId="{8CB0E54F-92E8-4931-BC46-31239BA4118F}" srcOrd="9" destOrd="0" parTransId="{4CE5D4EA-0132-4EF7-B68E-DE07D0A19CC0}" sibTransId="{C6B8D00B-1E20-4D14-A6D6-68B72E894CC9}"/>
    <dgm:cxn modelId="{92F90FE2-9298-4016-9ABE-757699586757}" type="presOf" srcId="{9FECD60E-A557-4E0D-B3CC-44220AFD0D3A}" destId="{80DE2CDD-BCEA-4DC5-8437-C672F40E9493}" srcOrd="0" destOrd="0" presId="urn:microsoft.com/office/officeart/2005/8/layout/default"/>
    <dgm:cxn modelId="{5F7637F1-1F15-4F2A-A023-D6A3C311CB2E}" type="presOf" srcId="{C9EA4AA9-C65B-4DBB-AE4B-9AB507E37A18}" destId="{568E585A-1585-425E-80B0-0CD8B9244BA5}" srcOrd="0" destOrd="0" presId="urn:microsoft.com/office/officeart/2005/8/layout/default"/>
    <dgm:cxn modelId="{D1D8D913-BB09-4AE4-A4C6-40380E9B2A4C}" type="presParOf" srcId="{80DE2CDD-BCEA-4DC5-8437-C672F40E9493}" destId="{58F3A0ED-A0FC-4DD8-A176-90207B0D7350}" srcOrd="0" destOrd="0" presId="urn:microsoft.com/office/officeart/2005/8/layout/default"/>
    <dgm:cxn modelId="{97107D83-726D-46DF-A25E-87DF95DE615F}" type="presParOf" srcId="{80DE2CDD-BCEA-4DC5-8437-C672F40E9493}" destId="{4A155BA5-1645-4502-A7DF-E3B8126CEF14}" srcOrd="1" destOrd="0" presId="urn:microsoft.com/office/officeart/2005/8/layout/default"/>
    <dgm:cxn modelId="{A2878F22-2D1B-4A75-BFB6-29730342AB6E}" type="presParOf" srcId="{80DE2CDD-BCEA-4DC5-8437-C672F40E9493}" destId="{B00A338A-7A77-49EF-A3F8-B6FD21A2B005}" srcOrd="2" destOrd="0" presId="urn:microsoft.com/office/officeart/2005/8/layout/default"/>
    <dgm:cxn modelId="{DA15CA53-BBF7-4C96-A56B-D43C231B5463}" type="presParOf" srcId="{80DE2CDD-BCEA-4DC5-8437-C672F40E9493}" destId="{30F94959-F03F-465D-B06F-7F322C342F93}" srcOrd="3" destOrd="0" presId="urn:microsoft.com/office/officeart/2005/8/layout/default"/>
    <dgm:cxn modelId="{D0435A45-3CCB-4515-8707-07B76517A73A}" type="presParOf" srcId="{80DE2CDD-BCEA-4DC5-8437-C672F40E9493}" destId="{58538D75-420C-4D91-A5C2-51FF713373E6}" srcOrd="4" destOrd="0" presId="urn:microsoft.com/office/officeart/2005/8/layout/default"/>
    <dgm:cxn modelId="{A6C3BB9C-0FED-40F8-94A4-6AC80E800A65}" type="presParOf" srcId="{80DE2CDD-BCEA-4DC5-8437-C672F40E9493}" destId="{C1D38A72-BB43-4B75-9723-447508D7D749}" srcOrd="5" destOrd="0" presId="urn:microsoft.com/office/officeart/2005/8/layout/default"/>
    <dgm:cxn modelId="{5F98850E-D03D-4976-B97E-F9FC67D8D7C6}" type="presParOf" srcId="{80DE2CDD-BCEA-4DC5-8437-C672F40E9493}" destId="{568E585A-1585-425E-80B0-0CD8B9244BA5}" srcOrd="6" destOrd="0" presId="urn:microsoft.com/office/officeart/2005/8/layout/default"/>
    <dgm:cxn modelId="{6A80FFE3-F568-4EBA-835F-8CD3BF15CAEC}" type="presParOf" srcId="{80DE2CDD-BCEA-4DC5-8437-C672F40E9493}" destId="{A0A315B8-C64B-4FDA-AA56-878962927397}" srcOrd="7" destOrd="0" presId="urn:microsoft.com/office/officeart/2005/8/layout/default"/>
    <dgm:cxn modelId="{442D9D15-CEFD-4BF7-BC1F-3F680EFCE8A0}" type="presParOf" srcId="{80DE2CDD-BCEA-4DC5-8437-C672F40E9493}" destId="{CBFFD2BF-6658-40CB-8E8A-046045059769}" srcOrd="8" destOrd="0" presId="urn:microsoft.com/office/officeart/2005/8/layout/default"/>
    <dgm:cxn modelId="{CA493FF4-818B-4DF6-8E47-4F7EBEC4F5FF}" type="presParOf" srcId="{80DE2CDD-BCEA-4DC5-8437-C672F40E9493}" destId="{B38B65C3-5635-4D6F-9370-A273E1F6E463}" srcOrd="9" destOrd="0" presId="urn:microsoft.com/office/officeart/2005/8/layout/default"/>
    <dgm:cxn modelId="{3BA5DD7F-F16A-4E98-94B2-D1313475B472}" type="presParOf" srcId="{80DE2CDD-BCEA-4DC5-8437-C672F40E9493}" destId="{E0892773-937D-40D2-9D80-4C9389AAB3B5}" srcOrd="10" destOrd="0" presId="urn:microsoft.com/office/officeart/2005/8/layout/default"/>
    <dgm:cxn modelId="{51B06B9D-D962-4A7D-99B8-F157A89C07DB}" type="presParOf" srcId="{80DE2CDD-BCEA-4DC5-8437-C672F40E9493}" destId="{A107AFA5-82D5-49DC-B018-E8D9B8A9ACFE}" srcOrd="11" destOrd="0" presId="urn:microsoft.com/office/officeart/2005/8/layout/default"/>
    <dgm:cxn modelId="{D33DADF1-D068-4E06-9335-5213AA23AE1D}" type="presParOf" srcId="{80DE2CDD-BCEA-4DC5-8437-C672F40E9493}" destId="{466CBEFB-897E-4D52-860C-2D1CE6225879}" srcOrd="12" destOrd="0" presId="urn:microsoft.com/office/officeart/2005/8/layout/default"/>
    <dgm:cxn modelId="{89FEF167-6F64-44B0-9175-05035B7CC9B3}" type="presParOf" srcId="{80DE2CDD-BCEA-4DC5-8437-C672F40E9493}" destId="{6267AED5-42B4-40A8-9B01-28840024E0D0}" srcOrd="13" destOrd="0" presId="urn:microsoft.com/office/officeart/2005/8/layout/default"/>
    <dgm:cxn modelId="{39E73712-7157-42BD-A7D3-7CE77DB5F7D7}" type="presParOf" srcId="{80DE2CDD-BCEA-4DC5-8437-C672F40E9493}" destId="{DE444B7B-0C1F-4B39-9E2F-35D5E0817168}" srcOrd="14" destOrd="0" presId="urn:microsoft.com/office/officeart/2005/8/layout/default"/>
    <dgm:cxn modelId="{F0452278-71C1-469A-81CD-AA2F1848A5E2}" type="presParOf" srcId="{80DE2CDD-BCEA-4DC5-8437-C672F40E9493}" destId="{EE68F097-0A93-4BB1-AAF0-642D810DA300}" srcOrd="15" destOrd="0" presId="urn:microsoft.com/office/officeart/2005/8/layout/default"/>
    <dgm:cxn modelId="{9506D4C3-D3E9-47CA-918E-617D857166E0}" type="presParOf" srcId="{80DE2CDD-BCEA-4DC5-8437-C672F40E9493}" destId="{6B546250-EC3B-437D-BA7D-FD44F7A6E3B7}" srcOrd="16" destOrd="0" presId="urn:microsoft.com/office/officeart/2005/8/layout/default"/>
    <dgm:cxn modelId="{D438313F-CD30-4143-8897-B58775DB632A}" type="presParOf" srcId="{80DE2CDD-BCEA-4DC5-8437-C672F40E9493}" destId="{C30B4A53-7A67-40D7-BB8D-443789B50F43}" srcOrd="17" destOrd="0" presId="urn:microsoft.com/office/officeart/2005/8/layout/default"/>
    <dgm:cxn modelId="{25227FFA-734A-4DD6-B092-243DFEF76D99}" type="presParOf" srcId="{80DE2CDD-BCEA-4DC5-8437-C672F40E9493}" destId="{CBCB2025-137E-4E58-BC0B-549E31BFEBBD}"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5DF888A1-E5F9-46C3-AD6E-E4C59E3E772D}" type="doc">
      <dgm:prSet loTypeId="urn:microsoft.com/office/officeart/2005/8/layout/hList1" loCatId="list" qsTypeId="urn:microsoft.com/office/officeart/2005/8/quickstyle/simple1" qsCatId="simple" csTypeId="urn:microsoft.com/office/officeart/2005/8/colors/accent1_5" csCatId="accent1" phldr="1"/>
      <dgm:spPr/>
      <dgm:t>
        <a:bodyPr/>
        <a:lstStyle/>
        <a:p>
          <a:endParaRPr lang="es-ES"/>
        </a:p>
      </dgm:t>
    </dgm:pt>
    <dgm:pt modelId="{EEB4A803-1349-48DC-AB70-BA0898E08196}">
      <dgm:prSet/>
      <dgm:spPr/>
      <dgm:t>
        <a:bodyPr/>
        <a:lstStyle/>
        <a:p>
          <a:r>
            <a:rPr lang="es-ES" dirty="0"/>
            <a:t>Fabricación:</a:t>
          </a:r>
        </a:p>
      </dgm:t>
    </dgm:pt>
    <dgm:pt modelId="{5ACA2A32-AEF9-43A7-AE1D-7E31E199AFFC}" type="parTrans" cxnId="{C3008519-CE76-4536-9AEF-44FA48F0CF6F}">
      <dgm:prSet/>
      <dgm:spPr/>
      <dgm:t>
        <a:bodyPr/>
        <a:lstStyle/>
        <a:p>
          <a:endParaRPr lang="es-ES"/>
        </a:p>
      </dgm:t>
    </dgm:pt>
    <dgm:pt modelId="{C5B74DAC-443D-4F65-BA57-46626C66417C}" type="sibTrans" cxnId="{C3008519-CE76-4536-9AEF-44FA48F0CF6F}">
      <dgm:prSet/>
      <dgm:spPr/>
      <dgm:t>
        <a:bodyPr/>
        <a:lstStyle/>
        <a:p>
          <a:endParaRPr lang="es-ES"/>
        </a:p>
      </dgm:t>
    </dgm:pt>
    <dgm:pt modelId="{5085528B-8655-4946-9A51-D0CD22944BEE}">
      <dgm:prSet/>
      <dgm:spPr/>
      <dgm:t>
        <a:bodyPr/>
        <a:lstStyle/>
        <a:p>
          <a:r>
            <a:rPr lang="es-ES" dirty="0"/>
            <a:t>Hacen la cadena de producción más ágil y reducen posibles errores.</a:t>
          </a:r>
        </a:p>
      </dgm:t>
    </dgm:pt>
    <dgm:pt modelId="{A05FA88D-7A2B-4D67-B6C3-8D730858AADE}" type="parTrans" cxnId="{55D8BC04-7F40-4C18-B8CB-3C4C122C8489}">
      <dgm:prSet/>
      <dgm:spPr/>
      <dgm:t>
        <a:bodyPr/>
        <a:lstStyle/>
        <a:p>
          <a:endParaRPr lang="es-ES"/>
        </a:p>
      </dgm:t>
    </dgm:pt>
    <dgm:pt modelId="{754884C1-36FC-4209-992F-F60FAA6ECEFE}" type="sibTrans" cxnId="{55D8BC04-7F40-4C18-B8CB-3C4C122C8489}">
      <dgm:prSet/>
      <dgm:spPr/>
      <dgm:t>
        <a:bodyPr/>
        <a:lstStyle/>
        <a:p>
          <a:endParaRPr lang="es-ES"/>
        </a:p>
      </dgm:t>
    </dgm:pt>
    <dgm:pt modelId="{E3E26D54-C8F8-4258-AB74-B44F7B0D38A3}">
      <dgm:prSet/>
      <dgm:spPr/>
      <dgm:t>
        <a:bodyPr/>
        <a:lstStyle/>
        <a:p>
          <a:r>
            <a:rPr lang="es-ES" dirty="0"/>
            <a:t>Medicina</a:t>
          </a:r>
        </a:p>
      </dgm:t>
    </dgm:pt>
    <dgm:pt modelId="{B775A547-5BB6-4614-B8A6-107935D5CB0A}" type="parTrans" cxnId="{1D5C0EAF-6898-4EB8-982D-C1A0058FE574}">
      <dgm:prSet/>
      <dgm:spPr/>
      <dgm:t>
        <a:bodyPr/>
        <a:lstStyle/>
        <a:p>
          <a:endParaRPr lang="es-ES"/>
        </a:p>
      </dgm:t>
    </dgm:pt>
    <dgm:pt modelId="{2B68F64B-0109-4A8D-BDFE-E3244B9CC7CB}" type="sibTrans" cxnId="{1D5C0EAF-6898-4EB8-982D-C1A0058FE574}">
      <dgm:prSet/>
      <dgm:spPr/>
      <dgm:t>
        <a:bodyPr/>
        <a:lstStyle/>
        <a:p>
          <a:endParaRPr lang="es-ES"/>
        </a:p>
      </dgm:t>
    </dgm:pt>
    <dgm:pt modelId="{16D771FC-6E33-4279-A195-202BDF2190DA}">
      <dgm:prSet/>
      <dgm:spPr/>
      <dgm:t>
        <a:bodyPr/>
        <a:lstStyle/>
        <a:p>
          <a:r>
            <a:rPr lang="es-ES" dirty="0"/>
            <a:t>Donación de órganos</a:t>
          </a:r>
        </a:p>
      </dgm:t>
    </dgm:pt>
    <dgm:pt modelId="{71A2F3C7-CD3A-48D3-A6CC-12C9290ECD6C}" type="parTrans" cxnId="{759A1D47-96C9-4EB8-BA9B-DA3148CA0C37}">
      <dgm:prSet/>
      <dgm:spPr/>
      <dgm:t>
        <a:bodyPr/>
        <a:lstStyle/>
        <a:p>
          <a:endParaRPr lang="es-ES"/>
        </a:p>
      </dgm:t>
    </dgm:pt>
    <dgm:pt modelId="{090F603F-E2AD-445B-ADC5-EB338CF3D7D8}" type="sibTrans" cxnId="{759A1D47-96C9-4EB8-BA9B-DA3148CA0C37}">
      <dgm:prSet/>
      <dgm:spPr/>
      <dgm:t>
        <a:bodyPr/>
        <a:lstStyle/>
        <a:p>
          <a:endParaRPr lang="es-ES"/>
        </a:p>
      </dgm:t>
    </dgm:pt>
    <dgm:pt modelId="{9D3D17E7-695C-4532-A9E4-DE46D8B2BE5D}">
      <dgm:prSet/>
      <dgm:spPr/>
      <dgm:t>
        <a:bodyPr/>
        <a:lstStyle/>
        <a:p>
          <a:r>
            <a:rPr lang="es-ES" dirty="0"/>
            <a:t>Logística (DHL)</a:t>
          </a:r>
        </a:p>
      </dgm:t>
    </dgm:pt>
    <dgm:pt modelId="{0ACE6D5A-EE5C-4463-BCDA-351B8F5656B8}" type="parTrans" cxnId="{D9AF8916-133B-4F07-8CA7-60590121F318}">
      <dgm:prSet/>
      <dgm:spPr/>
      <dgm:t>
        <a:bodyPr/>
        <a:lstStyle/>
        <a:p>
          <a:endParaRPr lang="es-ES"/>
        </a:p>
      </dgm:t>
    </dgm:pt>
    <dgm:pt modelId="{16BFA185-AD42-436E-B705-FE01965ED7C4}" type="sibTrans" cxnId="{D9AF8916-133B-4F07-8CA7-60590121F318}">
      <dgm:prSet/>
      <dgm:spPr/>
      <dgm:t>
        <a:bodyPr/>
        <a:lstStyle/>
        <a:p>
          <a:endParaRPr lang="es-ES"/>
        </a:p>
      </dgm:t>
    </dgm:pt>
    <dgm:pt modelId="{D53529EA-DB40-4C60-8BE7-2ED3E5B6876F}">
      <dgm:prSet/>
      <dgm:spPr/>
      <dgm:t>
        <a:bodyPr/>
        <a:lstStyle/>
        <a:p>
          <a:r>
            <a:rPr lang="es-ES" dirty="0"/>
            <a:t>Gestión de flotas de contenedores, monitorización de envíos, diseño de  sistemas logísticos. </a:t>
          </a:r>
        </a:p>
      </dgm:t>
    </dgm:pt>
    <dgm:pt modelId="{71136B66-A115-4CB7-998E-490A072384B9}" type="parTrans" cxnId="{F4222821-8CD8-4228-BE20-7A360C0BC54F}">
      <dgm:prSet/>
      <dgm:spPr/>
      <dgm:t>
        <a:bodyPr/>
        <a:lstStyle/>
        <a:p>
          <a:endParaRPr lang="es-ES"/>
        </a:p>
      </dgm:t>
    </dgm:pt>
    <dgm:pt modelId="{71BD6859-CB9A-408C-B5CA-FE1E2478DCBE}" type="sibTrans" cxnId="{F4222821-8CD8-4228-BE20-7A360C0BC54F}">
      <dgm:prSet/>
      <dgm:spPr/>
      <dgm:t>
        <a:bodyPr/>
        <a:lstStyle/>
        <a:p>
          <a:endParaRPr lang="es-ES"/>
        </a:p>
      </dgm:t>
    </dgm:pt>
    <dgm:pt modelId="{BB6EFC94-8A92-44C3-9F7B-2B30FA07736F}">
      <dgm:prSet/>
      <dgm:spPr/>
      <dgm:t>
        <a:bodyPr/>
        <a:lstStyle/>
        <a:p>
          <a:r>
            <a:rPr lang="es-ES" dirty="0"/>
            <a:t>Los sensores IoT en los contenedores individuales muestran ubicación y monitorizan daños o la contaminación. </a:t>
          </a:r>
        </a:p>
      </dgm:t>
    </dgm:pt>
    <dgm:pt modelId="{4BF3E2C4-F5F7-4A14-8D79-EC9DB07E3A7A}" type="parTrans" cxnId="{EDEC20BD-7A89-450F-81B6-300AA38BE395}">
      <dgm:prSet/>
      <dgm:spPr/>
      <dgm:t>
        <a:bodyPr/>
        <a:lstStyle/>
        <a:p>
          <a:endParaRPr lang="es-ES"/>
        </a:p>
      </dgm:t>
    </dgm:pt>
    <dgm:pt modelId="{B0877E9F-1466-4B76-9E69-48AA12B05848}" type="sibTrans" cxnId="{EDEC20BD-7A89-450F-81B6-300AA38BE395}">
      <dgm:prSet/>
      <dgm:spPr/>
      <dgm:t>
        <a:bodyPr/>
        <a:lstStyle/>
        <a:p>
          <a:endParaRPr lang="es-ES"/>
        </a:p>
      </dgm:t>
    </dgm:pt>
    <dgm:pt modelId="{0ADF8CD7-1C76-4B3B-A78F-EB01E5D1814F}">
      <dgm:prSet/>
      <dgm:spPr/>
      <dgm:t>
        <a:bodyPr/>
        <a:lstStyle/>
        <a:p>
          <a:r>
            <a:rPr lang="es-ES" dirty="0"/>
            <a:t>El gemelo digital de la red de contenedores, propone mejoras necesarias para garantizar mas eficiencia.</a:t>
          </a:r>
        </a:p>
      </dgm:t>
    </dgm:pt>
    <dgm:pt modelId="{3FA3DC9F-D2DA-4419-B732-11C4C0C6F0B8}" type="parTrans" cxnId="{A154EDEA-C9E8-4D75-9514-BD1C21760A57}">
      <dgm:prSet/>
      <dgm:spPr/>
      <dgm:t>
        <a:bodyPr/>
        <a:lstStyle/>
        <a:p>
          <a:endParaRPr lang="es-ES"/>
        </a:p>
      </dgm:t>
    </dgm:pt>
    <dgm:pt modelId="{8763F92E-D2A6-4AC8-ABEC-5C27ED61E9D6}" type="sibTrans" cxnId="{A154EDEA-C9E8-4D75-9514-BD1C21760A57}">
      <dgm:prSet/>
      <dgm:spPr/>
      <dgm:t>
        <a:bodyPr/>
        <a:lstStyle/>
        <a:p>
          <a:endParaRPr lang="es-ES"/>
        </a:p>
      </dgm:t>
    </dgm:pt>
    <dgm:pt modelId="{8DC82805-9B80-47A0-A6E8-7395F9B04AD6}">
      <dgm:prSet/>
      <dgm:spPr/>
      <dgm:t>
        <a:bodyPr/>
        <a:lstStyle/>
        <a:p>
          <a:r>
            <a:rPr lang="es-ES" dirty="0"/>
            <a:t>Diseñar un motor de un vehículo, motores a reacción o turbinas.</a:t>
          </a:r>
        </a:p>
      </dgm:t>
    </dgm:pt>
    <dgm:pt modelId="{7A2BCE43-69AB-4D01-8E1C-6FFFA09D9D4B}" type="parTrans" cxnId="{BDFBBE0A-904F-499A-8F05-563E46D9F90E}">
      <dgm:prSet/>
      <dgm:spPr/>
      <dgm:t>
        <a:bodyPr/>
        <a:lstStyle/>
        <a:p>
          <a:endParaRPr lang="es-ES"/>
        </a:p>
      </dgm:t>
    </dgm:pt>
    <dgm:pt modelId="{25E5F207-2E20-4485-A4B9-50B08F5F53D1}" type="sibTrans" cxnId="{BDFBBE0A-904F-499A-8F05-563E46D9F90E}">
      <dgm:prSet/>
      <dgm:spPr/>
      <dgm:t>
        <a:bodyPr/>
        <a:lstStyle/>
        <a:p>
          <a:endParaRPr lang="es-ES"/>
        </a:p>
      </dgm:t>
    </dgm:pt>
    <dgm:pt modelId="{E00A7A94-D536-4655-90A6-AE3F6C8BD88B}">
      <dgm:prSet/>
      <dgm:spPr/>
      <dgm:t>
        <a:bodyPr/>
        <a:lstStyle/>
        <a:p>
          <a:r>
            <a:rPr lang="es-ES" dirty="0"/>
            <a:t>La formación quirúrgica</a:t>
          </a:r>
        </a:p>
      </dgm:t>
    </dgm:pt>
    <dgm:pt modelId="{AD70BAFF-0020-446C-B47C-1A4C94B06600}" type="parTrans" cxnId="{E3764AB1-A7A4-491E-BE4D-D97A30CC3606}">
      <dgm:prSet/>
      <dgm:spPr/>
      <dgm:t>
        <a:bodyPr/>
        <a:lstStyle/>
        <a:p>
          <a:endParaRPr lang="es-ES"/>
        </a:p>
      </dgm:t>
    </dgm:pt>
    <dgm:pt modelId="{CE9680B5-3D06-45E7-992E-9185283656A5}" type="sibTrans" cxnId="{E3764AB1-A7A4-491E-BE4D-D97A30CC3606}">
      <dgm:prSet/>
      <dgm:spPr/>
      <dgm:t>
        <a:bodyPr/>
        <a:lstStyle/>
        <a:p>
          <a:endParaRPr lang="es-ES"/>
        </a:p>
      </dgm:t>
    </dgm:pt>
    <dgm:pt modelId="{ADCB66C1-89FA-48D6-84C6-A4D1F8CC9A60}">
      <dgm:prSet/>
      <dgm:spPr/>
      <dgm:t>
        <a:bodyPr/>
        <a:lstStyle/>
        <a:p>
          <a:r>
            <a:rPr lang="es-ES" dirty="0"/>
            <a:t>Modelando el flujo de personas a través de los hospitales y rastrear dónde pueden existir infecciones y quiénes pueden estar en peligro por contacto.</a:t>
          </a:r>
        </a:p>
      </dgm:t>
    </dgm:pt>
    <dgm:pt modelId="{A79976E9-2260-4458-9E32-CE86726ADF8A}" type="parTrans" cxnId="{F7E2F740-F422-49C9-9CD4-CC400803C85F}">
      <dgm:prSet/>
      <dgm:spPr/>
      <dgm:t>
        <a:bodyPr/>
        <a:lstStyle/>
        <a:p>
          <a:endParaRPr lang="es-ES"/>
        </a:p>
      </dgm:t>
    </dgm:pt>
    <dgm:pt modelId="{31A56B5D-E6B1-48F8-9A3E-614EDA27DF6C}" type="sibTrans" cxnId="{F7E2F740-F422-49C9-9CD4-CC400803C85F}">
      <dgm:prSet/>
      <dgm:spPr/>
      <dgm:t>
        <a:bodyPr/>
        <a:lstStyle/>
        <a:p>
          <a:endParaRPr lang="es-ES"/>
        </a:p>
      </dgm:t>
    </dgm:pt>
    <dgm:pt modelId="{88DF638C-1ADB-438C-A084-BC5C6C32E810}">
      <dgm:prSet/>
      <dgm:spPr/>
      <dgm:t>
        <a:bodyPr/>
        <a:lstStyle/>
        <a:p>
          <a:r>
            <a:rPr lang="es-ES" dirty="0"/>
            <a:t>Probar posibles reparaciones, predecir tiempos de mantenimiento o predecir el funcionamiento de piezas</a:t>
          </a:r>
        </a:p>
      </dgm:t>
    </dgm:pt>
    <dgm:pt modelId="{2060EBC1-FA23-4336-B610-9970ED496F39}" type="parTrans" cxnId="{D0627010-2F00-4189-A1E4-BF58472DAA72}">
      <dgm:prSet/>
      <dgm:spPr/>
    </dgm:pt>
    <dgm:pt modelId="{0BD7E004-8B52-48E1-BDED-A9D129DF9384}" type="sibTrans" cxnId="{D0627010-2F00-4189-A1E4-BF58472DAA72}">
      <dgm:prSet/>
      <dgm:spPr/>
    </dgm:pt>
    <dgm:pt modelId="{9B2FB7B5-E1EB-4F52-8F5B-140A87C36BA3}" type="pres">
      <dgm:prSet presAssocID="{5DF888A1-E5F9-46C3-AD6E-E4C59E3E772D}" presName="Name0" presStyleCnt="0">
        <dgm:presLayoutVars>
          <dgm:dir/>
          <dgm:animLvl val="lvl"/>
          <dgm:resizeHandles val="exact"/>
        </dgm:presLayoutVars>
      </dgm:prSet>
      <dgm:spPr/>
    </dgm:pt>
    <dgm:pt modelId="{59B36003-82D4-44C9-9507-551DCE878595}" type="pres">
      <dgm:prSet presAssocID="{EEB4A803-1349-48DC-AB70-BA0898E08196}" presName="composite" presStyleCnt="0"/>
      <dgm:spPr/>
    </dgm:pt>
    <dgm:pt modelId="{720CA528-FE73-470C-9235-B7DB16B81EAD}" type="pres">
      <dgm:prSet presAssocID="{EEB4A803-1349-48DC-AB70-BA0898E08196}" presName="parTx" presStyleLbl="alignNode1" presStyleIdx="0" presStyleCnt="3">
        <dgm:presLayoutVars>
          <dgm:chMax val="0"/>
          <dgm:chPref val="0"/>
          <dgm:bulletEnabled val="1"/>
        </dgm:presLayoutVars>
      </dgm:prSet>
      <dgm:spPr/>
    </dgm:pt>
    <dgm:pt modelId="{19E8AFF4-A188-425C-A680-9F4452D044EB}" type="pres">
      <dgm:prSet presAssocID="{EEB4A803-1349-48DC-AB70-BA0898E08196}" presName="desTx" presStyleLbl="alignAccFollowNode1" presStyleIdx="0" presStyleCnt="3">
        <dgm:presLayoutVars>
          <dgm:bulletEnabled val="1"/>
        </dgm:presLayoutVars>
      </dgm:prSet>
      <dgm:spPr/>
    </dgm:pt>
    <dgm:pt modelId="{1C696D7E-5EC3-45C3-8020-526D6013E168}" type="pres">
      <dgm:prSet presAssocID="{C5B74DAC-443D-4F65-BA57-46626C66417C}" presName="space" presStyleCnt="0"/>
      <dgm:spPr/>
    </dgm:pt>
    <dgm:pt modelId="{5B8A767A-A758-40F7-8891-F3C78A8246F3}" type="pres">
      <dgm:prSet presAssocID="{E3E26D54-C8F8-4258-AB74-B44F7B0D38A3}" presName="composite" presStyleCnt="0"/>
      <dgm:spPr/>
    </dgm:pt>
    <dgm:pt modelId="{1B318F2D-CBD9-4DC2-9272-BD54608AEDAB}" type="pres">
      <dgm:prSet presAssocID="{E3E26D54-C8F8-4258-AB74-B44F7B0D38A3}" presName="parTx" presStyleLbl="alignNode1" presStyleIdx="1" presStyleCnt="3">
        <dgm:presLayoutVars>
          <dgm:chMax val="0"/>
          <dgm:chPref val="0"/>
          <dgm:bulletEnabled val="1"/>
        </dgm:presLayoutVars>
      </dgm:prSet>
      <dgm:spPr/>
    </dgm:pt>
    <dgm:pt modelId="{E4952755-23A0-4089-B2ED-94BB652BB4D8}" type="pres">
      <dgm:prSet presAssocID="{E3E26D54-C8F8-4258-AB74-B44F7B0D38A3}" presName="desTx" presStyleLbl="alignAccFollowNode1" presStyleIdx="1" presStyleCnt="3">
        <dgm:presLayoutVars>
          <dgm:bulletEnabled val="1"/>
        </dgm:presLayoutVars>
      </dgm:prSet>
      <dgm:spPr/>
    </dgm:pt>
    <dgm:pt modelId="{DDCB58CD-721E-4031-8EA9-4C4A1080E1B3}" type="pres">
      <dgm:prSet presAssocID="{2B68F64B-0109-4A8D-BDFE-E3244B9CC7CB}" presName="space" presStyleCnt="0"/>
      <dgm:spPr/>
    </dgm:pt>
    <dgm:pt modelId="{F6869A41-1B7A-4083-8B96-9B822E6FA3F3}" type="pres">
      <dgm:prSet presAssocID="{9D3D17E7-695C-4532-A9E4-DE46D8B2BE5D}" presName="composite" presStyleCnt="0"/>
      <dgm:spPr/>
    </dgm:pt>
    <dgm:pt modelId="{F4C13F4D-ED71-4897-88C3-1A02D08487B9}" type="pres">
      <dgm:prSet presAssocID="{9D3D17E7-695C-4532-A9E4-DE46D8B2BE5D}" presName="parTx" presStyleLbl="alignNode1" presStyleIdx="2" presStyleCnt="3">
        <dgm:presLayoutVars>
          <dgm:chMax val="0"/>
          <dgm:chPref val="0"/>
          <dgm:bulletEnabled val="1"/>
        </dgm:presLayoutVars>
      </dgm:prSet>
      <dgm:spPr/>
    </dgm:pt>
    <dgm:pt modelId="{286BB20F-4F73-4408-81EA-6E877CC72979}" type="pres">
      <dgm:prSet presAssocID="{9D3D17E7-695C-4532-A9E4-DE46D8B2BE5D}" presName="desTx" presStyleLbl="alignAccFollowNode1" presStyleIdx="2" presStyleCnt="3">
        <dgm:presLayoutVars>
          <dgm:bulletEnabled val="1"/>
        </dgm:presLayoutVars>
      </dgm:prSet>
      <dgm:spPr/>
    </dgm:pt>
  </dgm:ptLst>
  <dgm:cxnLst>
    <dgm:cxn modelId="{55D8BC04-7F40-4C18-B8CB-3C4C122C8489}" srcId="{EEB4A803-1349-48DC-AB70-BA0898E08196}" destId="{5085528B-8655-4946-9A51-D0CD22944BEE}" srcOrd="0" destOrd="0" parTransId="{A05FA88D-7A2B-4D67-B6C3-8D730858AADE}" sibTransId="{754884C1-36FC-4209-992F-F60FAA6ECEFE}"/>
    <dgm:cxn modelId="{BDFBBE0A-904F-499A-8F05-563E46D9F90E}" srcId="{EEB4A803-1349-48DC-AB70-BA0898E08196}" destId="{8DC82805-9B80-47A0-A6E8-7395F9B04AD6}" srcOrd="1" destOrd="0" parTransId="{7A2BCE43-69AB-4D01-8E1C-6FFFA09D9D4B}" sibTransId="{25E5F207-2E20-4485-A4B9-50B08F5F53D1}"/>
    <dgm:cxn modelId="{5930190D-417A-4EDD-9098-E8C2A149C16C}" type="presOf" srcId="{5085528B-8655-4946-9A51-D0CD22944BEE}" destId="{19E8AFF4-A188-425C-A680-9F4452D044EB}" srcOrd="0" destOrd="0" presId="urn:microsoft.com/office/officeart/2005/8/layout/hList1"/>
    <dgm:cxn modelId="{D0627010-2F00-4189-A1E4-BF58472DAA72}" srcId="{EEB4A803-1349-48DC-AB70-BA0898E08196}" destId="{88DF638C-1ADB-438C-A084-BC5C6C32E810}" srcOrd="2" destOrd="0" parTransId="{2060EBC1-FA23-4336-B610-9970ED496F39}" sibTransId="{0BD7E004-8B52-48E1-BDED-A9D129DF9384}"/>
    <dgm:cxn modelId="{D9AF8916-133B-4F07-8CA7-60590121F318}" srcId="{5DF888A1-E5F9-46C3-AD6E-E4C59E3E772D}" destId="{9D3D17E7-695C-4532-A9E4-DE46D8B2BE5D}" srcOrd="2" destOrd="0" parTransId="{0ACE6D5A-EE5C-4463-BCDA-351B8F5656B8}" sibTransId="{16BFA185-AD42-436E-B705-FE01965ED7C4}"/>
    <dgm:cxn modelId="{1DC13218-99BF-4657-B540-D8ECB037B2A5}" type="presOf" srcId="{5DF888A1-E5F9-46C3-AD6E-E4C59E3E772D}" destId="{9B2FB7B5-E1EB-4F52-8F5B-140A87C36BA3}" srcOrd="0" destOrd="0" presId="urn:microsoft.com/office/officeart/2005/8/layout/hList1"/>
    <dgm:cxn modelId="{C3008519-CE76-4536-9AEF-44FA48F0CF6F}" srcId="{5DF888A1-E5F9-46C3-AD6E-E4C59E3E772D}" destId="{EEB4A803-1349-48DC-AB70-BA0898E08196}" srcOrd="0" destOrd="0" parTransId="{5ACA2A32-AEF9-43A7-AE1D-7E31E199AFFC}" sibTransId="{C5B74DAC-443D-4F65-BA57-46626C66417C}"/>
    <dgm:cxn modelId="{0386DF1B-B42E-4990-BAFA-714DBF5013CF}" type="presOf" srcId="{D53529EA-DB40-4C60-8BE7-2ED3E5B6876F}" destId="{286BB20F-4F73-4408-81EA-6E877CC72979}" srcOrd="0" destOrd="0" presId="urn:microsoft.com/office/officeart/2005/8/layout/hList1"/>
    <dgm:cxn modelId="{F4222821-8CD8-4228-BE20-7A360C0BC54F}" srcId="{9D3D17E7-695C-4532-A9E4-DE46D8B2BE5D}" destId="{D53529EA-DB40-4C60-8BE7-2ED3E5B6876F}" srcOrd="0" destOrd="0" parTransId="{71136B66-A115-4CB7-998E-490A072384B9}" sibTransId="{71BD6859-CB9A-408C-B5CA-FE1E2478DCBE}"/>
    <dgm:cxn modelId="{13AA1532-F693-4D05-9D6E-E74788358F6B}" type="presOf" srcId="{88DF638C-1ADB-438C-A084-BC5C6C32E810}" destId="{19E8AFF4-A188-425C-A680-9F4452D044EB}" srcOrd="0" destOrd="2" presId="urn:microsoft.com/office/officeart/2005/8/layout/hList1"/>
    <dgm:cxn modelId="{E1BB9A35-942C-46DB-A71A-B5C2AF34B98D}" type="presOf" srcId="{EEB4A803-1349-48DC-AB70-BA0898E08196}" destId="{720CA528-FE73-470C-9235-B7DB16B81EAD}" srcOrd="0" destOrd="0" presId="urn:microsoft.com/office/officeart/2005/8/layout/hList1"/>
    <dgm:cxn modelId="{3E72013A-926D-48DE-92BD-83FC7C93565A}" type="presOf" srcId="{E3E26D54-C8F8-4258-AB74-B44F7B0D38A3}" destId="{1B318F2D-CBD9-4DC2-9272-BD54608AEDAB}" srcOrd="0" destOrd="0" presId="urn:microsoft.com/office/officeart/2005/8/layout/hList1"/>
    <dgm:cxn modelId="{F7E2F740-F422-49C9-9CD4-CC400803C85F}" srcId="{E3E26D54-C8F8-4258-AB74-B44F7B0D38A3}" destId="{ADCB66C1-89FA-48D6-84C6-A4D1F8CC9A60}" srcOrd="2" destOrd="0" parTransId="{A79976E9-2260-4458-9E32-CE86726ADF8A}" sibTransId="{31A56B5D-E6B1-48F8-9A3E-614EDA27DF6C}"/>
    <dgm:cxn modelId="{759A1D47-96C9-4EB8-BA9B-DA3148CA0C37}" srcId="{E3E26D54-C8F8-4258-AB74-B44F7B0D38A3}" destId="{16D771FC-6E33-4279-A195-202BDF2190DA}" srcOrd="0" destOrd="0" parTransId="{71A2F3C7-CD3A-48D3-A6CC-12C9290ECD6C}" sibTransId="{090F603F-E2AD-445B-ADC5-EB338CF3D7D8}"/>
    <dgm:cxn modelId="{94772578-C388-4AD0-B25A-5ED734000B3C}" type="presOf" srcId="{16D771FC-6E33-4279-A195-202BDF2190DA}" destId="{E4952755-23A0-4089-B2ED-94BB652BB4D8}" srcOrd="0" destOrd="0" presId="urn:microsoft.com/office/officeart/2005/8/layout/hList1"/>
    <dgm:cxn modelId="{683A517D-33AC-4893-8696-9B58AA95C648}" type="presOf" srcId="{BB6EFC94-8A92-44C3-9F7B-2B30FA07736F}" destId="{286BB20F-4F73-4408-81EA-6E877CC72979}" srcOrd="0" destOrd="1" presId="urn:microsoft.com/office/officeart/2005/8/layout/hList1"/>
    <dgm:cxn modelId="{39ACBE83-19E3-47E7-81DA-F840B1696DBC}" type="presOf" srcId="{E00A7A94-D536-4655-90A6-AE3F6C8BD88B}" destId="{E4952755-23A0-4089-B2ED-94BB652BB4D8}" srcOrd="0" destOrd="1" presId="urn:microsoft.com/office/officeart/2005/8/layout/hList1"/>
    <dgm:cxn modelId="{F8F02490-E13E-46B1-B604-55DB6AC8AAE2}" type="presOf" srcId="{ADCB66C1-89FA-48D6-84C6-A4D1F8CC9A60}" destId="{E4952755-23A0-4089-B2ED-94BB652BB4D8}" srcOrd="0" destOrd="2" presId="urn:microsoft.com/office/officeart/2005/8/layout/hList1"/>
    <dgm:cxn modelId="{A815F4A4-EE7D-4F88-BD79-BF34FA9A6488}" type="presOf" srcId="{8DC82805-9B80-47A0-A6E8-7395F9B04AD6}" destId="{19E8AFF4-A188-425C-A680-9F4452D044EB}" srcOrd="0" destOrd="1" presId="urn:microsoft.com/office/officeart/2005/8/layout/hList1"/>
    <dgm:cxn modelId="{1D5C0EAF-6898-4EB8-982D-C1A0058FE574}" srcId="{5DF888A1-E5F9-46C3-AD6E-E4C59E3E772D}" destId="{E3E26D54-C8F8-4258-AB74-B44F7B0D38A3}" srcOrd="1" destOrd="0" parTransId="{B775A547-5BB6-4614-B8A6-107935D5CB0A}" sibTransId="{2B68F64B-0109-4A8D-BDFE-E3244B9CC7CB}"/>
    <dgm:cxn modelId="{E3764AB1-A7A4-491E-BE4D-D97A30CC3606}" srcId="{E3E26D54-C8F8-4258-AB74-B44F7B0D38A3}" destId="{E00A7A94-D536-4655-90A6-AE3F6C8BD88B}" srcOrd="1" destOrd="0" parTransId="{AD70BAFF-0020-446C-B47C-1A4C94B06600}" sibTransId="{CE9680B5-3D06-45E7-992E-9185283656A5}"/>
    <dgm:cxn modelId="{EDEC20BD-7A89-450F-81B6-300AA38BE395}" srcId="{9D3D17E7-695C-4532-A9E4-DE46D8B2BE5D}" destId="{BB6EFC94-8A92-44C3-9F7B-2B30FA07736F}" srcOrd="1" destOrd="0" parTransId="{4BF3E2C4-F5F7-4A14-8D79-EC9DB07E3A7A}" sibTransId="{B0877E9F-1466-4B76-9E69-48AA12B05848}"/>
    <dgm:cxn modelId="{FEF421C5-26F0-44E7-96C8-B6CEBC13BD03}" type="presOf" srcId="{0ADF8CD7-1C76-4B3B-A78F-EB01E5D1814F}" destId="{286BB20F-4F73-4408-81EA-6E877CC72979}" srcOrd="0" destOrd="2" presId="urn:microsoft.com/office/officeart/2005/8/layout/hList1"/>
    <dgm:cxn modelId="{D0D54CE9-2291-45AD-9747-3B604085506B}" type="presOf" srcId="{9D3D17E7-695C-4532-A9E4-DE46D8B2BE5D}" destId="{F4C13F4D-ED71-4897-88C3-1A02D08487B9}" srcOrd="0" destOrd="0" presId="urn:microsoft.com/office/officeart/2005/8/layout/hList1"/>
    <dgm:cxn modelId="{A154EDEA-C9E8-4D75-9514-BD1C21760A57}" srcId="{9D3D17E7-695C-4532-A9E4-DE46D8B2BE5D}" destId="{0ADF8CD7-1C76-4B3B-A78F-EB01E5D1814F}" srcOrd="2" destOrd="0" parTransId="{3FA3DC9F-D2DA-4419-B732-11C4C0C6F0B8}" sibTransId="{8763F92E-D2A6-4AC8-ABEC-5C27ED61E9D6}"/>
    <dgm:cxn modelId="{4D8BC8A5-D49A-4520-9068-F2F85D5C0A08}" type="presParOf" srcId="{9B2FB7B5-E1EB-4F52-8F5B-140A87C36BA3}" destId="{59B36003-82D4-44C9-9507-551DCE878595}" srcOrd="0" destOrd="0" presId="urn:microsoft.com/office/officeart/2005/8/layout/hList1"/>
    <dgm:cxn modelId="{115A8E1F-9A08-4CBF-AF22-5125484207F7}" type="presParOf" srcId="{59B36003-82D4-44C9-9507-551DCE878595}" destId="{720CA528-FE73-470C-9235-B7DB16B81EAD}" srcOrd="0" destOrd="0" presId="urn:microsoft.com/office/officeart/2005/8/layout/hList1"/>
    <dgm:cxn modelId="{3CA996E1-2030-4141-BEC8-2F692BE4AC38}" type="presParOf" srcId="{59B36003-82D4-44C9-9507-551DCE878595}" destId="{19E8AFF4-A188-425C-A680-9F4452D044EB}" srcOrd="1" destOrd="0" presId="urn:microsoft.com/office/officeart/2005/8/layout/hList1"/>
    <dgm:cxn modelId="{EAB363E2-04D6-454D-953A-9617E7E1A51C}" type="presParOf" srcId="{9B2FB7B5-E1EB-4F52-8F5B-140A87C36BA3}" destId="{1C696D7E-5EC3-45C3-8020-526D6013E168}" srcOrd="1" destOrd="0" presId="urn:microsoft.com/office/officeart/2005/8/layout/hList1"/>
    <dgm:cxn modelId="{611A612C-3FE0-4ABB-A26D-77B4269F5C57}" type="presParOf" srcId="{9B2FB7B5-E1EB-4F52-8F5B-140A87C36BA3}" destId="{5B8A767A-A758-40F7-8891-F3C78A8246F3}" srcOrd="2" destOrd="0" presId="urn:microsoft.com/office/officeart/2005/8/layout/hList1"/>
    <dgm:cxn modelId="{C97A4343-522C-4BAC-A9AA-41011977DB09}" type="presParOf" srcId="{5B8A767A-A758-40F7-8891-F3C78A8246F3}" destId="{1B318F2D-CBD9-4DC2-9272-BD54608AEDAB}" srcOrd="0" destOrd="0" presId="urn:microsoft.com/office/officeart/2005/8/layout/hList1"/>
    <dgm:cxn modelId="{7AB38762-97E0-4B32-B1C0-073E265C5F9A}" type="presParOf" srcId="{5B8A767A-A758-40F7-8891-F3C78A8246F3}" destId="{E4952755-23A0-4089-B2ED-94BB652BB4D8}" srcOrd="1" destOrd="0" presId="urn:microsoft.com/office/officeart/2005/8/layout/hList1"/>
    <dgm:cxn modelId="{5583D95A-752C-4209-8521-4DE58C25EAB3}" type="presParOf" srcId="{9B2FB7B5-E1EB-4F52-8F5B-140A87C36BA3}" destId="{DDCB58CD-721E-4031-8EA9-4C4A1080E1B3}" srcOrd="3" destOrd="0" presId="urn:microsoft.com/office/officeart/2005/8/layout/hList1"/>
    <dgm:cxn modelId="{9B4117D7-133D-4E78-BD6F-F94235E512F3}" type="presParOf" srcId="{9B2FB7B5-E1EB-4F52-8F5B-140A87C36BA3}" destId="{F6869A41-1B7A-4083-8B96-9B822E6FA3F3}" srcOrd="4" destOrd="0" presId="urn:microsoft.com/office/officeart/2005/8/layout/hList1"/>
    <dgm:cxn modelId="{FC42AF2D-3C30-46D0-9679-CCF661F8D89C}" type="presParOf" srcId="{F6869A41-1B7A-4083-8B96-9B822E6FA3F3}" destId="{F4C13F4D-ED71-4897-88C3-1A02D08487B9}" srcOrd="0" destOrd="0" presId="urn:microsoft.com/office/officeart/2005/8/layout/hList1"/>
    <dgm:cxn modelId="{F6DEDEF6-B660-401A-89F7-298AD9BAEFB6}" type="presParOf" srcId="{F6869A41-1B7A-4083-8B96-9B822E6FA3F3}" destId="{286BB20F-4F73-4408-81EA-6E877CC7297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5DF888A1-E5F9-46C3-AD6E-E4C59E3E772D}" type="doc">
      <dgm:prSet loTypeId="urn:microsoft.com/office/officeart/2005/8/layout/hList1" loCatId="list" qsTypeId="urn:microsoft.com/office/officeart/2005/8/quickstyle/simple1" qsCatId="simple" csTypeId="urn:microsoft.com/office/officeart/2005/8/colors/accent5_4" csCatId="accent5" phldr="1"/>
      <dgm:spPr/>
      <dgm:t>
        <a:bodyPr/>
        <a:lstStyle/>
        <a:p>
          <a:endParaRPr lang="es-ES"/>
        </a:p>
      </dgm:t>
    </dgm:pt>
    <dgm:pt modelId="{C1737A48-4723-4F45-8AEE-335BCADB5B4A}">
      <dgm:prSet/>
      <dgm:spPr/>
      <dgm:t>
        <a:bodyPr/>
        <a:lstStyle/>
        <a:p>
          <a:r>
            <a:rPr lang="es-ES" dirty="0"/>
            <a:t>Ciudades (Singapur)</a:t>
          </a:r>
        </a:p>
      </dgm:t>
    </dgm:pt>
    <dgm:pt modelId="{7B53862C-22DE-4AFB-A0E6-98650A27B532}" type="parTrans" cxnId="{18D77B7B-AB1F-42DE-B438-5D4E6753CB34}">
      <dgm:prSet/>
      <dgm:spPr/>
      <dgm:t>
        <a:bodyPr/>
        <a:lstStyle/>
        <a:p>
          <a:endParaRPr lang="es-ES"/>
        </a:p>
      </dgm:t>
    </dgm:pt>
    <dgm:pt modelId="{6E1A3B6E-5AC3-4087-B721-7F1943F78044}" type="sibTrans" cxnId="{18D77B7B-AB1F-42DE-B438-5D4E6753CB34}">
      <dgm:prSet/>
      <dgm:spPr/>
      <dgm:t>
        <a:bodyPr/>
        <a:lstStyle/>
        <a:p>
          <a:endParaRPr lang="es-ES"/>
        </a:p>
      </dgm:t>
    </dgm:pt>
    <dgm:pt modelId="{459C7AB1-CF28-4BDF-9605-B5346662B2BD}">
      <dgm:prSet/>
      <dgm:spPr/>
      <dgm:t>
        <a:bodyPr/>
        <a:lstStyle/>
        <a:p>
          <a:r>
            <a:rPr lang="es-ES" dirty="0"/>
            <a:t>Protocolos de emergencia.</a:t>
          </a:r>
        </a:p>
      </dgm:t>
    </dgm:pt>
    <dgm:pt modelId="{0905C0C1-1B69-40C0-A101-A05CAFC0BD04}" type="parTrans" cxnId="{59936128-4CA3-4BAB-9DAB-AC9BD1462450}">
      <dgm:prSet/>
      <dgm:spPr/>
      <dgm:t>
        <a:bodyPr/>
        <a:lstStyle/>
        <a:p>
          <a:endParaRPr lang="es-ES"/>
        </a:p>
      </dgm:t>
    </dgm:pt>
    <dgm:pt modelId="{6EB7565D-CCD4-49B2-A3C6-0D65EA2D1600}" type="sibTrans" cxnId="{59936128-4CA3-4BAB-9DAB-AC9BD1462450}">
      <dgm:prSet/>
      <dgm:spPr/>
      <dgm:t>
        <a:bodyPr/>
        <a:lstStyle/>
        <a:p>
          <a:endParaRPr lang="es-ES"/>
        </a:p>
      </dgm:t>
    </dgm:pt>
    <dgm:pt modelId="{F273F41E-E014-41C4-9DA6-477DC719E556}">
      <dgm:prSet/>
      <dgm:spPr/>
      <dgm:t>
        <a:bodyPr/>
        <a:lstStyle/>
        <a:p>
          <a:r>
            <a:rPr lang="es-ES" dirty="0"/>
            <a:t>Predicción congestión / prescripción de soluciones.</a:t>
          </a:r>
        </a:p>
      </dgm:t>
    </dgm:pt>
    <dgm:pt modelId="{989E7C59-E9A7-48B0-AD14-AF366B671ABF}" type="parTrans" cxnId="{6C5A9C47-8AF4-4DC0-A282-C5FB72355071}">
      <dgm:prSet/>
      <dgm:spPr/>
      <dgm:t>
        <a:bodyPr/>
        <a:lstStyle/>
        <a:p>
          <a:endParaRPr lang="es-ES"/>
        </a:p>
      </dgm:t>
    </dgm:pt>
    <dgm:pt modelId="{40545385-EB4C-4C9C-9475-CBE4BFCFAD51}" type="sibTrans" cxnId="{6C5A9C47-8AF4-4DC0-A282-C5FB72355071}">
      <dgm:prSet/>
      <dgm:spPr/>
      <dgm:t>
        <a:bodyPr/>
        <a:lstStyle/>
        <a:p>
          <a:endParaRPr lang="es-ES"/>
        </a:p>
      </dgm:t>
    </dgm:pt>
    <dgm:pt modelId="{9755EA1C-DA5C-4E2C-9DD1-C85422360686}">
      <dgm:prSet/>
      <dgm:spPr/>
      <dgm:t>
        <a:bodyPr/>
        <a:lstStyle/>
        <a:p>
          <a:r>
            <a:rPr lang="es-ES" dirty="0"/>
            <a:t>Costó 73 M USD</a:t>
          </a:r>
        </a:p>
      </dgm:t>
    </dgm:pt>
    <dgm:pt modelId="{85BB4271-2A22-474D-B382-5CB89EF01059}" type="parTrans" cxnId="{F2905257-8742-4F2C-AF99-F8497A08CBAA}">
      <dgm:prSet/>
      <dgm:spPr/>
      <dgm:t>
        <a:bodyPr/>
        <a:lstStyle/>
        <a:p>
          <a:endParaRPr lang="es-ES"/>
        </a:p>
      </dgm:t>
    </dgm:pt>
    <dgm:pt modelId="{6D586B78-DD9D-4F6A-8448-71A48C0BF547}" type="sibTrans" cxnId="{F2905257-8742-4F2C-AF99-F8497A08CBAA}">
      <dgm:prSet/>
      <dgm:spPr/>
      <dgm:t>
        <a:bodyPr/>
        <a:lstStyle/>
        <a:p>
          <a:endParaRPr lang="es-ES"/>
        </a:p>
      </dgm:t>
    </dgm:pt>
    <dgm:pt modelId="{0548579E-D685-495F-BCE4-AA5A03228AE9}">
      <dgm:prSet/>
      <dgm:spPr/>
      <dgm:t>
        <a:bodyPr/>
        <a:lstStyle/>
        <a:p>
          <a:r>
            <a:rPr lang="en-US" dirty="0">
              <a:highlight>
                <a:srgbClr val="3333FF"/>
              </a:highlight>
            </a:rPr>
            <a:t>Aviónica</a:t>
          </a:r>
          <a:endParaRPr lang="es-ES" dirty="0">
            <a:highlight>
              <a:srgbClr val="3333FF"/>
            </a:highlight>
          </a:endParaRPr>
        </a:p>
      </dgm:t>
    </dgm:pt>
    <dgm:pt modelId="{754DCB71-3459-422B-B37E-54BD9946509E}" type="parTrans" cxnId="{C33C3097-74C3-4C7E-9A96-DE89C62E8FF9}">
      <dgm:prSet/>
      <dgm:spPr/>
      <dgm:t>
        <a:bodyPr/>
        <a:lstStyle/>
        <a:p>
          <a:endParaRPr lang="es-ES"/>
        </a:p>
      </dgm:t>
    </dgm:pt>
    <dgm:pt modelId="{97DBF087-9427-43D7-9942-6DFC404B8964}" type="sibTrans" cxnId="{C33C3097-74C3-4C7E-9A96-DE89C62E8FF9}">
      <dgm:prSet/>
      <dgm:spPr/>
      <dgm:t>
        <a:bodyPr/>
        <a:lstStyle/>
        <a:p>
          <a:endParaRPr lang="es-ES"/>
        </a:p>
      </dgm:t>
    </dgm:pt>
    <dgm:pt modelId="{40FE485B-D1C0-48B3-8E07-A4E047BF8747}">
      <dgm:prSet/>
      <dgm:spPr/>
      <dgm:t>
        <a:bodyPr/>
        <a:lstStyle/>
        <a:p>
          <a:r>
            <a:rPr lang="en-US" dirty="0"/>
            <a:t>Siemens</a:t>
          </a:r>
        </a:p>
      </dgm:t>
    </dgm:pt>
    <dgm:pt modelId="{15BB65FD-CE5E-4636-8E38-5103F092541C}" type="parTrans" cxnId="{3B8BB00A-4F68-4F31-9A96-106F1BA29BC4}">
      <dgm:prSet/>
      <dgm:spPr/>
      <dgm:t>
        <a:bodyPr/>
        <a:lstStyle/>
        <a:p>
          <a:endParaRPr lang="es-ES"/>
        </a:p>
      </dgm:t>
    </dgm:pt>
    <dgm:pt modelId="{52B38E78-C046-4BAE-BE94-C6AE4FC09845}" type="sibTrans" cxnId="{3B8BB00A-4F68-4F31-9A96-106F1BA29BC4}">
      <dgm:prSet/>
      <dgm:spPr/>
      <dgm:t>
        <a:bodyPr/>
        <a:lstStyle/>
        <a:p>
          <a:endParaRPr lang="es-ES"/>
        </a:p>
      </dgm:t>
    </dgm:pt>
    <dgm:pt modelId="{77F1A39F-BC07-4DDD-91B9-798B2ABFB0B6}">
      <dgm:prSet/>
      <dgm:spPr/>
      <dgm:t>
        <a:bodyPr/>
        <a:lstStyle/>
        <a:p>
          <a:r>
            <a:rPr lang="en-US" dirty="0"/>
            <a:t>Motores eléctricos de avión</a:t>
          </a:r>
        </a:p>
      </dgm:t>
    </dgm:pt>
    <dgm:pt modelId="{A5D9003C-AF87-4AFD-9A29-6662FA233AB0}" type="parTrans" cxnId="{10693642-81AF-4C2E-9FD5-E36A3117F5B0}">
      <dgm:prSet/>
      <dgm:spPr/>
      <dgm:t>
        <a:bodyPr/>
        <a:lstStyle/>
        <a:p>
          <a:endParaRPr lang="es-ES"/>
        </a:p>
      </dgm:t>
    </dgm:pt>
    <dgm:pt modelId="{8D3CA036-6EB9-4EEB-BFA0-96E60695D399}" type="sibTrans" cxnId="{10693642-81AF-4C2E-9FD5-E36A3117F5B0}">
      <dgm:prSet/>
      <dgm:spPr/>
      <dgm:t>
        <a:bodyPr/>
        <a:lstStyle/>
        <a:p>
          <a:endParaRPr lang="es-ES"/>
        </a:p>
      </dgm:t>
    </dgm:pt>
    <dgm:pt modelId="{D0403A08-44BD-4577-B547-195F5BC65CBC}">
      <dgm:prSet/>
      <dgm:spPr/>
      <dgm:t>
        <a:bodyPr/>
        <a:lstStyle/>
        <a:p>
          <a:r>
            <a:rPr lang="en-US" dirty="0"/>
            <a:t>Flujos de gases</a:t>
          </a:r>
        </a:p>
      </dgm:t>
    </dgm:pt>
    <dgm:pt modelId="{F39BF19E-7683-4BA0-A644-80CF7C6C545C}" type="parTrans" cxnId="{DE6776B1-6736-40AE-814F-93D837536ECA}">
      <dgm:prSet/>
      <dgm:spPr/>
      <dgm:t>
        <a:bodyPr/>
        <a:lstStyle/>
        <a:p>
          <a:endParaRPr lang="es-ES"/>
        </a:p>
      </dgm:t>
    </dgm:pt>
    <dgm:pt modelId="{AEA29EA4-BCA5-440A-B467-F610DB1DE8F7}" type="sibTrans" cxnId="{DE6776B1-6736-40AE-814F-93D837536ECA}">
      <dgm:prSet/>
      <dgm:spPr/>
      <dgm:t>
        <a:bodyPr/>
        <a:lstStyle/>
        <a:p>
          <a:endParaRPr lang="es-ES"/>
        </a:p>
      </dgm:t>
    </dgm:pt>
    <dgm:pt modelId="{3A649C56-1B06-4EF4-8466-1EFC3EDF790C}">
      <dgm:prSet/>
      <dgm:spPr/>
      <dgm:t>
        <a:bodyPr/>
        <a:lstStyle/>
        <a:p>
          <a:r>
            <a:rPr lang="en-US" dirty="0"/>
            <a:t>Rolls Royce Aeronáutico</a:t>
          </a:r>
        </a:p>
      </dgm:t>
    </dgm:pt>
    <dgm:pt modelId="{8FB2C863-1107-4965-BCD4-4F6B0A2993AE}" type="parTrans" cxnId="{40D79A73-4DF6-447F-BD1F-D2E3A0E2591F}">
      <dgm:prSet/>
      <dgm:spPr/>
      <dgm:t>
        <a:bodyPr/>
        <a:lstStyle/>
        <a:p>
          <a:endParaRPr lang="es-ES"/>
        </a:p>
      </dgm:t>
    </dgm:pt>
    <dgm:pt modelId="{6DA6C0AC-0FC8-4909-98E1-6C0077D7207E}" type="sibTrans" cxnId="{40D79A73-4DF6-447F-BD1F-D2E3A0E2591F}">
      <dgm:prSet/>
      <dgm:spPr/>
      <dgm:t>
        <a:bodyPr/>
        <a:lstStyle/>
        <a:p>
          <a:endParaRPr lang="es-ES"/>
        </a:p>
      </dgm:t>
    </dgm:pt>
    <dgm:pt modelId="{B4F28EFB-A016-4071-8DC0-CFC8744BC6C5}">
      <dgm:prSet/>
      <dgm:spPr/>
      <dgm:t>
        <a:bodyPr/>
        <a:lstStyle/>
        <a:p>
          <a:r>
            <a:rPr lang="en-US" dirty="0"/>
            <a:t>Diseño de turbinas</a:t>
          </a:r>
        </a:p>
      </dgm:t>
    </dgm:pt>
    <dgm:pt modelId="{6153DEF0-FC00-49C3-B5C0-0EFD1DE38649}" type="parTrans" cxnId="{49CCB61D-895A-447D-B5B3-A1ED5C8FABBA}">
      <dgm:prSet/>
      <dgm:spPr/>
      <dgm:t>
        <a:bodyPr/>
        <a:lstStyle/>
        <a:p>
          <a:endParaRPr lang="es-ES"/>
        </a:p>
      </dgm:t>
    </dgm:pt>
    <dgm:pt modelId="{3ED50C2B-3BF0-4793-BB93-6038417198EC}" type="sibTrans" cxnId="{49CCB61D-895A-447D-B5B3-A1ED5C8FABBA}">
      <dgm:prSet/>
      <dgm:spPr/>
      <dgm:t>
        <a:bodyPr/>
        <a:lstStyle/>
        <a:p>
          <a:endParaRPr lang="es-ES"/>
        </a:p>
      </dgm:t>
    </dgm:pt>
    <dgm:pt modelId="{9B2FB7B5-E1EB-4F52-8F5B-140A87C36BA3}" type="pres">
      <dgm:prSet presAssocID="{5DF888A1-E5F9-46C3-AD6E-E4C59E3E772D}" presName="Name0" presStyleCnt="0">
        <dgm:presLayoutVars>
          <dgm:dir/>
          <dgm:animLvl val="lvl"/>
          <dgm:resizeHandles val="exact"/>
        </dgm:presLayoutVars>
      </dgm:prSet>
      <dgm:spPr/>
    </dgm:pt>
    <dgm:pt modelId="{363BBD23-F46F-4128-9E2B-25E6C43D8191}" type="pres">
      <dgm:prSet presAssocID="{C1737A48-4723-4F45-8AEE-335BCADB5B4A}" presName="composite" presStyleCnt="0"/>
      <dgm:spPr/>
    </dgm:pt>
    <dgm:pt modelId="{C85E8A78-031D-416A-AA39-699CE060C17F}" type="pres">
      <dgm:prSet presAssocID="{C1737A48-4723-4F45-8AEE-335BCADB5B4A}" presName="parTx" presStyleLbl="alignNode1" presStyleIdx="0" presStyleCnt="2">
        <dgm:presLayoutVars>
          <dgm:chMax val="0"/>
          <dgm:chPref val="0"/>
          <dgm:bulletEnabled val="1"/>
        </dgm:presLayoutVars>
      </dgm:prSet>
      <dgm:spPr/>
    </dgm:pt>
    <dgm:pt modelId="{3025075D-838F-4A90-B6FE-73EFD0AF959A}" type="pres">
      <dgm:prSet presAssocID="{C1737A48-4723-4F45-8AEE-335BCADB5B4A}" presName="desTx" presStyleLbl="alignAccFollowNode1" presStyleIdx="0" presStyleCnt="2">
        <dgm:presLayoutVars>
          <dgm:bulletEnabled val="1"/>
        </dgm:presLayoutVars>
      </dgm:prSet>
      <dgm:spPr/>
    </dgm:pt>
    <dgm:pt modelId="{D7332770-7C86-46C2-B2F6-656D98C8F6A0}" type="pres">
      <dgm:prSet presAssocID="{6E1A3B6E-5AC3-4087-B721-7F1943F78044}" presName="space" presStyleCnt="0"/>
      <dgm:spPr/>
    </dgm:pt>
    <dgm:pt modelId="{7D12D36E-7FEA-4FDA-99B9-8CEB95A29957}" type="pres">
      <dgm:prSet presAssocID="{0548579E-D685-495F-BCE4-AA5A03228AE9}" presName="composite" presStyleCnt="0"/>
      <dgm:spPr/>
    </dgm:pt>
    <dgm:pt modelId="{EAE9541E-4294-4F60-94CE-3D50149AE73E}" type="pres">
      <dgm:prSet presAssocID="{0548579E-D685-495F-BCE4-AA5A03228AE9}" presName="parTx" presStyleLbl="alignNode1" presStyleIdx="1" presStyleCnt="2">
        <dgm:presLayoutVars>
          <dgm:chMax val="0"/>
          <dgm:chPref val="0"/>
          <dgm:bulletEnabled val="1"/>
        </dgm:presLayoutVars>
      </dgm:prSet>
      <dgm:spPr/>
    </dgm:pt>
    <dgm:pt modelId="{5CB106C4-8516-42F0-82DB-BCA8B6AD7CC1}" type="pres">
      <dgm:prSet presAssocID="{0548579E-D685-495F-BCE4-AA5A03228AE9}" presName="desTx" presStyleLbl="alignAccFollowNode1" presStyleIdx="1" presStyleCnt="2">
        <dgm:presLayoutVars>
          <dgm:bulletEnabled val="1"/>
        </dgm:presLayoutVars>
      </dgm:prSet>
      <dgm:spPr/>
    </dgm:pt>
  </dgm:ptLst>
  <dgm:cxnLst>
    <dgm:cxn modelId="{3B8BB00A-4F68-4F31-9A96-106F1BA29BC4}" srcId="{0548579E-D685-495F-BCE4-AA5A03228AE9}" destId="{40FE485B-D1C0-48B3-8E07-A4E047BF8747}" srcOrd="0" destOrd="0" parTransId="{15BB65FD-CE5E-4636-8E38-5103F092541C}" sibTransId="{52B38E78-C046-4BAE-BE94-C6AE4FC09845}"/>
    <dgm:cxn modelId="{DFBE620D-B5FC-4F20-A07A-8873B3CD9EAA}" type="presOf" srcId="{3A649C56-1B06-4EF4-8466-1EFC3EDF790C}" destId="{5CB106C4-8516-42F0-82DB-BCA8B6AD7CC1}" srcOrd="0" destOrd="3" presId="urn:microsoft.com/office/officeart/2005/8/layout/hList1"/>
    <dgm:cxn modelId="{1DC13218-99BF-4657-B540-D8ECB037B2A5}" type="presOf" srcId="{5DF888A1-E5F9-46C3-AD6E-E4C59E3E772D}" destId="{9B2FB7B5-E1EB-4F52-8F5B-140A87C36BA3}" srcOrd="0" destOrd="0" presId="urn:microsoft.com/office/officeart/2005/8/layout/hList1"/>
    <dgm:cxn modelId="{5DF3551A-A94A-4D5E-9D9D-DC922A060E91}" type="presOf" srcId="{40FE485B-D1C0-48B3-8E07-A4E047BF8747}" destId="{5CB106C4-8516-42F0-82DB-BCA8B6AD7CC1}" srcOrd="0" destOrd="0" presId="urn:microsoft.com/office/officeart/2005/8/layout/hList1"/>
    <dgm:cxn modelId="{49CCB61D-895A-447D-B5B3-A1ED5C8FABBA}" srcId="{0548579E-D685-495F-BCE4-AA5A03228AE9}" destId="{B4F28EFB-A016-4071-8DC0-CFC8744BC6C5}" srcOrd="4" destOrd="0" parTransId="{6153DEF0-FC00-49C3-B5C0-0EFD1DE38649}" sibTransId="{3ED50C2B-3BF0-4793-BB93-6038417198EC}"/>
    <dgm:cxn modelId="{59CE771E-9C73-486D-A82C-67B258A1DF4B}" type="presOf" srcId="{459C7AB1-CF28-4BDF-9605-B5346662B2BD}" destId="{3025075D-838F-4A90-B6FE-73EFD0AF959A}" srcOrd="0" destOrd="0" presId="urn:microsoft.com/office/officeart/2005/8/layout/hList1"/>
    <dgm:cxn modelId="{59936128-4CA3-4BAB-9DAB-AC9BD1462450}" srcId="{C1737A48-4723-4F45-8AEE-335BCADB5B4A}" destId="{459C7AB1-CF28-4BDF-9605-B5346662B2BD}" srcOrd="0" destOrd="0" parTransId="{0905C0C1-1B69-40C0-A101-A05CAFC0BD04}" sibTransId="{6EB7565D-CCD4-49B2-A3C6-0D65EA2D1600}"/>
    <dgm:cxn modelId="{279DED2B-924B-4A2A-A132-EE88EBD4BA64}" type="presOf" srcId="{0548579E-D685-495F-BCE4-AA5A03228AE9}" destId="{EAE9541E-4294-4F60-94CE-3D50149AE73E}" srcOrd="0" destOrd="0" presId="urn:microsoft.com/office/officeart/2005/8/layout/hList1"/>
    <dgm:cxn modelId="{10693642-81AF-4C2E-9FD5-E36A3117F5B0}" srcId="{0548579E-D685-495F-BCE4-AA5A03228AE9}" destId="{77F1A39F-BC07-4DDD-91B9-798B2ABFB0B6}" srcOrd="1" destOrd="0" parTransId="{A5D9003C-AF87-4AFD-9A29-6662FA233AB0}" sibTransId="{8D3CA036-6EB9-4EEB-BFA0-96E60695D399}"/>
    <dgm:cxn modelId="{6C5A9C47-8AF4-4DC0-A282-C5FB72355071}" srcId="{C1737A48-4723-4F45-8AEE-335BCADB5B4A}" destId="{F273F41E-E014-41C4-9DA6-477DC719E556}" srcOrd="1" destOrd="0" parTransId="{989E7C59-E9A7-48B0-AD14-AF366B671ABF}" sibTransId="{40545385-EB4C-4C9C-9475-CBE4BFCFAD51}"/>
    <dgm:cxn modelId="{669E8170-092F-4E1C-AF6D-FA18C3955CE4}" type="presOf" srcId="{D0403A08-44BD-4577-B547-195F5BC65CBC}" destId="{5CB106C4-8516-42F0-82DB-BCA8B6AD7CC1}" srcOrd="0" destOrd="2" presId="urn:microsoft.com/office/officeart/2005/8/layout/hList1"/>
    <dgm:cxn modelId="{04216171-67BC-4846-AE3D-68A22A0E6383}" type="presOf" srcId="{77F1A39F-BC07-4DDD-91B9-798B2ABFB0B6}" destId="{5CB106C4-8516-42F0-82DB-BCA8B6AD7CC1}" srcOrd="0" destOrd="1" presId="urn:microsoft.com/office/officeart/2005/8/layout/hList1"/>
    <dgm:cxn modelId="{40D79A73-4DF6-447F-BD1F-D2E3A0E2591F}" srcId="{0548579E-D685-495F-BCE4-AA5A03228AE9}" destId="{3A649C56-1B06-4EF4-8466-1EFC3EDF790C}" srcOrd="3" destOrd="0" parTransId="{8FB2C863-1107-4965-BCD4-4F6B0A2993AE}" sibTransId="{6DA6C0AC-0FC8-4909-98E1-6C0077D7207E}"/>
    <dgm:cxn modelId="{F2905257-8742-4F2C-AF99-F8497A08CBAA}" srcId="{C1737A48-4723-4F45-8AEE-335BCADB5B4A}" destId="{9755EA1C-DA5C-4E2C-9DD1-C85422360686}" srcOrd="2" destOrd="0" parTransId="{85BB4271-2A22-474D-B382-5CB89EF01059}" sibTransId="{6D586B78-DD9D-4F6A-8448-71A48C0BF547}"/>
    <dgm:cxn modelId="{18D77B7B-AB1F-42DE-B438-5D4E6753CB34}" srcId="{5DF888A1-E5F9-46C3-AD6E-E4C59E3E772D}" destId="{C1737A48-4723-4F45-8AEE-335BCADB5B4A}" srcOrd="0" destOrd="0" parTransId="{7B53862C-22DE-4AFB-A0E6-98650A27B532}" sibTransId="{6E1A3B6E-5AC3-4087-B721-7F1943F78044}"/>
    <dgm:cxn modelId="{7AAC5A7C-CC55-4DC4-BBDE-D6BF2FB29A37}" type="presOf" srcId="{F273F41E-E014-41C4-9DA6-477DC719E556}" destId="{3025075D-838F-4A90-B6FE-73EFD0AF959A}" srcOrd="0" destOrd="1" presId="urn:microsoft.com/office/officeart/2005/8/layout/hList1"/>
    <dgm:cxn modelId="{C33C3097-74C3-4C7E-9A96-DE89C62E8FF9}" srcId="{5DF888A1-E5F9-46C3-AD6E-E4C59E3E772D}" destId="{0548579E-D685-495F-BCE4-AA5A03228AE9}" srcOrd="1" destOrd="0" parTransId="{754DCB71-3459-422B-B37E-54BD9946509E}" sibTransId="{97DBF087-9427-43D7-9942-6DFC404B8964}"/>
    <dgm:cxn modelId="{DE6776B1-6736-40AE-814F-93D837536ECA}" srcId="{0548579E-D685-495F-BCE4-AA5A03228AE9}" destId="{D0403A08-44BD-4577-B547-195F5BC65CBC}" srcOrd="2" destOrd="0" parTransId="{F39BF19E-7683-4BA0-A644-80CF7C6C545C}" sibTransId="{AEA29EA4-BCA5-440A-B467-F610DB1DE8F7}"/>
    <dgm:cxn modelId="{1DA917D4-AC98-4BB8-8BC2-86896D6C7D66}" type="presOf" srcId="{9755EA1C-DA5C-4E2C-9DD1-C85422360686}" destId="{3025075D-838F-4A90-B6FE-73EFD0AF959A}" srcOrd="0" destOrd="2" presId="urn:microsoft.com/office/officeart/2005/8/layout/hList1"/>
    <dgm:cxn modelId="{CE3C6BE2-A1D5-434B-AE9B-65AC4A746C87}" type="presOf" srcId="{C1737A48-4723-4F45-8AEE-335BCADB5B4A}" destId="{C85E8A78-031D-416A-AA39-699CE060C17F}" srcOrd="0" destOrd="0" presId="urn:microsoft.com/office/officeart/2005/8/layout/hList1"/>
    <dgm:cxn modelId="{3D17CFF2-3B63-4CBB-9944-B96C301A968E}" type="presOf" srcId="{B4F28EFB-A016-4071-8DC0-CFC8744BC6C5}" destId="{5CB106C4-8516-42F0-82DB-BCA8B6AD7CC1}" srcOrd="0" destOrd="4" presId="urn:microsoft.com/office/officeart/2005/8/layout/hList1"/>
    <dgm:cxn modelId="{146810B6-4104-45FE-811E-9A08FEE2DBDD}" type="presParOf" srcId="{9B2FB7B5-E1EB-4F52-8F5B-140A87C36BA3}" destId="{363BBD23-F46F-4128-9E2B-25E6C43D8191}" srcOrd="0" destOrd="0" presId="urn:microsoft.com/office/officeart/2005/8/layout/hList1"/>
    <dgm:cxn modelId="{8F6F94A7-E326-49E5-9E05-91B0298F127C}" type="presParOf" srcId="{363BBD23-F46F-4128-9E2B-25E6C43D8191}" destId="{C85E8A78-031D-416A-AA39-699CE060C17F}" srcOrd="0" destOrd="0" presId="urn:microsoft.com/office/officeart/2005/8/layout/hList1"/>
    <dgm:cxn modelId="{6DEE8FD2-0F8A-43A1-B33F-32D67DFF0E7A}" type="presParOf" srcId="{363BBD23-F46F-4128-9E2B-25E6C43D8191}" destId="{3025075D-838F-4A90-B6FE-73EFD0AF959A}" srcOrd="1" destOrd="0" presId="urn:microsoft.com/office/officeart/2005/8/layout/hList1"/>
    <dgm:cxn modelId="{FD262DC4-5A47-4792-A450-F334EF58DA2E}" type="presParOf" srcId="{9B2FB7B5-E1EB-4F52-8F5B-140A87C36BA3}" destId="{D7332770-7C86-46C2-B2F6-656D98C8F6A0}" srcOrd="1" destOrd="0" presId="urn:microsoft.com/office/officeart/2005/8/layout/hList1"/>
    <dgm:cxn modelId="{1A05AE5F-9819-4E50-98BD-F2C706420378}" type="presParOf" srcId="{9B2FB7B5-E1EB-4F52-8F5B-140A87C36BA3}" destId="{7D12D36E-7FEA-4FDA-99B9-8CEB95A29957}" srcOrd="2" destOrd="0" presId="urn:microsoft.com/office/officeart/2005/8/layout/hList1"/>
    <dgm:cxn modelId="{9A2F90A3-139F-4798-AF86-71B513AB72C0}" type="presParOf" srcId="{7D12D36E-7FEA-4FDA-99B9-8CEB95A29957}" destId="{EAE9541E-4294-4F60-94CE-3D50149AE73E}" srcOrd="0" destOrd="0" presId="urn:microsoft.com/office/officeart/2005/8/layout/hList1"/>
    <dgm:cxn modelId="{FE5A4502-EA3E-41BF-8A22-C17890C5BD19}" type="presParOf" srcId="{7D12D36E-7FEA-4FDA-99B9-8CEB95A29957}" destId="{5CB106C4-8516-42F0-82DB-BCA8B6AD7CC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2C6876F0-B24D-405F-8D95-04E6C78E7339}" type="doc">
      <dgm:prSet loTypeId="urn:microsoft.com/office/officeart/2005/8/layout/lProcess2" loCatId="list" qsTypeId="urn:microsoft.com/office/officeart/2005/8/quickstyle/simple1" qsCatId="simple" csTypeId="urn:microsoft.com/office/officeart/2005/8/colors/accent1_5" csCatId="accent1" phldr="1"/>
      <dgm:spPr/>
      <dgm:t>
        <a:bodyPr/>
        <a:lstStyle/>
        <a:p>
          <a:endParaRPr lang="es-ES"/>
        </a:p>
      </dgm:t>
    </dgm:pt>
    <dgm:pt modelId="{DCE8BB69-190D-4468-89E3-29DF69DD0CBD}">
      <dgm:prSet phldrT="[Texto]"/>
      <dgm:spPr/>
      <dgm:t>
        <a:bodyPr/>
        <a:lstStyle/>
        <a:p>
          <a:r>
            <a:rPr lang="es-ES" dirty="0"/>
            <a:t>Redescubriendo STP </a:t>
          </a:r>
        </a:p>
      </dgm:t>
    </dgm:pt>
    <dgm:pt modelId="{3E1F5CCD-61C4-4DC8-B16A-E036869E7220}" type="parTrans" cxnId="{196C2A96-0C24-4B44-82DD-6A07C0EC96BC}">
      <dgm:prSet/>
      <dgm:spPr/>
      <dgm:t>
        <a:bodyPr/>
        <a:lstStyle/>
        <a:p>
          <a:endParaRPr lang="es-ES"/>
        </a:p>
      </dgm:t>
    </dgm:pt>
    <dgm:pt modelId="{8B40A20D-DB7A-4496-8EBF-180D78D13C11}" type="sibTrans" cxnId="{196C2A96-0C24-4B44-82DD-6A07C0EC96BC}">
      <dgm:prSet/>
      <dgm:spPr/>
      <dgm:t>
        <a:bodyPr/>
        <a:lstStyle/>
        <a:p>
          <a:endParaRPr lang="es-ES"/>
        </a:p>
      </dgm:t>
    </dgm:pt>
    <dgm:pt modelId="{D14D65DB-9416-4A38-B5F0-46787BE4E2FC}">
      <dgm:prSet/>
      <dgm:spPr/>
      <dgm:t>
        <a:bodyPr/>
        <a:lstStyle/>
        <a:p>
          <a:r>
            <a:rPr lang="es-ES" dirty="0"/>
            <a:t>Automatización de la cadena de valor al máximo.</a:t>
          </a:r>
        </a:p>
      </dgm:t>
    </dgm:pt>
    <dgm:pt modelId="{C5BCBE70-CB97-482F-8C8A-FD409BB72413}" type="parTrans" cxnId="{DA9FED04-C89D-48C3-9D12-C5A5734344E1}">
      <dgm:prSet/>
      <dgm:spPr/>
      <dgm:t>
        <a:bodyPr/>
        <a:lstStyle/>
        <a:p>
          <a:endParaRPr lang="es-ES"/>
        </a:p>
      </dgm:t>
    </dgm:pt>
    <dgm:pt modelId="{EA6959E8-5F43-4FA0-8445-267808CD5E21}" type="sibTrans" cxnId="{DA9FED04-C89D-48C3-9D12-C5A5734344E1}">
      <dgm:prSet/>
      <dgm:spPr/>
      <dgm:t>
        <a:bodyPr/>
        <a:lstStyle/>
        <a:p>
          <a:endParaRPr lang="es-ES"/>
        </a:p>
      </dgm:t>
    </dgm:pt>
    <dgm:pt modelId="{11CC3CCC-67D2-43E7-9395-794B3B683313}">
      <dgm:prSet/>
      <dgm:spPr/>
      <dgm:t>
        <a:bodyPr/>
        <a:lstStyle/>
        <a:p>
          <a:r>
            <a:rPr lang="es-ES" dirty="0"/>
            <a:t>Uso y Análisis de datos:</a:t>
          </a:r>
        </a:p>
      </dgm:t>
    </dgm:pt>
    <dgm:pt modelId="{2440ECA6-7DCD-4389-89F4-951E3501C99D}" type="parTrans" cxnId="{87CEE662-6821-483A-8FC7-B8F4BC8FB307}">
      <dgm:prSet/>
      <dgm:spPr/>
      <dgm:t>
        <a:bodyPr/>
        <a:lstStyle/>
        <a:p>
          <a:endParaRPr lang="es-ES"/>
        </a:p>
      </dgm:t>
    </dgm:pt>
    <dgm:pt modelId="{CC61629E-A604-48FA-AC39-DFBFDE16A76C}" type="sibTrans" cxnId="{87CEE662-6821-483A-8FC7-B8F4BC8FB307}">
      <dgm:prSet/>
      <dgm:spPr/>
      <dgm:t>
        <a:bodyPr/>
        <a:lstStyle/>
        <a:p>
          <a:endParaRPr lang="es-ES"/>
        </a:p>
      </dgm:t>
    </dgm:pt>
    <dgm:pt modelId="{559EC1E6-6B8C-40C9-A6A6-3139913CF3EE}">
      <dgm:prSet/>
      <dgm:spPr/>
      <dgm:t>
        <a:bodyPr/>
        <a:lstStyle/>
        <a:p>
          <a:r>
            <a:rPr lang="es-ES" dirty="0"/>
            <a:t>Convertir los datos en información.</a:t>
          </a:r>
        </a:p>
      </dgm:t>
    </dgm:pt>
    <dgm:pt modelId="{86F59566-823A-4411-9D0D-864F000F50E8}" type="parTrans" cxnId="{28DB3504-E057-43D5-9A77-CD9A1E20EB66}">
      <dgm:prSet/>
      <dgm:spPr/>
      <dgm:t>
        <a:bodyPr/>
        <a:lstStyle/>
        <a:p>
          <a:endParaRPr lang="es-ES"/>
        </a:p>
      </dgm:t>
    </dgm:pt>
    <dgm:pt modelId="{65DA4978-9F2D-407F-8BDB-6909975203C5}" type="sibTrans" cxnId="{28DB3504-E057-43D5-9A77-CD9A1E20EB66}">
      <dgm:prSet/>
      <dgm:spPr/>
      <dgm:t>
        <a:bodyPr/>
        <a:lstStyle/>
        <a:p>
          <a:endParaRPr lang="es-ES"/>
        </a:p>
      </dgm:t>
    </dgm:pt>
    <dgm:pt modelId="{20E4615F-DD9B-4A37-8060-E22EFE6C5D88}">
      <dgm:prSet/>
      <dgm:spPr/>
      <dgm:t>
        <a:bodyPr/>
        <a:lstStyle/>
        <a:p>
          <a:r>
            <a:rPr lang="es-ES" dirty="0"/>
            <a:t>Herramientas cada vez más sofisticadas de analítica HUF.</a:t>
          </a:r>
        </a:p>
      </dgm:t>
    </dgm:pt>
    <dgm:pt modelId="{958A3DBB-A2A1-4E22-B9FC-18D4FF438C2E}" type="parTrans" cxnId="{17D8DD29-1A75-4C3B-83D6-AB9FF4B27702}">
      <dgm:prSet/>
      <dgm:spPr/>
      <dgm:t>
        <a:bodyPr/>
        <a:lstStyle/>
        <a:p>
          <a:endParaRPr lang="es-ES"/>
        </a:p>
      </dgm:t>
    </dgm:pt>
    <dgm:pt modelId="{3E4C6A4F-F338-46F5-AD8B-78CAC34D5818}" type="sibTrans" cxnId="{17D8DD29-1A75-4C3B-83D6-AB9FF4B27702}">
      <dgm:prSet/>
      <dgm:spPr/>
      <dgm:t>
        <a:bodyPr/>
        <a:lstStyle/>
        <a:p>
          <a:endParaRPr lang="es-ES"/>
        </a:p>
      </dgm:t>
    </dgm:pt>
    <dgm:pt modelId="{39BC24CE-49E1-4598-98C5-2ED5BB9CBF50}">
      <dgm:prSet/>
      <dgm:spPr/>
      <dgm:t>
        <a:bodyPr/>
        <a:lstStyle/>
        <a:p>
          <a:r>
            <a:rPr lang="es-ES" dirty="0"/>
            <a:t>Conocer el linaje de los datos.</a:t>
          </a:r>
        </a:p>
      </dgm:t>
    </dgm:pt>
    <dgm:pt modelId="{E73FF18A-1A16-4704-B300-A0CFE53699FD}" type="parTrans" cxnId="{1414B44E-A75E-49FD-85B5-1A44EE8E94C0}">
      <dgm:prSet/>
      <dgm:spPr/>
      <dgm:t>
        <a:bodyPr/>
        <a:lstStyle/>
        <a:p>
          <a:endParaRPr lang="es-ES"/>
        </a:p>
      </dgm:t>
    </dgm:pt>
    <dgm:pt modelId="{8A70D16A-E092-4F1F-98FE-EC6D80DE187D}" type="sibTrans" cxnId="{1414B44E-A75E-49FD-85B5-1A44EE8E94C0}">
      <dgm:prSet/>
      <dgm:spPr/>
      <dgm:t>
        <a:bodyPr/>
        <a:lstStyle/>
        <a:p>
          <a:endParaRPr lang="es-ES"/>
        </a:p>
      </dgm:t>
    </dgm:pt>
    <dgm:pt modelId="{B7DDB16E-00A9-42F4-AF12-A92251D4F598}">
      <dgm:prSet/>
      <dgm:spPr/>
      <dgm:t>
        <a:bodyPr/>
        <a:lstStyle/>
        <a:p>
          <a:r>
            <a:rPr lang="es-ES" dirty="0"/>
            <a:t>Posición Lógica de los datos</a:t>
          </a:r>
        </a:p>
      </dgm:t>
    </dgm:pt>
    <dgm:pt modelId="{0691346A-21AE-4311-A252-7CF82E7C2512}" type="parTrans" cxnId="{A28BC074-50CC-4C8B-B4A3-AB77BD345870}">
      <dgm:prSet/>
      <dgm:spPr/>
      <dgm:t>
        <a:bodyPr/>
        <a:lstStyle/>
        <a:p>
          <a:endParaRPr lang="es-ES"/>
        </a:p>
      </dgm:t>
    </dgm:pt>
    <dgm:pt modelId="{F52D8E94-3AE4-4270-AACF-FE1DCC369727}" type="sibTrans" cxnId="{A28BC074-50CC-4C8B-B4A3-AB77BD345870}">
      <dgm:prSet/>
      <dgm:spPr/>
      <dgm:t>
        <a:bodyPr/>
        <a:lstStyle/>
        <a:p>
          <a:endParaRPr lang="es-ES"/>
        </a:p>
      </dgm:t>
    </dgm:pt>
    <dgm:pt modelId="{FA3E7541-C943-4A70-BB55-29F19928A069}">
      <dgm:prSet/>
      <dgm:spPr/>
      <dgm:t>
        <a:bodyPr/>
        <a:lstStyle/>
        <a:p>
          <a:r>
            <a:rPr lang="es-ES" dirty="0"/>
            <a:t>Minería colaborativa, inteligencia colectiva de los datos.</a:t>
          </a:r>
        </a:p>
      </dgm:t>
    </dgm:pt>
    <dgm:pt modelId="{B20FC289-421D-4F11-BD0E-B9ACA2ACFD4E}" type="parTrans" cxnId="{EF5D7EDA-D095-4EC5-B18C-7C5A4348B8C2}">
      <dgm:prSet/>
      <dgm:spPr/>
      <dgm:t>
        <a:bodyPr/>
        <a:lstStyle/>
        <a:p>
          <a:endParaRPr lang="es-ES"/>
        </a:p>
      </dgm:t>
    </dgm:pt>
    <dgm:pt modelId="{CFA48950-3B2D-4333-8AB1-A0B9C34FCBC3}" type="sibTrans" cxnId="{EF5D7EDA-D095-4EC5-B18C-7C5A4348B8C2}">
      <dgm:prSet/>
      <dgm:spPr/>
      <dgm:t>
        <a:bodyPr/>
        <a:lstStyle/>
        <a:p>
          <a:endParaRPr lang="es-ES"/>
        </a:p>
      </dgm:t>
    </dgm:pt>
    <dgm:pt modelId="{84714EEC-B86F-44CD-9DAD-087FFE64F2B0}">
      <dgm:prSet/>
      <dgm:spPr/>
      <dgm:t>
        <a:bodyPr/>
        <a:lstStyle/>
        <a:p>
          <a:r>
            <a:rPr lang="es-ES" dirty="0"/>
            <a:t>Cadena de valor colaborativa. Poner info a disposición de clientes / proveedores / otros partners</a:t>
          </a:r>
        </a:p>
      </dgm:t>
    </dgm:pt>
    <dgm:pt modelId="{ED12C1C8-CAF4-4B0A-BA7E-18771D7E66BF}" type="parTrans" cxnId="{55ACC9D1-5645-4A4E-BCD8-EFC147D86777}">
      <dgm:prSet/>
      <dgm:spPr/>
      <dgm:t>
        <a:bodyPr/>
        <a:lstStyle/>
        <a:p>
          <a:endParaRPr lang="es-ES"/>
        </a:p>
      </dgm:t>
    </dgm:pt>
    <dgm:pt modelId="{97B4DBD4-D36E-47B8-B151-C58E7FBD8521}" type="sibTrans" cxnId="{55ACC9D1-5645-4A4E-BCD8-EFC147D86777}">
      <dgm:prSet/>
      <dgm:spPr/>
      <dgm:t>
        <a:bodyPr/>
        <a:lstStyle/>
        <a:p>
          <a:endParaRPr lang="es-ES"/>
        </a:p>
      </dgm:t>
    </dgm:pt>
    <dgm:pt modelId="{39353383-DAAA-49C2-835C-2758B0802B05}">
      <dgm:prSet/>
      <dgm:spPr/>
      <dgm:t>
        <a:bodyPr/>
        <a:lstStyle/>
        <a:p>
          <a:r>
            <a:rPr lang="es-ES" dirty="0"/>
            <a:t>Posición física de los datos </a:t>
          </a:r>
        </a:p>
      </dgm:t>
    </dgm:pt>
    <dgm:pt modelId="{00098F17-8962-409D-8637-B23D4CC271B1}" type="parTrans" cxnId="{15EE8875-5816-4984-8A38-5480B3FA8D7C}">
      <dgm:prSet/>
      <dgm:spPr/>
      <dgm:t>
        <a:bodyPr/>
        <a:lstStyle/>
        <a:p>
          <a:endParaRPr lang="es-ES"/>
        </a:p>
      </dgm:t>
    </dgm:pt>
    <dgm:pt modelId="{958FC496-0D54-4558-94E9-6219A1AD0FDB}" type="sibTrans" cxnId="{15EE8875-5816-4984-8A38-5480B3FA8D7C}">
      <dgm:prSet/>
      <dgm:spPr/>
      <dgm:t>
        <a:bodyPr/>
        <a:lstStyle/>
        <a:p>
          <a:endParaRPr lang="es-ES"/>
        </a:p>
      </dgm:t>
    </dgm:pt>
    <dgm:pt modelId="{D8232080-C8AA-4D7B-91CD-F3FC5121E2F2}">
      <dgm:prSet/>
      <dgm:spPr/>
      <dgm:t>
        <a:bodyPr/>
        <a:lstStyle/>
        <a:p>
          <a:r>
            <a:rPr lang="es-ES" dirty="0"/>
            <a:t>Nube colaborativa: GAIA-X.</a:t>
          </a:r>
        </a:p>
      </dgm:t>
    </dgm:pt>
    <dgm:pt modelId="{34821DBA-604E-4D41-94B1-DB08D5333082}" type="parTrans" cxnId="{2270C0D2-700C-4712-8187-AAC1986258F3}">
      <dgm:prSet/>
      <dgm:spPr/>
      <dgm:t>
        <a:bodyPr/>
        <a:lstStyle/>
        <a:p>
          <a:endParaRPr lang="es-ES"/>
        </a:p>
      </dgm:t>
    </dgm:pt>
    <dgm:pt modelId="{B688997D-68F7-4B1D-ADC4-DE58D4525E17}" type="sibTrans" cxnId="{2270C0D2-700C-4712-8187-AAC1986258F3}">
      <dgm:prSet/>
      <dgm:spPr/>
      <dgm:t>
        <a:bodyPr/>
        <a:lstStyle/>
        <a:p>
          <a:endParaRPr lang="es-ES"/>
        </a:p>
      </dgm:t>
    </dgm:pt>
    <dgm:pt modelId="{7CFD4C53-8202-4CB4-AA08-C063F871ED3A}">
      <dgm:prSet/>
      <dgm:spPr/>
      <dgm:t>
        <a:bodyPr/>
        <a:lstStyle/>
        <a:p>
          <a:r>
            <a:rPr lang="es-ES" dirty="0"/>
            <a:t>El cuadro de mandos</a:t>
          </a:r>
        </a:p>
      </dgm:t>
    </dgm:pt>
    <dgm:pt modelId="{2D90B18E-B8E6-4097-9B8C-2C8C9DAC60FB}" type="parTrans" cxnId="{90C40897-8F18-40D5-ACFA-A80777C6179A}">
      <dgm:prSet/>
      <dgm:spPr/>
      <dgm:t>
        <a:bodyPr/>
        <a:lstStyle/>
        <a:p>
          <a:endParaRPr lang="es-ES"/>
        </a:p>
      </dgm:t>
    </dgm:pt>
    <dgm:pt modelId="{B151F7E3-6B2D-469A-B6ED-E8956C5C25D2}" type="sibTrans" cxnId="{90C40897-8F18-40D5-ACFA-A80777C6179A}">
      <dgm:prSet/>
      <dgm:spPr/>
      <dgm:t>
        <a:bodyPr/>
        <a:lstStyle/>
        <a:p>
          <a:endParaRPr lang="es-ES"/>
        </a:p>
      </dgm:t>
    </dgm:pt>
    <dgm:pt modelId="{B33C9F35-FEDA-4028-8D5C-EE66887D9EEB}">
      <dgm:prSet/>
      <dgm:spPr/>
      <dgm:t>
        <a:bodyPr/>
        <a:lstStyle/>
        <a:p>
          <a:r>
            <a:rPr lang="es-ES" dirty="0"/>
            <a:t>Se difumina la frontera de la posición física de los datos: Se tratan datos Internos y externos.</a:t>
          </a:r>
        </a:p>
      </dgm:t>
    </dgm:pt>
    <dgm:pt modelId="{153CDB3C-2871-48B5-81A2-2EC69DB5AF25}" type="parTrans" cxnId="{DC21C30C-E668-4C46-ADBF-DC4DFBAFAEA8}">
      <dgm:prSet/>
      <dgm:spPr/>
      <dgm:t>
        <a:bodyPr/>
        <a:lstStyle/>
        <a:p>
          <a:endParaRPr lang="es-ES"/>
        </a:p>
      </dgm:t>
    </dgm:pt>
    <dgm:pt modelId="{49EB788D-F5A6-477C-8D91-D9B3FBD56806}" type="sibTrans" cxnId="{DC21C30C-E668-4C46-ADBF-DC4DFBAFAEA8}">
      <dgm:prSet/>
      <dgm:spPr/>
      <dgm:t>
        <a:bodyPr/>
        <a:lstStyle/>
        <a:p>
          <a:endParaRPr lang="es-ES"/>
        </a:p>
      </dgm:t>
    </dgm:pt>
    <dgm:pt modelId="{3086B208-E718-498C-B07D-C589B319154B}">
      <dgm:prSet/>
      <dgm:spPr/>
      <dgm:t>
        <a:bodyPr/>
        <a:lstStyle/>
        <a:p>
          <a:r>
            <a:rPr lang="es-ES" dirty="0"/>
            <a:t>La nube.</a:t>
          </a:r>
        </a:p>
      </dgm:t>
    </dgm:pt>
    <dgm:pt modelId="{6AE0DDEE-E442-4AFC-B135-9A631532537D}" type="parTrans" cxnId="{89C49DB6-AF93-4DCB-A974-EA5FB902A256}">
      <dgm:prSet/>
      <dgm:spPr/>
      <dgm:t>
        <a:bodyPr/>
        <a:lstStyle/>
        <a:p>
          <a:endParaRPr lang="es-ES"/>
        </a:p>
      </dgm:t>
    </dgm:pt>
    <dgm:pt modelId="{B13D860D-2704-413E-A3C3-5C02D30E385C}" type="sibTrans" cxnId="{89C49DB6-AF93-4DCB-A974-EA5FB902A256}">
      <dgm:prSet/>
      <dgm:spPr/>
      <dgm:t>
        <a:bodyPr/>
        <a:lstStyle/>
        <a:p>
          <a:endParaRPr lang="es-ES"/>
        </a:p>
      </dgm:t>
    </dgm:pt>
    <dgm:pt modelId="{39DA8A85-2473-4C80-9360-F37871A69032}">
      <dgm:prSet/>
      <dgm:spPr/>
      <dgm:t>
        <a:bodyPr/>
        <a:lstStyle/>
        <a:p>
          <a:r>
            <a:rPr lang="es-ES" dirty="0"/>
            <a:t>Imprescindible para GDPR.</a:t>
          </a:r>
        </a:p>
      </dgm:t>
    </dgm:pt>
    <dgm:pt modelId="{D09621E3-048E-43DE-8E45-989CEA39F46D}" type="parTrans" cxnId="{61EA4884-9FBE-4D10-8002-D23DE33D2927}">
      <dgm:prSet/>
      <dgm:spPr/>
      <dgm:t>
        <a:bodyPr/>
        <a:lstStyle/>
        <a:p>
          <a:endParaRPr lang="es-ES"/>
        </a:p>
      </dgm:t>
    </dgm:pt>
    <dgm:pt modelId="{B9E7C105-39E6-45B3-903B-78E351024146}" type="sibTrans" cxnId="{61EA4884-9FBE-4D10-8002-D23DE33D2927}">
      <dgm:prSet/>
      <dgm:spPr/>
      <dgm:t>
        <a:bodyPr/>
        <a:lstStyle/>
        <a:p>
          <a:endParaRPr lang="es-ES"/>
        </a:p>
      </dgm:t>
    </dgm:pt>
    <dgm:pt modelId="{85A1DD97-3DF5-442A-B342-80FF1724A885}">
      <dgm:prSet/>
      <dgm:spPr/>
      <dgm:t>
        <a:bodyPr/>
        <a:lstStyle/>
        <a:p>
          <a:r>
            <a:rPr lang="es-ES" dirty="0"/>
            <a:t>On premise.</a:t>
          </a:r>
        </a:p>
      </dgm:t>
    </dgm:pt>
    <dgm:pt modelId="{8B00F6AB-6113-4B7B-AC3F-36021EBFC3BD}" type="parTrans" cxnId="{0C0D2D34-FFCE-4BFE-8F81-AA5EC847EA05}">
      <dgm:prSet/>
      <dgm:spPr/>
      <dgm:t>
        <a:bodyPr/>
        <a:lstStyle/>
        <a:p>
          <a:endParaRPr lang="es-ES"/>
        </a:p>
      </dgm:t>
    </dgm:pt>
    <dgm:pt modelId="{B73F7166-F64B-43B5-8461-380497BB5305}" type="sibTrans" cxnId="{0C0D2D34-FFCE-4BFE-8F81-AA5EC847EA05}">
      <dgm:prSet/>
      <dgm:spPr/>
      <dgm:t>
        <a:bodyPr/>
        <a:lstStyle/>
        <a:p>
          <a:endParaRPr lang="es-ES"/>
        </a:p>
      </dgm:t>
    </dgm:pt>
    <dgm:pt modelId="{615A3B1B-8D31-4683-9E42-D9CDB79D23C0}">
      <dgm:prSet/>
      <dgm:spPr/>
      <dgm:t>
        <a:bodyPr/>
        <a:lstStyle/>
        <a:p>
          <a:r>
            <a:rPr lang="es-ES" dirty="0"/>
            <a:t>Nube híbrida.</a:t>
          </a:r>
        </a:p>
      </dgm:t>
    </dgm:pt>
    <dgm:pt modelId="{3C2A8A8D-5F47-45C2-AC39-6F38807CC9D1}" type="parTrans" cxnId="{51F25BBE-44F4-40AA-9C86-3040AE5BC2EA}">
      <dgm:prSet/>
      <dgm:spPr/>
      <dgm:t>
        <a:bodyPr/>
        <a:lstStyle/>
        <a:p>
          <a:endParaRPr lang="es-ES"/>
        </a:p>
      </dgm:t>
    </dgm:pt>
    <dgm:pt modelId="{C7A79041-8968-4CA8-8F4F-1493D605FDE1}" type="sibTrans" cxnId="{51F25BBE-44F4-40AA-9C86-3040AE5BC2EA}">
      <dgm:prSet/>
      <dgm:spPr/>
      <dgm:t>
        <a:bodyPr/>
        <a:lstStyle/>
        <a:p>
          <a:endParaRPr lang="es-ES"/>
        </a:p>
      </dgm:t>
    </dgm:pt>
    <dgm:pt modelId="{0053FD0A-EC0C-4130-9CFD-EB15EC85770D}">
      <dgm:prSet/>
      <dgm:spPr/>
      <dgm:t>
        <a:bodyPr/>
        <a:lstStyle/>
        <a:p>
          <a:r>
            <a:rPr lang="es-ES" dirty="0"/>
            <a:t>Cada vez más importante</a:t>
          </a:r>
        </a:p>
      </dgm:t>
    </dgm:pt>
    <dgm:pt modelId="{B48BE8E7-4C61-44C3-AA18-9FC2FD20DBD3}" type="parTrans" cxnId="{AAC4EF91-BD8D-4CF3-AC94-C852880292AD}">
      <dgm:prSet/>
      <dgm:spPr/>
      <dgm:t>
        <a:bodyPr/>
        <a:lstStyle/>
        <a:p>
          <a:endParaRPr lang="es-ES"/>
        </a:p>
      </dgm:t>
    </dgm:pt>
    <dgm:pt modelId="{248ADAB2-6943-4EF2-A305-AB44235C8636}" type="sibTrans" cxnId="{AAC4EF91-BD8D-4CF3-AC94-C852880292AD}">
      <dgm:prSet/>
      <dgm:spPr/>
      <dgm:t>
        <a:bodyPr/>
        <a:lstStyle/>
        <a:p>
          <a:endParaRPr lang="es-ES"/>
        </a:p>
      </dgm:t>
    </dgm:pt>
    <dgm:pt modelId="{45A8CC5F-6D01-42D3-A53E-8DE92719401E}">
      <dgm:prSet/>
      <dgm:spPr/>
      <dgm:t>
        <a:bodyPr/>
        <a:lstStyle/>
        <a:p>
          <a:r>
            <a:rPr lang="es-ES" dirty="0"/>
            <a:t>El valor de los KPI</a:t>
          </a:r>
        </a:p>
      </dgm:t>
    </dgm:pt>
    <dgm:pt modelId="{BB80663D-528C-4E13-B9D1-73614BCF233B}" type="parTrans" cxnId="{1091C250-4A88-44D1-A850-DCC3698475CF}">
      <dgm:prSet/>
      <dgm:spPr/>
      <dgm:t>
        <a:bodyPr/>
        <a:lstStyle/>
        <a:p>
          <a:endParaRPr lang="es-ES"/>
        </a:p>
      </dgm:t>
    </dgm:pt>
    <dgm:pt modelId="{91CB3598-721F-4737-BD80-4D23707F813E}" type="sibTrans" cxnId="{1091C250-4A88-44D1-A850-DCC3698475CF}">
      <dgm:prSet/>
      <dgm:spPr/>
      <dgm:t>
        <a:bodyPr/>
        <a:lstStyle/>
        <a:p>
          <a:endParaRPr lang="es-ES"/>
        </a:p>
      </dgm:t>
    </dgm:pt>
    <dgm:pt modelId="{44AACE9A-CCFE-4C61-BC4B-90E31FABE979}">
      <dgm:prSet/>
      <dgm:spPr/>
      <dgm:t>
        <a:bodyPr/>
        <a:lstStyle/>
        <a:p>
          <a:r>
            <a:rPr lang="es-ES" dirty="0"/>
            <a:t>Orientado EXACTAMENTE al que lo necesita.</a:t>
          </a:r>
        </a:p>
      </dgm:t>
    </dgm:pt>
    <dgm:pt modelId="{BDDB82C2-AF00-4001-8F0B-B57ADA4B666C}" type="parTrans" cxnId="{78A3AD85-65A9-4AAD-A08B-DA63B32A31EF}">
      <dgm:prSet/>
      <dgm:spPr/>
      <dgm:t>
        <a:bodyPr/>
        <a:lstStyle/>
        <a:p>
          <a:endParaRPr lang="es-ES"/>
        </a:p>
      </dgm:t>
    </dgm:pt>
    <dgm:pt modelId="{CB5CD3ED-46EF-4D33-ACB4-B9FD2775690B}" type="sibTrans" cxnId="{78A3AD85-65A9-4AAD-A08B-DA63B32A31EF}">
      <dgm:prSet/>
      <dgm:spPr/>
      <dgm:t>
        <a:bodyPr/>
        <a:lstStyle/>
        <a:p>
          <a:endParaRPr lang="es-ES"/>
        </a:p>
      </dgm:t>
    </dgm:pt>
    <dgm:pt modelId="{CCB7917D-2104-49D9-9831-1E3AF259C4E8}">
      <dgm:prSet/>
      <dgm:spPr/>
      <dgm:t>
        <a:bodyPr/>
        <a:lstStyle/>
        <a:p>
          <a:r>
            <a:rPr lang="es-ES" dirty="0"/>
            <a:t>Cambio</a:t>
          </a:r>
        </a:p>
      </dgm:t>
    </dgm:pt>
    <dgm:pt modelId="{FD49A1F9-7163-4471-A4F1-2C2D7853E8BE}" type="parTrans" cxnId="{E49A5B33-D591-40D1-A578-AA3F32C0865D}">
      <dgm:prSet/>
      <dgm:spPr/>
      <dgm:t>
        <a:bodyPr/>
        <a:lstStyle/>
        <a:p>
          <a:endParaRPr lang="es-ES"/>
        </a:p>
      </dgm:t>
    </dgm:pt>
    <dgm:pt modelId="{20A3E327-8D53-4CBA-A88E-4F9F9DA6327B}" type="sibTrans" cxnId="{E49A5B33-D591-40D1-A578-AA3F32C0865D}">
      <dgm:prSet/>
      <dgm:spPr/>
      <dgm:t>
        <a:bodyPr/>
        <a:lstStyle/>
        <a:p>
          <a:endParaRPr lang="es-ES"/>
        </a:p>
      </dgm:t>
    </dgm:pt>
    <dgm:pt modelId="{186CDFD7-C317-44F0-88B0-6900380C6685}">
      <dgm:prSet/>
      <dgm:spPr/>
      <dgm:t>
        <a:bodyPr/>
        <a:lstStyle/>
        <a:p>
          <a:r>
            <a:rPr lang="es-ES" dirty="0"/>
            <a:t>“Transformación digital”</a:t>
          </a:r>
        </a:p>
      </dgm:t>
    </dgm:pt>
    <dgm:pt modelId="{C6F5182C-30B4-4781-BDD1-907B6B6C3352}" type="parTrans" cxnId="{C1F42B16-F536-40C3-B621-FF00D7FB09A3}">
      <dgm:prSet/>
      <dgm:spPr/>
      <dgm:t>
        <a:bodyPr/>
        <a:lstStyle/>
        <a:p>
          <a:endParaRPr lang="es-ES"/>
        </a:p>
      </dgm:t>
    </dgm:pt>
    <dgm:pt modelId="{5C68E8AC-5A60-4A84-A068-3B8189C8DEC6}" type="sibTrans" cxnId="{C1F42B16-F536-40C3-B621-FF00D7FB09A3}">
      <dgm:prSet/>
      <dgm:spPr/>
      <dgm:t>
        <a:bodyPr/>
        <a:lstStyle/>
        <a:p>
          <a:endParaRPr lang="es-ES"/>
        </a:p>
      </dgm:t>
    </dgm:pt>
    <dgm:pt modelId="{CE353D8F-6D10-4D31-97AB-9B90EA2B86BB}">
      <dgm:prSet/>
      <dgm:spPr/>
      <dgm:t>
        <a:bodyPr/>
        <a:lstStyle/>
        <a:p>
          <a:r>
            <a:rPr lang="es-ES" dirty="0"/>
            <a:t>Vs “innovación digital”</a:t>
          </a:r>
        </a:p>
      </dgm:t>
    </dgm:pt>
    <dgm:pt modelId="{21A47411-8969-4AB1-A96B-6D1A0F40E47A}" type="parTrans" cxnId="{BE74033B-3349-4EDD-830E-6B521E17E6F8}">
      <dgm:prSet/>
      <dgm:spPr/>
      <dgm:t>
        <a:bodyPr/>
        <a:lstStyle/>
        <a:p>
          <a:endParaRPr lang="es-ES"/>
        </a:p>
      </dgm:t>
    </dgm:pt>
    <dgm:pt modelId="{CF324467-A10D-4DDB-A103-314B289DAC45}" type="sibTrans" cxnId="{BE74033B-3349-4EDD-830E-6B521E17E6F8}">
      <dgm:prSet/>
      <dgm:spPr/>
      <dgm:t>
        <a:bodyPr/>
        <a:lstStyle/>
        <a:p>
          <a:endParaRPr lang="es-ES"/>
        </a:p>
      </dgm:t>
    </dgm:pt>
    <dgm:pt modelId="{E7E0E3D9-DF37-452F-B2D5-BD72A28B126F}" type="pres">
      <dgm:prSet presAssocID="{2C6876F0-B24D-405F-8D95-04E6C78E7339}" presName="theList" presStyleCnt="0">
        <dgm:presLayoutVars>
          <dgm:dir/>
          <dgm:animLvl val="lvl"/>
          <dgm:resizeHandles val="exact"/>
        </dgm:presLayoutVars>
      </dgm:prSet>
      <dgm:spPr/>
    </dgm:pt>
    <dgm:pt modelId="{6CDD9D57-CB70-4C96-A8B8-4F8598B35BDC}" type="pres">
      <dgm:prSet presAssocID="{DCE8BB69-190D-4468-89E3-29DF69DD0CBD}" presName="compNode" presStyleCnt="0"/>
      <dgm:spPr/>
    </dgm:pt>
    <dgm:pt modelId="{77EC7B7D-3DD1-4EF8-BACB-EF3087EDE9D5}" type="pres">
      <dgm:prSet presAssocID="{DCE8BB69-190D-4468-89E3-29DF69DD0CBD}" presName="aNode" presStyleLbl="bgShp" presStyleIdx="0" presStyleCnt="6"/>
      <dgm:spPr/>
    </dgm:pt>
    <dgm:pt modelId="{F597D495-9F30-4073-B570-BFECF9CEC61A}" type="pres">
      <dgm:prSet presAssocID="{DCE8BB69-190D-4468-89E3-29DF69DD0CBD}" presName="textNode" presStyleLbl="bgShp" presStyleIdx="0" presStyleCnt="6"/>
      <dgm:spPr/>
    </dgm:pt>
    <dgm:pt modelId="{6193BC56-2123-4931-9C10-B3CB584B8B1C}" type="pres">
      <dgm:prSet presAssocID="{DCE8BB69-190D-4468-89E3-29DF69DD0CBD}" presName="compChildNode" presStyleCnt="0"/>
      <dgm:spPr/>
    </dgm:pt>
    <dgm:pt modelId="{1836D589-78A2-499F-AB39-80FABAA2B16E}" type="pres">
      <dgm:prSet presAssocID="{DCE8BB69-190D-4468-89E3-29DF69DD0CBD}" presName="theInnerList" presStyleCnt="0"/>
      <dgm:spPr/>
    </dgm:pt>
    <dgm:pt modelId="{6B0FB2A8-32B5-4656-BCAA-46056E4E627B}" type="pres">
      <dgm:prSet presAssocID="{D14D65DB-9416-4A38-B5F0-46787BE4E2FC}" presName="childNode" presStyleLbl="node1" presStyleIdx="0" presStyleCnt="17">
        <dgm:presLayoutVars>
          <dgm:bulletEnabled val="1"/>
        </dgm:presLayoutVars>
      </dgm:prSet>
      <dgm:spPr/>
    </dgm:pt>
    <dgm:pt modelId="{FD16DE19-521A-45FC-9DCA-E352E7CB5615}" type="pres">
      <dgm:prSet presAssocID="{DCE8BB69-190D-4468-89E3-29DF69DD0CBD}" presName="aSpace" presStyleCnt="0"/>
      <dgm:spPr/>
    </dgm:pt>
    <dgm:pt modelId="{45E5DB8B-D509-4EB8-BAF8-ACD5BC380858}" type="pres">
      <dgm:prSet presAssocID="{11CC3CCC-67D2-43E7-9395-794B3B683313}" presName="compNode" presStyleCnt="0"/>
      <dgm:spPr/>
    </dgm:pt>
    <dgm:pt modelId="{FF68E852-0A05-4D88-9F03-65316641ED1C}" type="pres">
      <dgm:prSet presAssocID="{11CC3CCC-67D2-43E7-9395-794B3B683313}" presName="aNode" presStyleLbl="bgShp" presStyleIdx="1" presStyleCnt="6"/>
      <dgm:spPr/>
    </dgm:pt>
    <dgm:pt modelId="{5D1C62C2-6389-4A63-B4EA-9B79791DC4EA}" type="pres">
      <dgm:prSet presAssocID="{11CC3CCC-67D2-43E7-9395-794B3B683313}" presName="textNode" presStyleLbl="bgShp" presStyleIdx="1" presStyleCnt="6"/>
      <dgm:spPr/>
    </dgm:pt>
    <dgm:pt modelId="{03DDE414-73B8-45EF-9FD5-62013EB260BE}" type="pres">
      <dgm:prSet presAssocID="{11CC3CCC-67D2-43E7-9395-794B3B683313}" presName="compChildNode" presStyleCnt="0"/>
      <dgm:spPr/>
    </dgm:pt>
    <dgm:pt modelId="{4B134765-0A27-430D-BED7-7B6B1EECB6EA}" type="pres">
      <dgm:prSet presAssocID="{11CC3CCC-67D2-43E7-9395-794B3B683313}" presName="theInnerList" presStyleCnt="0"/>
      <dgm:spPr/>
    </dgm:pt>
    <dgm:pt modelId="{55AF99FB-BBAC-4C96-90ED-8CE57505837C}" type="pres">
      <dgm:prSet presAssocID="{559EC1E6-6B8C-40C9-A6A6-3139913CF3EE}" presName="childNode" presStyleLbl="node1" presStyleIdx="1" presStyleCnt="17">
        <dgm:presLayoutVars>
          <dgm:bulletEnabled val="1"/>
        </dgm:presLayoutVars>
      </dgm:prSet>
      <dgm:spPr/>
    </dgm:pt>
    <dgm:pt modelId="{18FA01AB-EF1A-4603-BFF0-603396B3275B}" type="pres">
      <dgm:prSet presAssocID="{559EC1E6-6B8C-40C9-A6A6-3139913CF3EE}" presName="aSpace2" presStyleCnt="0"/>
      <dgm:spPr/>
    </dgm:pt>
    <dgm:pt modelId="{0BACFCA1-DB64-410C-8B2D-F754A2655609}" type="pres">
      <dgm:prSet presAssocID="{39BC24CE-49E1-4598-98C5-2ED5BB9CBF50}" presName="childNode" presStyleLbl="node1" presStyleIdx="2" presStyleCnt="17">
        <dgm:presLayoutVars>
          <dgm:bulletEnabled val="1"/>
        </dgm:presLayoutVars>
      </dgm:prSet>
      <dgm:spPr/>
    </dgm:pt>
    <dgm:pt modelId="{35329D7B-8F17-481E-A607-2BE4F5808418}" type="pres">
      <dgm:prSet presAssocID="{39BC24CE-49E1-4598-98C5-2ED5BB9CBF50}" presName="aSpace2" presStyleCnt="0"/>
      <dgm:spPr/>
    </dgm:pt>
    <dgm:pt modelId="{8E69AEEA-C2C3-41CA-875C-CBB0C5EB74D2}" type="pres">
      <dgm:prSet presAssocID="{39DA8A85-2473-4C80-9360-F37871A69032}" presName="childNode" presStyleLbl="node1" presStyleIdx="3" presStyleCnt="17">
        <dgm:presLayoutVars>
          <dgm:bulletEnabled val="1"/>
        </dgm:presLayoutVars>
      </dgm:prSet>
      <dgm:spPr/>
    </dgm:pt>
    <dgm:pt modelId="{E263E9F8-2CC8-4EF0-A261-6D07549D9D4F}" type="pres">
      <dgm:prSet presAssocID="{39DA8A85-2473-4C80-9360-F37871A69032}" presName="aSpace2" presStyleCnt="0"/>
      <dgm:spPr/>
    </dgm:pt>
    <dgm:pt modelId="{579ECC08-43F2-4B88-8195-8F170A819C13}" type="pres">
      <dgm:prSet presAssocID="{20E4615F-DD9B-4A37-8060-E22EFE6C5D88}" presName="childNode" presStyleLbl="node1" presStyleIdx="4" presStyleCnt="17">
        <dgm:presLayoutVars>
          <dgm:bulletEnabled val="1"/>
        </dgm:presLayoutVars>
      </dgm:prSet>
      <dgm:spPr/>
    </dgm:pt>
    <dgm:pt modelId="{A70C2A46-5434-42AF-B55C-2E0B7098DE65}" type="pres">
      <dgm:prSet presAssocID="{11CC3CCC-67D2-43E7-9395-794B3B683313}" presName="aSpace" presStyleCnt="0"/>
      <dgm:spPr/>
    </dgm:pt>
    <dgm:pt modelId="{AB9210B9-0E50-416E-9BAC-56C70B64AF26}" type="pres">
      <dgm:prSet presAssocID="{7CFD4C53-8202-4CB4-AA08-C063F871ED3A}" presName="compNode" presStyleCnt="0"/>
      <dgm:spPr/>
    </dgm:pt>
    <dgm:pt modelId="{EA90287B-85D5-40A4-BBA7-99834EDB1036}" type="pres">
      <dgm:prSet presAssocID="{7CFD4C53-8202-4CB4-AA08-C063F871ED3A}" presName="aNode" presStyleLbl="bgShp" presStyleIdx="2" presStyleCnt="6"/>
      <dgm:spPr/>
    </dgm:pt>
    <dgm:pt modelId="{2885DC3A-1016-49EE-B132-102C21654167}" type="pres">
      <dgm:prSet presAssocID="{7CFD4C53-8202-4CB4-AA08-C063F871ED3A}" presName="textNode" presStyleLbl="bgShp" presStyleIdx="2" presStyleCnt="6"/>
      <dgm:spPr/>
    </dgm:pt>
    <dgm:pt modelId="{47DD9E03-4700-44BD-A44F-53EA28036F68}" type="pres">
      <dgm:prSet presAssocID="{7CFD4C53-8202-4CB4-AA08-C063F871ED3A}" presName="compChildNode" presStyleCnt="0"/>
      <dgm:spPr/>
    </dgm:pt>
    <dgm:pt modelId="{DFAFC992-835A-4472-86C1-7FCA62F463AC}" type="pres">
      <dgm:prSet presAssocID="{7CFD4C53-8202-4CB4-AA08-C063F871ED3A}" presName="theInnerList" presStyleCnt="0"/>
      <dgm:spPr/>
    </dgm:pt>
    <dgm:pt modelId="{B655C322-627B-45FB-B9CE-CCE0AE84E419}" type="pres">
      <dgm:prSet presAssocID="{0053FD0A-EC0C-4130-9CFD-EB15EC85770D}" presName="childNode" presStyleLbl="node1" presStyleIdx="5" presStyleCnt="17">
        <dgm:presLayoutVars>
          <dgm:bulletEnabled val="1"/>
        </dgm:presLayoutVars>
      </dgm:prSet>
      <dgm:spPr/>
    </dgm:pt>
    <dgm:pt modelId="{8F1D3701-C3A3-415B-AFF7-C646909CBDFE}" type="pres">
      <dgm:prSet presAssocID="{0053FD0A-EC0C-4130-9CFD-EB15EC85770D}" presName="aSpace2" presStyleCnt="0"/>
      <dgm:spPr/>
    </dgm:pt>
    <dgm:pt modelId="{B148A06D-DBDA-4FC9-BE8C-6B9A44511FEE}" type="pres">
      <dgm:prSet presAssocID="{45A8CC5F-6D01-42D3-A53E-8DE92719401E}" presName="childNode" presStyleLbl="node1" presStyleIdx="6" presStyleCnt="17">
        <dgm:presLayoutVars>
          <dgm:bulletEnabled val="1"/>
        </dgm:presLayoutVars>
      </dgm:prSet>
      <dgm:spPr/>
    </dgm:pt>
    <dgm:pt modelId="{8BF40822-678B-4A0A-B68C-EC3283B18400}" type="pres">
      <dgm:prSet presAssocID="{45A8CC5F-6D01-42D3-A53E-8DE92719401E}" presName="aSpace2" presStyleCnt="0"/>
      <dgm:spPr/>
    </dgm:pt>
    <dgm:pt modelId="{DA1D11F3-C520-4A16-868B-5415000F6AD2}" type="pres">
      <dgm:prSet presAssocID="{44AACE9A-CCFE-4C61-BC4B-90E31FABE979}" presName="childNode" presStyleLbl="node1" presStyleIdx="7" presStyleCnt="17">
        <dgm:presLayoutVars>
          <dgm:bulletEnabled val="1"/>
        </dgm:presLayoutVars>
      </dgm:prSet>
      <dgm:spPr/>
    </dgm:pt>
    <dgm:pt modelId="{93BC748C-5AED-4B6F-A4CB-4DE6DC5E8A19}" type="pres">
      <dgm:prSet presAssocID="{7CFD4C53-8202-4CB4-AA08-C063F871ED3A}" presName="aSpace" presStyleCnt="0"/>
      <dgm:spPr/>
    </dgm:pt>
    <dgm:pt modelId="{0A4A9CEB-E6F8-456B-8373-F9A8A5A89670}" type="pres">
      <dgm:prSet presAssocID="{39353383-DAAA-49C2-835C-2758B0802B05}" presName="compNode" presStyleCnt="0"/>
      <dgm:spPr/>
    </dgm:pt>
    <dgm:pt modelId="{F83E2161-9271-4DA6-8BB7-E6EC7ECCBFCD}" type="pres">
      <dgm:prSet presAssocID="{39353383-DAAA-49C2-835C-2758B0802B05}" presName="aNode" presStyleLbl="bgShp" presStyleIdx="3" presStyleCnt="6"/>
      <dgm:spPr/>
    </dgm:pt>
    <dgm:pt modelId="{B83458E6-49E0-48B4-861D-79B3DC52A8E2}" type="pres">
      <dgm:prSet presAssocID="{39353383-DAAA-49C2-835C-2758B0802B05}" presName="textNode" presStyleLbl="bgShp" presStyleIdx="3" presStyleCnt="6"/>
      <dgm:spPr/>
    </dgm:pt>
    <dgm:pt modelId="{9EA0C214-B462-403A-8908-D33B55B6D0D1}" type="pres">
      <dgm:prSet presAssocID="{39353383-DAAA-49C2-835C-2758B0802B05}" presName="compChildNode" presStyleCnt="0"/>
      <dgm:spPr/>
    </dgm:pt>
    <dgm:pt modelId="{6EA9C36D-FB90-46DC-B62D-F3EC824F8610}" type="pres">
      <dgm:prSet presAssocID="{39353383-DAAA-49C2-835C-2758B0802B05}" presName="theInnerList" presStyleCnt="0"/>
      <dgm:spPr/>
    </dgm:pt>
    <dgm:pt modelId="{8E83414E-6926-4D4F-91A6-4AD7EB75E349}" type="pres">
      <dgm:prSet presAssocID="{3086B208-E718-498C-B07D-C589B319154B}" presName="childNode" presStyleLbl="node1" presStyleIdx="8" presStyleCnt="17">
        <dgm:presLayoutVars>
          <dgm:bulletEnabled val="1"/>
        </dgm:presLayoutVars>
      </dgm:prSet>
      <dgm:spPr/>
    </dgm:pt>
    <dgm:pt modelId="{DD394C41-2223-4E8A-AA86-3C3BABDEB3C9}" type="pres">
      <dgm:prSet presAssocID="{3086B208-E718-498C-B07D-C589B319154B}" presName="aSpace2" presStyleCnt="0"/>
      <dgm:spPr/>
    </dgm:pt>
    <dgm:pt modelId="{63EDB45A-A418-4D08-832C-C853ECDF3CB8}" type="pres">
      <dgm:prSet presAssocID="{85A1DD97-3DF5-442A-B342-80FF1724A885}" presName="childNode" presStyleLbl="node1" presStyleIdx="9" presStyleCnt="17">
        <dgm:presLayoutVars>
          <dgm:bulletEnabled val="1"/>
        </dgm:presLayoutVars>
      </dgm:prSet>
      <dgm:spPr/>
    </dgm:pt>
    <dgm:pt modelId="{62D30790-B8EE-4337-B6C3-248BAD9E283D}" type="pres">
      <dgm:prSet presAssocID="{85A1DD97-3DF5-442A-B342-80FF1724A885}" presName="aSpace2" presStyleCnt="0"/>
      <dgm:spPr/>
    </dgm:pt>
    <dgm:pt modelId="{209B535A-C8D2-4F20-81F0-B5B3499656A3}" type="pres">
      <dgm:prSet presAssocID="{615A3B1B-8D31-4683-9E42-D9CDB79D23C0}" presName="childNode" presStyleLbl="node1" presStyleIdx="10" presStyleCnt="17">
        <dgm:presLayoutVars>
          <dgm:bulletEnabled val="1"/>
        </dgm:presLayoutVars>
      </dgm:prSet>
      <dgm:spPr/>
    </dgm:pt>
    <dgm:pt modelId="{0D8A809F-D92C-4573-B530-F66BE2EB1740}" type="pres">
      <dgm:prSet presAssocID="{615A3B1B-8D31-4683-9E42-D9CDB79D23C0}" presName="aSpace2" presStyleCnt="0"/>
      <dgm:spPr/>
    </dgm:pt>
    <dgm:pt modelId="{15A725A5-0111-4A72-99B1-8B20AB221E9D}" type="pres">
      <dgm:prSet presAssocID="{D8232080-C8AA-4D7B-91CD-F3FC5121E2F2}" presName="childNode" presStyleLbl="node1" presStyleIdx="11" presStyleCnt="17">
        <dgm:presLayoutVars>
          <dgm:bulletEnabled val="1"/>
        </dgm:presLayoutVars>
      </dgm:prSet>
      <dgm:spPr/>
    </dgm:pt>
    <dgm:pt modelId="{4210261E-2A8E-4B67-9C31-A307FEBE5E3B}" type="pres">
      <dgm:prSet presAssocID="{39353383-DAAA-49C2-835C-2758B0802B05}" presName="aSpace" presStyleCnt="0"/>
      <dgm:spPr/>
    </dgm:pt>
    <dgm:pt modelId="{482C6303-5283-4E12-973C-BF2F79997D4F}" type="pres">
      <dgm:prSet presAssocID="{B7DDB16E-00A9-42F4-AF12-A92251D4F598}" presName="compNode" presStyleCnt="0"/>
      <dgm:spPr/>
    </dgm:pt>
    <dgm:pt modelId="{6CC73ACB-F16D-4478-A091-947403C35219}" type="pres">
      <dgm:prSet presAssocID="{B7DDB16E-00A9-42F4-AF12-A92251D4F598}" presName="aNode" presStyleLbl="bgShp" presStyleIdx="4" presStyleCnt="6"/>
      <dgm:spPr/>
    </dgm:pt>
    <dgm:pt modelId="{46A98833-B095-46F3-87BC-FAAADB5320FF}" type="pres">
      <dgm:prSet presAssocID="{B7DDB16E-00A9-42F4-AF12-A92251D4F598}" presName="textNode" presStyleLbl="bgShp" presStyleIdx="4" presStyleCnt="6"/>
      <dgm:spPr/>
    </dgm:pt>
    <dgm:pt modelId="{185E90A5-62D2-4138-A7DE-4D2BD580FAB2}" type="pres">
      <dgm:prSet presAssocID="{B7DDB16E-00A9-42F4-AF12-A92251D4F598}" presName="compChildNode" presStyleCnt="0"/>
      <dgm:spPr/>
    </dgm:pt>
    <dgm:pt modelId="{AAB1D85A-51F6-4973-B31E-7272921432EC}" type="pres">
      <dgm:prSet presAssocID="{B7DDB16E-00A9-42F4-AF12-A92251D4F598}" presName="theInnerList" presStyleCnt="0"/>
      <dgm:spPr/>
    </dgm:pt>
    <dgm:pt modelId="{EBCCD297-E092-4609-B319-EA4B26C0EFDA}" type="pres">
      <dgm:prSet presAssocID="{B33C9F35-FEDA-4028-8D5C-EE66887D9EEB}" presName="childNode" presStyleLbl="node1" presStyleIdx="12" presStyleCnt="17">
        <dgm:presLayoutVars>
          <dgm:bulletEnabled val="1"/>
        </dgm:presLayoutVars>
      </dgm:prSet>
      <dgm:spPr/>
    </dgm:pt>
    <dgm:pt modelId="{7310E068-5DAA-4992-B9C9-472B66719D7D}" type="pres">
      <dgm:prSet presAssocID="{B33C9F35-FEDA-4028-8D5C-EE66887D9EEB}" presName="aSpace2" presStyleCnt="0"/>
      <dgm:spPr/>
    </dgm:pt>
    <dgm:pt modelId="{3AF3F42B-7D5A-4DDB-B78E-35B8C91E6A01}" type="pres">
      <dgm:prSet presAssocID="{FA3E7541-C943-4A70-BB55-29F19928A069}" presName="childNode" presStyleLbl="node1" presStyleIdx="13" presStyleCnt="17">
        <dgm:presLayoutVars>
          <dgm:bulletEnabled val="1"/>
        </dgm:presLayoutVars>
      </dgm:prSet>
      <dgm:spPr/>
    </dgm:pt>
    <dgm:pt modelId="{EDB2691B-27B5-4B10-A289-0B8F21505BF7}" type="pres">
      <dgm:prSet presAssocID="{FA3E7541-C943-4A70-BB55-29F19928A069}" presName="aSpace2" presStyleCnt="0"/>
      <dgm:spPr/>
    </dgm:pt>
    <dgm:pt modelId="{EC2B1699-BE1E-4128-AD49-CEA66A5B261E}" type="pres">
      <dgm:prSet presAssocID="{84714EEC-B86F-44CD-9DAD-087FFE64F2B0}" presName="childNode" presStyleLbl="node1" presStyleIdx="14" presStyleCnt="17">
        <dgm:presLayoutVars>
          <dgm:bulletEnabled val="1"/>
        </dgm:presLayoutVars>
      </dgm:prSet>
      <dgm:spPr/>
    </dgm:pt>
    <dgm:pt modelId="{5B02B9F8-F7A6-43C4-9F3E-55745E0A5043}" type="pres">
      <dgm:prSet presAssocID="{B7DDB16E-00A9-42F4-AF12-A92251D4F598}" presName="aSpace" presStyleCnt="0"/>
      <dgm:spPr/>
    </dgm:pt>
    <dgm:pt modelId="{05DD7B77-00CC-4CDB-8E50-ADB320668AFA}" type="pres">
      <dgm:prSet presAssocID="{CCB7917D-2104-49D9-9831-1E3AF259C4E8}" presName="compNode" presStyleCnt="0"/>
      <dgm:spPr/>
    </dgm:pt>
    <dgm:pt modelId="{9802068F-B917-409F-B093-0ED4FF75E67A}" type="pres">
      <dgm:prSet presAssocID="{CCB7917D-2104-49D9-9831-1E3AF259C4E8}" presName="aNode" presStyleLbl="bgShp" presStyleIdx="5" presStyleCnt="6"/>
      <dgm:spPr/>
    </dgm:pt>
    <dgm:pt modelId="{9AEC374A-E79E-4144-A63C-7EA8F3B2BBBA}" type="pres">
      <dgm:prSet presAssocID="{CCB7917D-2104-49D9-9831-1E3AF259C4E8}" presName="textNode" presStyleLbl="bgShp" presStyleIdx="5" presStyleCnt="6"/>
      <dgm:spPr/>
    </dgm:pt>
    <dgm:pt modelId="{5A060B56-40BF-45E3-94C2-A50977C4EA7F}" type="pres">
      <dgm:prSet presAssocID="{CCB7917D-2104-49D9-9831-1E3AF259C4E8}" presName="compChildNode" presStyleCnt="0"/>
      <dgm:spPr/>
    </dgm:pt>
    <dgm:pt modelId="{6FCA7FDF-CDBE-4A29-8611-E3A378A59869}" type="pres">
      <dgm:prSet presAssocID="{CCB7917D-2104-49D9-9831-1E3AF259C4E8}" presName="theInnerList" presStyleCnt="0"/>
      <dgm:spPr/>
    </dgm:pt>
    <dgm:pt modelId="{70FB125E-22F8-41FA-BDD5-F6D814AD95D7}" type="pres">
      <dgm:prSet presAssocID="{186CDFD7-C317-44F0-88B0-6900380C6685}" presName="childNode" presStyleLbl="node1" presStyleIdx="15" presStyleCnt="17">
        <dgm:presLayoutVars>
          <dgm:bulletEnabled val="1"/>
        </dgm:presLayoutVars>
      </dgm:prSet>
      <dgm:spPr/>
    </dgm:pt>
    <dgm:pt modelId="{DE714E4C-7F59-4C1B-B6E5-82093553AA69}" type="pres">
      <dgm:prSet presAssocID="{186CDFD7-C317-44F0-88B0-6900380C6685}" presName="aSpace2" presStyleCnt="0"/>
      <dgm:spPr/>
    </dgm:pt>
    <dgm:pt modelId="{51CCB09E-483E-4A09-95F4-E2416DA9A97E}" type="pres">
      <dgm:prSet presAssocID="{CE353D8F-6D10-4D31-97AB-9B90EA2B86BB}" presName="childNode" presStyleLbl="node1" presStyleIdx="16" presStyleCnt="17">
        <dgm:presLayoutVars>
          <dgm:bulletEnabled val="1"/>
        </dgm:presLayoutVars>
      </dgm:prSet>
      <dgm:spPr/>
    </dgm:pt>
  </dgm:ptLst>
  <dgm:cxnLst>
    <dgm:cxn modelId="{6768B300-5DBC-4DCD-AF77-089F60F95731}" type="presOf" srcId="{11CC3CCC-67D2-43E7-9395-794B3B683313}" destId="{FF68E852-0A05-4D88-9F03-65316641ED1C}" srcOrd="0" destOrd="0" presId="urn:microsoft.com/office/officeart/2005/8/layout/lProcess2"/>
    <dgm:cxn modelId="{28DB3504-E057-43D5-9A77-CD9A1E20EB66}" srcId="{11CC3CCC-67D2-43E7-9395-794B3B683313}" destId="{559EC1E6-6B8C-40C9-A6A6-3139913CF3EE}" srcOrd="0" destOrd="0" parTransId="{86F59566-823A-4411-9D0D-864F000F50E8}" sibTransId="{65DA4978-9F2D-407F-8BDB-6909975203C5}"/>
    <dgm:cxn modelId="{DA9FED04-C89D-48C3-9D12-C5A5734344E1}" srcId="{DCE8BB69-190D-4468-89E3-29DF69DD0CBD}" destId="{D14D65DB-9416-4A38-B5F0-46787BE4E2FC}" srcOrd="0" destOrd="0" parTransId="{C5BCBE70-CB97-482F-8C8A-FD409BB72413}" sibTransId="{EA6959E8-5F43-4FA0-8445-267808CD5E21}"/>
    <dgm:cxn modelId="{8075AE07-A7E6-4399-8C7A-CCD4C6EEA02B}" type="presOf" srcId="{186CDFD7-C317-44F0-88B0-6900380C6685}" destId="{70FB125E-22F8-41FA-BDD5-F6D814AD95D7}" srcOrd="0" destOrd="0" presId="urn:microsoft.com/office/officeart/2005/8/layout/lProcess2"/>
    <dgm:cxn modelId="{60884408-5E86-46E0-A38B-78D68AD3A380}" type="presOf" srcId="{DCE8BB69-190D-4468-89E3-29DF69DD0CBD}" destId="{F597D495-9F30-4073-B570-BFECF9CEC61A}" srcOrd="1" destOrd="0" presId="urn:microsoft.com/office/officeart/2005/8/layout/lProcess2"/>
    <dgm:cxn modelId="{DC21C30C-E668-4C46-ADBF-DC4DFBAFAEA8}" srcId="{B7DDB16E-00A9-42F4-AF12-A92251D4F598}" destId="{B33C9F35-FEDA-4028-8D5C-EE66887D9EEB}" srcOrd="0" destOrd="0" parTransId="{153CDB3C-2871-48B5-81A2-2EC69DB5AF25}" sibTransId="{49EB788D-F5A6-477C-8D91-D9B3FBD56806}"/>
    <dgm:cxn modelId="{C2342C0D-6D31-40BF-99C3-02104D4D3356}" type="presOf" srcId="{CE353D8F-6D10-4D31-97AB-9B90EA2B86BB}" destId="{51CCB09E-483E-4A09-95F4-E2416DA9A97E}" srcOrd="0" destOrd="0" presId="urn:microsoft.com/office/officeart/2005/8/layout/lProcess2"/>
    <dgm:cxn modelId="{C1F42B16-F536-40C3-B621-FF00D7FB09A3}" srcId="{CCB7917D-2104-49D9-9831-1E3AF259C4E8}" destId="{186CDFD7-C317-44F0-88B0-6900380C6685}" srcOrd="0" destOrd="0" parTransId="{C6F5182C-30B4-4781-BDD1-907B6B6C3352}" sibTransId="{5C68E8AC-5A60-4A84-A068-3B8189C8DEC6}"/>
    <dgm:cxn modelId="{24E9101D-652D-44C8-B347-F4230CA0DD40}" type="presOf" srcId="{CCB7917D-2104-49D9-9831-1E3AF259C4E8}" destId="{9AEC374A-E79E-4144-A63C-7EA8F3B2BBBA}" srcOrd="1" destOrd="0" presId="urn:microsoft.com/office/officeart/2005/8/layout/lProcess2"/>
    <dgm:cxn modelId="{3A1B6320-F256-4CCC-9705-5D1CA964F751}" type="presOf" srcId="{CCB7917D-2104-49D9-9831-1E3AF259C4E8}" destId="{9802068F-B917-409F-B093-0ED4FF75E67A}" srcOrd="0" destOrd="0" presId="urn:microsoft.com/office/officeart/2005/8/layout/lProcess2"/>
    <dgm:cxn modelId="{17D8DD29-1A75-4C3B-83D6-AB9FF4B27702}" srcId="{11CC3CCC-67D2-43E7-9395-794B3B683313}" destId="{20E4615F-DD9B-4A37-8060-E22EFE6C5D88}" srcOrd="3" destOrd="0" parTransId="{958A3DBB-A2A1-4E22-B9FC-18D4FF438C2E}" sibTransId="{3E4C6A4F-F338-46F5-AD8B-78CAC34D5818}"/>
    <dgm:cxn modelId="{E49A5B33-D591-40D1-A578-AA3F32C0865D}" srcId="{2C6876F0-B24D-405F-8D95-04E6C78E7339}" destId="{CCB7917D-2104-49D9-9831-1E3AF259C4E8}" srcOrd="5" destOrd="0" parTransId="{FD49A1F9-7163-4471-A4F1-2C2D7853E8BE}" sibTransId="{20A3E327-8D53-4CBA-A88E-4F9F9DA6327B}"/>
    <dgm:cxn modelId="{0C0D2D34-FFCE-4BFE-8F81-AA5EC847EA05}" srcId="{39353383-DAAA-49C2-835C-2758B0802B05}" destId="{85A1DD97-3DF5-442A-B342-80FF1724A885}" srcOrd="1" destOrd="0" parTransId="{8B00F6AB-6113-4B7B-AC3F-36021EBFC3BD}" sibTransId="{B73F7166-F64B-43B5-8461-380497BB5305}"/>
    <dgm:cxn modelId="{BE74033B-3349-4EDD-830E-6B521E17E6F8}" srcId="{CCB7917D-2104-49D9-9831-1E3AF259C4E8}" destId="{CE353D8F-6D10-4D31-97AB-9B90EA2B86BB}" srcOrd="1" destOrd="0" parTransId="{21A47411-8969-4AB1-A96B-6D1A0F40E47A}" sibTransId="{CF324467-A10D-4DDB-A103-314B289DAC45}"/>
    <dgm:cxn modelId="{236F4C3C-9D4E-4476-A821-D608AC344828}" type="presOf" srcId="{615A3B1B-8D31-4683-9E42-D9CDB79D23C0}" destId="{209B535A-C8D2-4F20-81F0-B5B3499656A3}" srcOrd="0" destOrd="0" presId="urn:microsoft.com/office/officeart/2005/8/layout/lProcess2"/>
    <dgm:cxn modelId="{C3D48F41-995D-4A5C-B97E-5B4967858E3B}" type="presOf" srcId="{44AACE9A-CCFE-4C61-BC4B-90E31FABE979}" destId="{DA1D11F3-C520-4A16-868B-5415000F6AD2}" srcOrd="0" destOrd="0" presId="urn:microsoft.com/office/officeart/2005/8/layout/lProcess2"/>
    <dgm:cxn modelId="{87CEE662-6821-483A-8FC7-B8F4BC8FB307}" srcId="{2C6876F0-B24D-405F-8D95-04E6C78E7339}" destId="{11CC3CCC-67D2-43E7-9395-794B3B683313}" srcOrd="1" destOrd="0" parTransId="{2440ECA6-7DCD-4389-89F4-951E3501C99D}" sibTransId="{CC61629E-A604-48FA-AC39-DFBFDE16A76C}"/>
    <dgm:cxn modelId="{CB700569-B0B1-4589-8858-4698887F1046}" type="presOf" srcId="{FA3E7541-C943-4A70-BB55-29F19928A069}" destId="{3AF3F42B-7D5A-4DDB-B78E-35B8C91E6A01}" srcOrd="0" destOrd="0" presId="urn:microsoft.com/office/officeart/2005/8/layout/lProcess2"/>
    <dgm:cxn modelId="{A415E06C-DD23-45D0-975C-6E0106C4BE22}" type="presOf" srcId="{D8232080-C8AA-4D7B-91CD-F3FC5121E2F2}" destId="{15A725A5-0111-4A72-99B1-8B20AB221E9D}" srcOrd="0" destOrd="0" presId="urn:microsoft.com/office/officeart/2005/8/layout/lProcess2"/>
    <dgm:cxn modelId="{1414B44E-A75E-49FD-85B5-1A44EE8E94C0}" srcId="{11CC3CCC-67D2-43E7-9395-794B3B683313}" destId="{39BC24CE-49E1-4598-98C5-2ED5BB9CBF50}" srcOrd="1" destOrd="0" parTransId="{E73FF18A-1A16-4704-B300-A0CFE53699FD}" sibTransId="{8A70D16A-E092-4F1F-98FE-EC6D80DE187D}"/>
    <dgm:cxn modelId="{1091C250-4A88-44D1-A850-DCC3698475CF}" srcId="{7CFD4C53-8202-4CB4-AA08-C063F871ED3A}" destId="{45A8CC5F-6D01-42D3-A53E-8DE92719401E}" srcOrd="1" destOrd="0" parTransId="{BB80663D-528C-4E13-B9D1-73614BCF233B}" sibTransId="{91CB3598-721F-4737-BD80-4D23707F813E}"/>
    <dgm:cxn modelId="{C0C4BB51-56C8-4ED2-90D0-8101F819CE7A}" type="presOf" srcId="{2C6876F0-B24D-405F-8D95-04E6C78E7339}" destId="{E7E0E3D9-DF37-452F-B2D5-BD72A28B126F}" srcOrd="0" destOrd="0" presId="urn:microsoft.com/office/officeart/2005/8/layout/lProcess2"/>
    <dgm:cxn modelId="{378A9E52-6960-45F7-9DD5-87C90B067A66}" type="presOf" srcId="{B7DDB16E-00A9-42F4-AF12-A92251D4F598}" destId="{46A98833-B095-46F3-87BC-FAAADB5320FF}" srcOrd="1" destOrd="0" presId="urn:microsoft.com/office/officeart/2005/8/layout/lProcess2"/>
    <dgm:cxn modelId="{A28BC074-50CC-4C8B-B4A3-AB77BD345870}" srcId="{2C6876F0-B24D-405F-8D95-04E6C78E7339}" destId="{B7DDB16E-00A9-42F4-AF12-A92251D4F598}" srcOrd="4" destOrd="0" parTransId="{0691346A-21AE-4311-A252-7CF82E7C2512}" sibTransId="{F52D8E94-3AE4-4270-AACF-FE1DCC369727}"/>
    <dgm:cxn modelId="{15EE8875-5816-4984-8A38-5480B3FA8D7C}" srcId="{2C6876F0-B24D-405F-8D95-04E6C78E7339}" destId="{39353383-DAAA-49C2-835C-2758B0802B05}" srcOrd="3" destOrd="0" parTransId="{00098F17-8962-409D-8637-B23D4CC271B1}" sibTransId="{958FC496-0D54-4558-94E9-6219A1AD0FDB}"/>
    <dgm:cxn modelId="{FBEAE781-DB29-4ECA-AD58-27EA3F2826E9}" type="presOf" srcId="{84714EEC-B86F-44CD-9DAD-087FFE64F2B0}" destId="{EC2B1699-BE1E-4128-AD49-CEA66A5B261E}" srcOrd="0" destOrd="0" presId="urn:microsoft.com/office/officeart/2005/8/layout/lProcess2"/>
    <dgm:cxn modelId="{61EA4884-9FBE-4D10-8002-D23DE33D2927}" srcId="{11CC3CCC-67D2-43E7-9395-794B3B683313}" destId="{39DA8A85-2473-4C80-9360-F37871A69032}" srcOrd="2" destOrd="0" parTransId="{D09621E3-048E-43DE-8E45-989CEA39F46D}" sibTransId="{B9E7C105-39E6-45B3-903B-78E351024146}"/>
    <dgm:cxn modelId="{78A3AD85-65A9-4AAD-A08B-DA63B32A31EF}" srcId="{7CFD4C53-8202-4CB4-AA08-C063F871ED3A}" destId="{44AACE9A-CCFE-4C61-BC4B-90E31FABE979}" srcOrd="2" destOrd="0" parTransId="{BDDB82C2-AF00-4001-8F0B-B57ADA4B666C}" sibTransId="{CB5CD3ED-46EF-4D33-ACB4-B9FD2775690B}"/>
    <dgm:cxn modelId="{5097F887-A9A4-4437-A44C-4B3E1D9FD175}" type="presOf" srcId="{39353383-DAAA-49C2-835C-2758B0802B05}" destId="{B83458E6-49E0-48B4-861D-79B3DC52A8E2}" srcOrd="1" destOrd="0" presId="urn:microsoft.com/office/officeart/2005/8/layout/lProcess2"/>
    <dgm:cxn modelId="{CCE1E68A-A824-4D73-9801-3A18BE265BBD}" type="presOf" srcId="{DCE8BB69-190D-4468-89E3-29DF69DD0CBD}" destId="{77EC7B7D-3DD1-4EF8-BACB-EF3087EDE9D5}" srcOrd="0" destOrd="0" presId="urn:microsoft.com/office/officeart/2005/8/layout/lProcess2"/>
    <dgm:cxn modelId="{CD55E78F-F42B-42D8-A066-078886A4B92A}" type="presOf" srcId="{39DA8A85-2473-4C80-9360-F37871A69032}" destId="{8E69AEEA-C2C3-41CA-875C-CBB0C5EB74D2}" srcOrd="0" destOrd="0" presId="urn:microsoft.com/office/officeart/2005/8/layout/lProcess2"/>
    <dgm:cxn modelId="{AAC4EF91-BD8D-4CF3-AC94-C852880292AD}" srcId="{7CFD4C53-8202-4CB4-AA08-C063F871ED3A}" destId="{0053FD0A-EC0C-4130-9CFD-EB15EC85770D}" srcOrd="0" destOrd="0" parTransId="{B48BE8E7-4C61-44C3-AA18-9FC2FD20DBD3}" sibTransId="{248ADAB2-6943-4EF2-A305-AB44235C8636}"/>
    <dgm:cxn modelId="{196C2A96-0C24-4B44-82DD-6A07C0EC96BC}" srcId="{2C6876F0-B24D-405F-8D95-04E6C78E7339}" destId="{DCE8BB69-190D-4468-89E3-29DF69DD0CBD}" srcOrd="0" destOrd="0" parTransId="{3E1F5CCD-61C4-4DC8-B16A-E036869E7220}" sibTransId="{8B40A20D-DB7A-4496-8EBF-180D78D13C11}"/>
    <dgm:cxn modelId="{90C40897-8F18-40D5-ACFA-A80777C6179A}" srcId="{2C6876F0-B24D-405F-8D95-04E6C78E7339}" destId="{7CFD4C53-8202-4CB4-AA08-C063F871ED3A}" srcOrd="2" destOrd="0" parTransId="{2D90B18E-B8E6-4097-9B8C-2C8C9DAC60FB}" sibTransId="{B151F7E3-6B2D-469A-B6ED-E8956C5C25D2}"/>
    <dgm:cxn modelId="{0004C7A0-5F76-4227-9703-1C3AEE8F1F90}" type="presOf" srcId="{39BC24CE-49E1-4598-98C5-2ED5BB9CBF50}" destId="{0BACFCA1-DB64-410C-8B2D-F754A2655609}" srcOrd="0" destOrd="0" presId="urn:microsoft.com/office/officeart/2005/8/layout/lProcess2"/>
    <dgm:cxn modelId="{FEE98AA3-B166-4754-86D9-98237FB01EFC}" type="presOf" srcId="{D14D65DB-9416-4A38-B5F0-46787BE4E2FC}" destId="{6B0FB2A8-32B5-4656-BCAA-46056E4E627B}" srcOrd="0" destOrd="0" presId="urn:microsoft.com/office/officeart/2005/8/layout/lProcess2"/>
    <dgm:cxn modelId="{C8B20DA6-A2A1-42EF-8E55-A6BB6818AFBA}" type="presOf" srcId="{20E4615F-DD9B-4A37-8060-E22EFE6C5D88}" destId="{579ECC08-43F2-4B88-8195-8F170A819C13}" srcOrd="0" destOrd="0" presId="urn:microsoft.com/office/officeart/2005/8/layout/lProcess2"/>
    <dgm:cxn modelId="{89C49DB6-AF93-4DCB-A974-EA5FB902A256}" srcId="{39353383-DAAA-49C2-835C-2758B0802B05}" destId="{3086B208-E718-498C-B07D-C589B319154B}" srcOrd="0" destOrd="0" parTransId="{6AE0DDEE-E442-4AFC-B135-9A631532537D}" sibTransId="{B13D860D-2704-413E-A3C3-5C02D30E385C}"/>
    <dgm:cxn modelId="{85D997BB-0EBD-48A7-8A84-54F5530644CE}" type="presOf" srcId="{39353383-DAAA-49C2-835C-2758B0802B05}" destId="{F83E2161-9271-4DA6-8BB7-E6EC7ECCBFCD}" srcOrd="0" destOrd="0" presId="urn:microsoft.com/office/officeart/2005/8/layout/lProcess2"/>
    <dgm:cxn modelId="{A6AF0FBD-1C8B-478A-9143-4EF7C0174CD8}" type="presOf" srcId="{7CFD4C53-8202-4CB4-AA08-C063F871ED3A}" destId="{EA90287B-85D5-40A4-BBA7-99834EDB1036}" srcOrd="0" destOrd="0" presId="urn:microsoft.com/office/officeart/2005/8/layout/lProcess2"/>
    <dgm:cxn modelId="{51F25BBE-44F4-40AA-9C86-3040AE5BC2EA}" srcId="{39353383-DAAA-49C2-835C-2758B0802B05}" destId="{615A3B1B-8D31-4683-9E42-D9CDB79D23C0}" srcOrd="2" destOrd="0" parTransId="{3C2A8A8D-5F47-45C2-AC39-6F38807CC9D1}" sibTransId="{C7A79041-8968-4CA8-8F4F-1493D605FDE1}"/>
    <dgm:cxn modelId="{C317DBC5-FBF7-42A7-91A7-66502C5FDC34}" type="presOf" srcId="{B33C9F35-FEDA-4028-8D5C-EE66887D9EEB}" destId="{EBCCD297-E092-4609-B319-EA4B26C0EFDA}" srcOrd="0" destOrd="0" presId="urn:microsoft.com/office/officeart/2005/8/layout/lProcess2"/>
    <dgm:cxn modelId="{55ACC9D1-5645-4A4E-BCD8-EFC147D86777}" srcId="{B7DDB16E-00A9-42F4-AF12-A92251D4F598}" destId="{84714EEC-B86F-44CD-9DAD-087FFE64F2B0}" srcOrd="2" destOrd="0" parTransId="{ED12C1C8-CAF4-4B0A-BA7E-18771D7E66BF}" sibTransId="{97B4DBD4-D36E-47B8-B151-C58E7FBD8521}"/>
    <dgm:cxn modelId="{2270C0D2-700C-4712-8187-AAC1986258F3}" srcId="{39353383-DAAA-49C2-835C-2758B0802B05}" destId="{D8232080-C8AA-4D7B-91CD-F3FC5121E2F2}" srcOrd="3" destOrd="0" parTransId="{34821DBA-604E-4D41-94B1-DB08D5333082}" sibTransId="{B688997D-68F7-4B1D-ADC4-DE58D4525E17}"/>
    <dgm:cxn modelId="{88EDF5D4-B695-4849-8FDD-1ACA5EFB7D2B}" type="presOf" srcId="{3086B208-E718-498C-B07D-C589B319154B}" destId="{8E83414E-6926-4D4F-91A6-4AD7EB75E349}" srcOrd="0" destOrd="0" presId="urn:microsoft.com/office/officeart/2005/8/layout/lProcess2"/>
    <dgm:cxn modelId="{BA9588D9-BB8A-413E-91C2-6D7291CD7465}" type="presOf" srcId="{45A8CC5F-6D01-42D3-A53E-8DE92719401E}" destId="{B148A06D-DBDA-4FC9-BE8C-6B9A44511FEE}" srcOrd="0" destOrd="0" presId="urn:microsoft.com/office/officeart/2005/8/layout/lProcess2"/>
    <dgm:cxn modelId="{EF5D7EDA-D095-4EC5-B18C-7C5A4348B8C2}" srcId="{B7DDB16E-00A9-42F4-AF12-A92251D4F598}" destId="{FA3E7541-C943-4A70-BB55-29F19928A069}" srcOrd="1" destOrd="0" parTransId="{B20FC289-421D-4F11-BD0E-B9ACA2ACFD4E}" sibTransId="{CFA48950-3B2D-4333-8AB1-A0B9C34FCBC3}"/>
    <dgm:cxn modelId="{8FD115E5-5A56-4E81-A2AD-E4FEF4315A7F}" type="presOf" srcId="{0053FD0A-EC0C-4130-9CFD-EB15EC85770D}" destId="{B655C322-627B-45FB-B9CE-CCE0AE84E419}" srcOrd="0" destOrd="0" presId="urn:microsoft.com/office/officeart/2005/8/layout/lProcess2"/>
    <dgm:cxn modelId="{D1674CF7-CF6B-40C6-B7A9-B423C80CB86E}" type="presOf" srcId="{B7DDB16E-00A9-42F4-AF12-A92251D4F598}" destId="{6CC73ACB-F16D-4478-A091-947403C35219}" srcOrd="0" destOrd="0" presId="urn:microsoft.com/office/officeart/2005/8/layout/lProcess2"/>
    <dgm:cxn modelId="{171F96FC-1F55-4E50-A235-132121A1404B}" type="presOf" srcId="{11CC3CCC-67D2-43E7-9395-794B3B683313}" destId="{5D1C62C2-6389-4A63-B4EA-9B79791DC4EA}" srcOrd="1" destOrd="0" presId="urn:microsoft.com/office/officeart/2005/8/layout/lProcess2"/>
    <dgm:cxn modelId="{DD3EF0FC-B5E8-404B-9348-038EEBFC85BA}" type="presOf" srcId="{7CFD4C53-8202-4CB4-AA08-C063F871ED3A}" destId="{2885DC3A-1016-49EE-B132-102C21654167}" srcOrd="1" destOrd="0" presId="urn:microsoft.com/office/officeart/2005/8/layout/lProcess2"/>
    <dgm:cxn modelId="{6CB3FEFD-9F65-4930-8CF1-6758C0272289}" type="presOf" srcId="{85A1DD97-3DF5-442A-B342-80FF1724A885}" destId="{63EDB45A-A418-4D08-832C-C853ECDF3CB8}" srcOrd="0" destOrd="0" presId="urn:microsoft.com/office/officeart/2005/8/layout/lProcess2"/>
    <dgm:cxn modelId="{67C1ECFE-83EC-48A7-9B57-9202E55F5FA8}" type="presOf" srcId="{559EC1E6-6B8C-40C9-A6A6-3139913CF3EE}" destId="{55AF99FB-BBAC-4C96-90ED-8CE57505837C}" srcOrd="0" destOrd="0" presId="urn:microsoft.com/office/officeart/2005/8/layout/lProcess2"/>
    <dgm:cxn modelId="{C4C55132-3DA4-4715-B0B4-BA5F9A13BD2F}" type="presParOf" srcId="{E7E0E3D9-DF37-452F-B2D5-BD72A28B126F}" destId="{6CDD9D57-CB70-4C96-A8B8-4F8598B35BDC}" srcOrd="0" destOrd="0" presId="urn:microsoft.com/office/officeart/2005/8/layout/lProcess2"/>
    <dgm:cxn modelId="{7074FF44-3559-4198-B583-C4494090E768}" type="presParOf" srcId="{6CDD9D57-CB70-4C96-A8B8-4F8598B35BDC}" destId="{77EC7B7D-3DD1-4EF8-BACB-EF3087EDE9D5}" srcOrd="0" destOrd="0" presId="urn:microsoft.com/office/officeart/2005/8/layout/lProcess2"/>
    <dgm:cxn modelId="{A57015EE-6309-4FC6-89BA-AE96043FB7C5}" type="presParOf" srcId="{6CDD9D57-CB70-4C96-A8B8-4F8598B35BDC}" destId="{F597D495-9F30-4073-B570-BFECF9CEC61A}" srcOrd="1" destOrd="0" presId="urn:microsoft.com/office/officeart/2005/8/layout/lProcess2"/>
    <dgm:cxn modelId="{DCF294D9-99B6-4093-AC55-9C97D4EF4405}" type="presParOf" srcId="{6CDD9D57-CB70-4C96-A8B8-4F8598B35BDC}" destId="{6193BC56-2123-4931-9C10-B3CB584B8B1C}" srcOrd="2" destOrd="0" presId="urn:microsoft.com/office/officeart/2005/8/layout/lProcess2"/>
    <dgm:cxn modelId="{0C3BF7B8-45E2-433C-945B-9BC8ACB1FF8E}" type="presParOf" srcId="{6193BC56-2123-4931-9C10-B3CB584B8B1C}" destId="{1836D589-78A2-499F-AB39-80FABAA2B16E}" srcOrd="0" destOrd="0" presId="urn:microsoft.com/office/officeart/2005/8/layout/lProcess2"/>
    <dgm:cxn modelId="{F7626C1F-8535-45CB-AEA7-823D886D93BD}" type="presParOf" srcId="{1836D589-78A2-499F-AB39-80FABAA2B16E}" destId="{6B0FB2A8-32B5-4656-BCAA-46056E4E627B}" srcOrd="0" destOrd="0" presId="urn:microsoft.com/office/officeart/2005/8/layout/lProcess2"/>
    <dgm:cxn modelId="{4FF7E0C8-350A-49FB-9210-9E2DA24CA5B1}" type="presParOf" srcId="{E7E0E3D9-DF37-452F-B2D5-BD72A28B126F}" destId="{FD16DE19-521A-45FC-9DCA-E352E7CB5615}" srcOrd="1" destOrd="0" presId="urn:microsoft.com/office/officeart/2005/8/layout/lProcess2"/>
    <dgm:cxn modelId="{DC12353B-E7E6-481A-8971-B749375B1FAC}" type="presParOf" srcId="{E7E0E3D9-DF37-452F-B2D5-BD72A28B126F}" destId="{45E5DB8B-D509-4EB8-BAF8-ACD5BC380858}" srcOrd="2" destOrd="0" presId="urn:microsoft.com/office/officeart/2005/8/layout/lProcess2"/>
    <dgm:cxn modelId="{37DB002C-FBBC-48BC-BA85-2F47E0BE19FD}" type="presParOf" srcId="{45E5DB8B-D509-4EB8-BAF8-ACD5BC380858}" destId="{FF68E852-0A05-4D88-9F03-65316641ED1C}" srcOrd="0" destOrd="0" presId="urn:microsoft.com/office/officeart/2005/8/layout/lProcess2"/>
    <dgm:cxn modelId="{32BBD4DC-C3F0-464C-B28E-9B962A372119}" type="presParOf" srcId="{45E5DB8B-D509-4EB8-BAF8-ACD5BC380858}" destId="{5D1C62C2-6389-4A63-B4EA-9B79791DC4EA}" srcOrd="1" destOrd="0" presId="urn:microsoft.com/office/officeart/2005/8/layout/lProcess2"/>
    <dgm:cxn modelId="{585A44F2-5C14-4135-86C1-B1A083143589}" type="presParOf" srcId="{45E5DB8B-D509-4EB8-BAF8-ACD5BC380858}" destId="{03DDE414-73B8-45EF-9FD5-62013EB260BE}" srcOrd="2" destOrd="0" presId="urn:microsoft.com/office/officeart/2005/8/layout/lProcess2"/>
    <dgm:cxn modelId="{7715A750-32C5-472A-A7DB-8DBF3A7FAD40}" type="presParOf" srcId="{03DDE414-73B8-45EF-9FD5-62013EB260BE}" destId="{4B134765-0A27-430D-BED7-7B6B1EECB6EA}" srcOrd="0" destOrd="0" presId="urn:microsoft.com/office/officeart/2005/8/layout/lProcess2"/>
    <dgm:cxn modelId="{B6497F38-E716-4B7D-8213-B2CD698E96E0}" type="presParOf" srcId="{4B134765-0A27-430D-BED7-7B6B1EECB6EA}" destId="{55AF99FB-BBAC-4C96-90ED-8CE57505837C}" srcOrd="0" destOrd="0" presId="urn:microsoft.com/office/officeart/2005/8/layout/lProcess2"/>
    <dgm:cxn modelId="{124E9F2D-5ACE-408C-AE7E-180E7795FEB4}" type="presParOf" srcId="{4B134765-0A27-430D-BED7-7B6B1EECB6EA}" destId="{18FA01AB-EF1A-4603-BFF0-603396B3275B}" srcOrd="1" destOrd="0" presId="urn:microsoft.com/office/officeart/2005/8/layout/lProcess2"/>
    <dgm:cxn modelId="{F4A4D701-B031-488B-B45E-7393F0A3ABD0}" type="presParOf" srcId="{4B134765-0A27-430D-BED7-7B6B1EECB6EA}" destId="{0BACFCA1-DB64-410C-8B2D-F754A2655609}" srcOrd="2" destOrd="0" presId="urn:microsoft.com/office/officeart/2005/8/layout/lProcess2"/>
    <dgm:cxn modelId="{C138AFC6-3A9A-4394-825C-CF595A12384B}" type="presParOf" srcId="{4B134765-0A27-430D-BED7-7B6B1EECB6EA}" destId="{35329D7B-8F17-481E-A607-2BE4F5808418}" srcOrd="3" destOrd="0" presId="urn:microsoft.com/office/officeart/2005/8/layout/lProcess2"/>
    <dgm:cxn modelId="{5F221E36-CB80-44BF-95DC-0D2D6399C7B1}" type="presParOf" srcId="{4B134765-0A27-430D-BED7-7B6B1EECB6EA}" destId="{8E69AEEA-C2C3-41CA-875C-CBB0C5EB74D2}" srcOrd="4" destOrd="0" presId="urn:microsoft.com/office/officeart/2005/8/layout/lProcess2"/>
    <dgm:cxn modelId="{305F998B-3310-46C4-869C-30759C708534}" type="presParOf" srcId="{4B134765-0A27-430D-BED7-7B6B1EECB6EA}" destId="{E263E9F8-2CC8-4EF0-A261-6D07549D9D4F}" srcOrd="5" destOrd="0" presId="urn:microsoft.com/office/officeart/2005/8/layout/lProcess2"/>
    <dgm:cxn modelId="{25AE139C-56C2-4637-8AC1-59DCF9670F3E}" type="presParOf" srcId="{4B134765-0A27-430D-BED7-7B6B1EECB6EA}" destId="{579ECC08-43F2-4B88-8195-8F170A819C13}" srcOrd="6" destOrd="0" presId="urn:microsoft.com/office/officeart/2005/8/layout/lProcess2"/>
    <dgm:cxn modelId="{C93B5EA0-B604-4FD8-80F2-55D567FB7F75}" type="presParOf" srcId="{E7E0E3D9-DF37-452F-B2D5-BD72A28B126F}" destId="{A70C2A46-5434-42AF-B55C-2E0B7098DE65}" srcOrd="3" destOrd="0" presId="urn:microsoft.com/office/officeart/2005/8/layout/lProcess2"/>
    <dgm:cxn modelId="{6E5C0025-7945-4FB6-8CE9-6DF45655D872}" type="presParOf" srcId="{E7E0E3D9-DF37-452F-B2D5-BD72A28B126F}" destId="{AB9210B9-0E50-416E-9BAC-56C70B64AF26}" srcOrd="4" destOrd="0" presId="urn:microsoft.com/office/officeart/2005/8/layout/lProcess2"/>
    <dgm:cxn modelId="{DC9D7E6E-825C-48D1-8222-106D61C3E0CB}" type="presParOf" srcId="{AB9210B9-0E50-416E-9BAC-56C70B64AF26}" destId="{EA90287B-85D5-40A4-BBA7-99834EDB1036}" srcOrd="0" destOrd="0" presId="urn:microsoft.com/office/officeart/2005/8/layout/lProcess2"/>
    <dgm:cxn modelId="{94F38213-2042-4E6E-BE0E-4C87FDDD909B}" type="presParOf" srcId="{AB9210B9-0E50-416E-9BAC-56C70B64AF26}" destId="{2885DC3A-1016-49EE-B132-102C21654167}" srcOrd="1" destOrd="0" presId="urn:microsoft.com/office/officeart/2005/8/layout/lProcess2"/>
    <dgm:cxn modelId="{265404E0-C846-4704-90C2-DB1E84C55D54}" type="presParOf" srcId="{AB9210B9-0E50-416E-9BAC-56C70B64AF26}" destId="{47DD9E03-4700-44BD-A44F-53EA28036F68}" srcOrd="2" destOrd="0" presId="urn:microsoft.com/office/officeart/2005/8/layout/lProcess2"/>
    <dgm:cxn modelId="{7FE17D09-2291-4980-A11D-2D886FBADBC8}" type="presParOf" srcId="{47DD9E03-4700-44BD-A44F-53EA28036F68}" destId="{DFAFC992-835A-4472-86C1-7FCA62F463AC}" srcOrd="0" destOrd="0" presId="urn:microsoft.com/office/officeart/2005/8/layout/lProcess2"/>
    <dgm:cxn modelId="{78F59432-FACC-48DC-AB59-CAD29FAF1667}" type="presParOf" srcId="{DFAFC992-835A-4472-86C1-7FCA62F463AC}" destId="{B655C322-627B-45FB-B9CE-CCE0AE84E419}" srcOrd="0" destOrd="0" presId="urn:microsoft.com/office/officeart/2005/8/layout/lProcess2"/>
    <dgm:cxn modelId="{CEACDE5E-7887-4C78-88B3-CB6D13752C83}" type="presParOf" srcId="{DFAFC992-835A-4472-86C1-7FCA62F463AC}" destId="{8F1D3701-C3A3-415B-AFF7-C646909CBDFE}" srcOrd="1" destOrd="0" presId="urn:microsoft.com/office/officeart/2005/8/layout/lProcess2"/>
    <dgm:cxn modelId="{A2F5F4AC-4579-4DF6-AEAF-7344DA580BCD}" type="presParOf" srcId="{DFAFC992-835A-4472-86C1-7FCA62F463AC}" destId="{B148A06D-DBDA-4FC9-BE8C-6B9A44511FEE}" srcOrd="2" destOrd="0" presId="urn:microsoft.com/office/officeart/2005/8/layout/lProcess2"/>
    <dgm:cxn modelId="{A5BEFA8E-5FF9-425D-8026-20B7D1D8D696}" type="presParOf" srcId="{DFAFC992-835A-4472-86C1-7FCA62F463AC}" destId="{8BF40822-678B-4A0A-B68C-EC3283B18400}" srcOrd="3" destOrd="0" presId="urn:microsoft.com/office/officeart/2005/8/layout/lProcess2"/>
    <dgm:cxn modelId="{73C6FDE4-BF7C-457E-B7AB-52171C1A9770}" type="presParOf" srcId="{DFAFC992-835A-4472-86C1-7FCA62F463AC}" destId="{DA1D11F3-C520-4A16-868B-5415000F6AD2}" srcOrd="4" destOrd="0" presId="urn:microsoft.com/office/officeart/2005/8/layout/lProcess2"/>
    <dgm:cxn modelId="{830AF23D-DB53-4885-AFB5-6F550E54EBA7}" type="presParOf" srcId="{E7E0E3D9-DF37-452F-B2D5-BD72A28B126F}" destId="{93BC748C-5AED-4B6F-A4CB-4DE6DC5E8A19}" srcOrd="5" destOrd="0" presId="urn:microsoft.com/office/officeart/2005/8/layout/lProcess2"/>
    <dgm:cxn modelId="{5C3C285A-0A93-42AB-BAEA-B0A1833BEFF1}" type="presParOf" srcId="{E7E0E3D9-DF37-452F-B2D5-BD72A28B126F}" destId="{0A4A9CEB-E6F8-456B-8373-F9A8A5A89670}" srcOrd="6" destOrd="0" presId="urn:microsoft.com/office/officeart/2005/8/layout/lProcess2"/>
    <dgm:cxn modelId="{96B1C993-E4A6-4E85-9B37-1E40690C9275}" type="presParOf" srcId="{0A4A9CEB-E6F8-456B-8373-F9A8A5A89670}" destId="{F83E2161-9271-4DA6-8BB7-E6EC7ECCBFCD}" srcOrd="0" destOrd="0" presId="urn:microsoft.com/office/officeart/2005/8/layout/lProcess2"/>
    <dgm:cxn modelId="{DE27626F-FCE3-42AF-96BB-53C11ABB308B}" type="presParOf" srcId="{0A4A9CEB-E6F8-456B-8373-F9A8A5A89670}" destId="{B83458E6-49E0-48B4-861D-79B3DC52A8E2}" srcOrd="1" destOrd="0" presId="urn:microsoft.com/office/officeart/2005/8/layout/lProcess2"/>
    <dgm:cxn modelId="{2AED50B5-396C-49E1-B854-6ACF8DC43B82}" type="presParOf" srcId="{0A4A9CEB-E6F8-456B-8373-F9A8A5A89670}" destId="{9EA0C214-B462-403A-8908-D33B55B6D0D1}" srcOrd="2" destOrd="0" presId="urn:microsoft.com/office/officeart/2005/8/layout/lProcess2"/>
    <dgm:cxn modelId="{C4EB3C90-D09D-458E-9E16-57A3700283C0}" type="presParOf" srcId="{9EA0C214-B462-403A-8908-D33B55B6D0D1}" destId="{6EA9C36D-FB90-46DC-B62D-F3EC824F8610}" srcOrd="0" destOrd="0" presId="urn:microsoft.com/office/officeart/2005/8/layout/lProcess2"/>
    <dgm:cxn modelId="{7AFE39C7-7E2F-43D6-B82B-F22ADF4B5638}" type="presParOf" srcId="{6EA9C36D-FB90-46DC-B62D-F3EC824F8610}" destId="{8E83414E-6926-4D4F-91A6-4AD7EB75E349}" srcOrd="0" destOrd="0" presId="urn:microsoft.com/office/officeart/2005/8/layout/lProcess2"/>
    <dgm:cxn modelId="{AE2D5DB1-2FC0-477F-A1E0-D64B711C142F}" type="presParOf" srcId="{6EA9C36D-FB90-46DC-B62D-F3EC824F8610}" destId="{DD394C41-2223-4E8A-AA86-3C3BABDEB3C9}" srcOrd="1" destOrd="0" presId="urn:microsoft.com/office/officeart/2005/8/layout/lProcess2"/>
    <dgm:cxn modelId="{FD8C858A-7880-495E-9A2E-E2E0CF59692A}" type="presParOf" srcId="{6EA9C36D-FB90-46DC-B62D-F3EC824F8610}" destId="{63EDB45A-A418-4D08-832C-C853ECDF3CB8}" srcOrd="2" destOrd="0" presId="urn:microsoft.com/office/officeart/2005/8/layout/lProcess2"/>
    <dgm:cxn modelId="{9DD6461B-3D84-4354-9A57-68CBBB825BAB}" type="presParOf" srcId="{6EA9C36D-FB90-46DC-B62D-F3EC824F8610}" destId="{62D30790-B8EE-4337-B6C3-248BAD9E283D}" srcOrd="3" destOrd="0" presId="urn:microsoft.com/office/officeart/2005/8/layout/lProcess2"/>
    <dgm:cxn modelId="{67C2857F-DD9B-49C4-A289-847A1D96513B}" type="presParOf" srcId="{6EA9C36D-FB90-46DC-B62D-F3EC824F8610}" destId="{209B535A-C8D2-4F20-81F0-B5B3499656A3}" srcOrd="4" destOrd="0" presId="urn:microsoft.com/office/officeart/2005/8/layout/lProcess2"/>
    <dgm:cxn modelId="{3A2E6EAE-78EE-4209-8DFB-6BBC3AA88EE4}" type="presParOf" srcId="{6EA9C36D-FB90-46DC-B62D-F3EC824F8610}" destId="{0D8A809F-D92C-4573-B530-F66BE2EB1740}" srcOrd="5" destOrd="0" presId="urn:microsoft.com/office/officeart/2005/8/layout/lProcess2"/>
    <dgm:cxn modelId="{69514005-F095-4970-BD03-B1DCCD3A354A}" type="presParOf" srcId="{6EA9C36D-FB90-46DC-B62D-F3EC824F8610}" destId="{15A725A5-0111-4A72-99B1-8B20AB221E9D}" srcOrd="6" destOrd="0" presId="urn:microsoft.com/office/officeart/2005/8/layout/lProcess2"/>
    <dgm:cxn modelId="{9726021E-CD95-468B-9DD3-2D3AFF5B492F}" type="presParOf" srcId="{E7E0E3D9-DF37-452F-B2D5-BD72A28B126F}" destId="{4210261E-2A8E-4B67-9C31-A307FEBE5E3B}" srcOrd="7" destOrd="0" presId="urn:microsoft.com/office/officeart/2005/8/layout/lProcess2"/>
    <dgm:cxn modelId="{9A4C219C-0407-4353-BB4B-589185B20388}" type="presParOf" srcId="{E7E0E3D9-DF37-452F-B2D5-BD72A28B126F}" destId="{482C6303-5283-4E12-973C-BF2F79997D4F}" srcOrd="8" destOrd="0" presId="urn:microsoft.com/office/officeart/2005/8/layout/lProcess2"/>
    <dgm:cxn modelId="{2845D547-4064-4431-883B-D01BC95E1E26}" type="presParOf" srcId="{482C6303-5283-4E12-973C-BF2F79997D4F}" destId="{6CC73ACB-F16D-4478-A091-947403C35219}" srcOrd="0" destOrd="0" presId="urn:microsoft.com/office/officeart/2005/8/layout/lProcess2"/>
    <dgm:cxn modelId="{07C441B9-0FC9-4B03-8458-E0F46A356780}" type="presParOf" srcId="{482C6303-5283-4E12-973C-BF2F79997D4F}" destId="{46A98833-B095-46F3-87BC-FAAADB5320FF}" srcOrd="1" destOrd="0" presId="urn:microsoft.com/office/officeart/2005/8/layout/lProcess2"/>
    <dgm:cxn modelId="{3238B602-E789-41B0-8196-0645CB8706D5}" type="presParOf" srcId="{482C6303-5283-4E12-973C-BF2F79997D4F}" destId="{185E90A5-62D2-4138-A7DE-4D2BD580FAB2}" srcOrd="2" destOrd="0" presId="urn:microsoft.com/office/officeart/2005/8/layout/lProcess2"/>
    <dgm:cxn modelId="{EB15C472-3867-47DC-84FB-BA5E2CB7A130}" type="presParOf" srcId="{185E90A5-62D2-4138-A7DE-4D2BD580FAB2}" destId="{AAB1D85A-51F6-4973-B31E-7272921432EC}" srcOrd="0" destOrd="0" presId="urn:microsoft.com/office/officeart/2005/8/layout/lProcess2"/>
    <dgm:cxn modelId="{1AB41A70-697D-427A-8A25-BFABE14F5C48}" type="presParOf" srcId="{AAB1D85A-51F6-4973-B31E-7272921432EC}" destId="{EBCCD297-E092-4609-B319-EA4B26C0EFDA}" srcOrd="0" destOrd="0" presId="urn:microsoft.com/office/officeart/2005/8/layout/lProcess2"/>
    <dgm:cxn modelId="{1844BDFC-262F-4C56-B422-CF120334DDB6}" type="presParOf" srcId="{AAB1D85A-51F6-4973-B31E-7272921432EC}" destId="{7310E068-5DAA-4992-B9C9-472B66719D7D}" srcOrd="1" destOrd="0" presId="urn:microsoft.com/office/officeart/2005/8/layout/lProcess2"/>
    <dgm:cxn modelId="{CD1D7DF4-3A80-434F-98D1-955CE323E52B}" type="presParOf" srcId="{AAB1D85A-51F6-4973-B31E-7272921432EC}" destId="{3AF3F42B-7D5A-4DDB-B78E-35B8C91E6A01}" srcOrd="2" destOrd="0" presId="urn:microsoft.com/office/officeart/2005/8/layout/lProcess2"/>
    <dgm:cxn modelId="{E1405F21-9F0E-4A48-9359-E0B7A908442C}" type="presParOf" srcId="{AAB1D85A-51F6-4973-B31E-7272921432EC}" destId="{EDB2691B-27B5-4B10-A289-0B8F21505BF7}" srcOrd="3" destOrd="0" presId="urn:microsoft.com/office/officeart/2005/8/layout/lProcess2"/>
    <dgm:cxn modelId="{8E6E33C9-978A-48A2-ACEE-B2DB4A9A413A}" type="presParOf" srcId="{AAB1D85A-51F6-4973-B31E-7272921432EC}" destId="{EC2B1699-BE1E-4128-AD49-CEA66A5B261E}" srcOrd="4" destOrd="0" presId="urn:microsoft.com/office/officeart/2005/8/layout/lProcess2"/>
    <dgm:cxn modelId="{2C9EFC8E-0119-4B97-9A9F-C4DC8D78FA9C}" type="presParOf" srcId="{E7E0E3D9-DF37-452F-B2D5-BD72A28B126F}" destId="{5B02B9F8-F7A6-43C4-9F3E-55745E0A5043}" srcOrd="9" destOrd="0" presId="urn:microsoft.com/office/officeart/2005/8/layout/lProcess2"/>
    <dgm:cxn modelId="{F2101015-8CAD-4514-9104-CA6B8DFDF316}" type="presParOf" srcId="{E7E0E3D9-DF37-452F-B2D5-BD72A28B126F}" destId="{05DD7B77-00CC-4CDB-8E50-ADB320668AFA}" srcOrd="10" destOrd="0" presId="urn:microsoft.com/office/officeart/2005/8/layout/lProcess2"/>
    <dgm:cxn modelId="{555C98E5-9E13-4764-B001-92442B3914E9}" type="presParOf" srcId="{05DD7B77-00CC-4CDB-8E50-ADB320668AFA}" destId="{9802068F-B917-409F-B093-0ED4FF75E67A}" srcOrd="0" destOrd="0" presId="urn:microsoft.com/office/officeart/2005/8/layout/lProcess2"/>
    <dgm:cxn modelId="{66FD1BFC-7B6C-4F62-A204-937E6E3FBD96}" type="presParOf" srcId="{05DD7B77-00CC-4CDB-8E50-ADB320668AFA}" destId="{9AEC374A-E79E-4144-A63C-7EA8F3B2BBBA}" srcOrd="1" destOrd="0" presId="urn:microsoft.com/office/officeart/2005/8/layout/lProcess2"/>
    <dgm:cxn modelId="{E30DF4FA-B9D3-413D-83F2-135F67CA17A2}" type="presParOf" srcId="{05DD7B77-00CC-4CDB-8E50-ADB320668AFA}" destId="{5A060B56-40BF-45E3-94C2-A50977C4EA7F}" srcOrd="2" destOrd="0" presId="urn:microsoft.com/office/officeart/2005/8/layout/lProcess2"/>
    <dgm:cxn modelId="{0D918EAA-1AA9-4047-8E1F-1926A0E4F2D1}" type="presParOf" srcId="{5A060B56-40BF-45E3-94C2-A50977C4EA7F}" destId="{6FCA7FDF-CDBE-4A29-8611-E3A378A59869}" srcOrd="0" destOrd="0" presId="urn:microsoft.com/office/officeart/2005/8/layout/lProcess2"/>
    <dgm:cxn modelId="{7801F1A7-D267-4753-9582-B0DD42B8A2A7}" type="presParOf" srcId="{6FCA7FDF-CDBE-4A29-8611-E3A378A59869}" destId="{70FB125E-22F8-41FA-BDD5-F6D814AD95D7}" srcOrd="0" destOrd="0" presId="urn:microsoft.com/office/officeart/2005/8/layout/lProcess2"/>
    <dgm:cxn modelId="{4386CF49-C1FC-4EDA-91B0-9708ADB1AB5B}" type="presParOf" srcId="{6FCA7FDF-CDBE-4A29-8611-E3A378A59869}" destId="{DE714E4C-7F59-4C1B-B6E5-82093553AA69}" srcOrd="1" destOrd="0" presId="urn:microsoft.com/office/officeart/2005/8/layout/lProcess2"/>
    <dgm:cxn modelId="{51141FFB-ABB8-4D7C-A3EC-78D5221A66A6}" type="presParOf" srcId="{6FCA7FDF-CDBE-4A29-8611-E3A378A59869}" destId="{51CCB09E-483E-4A09-95F4-E2416DA9A97E}"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96609644-ED37-4CFD-9576-2D87A747A403}" type="doc">
      <dgm:prSet loTypeId="urn:microsoft.com/office/officeart/2008/layout/CaptionedPictures" loCatId="picture" qsTypeId="urn:microsoft.com/office/officeart/2005/8/quickstyle/simple1" qsCatId="simple" csTypeId="urn:microsoft.com/office/officeart/2005/8/colors/accent1_1" csCatId="accent1" phldr="1"/>
      <dgm:spPr/>
      <dgm:t>
        <a:bodyPr/>
        <a:lstStyle/>
        <a:p>
          <a:endParaRPr lang="es-ES"/>
        </a:p>
      </dgm:t>
    </dgm:pt>
    <dgm:pt modelId="{E55D8DC2-D961-44AA-91D7-D07F43E75B46}">
      <dgm:prSet phldrT="[Texto]" custT="1"/>
      <dgm:spPr/>
      <dgm:t>
        <a:bodyPr/>
        <a:lstStyle/>
        <a:p>
          <a:r>
            <a:rPr lang="es-ES" sz="2400" dirty="0"/>
            <a:t>Computación distribuida</a:t>
          </a:r>
        </a:p>
      </dgm:t>
    </dgm:pt>
    <dgm:pt modelId="{ED2253A0-139D-4635-81B1-5B981E2B745D}" type="parTrans" cxnId="{951A6E1A-03C4-458B-96AB-B4E5CC0050E9}">
      <dgm:prSet/>
      <dgm:spPr/>
      <dgm:t>
        <a:bodyPr/>
        <a:lstStyle/>
        <a:p>
          <a:endParaRPr lang="es-ES"/>
        </a:p>
      </dgm:t>
    </dgm:pt>
    <dgm:pt modelId="{890B45C2-E4FB-400C-B30C-0AF8EB72E7C7}" type="sibTrans" cxnId="{951A6E1A-03C4-458B-96AB-B4E5CC0050E9}">
      <dgm:prSet/>
      <dgm:spPr/>
      <dgm:t>
        <a:bodyPr/>
        <a:lstStyle/>
        <a:p>
          <a:endParaRPr lang="es-ES"/>
        </a:p>
      </dgm:t>
    </dgm:pt>
    <dgm:pt modelId="{619D765E-4A9A-4C6E-BCD3-0AA375F8F005}">
      <dgm:prSet phldrT="[Texto]" custT="1"/>
      <dgm:spPr/>
      <dgm:t>
        <a:bodyPr/>
        <a:lstStyle/>
        <a:p>
          <a:r>
            <a:rPr lang="es-ES" sz="2400" dirty="0"/>
            <a:t>Bit 0 / 1</a:t>
          </a:r>
        </a:p>
      </dgm:t>
    </dgm:pt>
    <dgm:pt modelId="{E0EDBF59-C2A8-43B9-9CEB-2AC588BE2AB1}" type="parTrans" cxnId="{32D513D9-C40F-4446-9B5D-88F19910E6C5}">
      <dgm:prSet/>
      <dgm:spPr/>
      <dgm:t>
        <a:bodyPr/>
        <a:lstStyle/>
        <a:p>
          <a:endParaRPr lang="es-ES"/>
        </a:p>
      </dgm:t>
    </dgm:pt>
    <dgm:pt modelId="{A19A2DBC-4794-4B16-8994-23CB27B19886}" type="sibTrans" cxnId="{32D513D9-C40F-4446-9B5D-88F19910E6C5}">
      <dgm:prSet/>
      <dgm:spPr/>
      <dgm:t>
        <a:bodyPr/>
        <a:lstStyle/>
        <a:p>
          <a:endParaRPr lang="es-ES"/>
        </a:p>
      </dgm:t>
    </dgm:pt>
    <dgm:pt modelId="{94B59DFC-53CD-4026-AE45-CF3D05663176}" type="pres">
      <dgm:prSet presAssocID="{96609644-ED37-4CFD-9576-2D87A747A403}" presName="Name0" presStyleCnt="0">
        <dgm:presLayoutVars>
          <dgm:chMax/>
          <dgm:chPref/>
          <dgm:dir/>
        </dgm:presLayoutVars>
      </dgm:prSet>
      <dgm:spPr/>
    </dgm:pt>
    <dgm:pt modelId="{029979BA-D75A-4116-9D31-A72213E85656}" type="pres">
      <dgm:prSet presAssocID="{E55D8DC2-D961-44AA-91D7-D07F43E75B46}" presName="composite" presStyleCnt="0">
        <dgm:presLayoutVars>
          <dgm:chMax val="1"/>
          <dgm:chPref val="1"/>
        </dgm:presLayoutVars>
      </dgm:prSet>
      <dgm:spPr/>
    </dgm:pt>
    <dgm:pt modelId="{6CF426D9-8DA1-45C1-96AA-B985C57610C2}" type="pres">
      <dgm:prSet presAssocID="{E55D8DC2-D961-44AA-91D7-D07F43E75B46}" presName="Accent" presStyleLbl="trAlignAcc1" presStyleIdx="0" presStyleCnt="2">
        <dgm:presLayoutVars>
          <dgm:chMax val="0"/>
          <dgm:chPref val="0"/>
        </dgm:presLayoutVars>
      </dgm:prSet>
      <dgm:spPr/>
    </dgm:pt>
    <dgm:pt modelId="{B9A61958-CB82-4618-B320-D0B999302E3F}" type="pres">
      <dgm:prSet presAssocID="{E55D8DC2-D961-44AA-91D7-D07F43E75B46}" presName="Image" presStyleLbl="alignImgPlace1" presStyleIdx="0" presStyleCnt="2">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19106" b="19106"/>
          </a:stretch>
        </a:blipFill>
      </dgm:spPr>
    </dgm:pt>
    <dgm:pt modelId="{58F8726E-1B4B-4A90-9639-5FB2E982F947}" type="pres">
      <dgm:prSet presAssocID="{E55D8DC2-D961-44AA-91D7-D07F43E75B46}" presName="ChildComposite" presStyleCnt="0"/>
      <dgm:spPr/>
    </dgm:pt>
    <dgm:pt modelId="{43A2016F-B92C-4E91-B3D5-4B3E285C76A6}" type="pres">
      <dgm:prSet presAssocID="{E55D8DC2-D961-44AA-91D7-D07F43E75B46}" presName="Child" presStyleLbl="node1" presStyleIdx="0" presStyleCnt="0">
        <dgm:presLayoutVars>
          <dgm:chMax val="0"/>
          <dgm:chPref val="0"/>
          <dgm:bulletEnabled val="1"/>
        </dgm:presLayoutVars>
      </dgm:prSet>
      <dgm:spPr/>
    </dgm:pt>
    <dgm:pt modelId="{84131B07-0AE6-4A4C-99D5-0F3127166778}" type="pres">
      <dgm:prSet presAssocID="{E55D8DC2-D961-44AA-91D7-D07F43E75B46}" presName="Parent" presStyleLbl="revTx" presStyleIdx="0" presStyleCnt="2">
        <dgm:presLayoutVars>
          <dgm:chMax val="1"/>
          <dgm:chPref val="0"/>
          <dgm:bulletEnabled val="1"/>
        </dgm:presLayoutVars>
      </dgm:prSet>
      <dgm:spPr/>
    </dgm:pt>
    <dgm:pt modelId="{C7491DF1-19A0-45FD-8724-91D811676C19}" type="pres">
      <dgm:prSet presAssocID="{890B45C2-E4FB-400C-B30C-0AF8EB72E7C7}" presName="sibTrans" presStyleCnt="0"/>
      <dgm:spPr/>
    </dgm:pt>
    <dgm:pt modelId="{BEB2C5D0-ED23-47B7-B654-C69E01B55660}" type="pres">
      <dgm:prSet presAssocID="{619D765E-4A9A-4C6E-BCD3-0AA375F8F005}" presName="composite" presStyleCnt="0">
        <dgm:presLayoutVars>
          <dgm:chMax val="1"/>
          <dgm:chPref val="1"/>
        </dgm:presLayoutVars>
      </dgm:prSet>
      <dgm:spPr/>
    </dgm:pt>
    <dgm:pt modelId="{A13637E9-13C5-476C-89CC-97196437BAE4}" type="pres">
      <dgm:prSet presAssocID="{619D765E-4A9A-4C6E-BCD3-0AA375F8F005}" presName="Accent" presStyleLbl="trAlignAcc1" presStyleIdx="1" presStyleCnt="2">
        <dgm:presLayoutVars>
          <dgm:chMax val="0"/>
          <dgm:chPref val="0"/>
        </dgm:presLayoutVars>
      </dgm:prSet>
      <dgm:spPr/>
    </dgm:pt>
    <dgm:pt modelId="{7312879E-208F-42AC-AF25-9B069F468039}" type="pres">
      <dgm:prSet presAssocID="{619D765E-4A9A-4C6E-BCD3-0AA375F8F005}" presName="Image" presStyleLbl="alignImgPlace1" presStyleIdx="1" presStyleCnt="2">
        <dgm:presLayoutVars>
          <dgm:chMax val="0"/>
          <dgm:chPref val="0"/>
        </dgm:presLayoutVars>
      </dgm:prSet>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21978" b="21978"/>
          </a:stretch>
        </a:blipFill>
      </dgm:spPr>
    </dgm:pt>
    <dgm:pt modelId="{858B0FD8-5604-4D11-B97A-31E717A16A7F}" type="pres">
      <dgm:prSet presAssocID="{619D765E-4A9A-4C6E-BCD3-0AA375F8F005}" presName="ChildComposite" presStyleCnt="0"/>
      <dgm:spPr/>
    </dgm:pt>
    <dgm:pt modelId="{8A562621-E337-4E45-AD31-34C2D076C913}" type="pres">
      <dgm:prSet presAssocID="{619D765E-4A9A-4C6E-BCD3-0AA375F8F005}" presName="Child" presStyleLbl="node1" presStyleIdx="0" presStyleCnt="0">
        <dgm:presLayoutVars>
          <dgm:chMax val="0"/>
          <dgm:chPref val="0"/>
          <dgm:bulletEnabled val="1"/>
        </dgm:presLayoutVars>
      </dgm:prSet>
      <dgm:spPr/>
    </dgm:pt>
    <dgm:pt modelId="{75D8D60D-F60C-4945-B23E-92721BAFA598}" type="pres">
      <dgm:prSet presAssocID="{619D765E-4A9A-4C6E-BCD3-0AA375F8F005}" presName="Parent" presStyleLbl="revTx" presStyleIdx="1" presStyleCnt="2">
        <dgm:presLayoutVars>
          <dgm:chMax val="1"/>
          <dgm:chPref val="0"/>
          <dgm:bulletEnabled val="1"/>
        </dgm:presLayoutVars>
      </dgm:prSet>
      <dgm:spPr/>
    </dgm:pt>
  </dgm:ptLst>
  <dgm:cxnLst>
    <dgm:cxn modelId="{951A6E1A-03C4-458B-96AB-B4E5CC0050E9}" srcId="{96609644-ED37-4CFD-9576-2D87A747A403}" destId="{E55D8DC2-D961-44AA-91D7-D07F43E75B46}" srcOrd="0" destOrd="0" parTransId="{ED2253A0-139D-4635-81B1-5B981E2B745D}" sibTransId="{890B45C2-E4FB-400C-B30C-0AF8EB72E7C7}"/>
    <dgm:cxn modelId="{CDC98A9F-8C58-4FCC-BD41-36BC78556664}" type="presOf" srcId="{96609644-ED37-4CFD-9576-2D87A747A403}" destId="{94B59DFC-53CD-4026-AE45-CF3D05663176}" srcOrd="0" destOrd="0" presId="urn:microsoft.com/office/officeart/2008/layout/CaptionedPictures"/>
    <dgm:cxn modelId="{24E9FAA2-2125-452F-836C-06350CE766BA}" type="presOf" srcId="{619D765E-4A9A-4C6E-BCD3-0AA375F8F005}" destId="{75D8D60D-F60C-4945-B23E-92721BAFA598}" srcOrd="0" destOrd="0" presId="urn:microsoft.com/office/officeart/2008/layout/CaptionedPictures"/>
    <dgm:cxn modelId="{687217B8-1563-4E94-9232-4C7C5D1D97D6}" type="presOf" srcId="{E55D8DC2-D961-44AA-91D7-D07F43E75B46}" destId="{84131B07-0AE6-4A4C-99D5-0F3127166778}" srcOrd="0" destOrd="0" presId="urn:microsoft.com/office/officeart/2008/layout/CaptionedPictures"/>
    <dgm:cxn modelId="{32D513D9-C40F-4446-9B5D-88F19910E6C5}" srcId="{96609644-ED37-4CFD-9576-2D87A747A403}" destId="{619D765E-4A9A-4C6E-BCD3-0AA375F8F005}" srcOrd="1" destOrd="0" parTransId="{E0EDBF59-C2A8-43B9-9CEB-2AC588BE2AB1}" sibTransId="{A19A2DBC-4794-4B16-8994-23CB27B19886}"/>
    <dgm:cxn modelId="{9E3C1B47-44BA-42E8-BA33-AAACE3EA20C9}" type="presParOf" srcId="{94B59DFC-53CD-4026-AE45-CF3D05663176}" destId="{029979BA-D75A-4116-9D31-A72213E85656}" srcOrd="0" destOrd="0" presId="urn:microsoft.com/office/officeart/2008/layout/CaptionedPictures"/>
    <dgm:cxn modelId="{A81CDA97-CE1C-42FE-8466-3C5223E4CD54}" type="presParOf" srcId="{029979BA-D75A-4116-9D31-A72213E85656}" destId="{6CF426D9-8DA1-45C1-96AA-B985C57610C2}" srcOrd="0" destOrd="0" presId="urn:microsoft.com/office/officeart/2008/layout/CaptionedPictures"/>
    <dgm:cxn modelId="{26EDD4FE-397B-4DBE-B917-A4CC7D23C1C3}" type="presParOf" srcId="{029979BA-D75A-4116-9D31-A72213E85656}" destId="{B9A61958-CB82-4618-B320-D0B999302E3F}" srcOrd="1" destOrd="0" presId="urn:microsoft.com/office/officeart/2008/layout/CaptionedPictures"/>
    <dgm:cxn modelId="{82A7F794-692D-4A45-A3D3-AB6594A364CC}" type="presParOf" srcId="{029979BA-D75A-4116-9D31-A72213E85656}" destId="{58F8726E-1B4B-4A90-9639-5FB2E982F947}" srcOrd="2" destOrd="0" presId="urn:microsoft.com/office/officeart/2008/layout/CaptionedPictures"/>
    <dgm:cxn modelId="{F5F2A068-4F24-4ECF-BCB3-187196D258A9}" type="presParOf" srcId="{58F8726E-1B4B-4A90-9639-5FB2E982F947}" destId="{43A2016F-B92C-4E91-B3D5-4B3E285C76A6}" srcOrd="0" destOrd="0" presId="urn:microsoft.com/office/officeart/2008/layout/CaptionedPictures"/>
    <dgm:cxn modelId="{5DDD9DEA-12BC-4DDC-8578-C8ECF48750AD}" type="presParOf" srcId="{58F8726E-1B4B-4A90-9639-5FB2E982F947}" destId="{84131B07-0AE6-4A4C-99D5-0F3127166778}" srcOrd="1" destOrd="0" presId="urn:microsoft.com/office/officeart/2008/layout/CaptionedPictures"/>
    <dgm:cxn modelId="{369D35B8-F9A6-4E94-AEE8-0EB752F902CA}" type="presParOf" srcId="{94B59DFC-53CD-4026-AE45-CF3D05663176}" destId="{C7491DF1-19A0-45FD-8724-91D811676C19}" srcOrd="1" destOrd="0" presId="urn:microsoft.com/office/officeart/2008/layout/CaptionedPictures"/>
    <dgm:cxn modelId="{47CFCFB6-C02C-4BBE-9B43-1E94BF150763}" type="presParOf" srcId="{94B59DFC-53CD-4026-AE45-CF3D05663176}" destId="{BEB2C5D0-ED23-47B7-B654-C69E01B55660}" srcOrd="2" destOrd="0" presId="urn:microsoft.com/office/officeart/2008/layout/CaptionedPictures"/>
    <dgm:cxn modelId="{EB2D525A-CEEA-401B-A43F-F421EF10FDF8}" type="presParOf" srcId="{BEB2C5D0-ED23-47B7-B654-C69E01B55660}" destId="{A13637E9-13C5-476C-89CC-97196437BAE4}" srcOrd="0" destOrd="0" presId="urn:microsoft.com/office/officeart/2008/layout/CaptionedPictures"/>
    <dgm:cxn modelId="{336752D6-A473-44C4-9063-39433C88C4F0}" type="presParOf" srcId="{BEB2C5D0-ED23-47B7-B654-C69E01B55660}" destId="{7312879E-208F-42AC-AF25-9B069F468039}" srcOrd="1" destOrd="0" presId="urn:microsoft.com/office/officeart/2008/layout/CaptionedPictures"/>
    <dgm:cxn modelId="{FA0B101A-61BF-445B-A4C7-B369934EB07B}" type="presParOf" srcId="{BEB2C5D0-ED23-47B7-B654-C69E01B55660}" destId="{858B0FD8-5604-4D11-B97A-31E717A16A7F}" srcOrd="2" destOrd="0" presId="urn:microsoft.com/office/officeart/2008/layout/CaptionedPictures"/>
    <dgm:cxn modelId="{DD4F5C70-3D79-404B-9B01-A20DF84F6605}" type="presParOf" srcId="{858B0FD8-5604-4D11-B97A-31E717A16A7F}" destId="{8A562621-E337-4E45-AD31-34C2D076C913}" srcOrd="0" destOrd="0" presId="urn:microsoft.com/office/officeart/2008/layout/CaptionedPictures"/>
    <dgm:cxn modelId="{DF9CFA24-40D7-48AC-8584-45F34E96E721}" type="presParOf" srcId="{858B0FD8-5604-4D11-B97A-31E717A16A7F}" destId="{75D8D60D-F60C-4945-B23E-92721BAFA598}" srcOrd="1" destOrd="0" presId="urn:microsoft.com/office/officeart/2008/layout/CaptionedPicture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96609644-ED37-4CFD-9576-2D87A747A403}" type="doc">
      <dgm:prSet loTypeId="urn:microsoft.com/office/officeart/2008/layout/CaptionedPictures" loCatId="picture" qsTypeId="urn:microsoft.com/office/officeart/2005/8/quickstyle/simple1" qsCatId="simple" csTypeId="urn:microsoft.com/office/officeart/2005/8/colors/accent1_1" csCatId="accent1" phldr="1"/>
      <dgm:spPr/>
    </dgm:pt>
    <dgm:pt modelId="{E55D8DC2-D961-44AA-91D7-D07F43E75B46}">
      <dgm:prSet phldrT="[Texto]" custT="1"/>
      <dgm:spPr/>
      <dgm:t>
        <a:bodyPr/>
        <a:lstStyle/>
        <a:p>
          <a:r>
            <a:rPr lang="es-ES" sz="2400" dirty="0"/>
            <a:t>Ordenador Quántico</a:t>
          </a:r>
        </a:p>
      </dgm:t>
    </dgm:pt>
    <dgm:pt modelId="{ED2253A0-139D-4635-81B1-5B981E2B745D}" type="parTrans" cxnId="{951A6E1A-03C4-458B-96AB-B4E5CC0050E9}">
      <dgm:prSet/>
      <dgm:spPr/>
      <dgm:t>
        <a:bodyPr/>
        <a:lstStyle/>
        <a:p>
          <a:endParaRPr lang="es-ES"/>
        </a:p>
      </dgm:t>
    </dgm:pt>
    <dgm:pt modelId="{890B45C2-E4FB-400C-B30C-0AF8EB72E7C7}" type="sibTrans" cxnId="{951A6E1A-03C4-458B-96AB-B4E5CC0050E9}">
      <dgm:prSet/>
      <dgm:spPr/>
      <dgm:t>
        <a:bodyPr/>
        <a:lstStyle/>
        <a:p>
          <a:endParaRPr lang="es-ES"/>
        </a:p>
      </dgm:t>
    </dgm:pt>
    <dgm:pt modelId="{619D765E-4A9A-4C6E-BCD3-0AA375F8F005}">
      <dgm:prSet phldrT="[Texto]" custT="1"/>
      <dgm:spPr/>
      <dgm:t>
        <a:bodyPr/>
        <a:lstStyle/>
        <a:p>
          <a:r>
            <a:rPr lang="es-ES" sz="2400" dirty="0"/>
            <a:t>Qbit</a:t>
          </a:r>
        </a:p>
      </dgm:t>
    </dgm:pt>
    <dgm:pt modelId="{E0EDBF59-C2A8-43B9-9CEB-2AC588BE2AB1}" type="parTrans" cxnId="{32D513D9-C40F-4446-9B5D-88F19910E6C5}">
      <dgm:prSet/>
      <dgm:spPr/>
      <dgm:t>
        <a:bodyPr/>
        <a:lstStyle/>
        <a:p>
          <a:endParaRPr lang="es-ES"/>
        </a:p>
      </dgm:t>
    </dgm:pt>
    <dgm:pt modelId="{A19A2DBC-4794-4B16-8994-23CB27B19886}" type="sibTrans" cxnId="{32D513D9-C40F-4446-9B5D-88F19910E6C5}">
      <dgm:prSet/>
      <dgm:spPr/>
      <dgm:t>
        <a:bodyPr/>
        <a:lstStyle/>
        <a:p>
          <a:endParaRPr lang="es-ES"/>
        </a:p>
      </dgm:t>
    </dgm:pt>
    <dgm:pt modelId="{8E8D33B3-0D6B-4070-848E-019272CA1B72}" type="pres">
      <dgm:prSet presAssocID="{96609644-ED37-4CFD-9576-2D87A747A403}" presName="Name0" presStyleCnt="0">
        <dgm:presLayoutVars>
          <dgm:chMax/>
          <dgm:chPref/>
          <dgm:dir/>
        </dgm:presLayoutVars>
      </dgm:prSet>
      <dgm:spPr/>
    </dgm:pt>
    <dgm:pt modelId="{BCD7DF95-7B78-400F-ACAF-FEF0408A7B49}" type="pres">
      <dgm:prSet presAssocID="{E55D8DC2-D961-44AA-91D7-D07F43E75B46}" presName="composite" presStyleCnt="0">
        <dgm:presLayoutVars>
          <dgm:chMax val="1"/>
          <dgm:chPref val="1"/>
        </dgm:presLayoutVars>
      </dgm:prSet>
      <dgm:spPr/>
    </dgm:pt>
    <dgm:pt modelId="{12367732-4FF8-4EDC-87A2-B5D20D0C62B5}" type="pres">
      <dgm:prSet presAssocID="{E55D8DC2-D961-44AA-91D7-D07F43E75B46}" presName="Accent" presStyleLbl="trAlignAcc1" presStyleIdx="0" presStyleCnt="2">
        <dgm:presLayoutVars>
          <dgm:chMax val="0"/>
          <dgm:chPref val="0"/>
        </dgm:presLayoutVars>
      </dgm:prSet>
      <dgm:spPr/>
    </dgm:pt>
    <dgm:pt modelId="{7AD90ECA-4DB4-4602-BC68-C91B7E239D6F}" type="pres">
      <dgm:prSet presAssocID="{E55D8DC2-D961-44AA-91D7-D07F43E75B46}" presName="Image" presStyleLbl="alignImgPlace1" presStyleIdx="0" presStyleCnt="2">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10800" b="10800"/>
          </a:stretch>
        </a:blipFill>
      </dgm:spPr>
    </dgm:pt>
    <dgm:pt modelId="{ABB4E8D7-ED81-47FC-AF5B-DDD7693A156C}" type="pres">
      <dgm:prSet presAssocID="{E55D8DC2-D961-44AA-91D7-D07F43E75B46}" presName="ChildComposite" presStyleCnt="0"/>
      <dgm:spPr/>
    </dgm:pt>
    <dgm:pt modelId="{7CAB595A-B967-44BF-8D37-1EE8F984CB23}" type="pres">
      <dgm:prSet presAssocID="{E55D8DC2-D961-44AA-91D7-D07F43E75B46}" presName="Child" presStyleLbl="node1" presStyleIdx="0" presStyleCnt="0">
        <dgm:presLayoutVars>
          <dgm:chMax val="0"/>
          <dgm:chPref val="0"/>
          <dgm:bulletEnabled val="1"/>
        </dgm:presLayoutVars>
      </dgm:prSet>
      <dgm:spPr/>
    </dgm:pt>
    <dgm:pt modelId="{C3746D20-3157-4253-B17A-6AA8BC99DCE1}" type="pres">
      <dgm:prSet presAssocID="{E55D8DC2-D961-44AA-91D7-D07F43E75B46}" presName="Parent" presStyleLbl="revTx" presStyleIdx="0" presStyleCnt="2">
        <dgm:presLayoutVars>
          <dgm:chMax val="1"/>
          <dgm:chPref val="0"/>
          <dgm:bulletEnabled val="1"/>
        </dgm:presLayoutVars>
      </dgm:prSet>
      <dgm:spPr/>
    </dgm:pt>
    <dgm:pt modelId="{6A586C22-3417-4105-A1CA-79608BEBECC1}" type="pres">
      <dgm:prSet presAssocID="{890B45C2-E4FB-400C-B30C-0AF8EB72E7C7}" presName="sibTrans" presStyleCnt="0"/>
      <dgm:spPr/>
    </dgm:pt>
    <dgm:pt modelId="{915A675F-C5D5-48A7-BAD2-5691C7678780}" type="pres">
      <dgm:prSet presAssocID="{619D765E-4A9A-4C6E-BCD3-0AA375F8F005}" presName="composite" presStyleCnt="0">
        <dgm:presLayoutVars>
          <dgm:chMax val="1"/>
          <dgm:chPref val="1"/>
        </dgm:presLayoutVars>
      </dgm:prSet>
      <dgm:spPr/>
    </dgm:pt>
    <dgm:pt modelId="{57F3B0FC-D32F-4617-B174-3AD569F4C376}" type="pres">
      <dgm:prSet presAssocID="{619D765E-4A9A-4C6E-BCD3-0AA375F8F005}" presName="Accent" presStyleLbl="trAlignAcc1" presStyleIdx="1" presStyleCnt="2">
        <dgm:presLayoutVars>
          <dgm:chMax val="0"/>
          <dgm:chPref val="0"/>
        </dgm:presLayoutVars>
      </dgm:prSet>
      <dgm:spPr/>
    </dgm:pt>
    <dgm:pt modelId="{5679D6FE-3D80-4F47-B2AA-0F70556FD8D1}" type="pres">
      <dgm:prSet presAssocID="{619D765E-4A9A-4C6E-BCD3-0AA375F8F005}" presName="Image" presStyleLbl="alignImgPlace1" presStyleIdx="1" presStyleCnt="2">
        <dgm:presLayoutVars>
          <dgm:chMax val="0"/>
          <dgm:chPref val="0"/>
        </dgm:presLayoutVars>
      </dgm:prSet>
      <dgm:spPr>
        <a:blipFill dpi="0" rotWithShape="1">
          <a:blip xmlns:r="http://schemas.openxmlformats.org/officeDocument/2006/relationships" r:embed="rId2"/>
          <a:srcRect/>
          <a:stretch>
            <a:fillRect l="21350" r="21350"/>
          </a:stretch>
        </a:blipFill>
      </dgm:spPr>
    </dgm:pt>
    <dgm:pt modelId="{C4A06F37-8160-4635-A7C0-5C4681506E51}" type="pres">
      <dgm:prSet presAssocID="{619D765E-4A9A-4C6E-BCD3-0AA375F8F005}" presName="ChildComposite" presStyleCnt="0"/>
      <dgm:spPr/>
    </dgm:pt>
    <dgm:pt modelId="{79CF1D27-BA73-4124-ACC5-C6876CCB65C9}" type="pres">
      <dgm:prSet presAssocID="{619D765E-4A9A-4C6E-BCD3-0AA375F8F005}" presName="Child" presStyleLbl="node1" presStyleIdx="0" presStyleCnt="0">
        <dgm:presLayoutVars>
          <dgm:chMax val="0"/>
          <dgm:chPref val="0"/>
          <dgm:bulletEnabled val="1"/>
        </dgm:presLayoutVars>
      </dgm:prSet>
      <dgm:spPr/>
    </dgm:pt>
    <dgm:pt modelId="{135F63CA-D5AA-414A-A415-2976D2CDDBE0}" type="pres">
      <dgm:prSet presAssocID="{619D765E-4A9A-4C6E-BCD3-0AA375F8F005}" presName="Parent" presStyleLbl="revTx" presStyleIdx="1" presStyleCnt="2">
        <dgm:presLayoutVars>
          <dgm:chMax val="1"/>
          <dgm:chPref val="0"/>
          <dgm:bulletEnabled val="1"/>
        </dgm:presLayoutVars>
      </dgm:prSet>
      <dgm:spPr/>
    </dgm:pt>
  </dgm:ptLst>
  <dgm:cxnLst>
    <dgm:cxn modelId="{951A6E1A-03C4-458B-96AB-B4E5CC0050E9}" srcId="{96609644-ED37-4CFD-9576-2D87A747A403}" destId="{E55D8DC2-D961-44AA-91D7-D07F43E75B46}" srcOrd="0" destOrd="0" parTransId="{ED2253A0-139D-4635-81B1-5B981E2B745D}" sibTransId="{890B45C2-E4FB-400C-B30C-0AF8EB72E7C7}"/>
    <dgm:cxn modelId="{6B7F111D-AE22-4F94-9FFA-3F56483ADA93}" type="presOf" srcId="{E55D8DC2-D961-44AA-91D7-D07F43E75B46}" destId="{C3746D20-3157-4253-B17A-6AA8BC99DCE1}" srcOrd="0" destOrd="0" presId="urn:microsoft.com/office/officeart/2008/layout/CaptionedPictures"/>
    <dgm:cxn modelId="{5F17E32F-D910-4DD4-9A04-C4CA4E4FE13C}" type="presOf" srcId="{619D765E-4A9A-4C6E-BCD3-0AA375F8F005}" destId="{135F63CA-D5AA-414A-A415-2976D2CDDBE0}" srcOrd="0" destOrd="0" presId="urn:microsoft.com/office/officeart/2008/layout/CaptionedPictures"/>
    <dgm:cxn modelId="{5793408D-ABEC-49B2-B0EC-4F23049FCADD}" type="presOf" srcId="{96609644-ED37-4CFD-9576-2D87A747A403}" destId="{8E8D33B3-0D6B-4070-848E-019272CA1B72}" srcOrd="0" destOrd="0" presId="urn:microsoft.com/office/officeart/2008/layout/CaptionedPictures"/>
    <dgm:cxn modelId="{32D513D9-C40F-4446-9B5D-88F19910E6C5}" srcId="{96609644-ED37-4CFD-9576-2D87A747A403}" destId="{619D765E-4A9A-4C6E-BCD3-0AA375F8F005}" srcOrd="1" destOrd="0" parTransId="{E0EDBF59-C2A8-43B9-9CEB-2AC588BE2AB1}" sibTransId="{A19A2DBC-4794-4B16-8994-23CB27B19886}"/>
    <dgm:cxn modelId="{3B32579C-8DDC-4E6C-ABFD-C3EC5B9B6DAA}" type="presParOf" srcId="{8E8D33B3-0D6B-4070-848E-019272CA1B72}" destId="{BCD7DF95-7B78-400F-ACAF-FEF0408A7B49}" srcOrd="0" destOrd="0" presId="urn:microsoft.com/office/officeart/2008/layout/CaptionedPictures"/>
    <dgm:cxn modelId="{6D2A788E-F77B-4EA7-A5F2-38F726988A75}" type="presParOf" srcId="{BCD7DF95-7B78-400F-ACAF-FEF0408A7B49}" destId="{12367732-4FF8-4EDC-87A2-B5D20D0C62B5}" srcOrd="0" destOrd="0" presId="urn:microsoft.com/office/officeart/2008/layout/CaptionedPictures"/>
    <dgm:cxn modelId="{3973E224-D529-458F-97CF-2CBC9C015874}" type="presParOf" srcId="{BCD7DF95-7B78-400F-ACAF-FEF0408A7B49}" destId="{7AD90ECA-4DB4-4602-BC68-C91B7E239D6F}" srcOrd="1" destOrd="0" presId="urn:microsoft.com/office/officeart/2008/layout/CaptionedPictures"/>
    <dgm:cxn modelId="{51E88E9D-5C68-4A19-9A87-4C7E6BA4E8B7}" type="presParOf" srcId="{BCD7DF95-7B78-400F-ACAF-FEF0408A7B49}" destId="{ABB4E8D7-ED81-47FC-AF5B-DDD7693A156C}" srcOrd="2" destOrd="0" presId="urn:microsoft.com/office/officeart/2008/layout/CaptionedPictures"/>
    <dgm:cxn modelId="{58F08BF9-3FCD-4B36-A23A-8B3A52F50B69}" type="presParOf" srcId="{ABB4E8D7-ED81-47FC-AF5B-DDD7693A156C}" destId="{7CAB595A-B967-44BF-8D37-1EE8F984CB23}" srcOrd="0" destOrd="0" presId="urn:microsoft.com/office/officeart/2008/layout/CaptionedPictures"/>
    <dgm:cxn modelId="{4E57B113-9B44-41A8-A9FE-8109B1061C9A}" type="presParOf" srcId="{ABB4E8D7-ED81-47FC-AF5B-DDD7693A156C}" destId="{C3746D20-3157-4253-B17A-6AA8BC99DCE1}" srcOrd="1" destOrd="0" presId="urn:microsoft.com/office/officeart/2008/layout/CaptionedPictures"/>
    <dgm:cxn modelId="{09F8FFD2-0153-4C2A-8CD6-66EE93BCB62F}" type="presParOf" srcId="{8E8D33B3-0D6B-4070-848E-019272CA1B72}" destId="{6A586C22-3417-4105-A1CA-79608BEBECC1}" srcOrd="1" destOrd="0" presId="urn:microsoft.com/office/officeart/2008/layout/CaptionedPictures"/>
    <dgm:cxn modelId="{2CCFFB04-7A9C-4978-825E-56027F8D8BF2}" type="presParOf" srcId="{8E8D33B3-0D6B-4070-848E-019272CA1B72}" destId="{915A675F-C5D5-48A7-BAD2-5691C7678780}" srcOrd="2" destOrd="0" presId="urn:microsoft.com/office/officeart/2008/layout/CaptionedPictures"/>
    <dgm:cxn modelId="{B4788A18-90C7-4F41-ABFE-706E38852EC1}" type="presParOf" srcId="{915A675F-C5D5-48A7-BAD2-5691C7678780}" destId="{57F3B0FC-D32F-4617-B174-3AD569F4C376}" srcOrd="0" destOrd="0" presId="urn:microsoft.com/office/officeart/2008/layout/CaptionedPictures"/>
    <dgm:cxn modelId="{1D5A7C94-7132-486A-89A9-DF9E5400A7DF}" type="presParOf" srcId="{915A675F-C5D5-48A7-BAD2-5691C7678780}" destId="{5679D6FE-3D80-4F47-B2AA-0F70556FD8D1}" srcOrd="1" destOrd="0" presId="urn:microsoft.com/office/officeart/2008/layout/CaptionedPictures"/>
    <dgm:cxn modelId="{C9A2F2F8-9658-48AE-AEEB-8B8134ABEC85}" type="presParOf" srcId="{915A675F-C5D5-48A7-BAD2-5691C7678780}" destId="{C4A06F37-8160-4635-A7C0-5C4681506E51}" srcOrd="2" destOrd="0" presId="urn:microsoft.com/office/officeart/2008/layout/CaptionedPictures"/>
    <dgm:cxn modelId="{FD6E9088-22C9-4C0A-84E9-5E96F952F803}" type="presParOf" srcId="{C4A06F37-8160-4635-A7C0-5C4681506E51}" destId="{79CF1D27-BA73-4124-ACC5-C6876CCB65C9}" srcOrd="0" destOrd="0" presId="urn:microsoft.com/office/officeart/2008/layout/CaptionedPictures"/>
    <dgm:cxn modelId="{7839CD0D-6C8B-4965-BD61-FDA1CEF6DFD2}" type="presParOf" srcId="{C4A06F37-8160-4635-A7C0-5C4681506E51}" destId="{135F63CA-D5AA-414A-A415-2976D2CDDBE0}" srcOrd="1" destOrd="0" presId="urn:microsoft.com/office/officeart/2008/layout/CaptionedPicture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1C05035A-58A3-4D77-8108-2D01F519782F}" type="doc">
      <dgm:prSet loTypeId="urn:microsoft.com/office/officeart/2005/8/layout/bProcess3" loCatId="process" qsTypeId="urn:microsoft.com/office/officeart/2005/8/quickstyle/simple3" qsCatId="simple" csTypeId="urn:microsoft.com/office/officeart/2005/8/colors/accent1_3" csCatId="accent1" phldr="1"/>
      <dgm:spPr/>
      <dgm:t>
        <a:bodyPr/>
        <a:lstStyle/>
        <a:p>
          <a:endParaRPr lang="es-ES"/>
        </a:p>
      </dgm:t>
    </dgm:pt>
    <dgm:pt modelId="{D3BEFF40-4EB0-443D-AE54-07D627537D7D}">
      <dgm:prSet phldrT="[Texto]" custT="1"/>
      <dgm:spPr/>
      <dgm:t>
        <a:bodyPr/>
        <a:lstStyle/>
        <a:p>
          <a:r>
            <a:rPr lang="es-ES" sz="1400" b="1" dirty="0">
              <a:highlight>
                <a:srgbClr val="FFFFFF"/>
              </a:highlight>
            </a:rPr>
            <a:t>Introducción a la transformación digital</a:t>
          </a:r>
        </a:p>
      </dgm:t>
    </dgm:pt>
    <dgm:pt modelId="{F0569AAD-E0B3-4CBE-8C7A-8B56B42273E4}" type="parTrans" cxnId="{3F3A670C-FB0F-4EF9-B46C-D9CFADD6E48D}">
      <dgm:prSet/>
      <dgm:spPr/>
      <dgm:t>
        <a:bodyPr/>
        <a:lstStyle/>
        <a:p>
          <a:endParaRPr lang="es-ES" sz="2400"/>
        </a:p>
      </dgm:t>
    </dgm:pt>
    <dgm:pt modelId="{63D4F358-B5F7-4989-8719-A380EF79791B}" type="sibTrans" cxnId="{3F3A670C-FB0F-4EF9-B46C-D9CFADD6E48D}">
      <dgm:prSet custT="1"/>
      <dgm:spPr/>
      <dgm:t>
        <a:bodyPr/>
        <a:lstStyle/>
        <a:p>
          <a:endParaRPr lang="es-ES" sz="2400" dirty="0"/>
        </a:p>
      </dgm:t>
    </dgm:pt>
    <dgm:pt modelId="{8A8D6F37-49AC-4E06-93AD-FE41F1A5FC8F}">
      <dgm:prSet custT="1"/>
      <dgm:spPr/>
      <dgm:t>
        <a:bodyPr/>
        <a:lstStyle/>
        <a:p>
          <a:r>
            <a:rPr lang="es-ES" sz="1400" b="1" dirty="0">
              <a:highlight>
                <a:srgbClr val="FFFFFF"/>
              </a:highlight>
            </a:rPr>
            <a:t>Tipo de servicios:</a:t>
          </a:r>
        </a:p>
      </dgm:t>
    </dgm:pt>
    <dgm:pt modelId="{FC37648F-0106-490C-9551-8540F69B7276}" type="parTrans" cxnId="{7CAA6960-DDCC-441D-82D0-E64735B6718F}">
      <dgm:prSet/>
      <dgm:spPr/>
      <dgm:t>
        <a:bodyPr/>
        <a:lstStyle/>
        <a:p>
          <a:endParaRPr lang="es-ES" sz="2400"/>
        </a:p>
      </dgm:t>
    </dgm:pt>
    <dgm:pt modelId="{4FA1F2E1-A09C-44E2-8E85-2CCBB1CCBFE0}" type="sibTrans" cxnId="{7CAA6960-DDCC-441D-82D0-E64735B6718F}">
      <dgm:prSet custT="1"/>
      <dgm:spPr/>
      <dgm:t>
        <a:bodyPr/>
        <a:lstStyle/>
        <a:p>
          <a:endParaRPr lang="es-ES" sz="2400" dirty="0"/>
        </a:p>
      </dgm:t>
    </dgm:pt>
    <dgm:pt modelId="{81163E10-FA1B-4546-AE24-1CCF4A55551F}">
      <dgm:prSet custT="1"/>
      <dgm:spPr/>
      <dgm:t>
        <a:bodyPr/>
        <a:lstStyle/>
        <a:p>
          <a:r>
            <a:rPr lang="es-ES" sz="1050" dirty="0"/>
            <a:t>Saas (Software as a Service), </a:t>
          </a:r>
        </a:p>
      </dgm:t>
    </dgm:pt>
    <dgm:pt modelId="{29D7F255-01F7-4B7C-8F01-1C81E0BD8D6C}" type="parTrans" cxnId="{C39434CA-EAE5-4F46-8A84-53EB258E27D0}">
      <dgm:prSet/>
      <dgm:spPr/>
      <dgm:t>
        <a:bodyPr/>
        <a:lstStyle/>
        <a:p>
          <a:endParaRPr lang="es-ES" sz="2400"/>
        </a:p>
      </dgm:t>
    </dgm:pt>
    <dgm:pt modelId="{FD8C849F-866B-4150-965A-B3FE8B69E6C8}" type="sibTrans" cxnId="{C39434CA-EAE5-4F46-8A84-53EB258E27D0}">
      <dgm:prSet/>
      <dgm:spPr/>
      <dgm:t>
        <a:bodyPr/>
        <a:lstStyle/>
        <a:p>
          <a:endParaRPr lang="es-ES" sz="2400"/>
        </a:p>
      </dgm:t>
    </dgm:pt>
    <dgm:pt modelId="{7D660CDE-E901-4730-99A7-98E3CDD51D2D}">
      <dgm:prSet custT="1"/>
      <dgm:spPr/>
      <dgm:t>
        <a:bodyPr/>
        <a:lstStyle/>
        <a:p>
          <a:r>
            <a:rPr lang="es-ES" sz="1400" b="1" dirty="0">
              <a:highlight>
                <a:srgbClr val="FFFFFF"/>
              </a:highlight>
            </a:rPr>
            <a:t>Ítems técnicos</a:t>
          </a:r>
          <a:r>
            <a:rPr lang="es-ES" sz="1400" dirty="0"/>
            <a:t> de la Transformación Digital</a:t>
          </a:r>
        </a:p>
      </dgm:t>
    </dgm:pt>
    <dgm:pt modelId="{F12FDFB6-12BD-4D9E-B32C-5DA663ACDDF8}" type="parTrans" cxnId="{6845916B-1D12-4F77-84DA-7BEBB11E2475}">
      <dgm:prSet/>
      <dgm:spPr/>
      <dgm:t>
        <a:bodyPr/>
        <a:lstStyle/>
        <a:p>
          <a:endParaRPr lang="es-ES" sz="2400"/>
        </a:p>
      </dgm:t>
    </dgm:pt>
    <dgm:pt modelId="{3812DF9A-CFAA-4DA7-B308-093053EC3CF3}" type="sibTrans" cxnId="{6845916B-1D12-4F77-84DA-7BEBB11E2475}">
      <dgm:prSet custT="1"/>
      <dgm:spPr/>
      <dgm:t>
        <a:bodyPr/>
        <a:lstStyle/>
        <a:p>
          <a:endParaRPr lang="es-ES" sz="2400" dirty="0"/>
        </a:p>
      </dgm:t>
    </dgm:pt>
    <dgm:pt modelId="{93FA9806-8290-4C0E-8F3B-DD4061BDE197}">
      <dgm:prSet custT="1"/>
      <dgm:spPr/>
      <dgm:t>
        <a:bodyPr/>
        <a:lstStyle/>
        <a:p>
          <a:r>
            <a:rPr lang="es-ES" sz="1400" b="1" dirty="0">
              <a:highlight>
                <a:srgbClr val="FFFFFF"/>
              </a:highlight>
            </a:rPr>
            <a:t>Aproximación 1</a:t>
          </a:r>
          <a:r>
            <a:rPr lang="es-ES" sz="1400" dirty="0">
              <a:highlight>
                <a:srgbClr val="FFFFFF"/>
              </a:highlight>
            </a:rPr>
            <a:t>:</a:t>
          </a:r>
        </a:p>
      </dgm:t>
    </dgm:pt>
    <dgm:pt modelId="{C7C98F96-4708-461C-B15A-66DB2E6656A4}" type="parTrans" cxnId="{18CE5430-9EEB-4BD0-9279-A00C18DC5E08}">
      <dgm:prSet/>
      <dgm:spPr/>
      <dgm:t>
        <a:bodyPr/>
        <a:lstStyle/>
        <a:p>
          <a:endParaRPr lang="es-ES" sz="2400"/>
        </a:p>
      </dgm:t>
    </dgm:pt>
    <dgm:pt modelId="{F6704F76-85E4-48ED-9DE6-CF2AE64037FA}" type="sibTrans" cxnId="{18CE5430-9EEB-4BD0-9279-A00C18DC5E08}">
      <dgm:prSet custT="1"/>
      <dgm:spPr/>
      <dgm:t>
        <a:bodyPr/>
        <a:lstStyle/>
        <a:p>
          <a:endParaRPr lang="es-ES" sz="2400" dirty="0"/>
        </a:p>
      </dgm:t>
    </dgm:pt>
    <dgm:pt modelId="{81A71E17-0351-4253-88FF-A15907E4AB56}">
      <dgm:prSet custT="1"/>
      <dgm:spPr/>
      <dgm:t>
        <a:bodyPr/>
        <a:lstStyle/>
        <a:p>
          <a:r>
            <a:rPr lang="es-ES" sz="1050" dirty="0"/>
            <a:t>Big Data</a:t>
          </a:r>
        </a:p>
      </dgm:t>
    </dgm:pt>
    <dgm:pt modelId="{1739CCA5-FA4A-4736-8B7C-AA023ECE0EC0}" type="parTrans" cxnId="{82CFE7F2-A464-4A5B-8D07-E7607C703EE0}">
      <dgm:prSet/>
      <dgm:spPr/>
      <dgm:t>
        <a:bodyPr/>
        <a:lstStyle/>
        <a:p>
          <a:endParaRPr lang="es-ES" sz="2400"/>
        </a:p>
      </dgm:t>
    </dgm:pt>
    <dgm:pt modelId="{A9968063-9F62-4259-A401-18B0B299C5F6}" type="sibTrans" cxnId="{82CFE7F2-A464-4A5B-8D07-E7607C703EE0}">
      <dgm:prSet/>
      <dgm:spPr/>
      <dgm:t>
        <a:bodyPr/>
        <a:lstStyle/>
        <a:p>
          <a:endParaRPr lang="es-ES" sz="2400"/>
        </a:p>
      </dgm:t>
    </dgm:pt>
    <dgm:pt modelId="{6E614D4C-7548-4CCD-AFA8-3F7F02844704}">
      <dgm:prSet custT="1"/>
      <dgm:spPr/>
      <dgm:t>
        <a:bodyPr/>
        <a:lstStyle/>
        <a:p>
          <a:r>
            <a:rPr lang="es-ES" sz="1050" dirty="0"/>
            <a:t>e Inteligencia Artificial: Generativa y Tradicional.</a:t>
          </a:r>
        </a:p>
      </dgm:t>
    </dgm:pt>
    <dgm:pt modelId="{6ADD149E-92E5-4E19-B100-905A13421E44}" type="parTrans" cxnId="{1026FEDB-2828-446D-827B-66907970217F}">
      <dgm:prSet/>
      <dgm:spPr/>
      <dgm:t>
        <a:bodyPr/>
        <a:lstStyle/>
        <a:p>
          <a:endParaRPr lang="es-ES" sz="2400"/>
        </a:p>
      </dgm:t>
    </dgm:pt>
    <dgm:pt modelId="{21CDB6FC-7056-40D1-A131-31328B532B37}" type="sibTrans" cxnId="{1026FEDB-2828-446D-827B-66907970217F}">
      <dgm:prSet/>
      <dgm:spPr/>
      <dgm:t>
        <a:bodyPr/>
        <a:lstStyle/>
        <a:p>
          <a:endParaRPr lang="es-ES" sz="2400"/>
        </a:p>
      </dgm:t>
    </dgm:pt>
    <dgm:pt modelId="{9BB0138D-F3BE-4720-A04C-838F97396951}">
      <dgm:prSet custT="1"/>
      <dgm:spPr/>
      <dgm:t>
        <a:bodyPr/>
        <a:lstStyle/>
        <a:p>
          <a:r>
            <a:rPr lang="es-ES" sz="1400" b="1" dirty="0">
              <a:highlight>
                <a:srgbClr val="FFFFFF"/>
              </a:highlight>
            </a:rPr>
            <a:t>Almacenamiento:</a:t>
          </a:r>
        </a:p>
      </dgm:t>
    </dgm:pt>
    <dgm:pt modelId="{6900AAF1-3694-4857-B79A-3EDA584794D7}" type="parTrans" cxnId="{0FAA7395-D2C2-4B4D-A49B-1178952990E7}">
      <dgm:prSet/>
      <dgm:spPr/>
      <dgm:t>
        <a:bodyPr/>
        <a:lstStyle/>
        <a:p>
          <a:endParaRPr lang="es-ES" sz="2400"/>
        </a:p>
      </dgm:t>
    </dgm:pt>
    <dgm:pt modelId="{36DBC555-AECC-4B36-B4AF-45EC42E4489D}" type="sibTrans" cxnId="{0FAA7395-D2C2-4B4D-A49B-1178952990E7}">
      <dgm:prSet custT="1"/>
      <dgm:spPr/>
      <dgm:t>
        <a:bodyPr/>
        <a:lstStyle/>
        <a:p>
          <a:endParaRPr lang="es-ES" sz="2400" dirty="0"/>
        </a:p>
      </dgm:t>
    </dgm:pt>
    <dgm:pt modelId="{E0BAB958-40A7-4BB7-BFBA-3478B87F3DA1}">
      <dgm:prSet custT="1"/>
      <dgm:spPr/>
      <dgm:t>
        <a:bodyPr/>
        <a:lstStyle/>
        <a:p>
          <a:r>
            <a:rPr lang="es-ES" sz="1400" b="1" dirty="0">
              <a:highlight>
                <a:srgbClr val="FFFFFF"/>
              </a:highlight>
            </a:rPr>
            <a:t>Aproximación 2:</a:t>
          </a:r>
        </a:p>
      </dgm:t>
    </dgm:pt>
    <dgm:pt modelId="{02E249BB-7867-43BF-8958-938322EFB74E}" type="parTrans" cxnId="{EB411B88-4EBB-4C80-A265-60B364C12A87}">
      <dgm:prSet/>
      <dgm:spPr/>
      <dgm:t>
        <a:bodyPr/>
        <a:lstStyle/>
        <a:p>
          <a:endParaRPr lang="es-ES" sz="2400"/>
        </a:p>
      </dgm:t>
    </dgm:pt>
    <dgm:pt modelId="{56DC33F5-FBEC-498D-BA7A-29DFCB9AA1F1}" type="sibTrans" cxnId="{EB411B88-4EBB-4C80-A265-60B364C12A87}">
      <dgm:prSet custT="1"/>
      <dgm:spPr/>
      <dgm:t>
        <a:bodyPr/>
        <a:lstStyle/>
        <a:p>
          <a:endParaRPr lang="es-ES" sz="2400" dirty="0"/>
        </a:p>
      </dgm:t>
    </dgm:pt>
    <dgm:pt modelId="{E456B2A4-137B-4419-8A9C-E13EFF181355}">
      <dgm:prSet custT="1"/>
      <dgm:spPr/>
      <dgm:t>
        <a:bodyPr/>
        <a:lstStyle/>
        <a:p>
          <a:r>
            <a:rPr lang="es-ES" sz="1050" dirty="0"/>
            <a:t>Big Data</a:t>
          </a:r>
        </a:p>
      </dgm:t>
    </dgm:pt>
    <dgm:pt modelId="{C6A2B1A2-0EA4-445D-9E5D-B7269939CFBE}" type="parTrans" cxnId="{0BE352A3-FBA4-48C0-94AD-9B2E28401F20}">
      <dgm:prSet/>
      <dgm:spPr/>
      <dgm:t>
        <a:bodyPr/>
        <a:lstStyle/>
        <a:p>
          <a:endParaRPr lang="es-ES" sz="2400"/>
        </a:p>
      </dgm:t>
    </dgm:pt>
    <dgm:pt modelId="{1F5917D9-556C-4C91-9DD2-0D2CB3D468C3}" type="sibTrans" cxnId="{0BE352A3-FBA4-48C0-94AD-9B2E28401F20}">
      <dgm:prSet/>
      <dgm:spPr/>
      <dgm:t>
        <a:bodyPr/>
        <a:lstStyle/>
        <a:p>
          <a:endParaRPr lang="es-ES" sz="2400"/>
        </a:p>
      </dgm:t>
    </dgm:pt>
    <dgm:pt modelId="{5D2CEAD6-F409-4BD8-8345-5499421AB792}">
      <dgm:prSet custT="1"/>
      <dgm:spPr/>
      <dgm:t>
        <a:bodyPr/>
        <a:lstStyle/>
        <a:p>
          <a:r>
            <a:rPr lang="es-ES" sz="1400" b="1" dirty="0">
              <a:highlight>
                <a:srgbClr val="FFFFFF"/>
              </a:highlight>
            </a:rPr>
            <a:t>Un proyecto</a:t>
          </a:r>
        </a:p>
      </dgm:t>
    </dgm:pt>
    <dgm:pt modelId="{E025D544-4097-4A41-9167-B1BB0B55CCB0}" type="parTrans" cxnId="{6D8E3454-6171-496D-99C1-92682C9167B3}">
      <dgm:prSet/>
      <dgm:spPr/>
      <dgm:t>
        <a:bodyPr/>
        <a:lstStyle/>
        <a:p>
          <a:endParaRPr lang="es-ES" sz="2400"/>
        </a:p>
      </dgm:t>
    </dgm:pt>
    <dgm:pt modelId="{5F618E9F-7B28-406A-9E57-3ECB949FF2D3}" type="sibTrans" cxnId="{6D8E3454-6171-496D-99C1-92682C9167B3}">
      <dgm:prSet/>
      <dgm:spPr/>
      <dgm:t>
        <a:bodyPr/>
        <a:lstStyle/>
        <a:p>
          <a:endParaRPr lang="es-ES" sz="2400"/>
        </a:p>
      </dgm:t>
    </dgm:pt>
    <dgm:pt modelId="{99ECE200-A889-4A0C-9FA5-64790AB6FDB0}">
      <dgm:prSet custT="1"/>
      <dgm:spPr/>
      <dgm:t>
        <a:bodyPr/>
        <a:lstStyle/>
        <a:p>
          <a:r>
            <a:rPr lang="es-ES" sz="1050" dirty="0"/>
            <a:t>Paas (Platform as a Service)</a:t>
          </a:r>
        </a:p>
      </dgm:t>
    </dgm:pt>
    <dgm:pt modelId="{ECB1A2CF-4F4A-4E54-81BE-924F2E89C0FE}" type="parTrans" cxnId="{00E4C776-B88B-48A5-90BB-0CF64A26ACA0}">
      <dgm:prSet/>
      <dgm:spPr/>
      <dgm:t>
        <a:bodyPr/>
        <a:lstStyle/>
        <a:p>
          <a:endParaRPr lang="es-ES"/>
        </a:p>
      </dgm:t>
    </dgm:pt>
    <dgm:pt modelId="{3EAEE95A-82FE-455C-9C93-48B2D28B795F}" type="sibTrans" cxnId="{00E4C776-B88B-48A5-90BB-0CF64A26ACA0}">
      <dgm:prSet/>
      <dgm:spPr/>
      <dgm:t>
        <a:bodyPr/>
        <a:lstStyle/>
        <a:p>
          <a:endParaRPr lang="es-ES"/>
        </a:p>
      </dgm:t>
    </dgm:pt>
    <dgm:pt modelId="{A9B3B3AF-502B-4C35-B753-60713E20BDCE}">
      <dgm:prSet custT="1"/>
      <dgm:spPr/>
      <dgm:t>
        <a:bodyPr/>
        <a:lstStyle/>
        <a:p>
          <a:r>
            <a:rPr lang="es-ES" sz="1050" dirty="0"/>
            <a:t>Iaas (Infraestructure as a Service).</a:t>
          </a:r>
        </a:p>
      </dgm:t>
    </dgm:pt>
    <dgm:pt modelId="{417756B4-D7C9-46D7-A09D-A9EF1297654B}" type="parTrans" cxnId="{C6835E11-3F73-4FA7-89D7-DA3AA712E85E}">
      <dgm:prSet/>
      <dgm:spPr/>
      <dgm:t>
        <a:bodyPr/>
        <a:lstStyle/>
        <a:p>
          <a:endParaRPr lang="es-ES"/>
        </a:p>
      </dgm:t>
    </dgm:pt>
    <dgm:pt modelId="{17333C71-421B-4B95-A147-58111892EE78}" type="sibTrans" cxnId="{C6835E11-3F73-4FA7-89D7-DA3AA712E85E}">
      <dgm:prSet/>
      <dgm:spPr/>
      <dgm:t>
        <a:bodyPr/>
        <a:lstStyle/>
        <a:p>
          <a:endParaRPr lang="es-ES"/>
        </a:p>
      </dgm:t>
    </dgm:pt>
    <dgm:pt modelId="{68E3830A-D040-4437-A664-ED689B730331}">
      <dgm:prSet custT="1"/>
      <dgm:spPr/>
      <dgm:t>
        <a:bodyPr/>
        <a:lstStyle/>
        <a:p>
          <a:r>
            <a:rPr lang="es-ES" sz="1400" b="1" dirty="0">
              <a:highlight>
                <a:srgbClr val="FFFFFF"/>
              </a:highlight>
            </a:rPr>
            <a:t>Origen del dato: </a:t>
          </a:r>
          <a:r>
            <a:rPr lang="es-ES" sz="1400" dirty="0"/>
            <a:t>Operacional vs Analítico, CRM, ERP, Datos externos. </a:t>
          </a:r>
          <a:endParaRPr lang="es-ES" sz="1050" dirty="0"/>
        </a:p>
      </dgm:t>
    </dgm:pt>
    <dgm:pt modelId="{20CF792D-5769-47D5-A681-E4D045B10247}" type="parTrans" cxnId="{B5635887-0639-4A6A-BD60-5DDE1AC2A6FE}">
      <dgm:prSet/>
      <dgm:spPr/>
      <dgm:t>
        <a:bodyPr/>
        <a:lstStyle/>
        <a:p>
          <a:endParaRPr lang="es-ES"/>
        </a:p>
      </dgm:t>
    </dgm:pt>
    <dgm:pt modelId="{80C0D042-C0D4-4936-BA64-5845DD4EA926}" type="sibTrans" cxnId="{B5635887-0639-4A6A-BD60-5DDE1AC2A6FE}">
      <dgm:prSet/>
      <dgm:spPr/>
      <dgm:t>
        <a:bodyPr/>
        <a:lstStyle/>
        <a:p>
          <a:endParaRPr lang="es-ES" dirty="0"/>
        </a:p>
      </dgm:t>
    </dgm:pt>
    <dgm:pt modelId="{A01ECBA6-CD50-423B-9617-78C46577CC06}">
      <dgm:prSet custT="1"/>
      <dgm:spPr/>
      <dgm:t>
        <a:bodyPr/>
        <a:lstStyle/>
        <a:p>
          <a:r>
            <a:rPr lang="es-ES" sz="1400" dirty="0">
              <a:highlight>
                <a:srgbClr val="FFFFFF"/>
              </a:highlight>
            </a:rPr>
            <a:t>Nube "vs" on-premise.</a:t>
          </a:r>
          <a:endParaRPr lang="es-ES" sz="1400" b="1" dirty="0">
            <a:highlight>
              <a:srgbClr val="FFFFFF"/>
            </a:highlight>
          </a:endParaRPr>
        </a:p>
      </dgm:t>
    </dgm:pt>
    <dgm:pt modelId="{372F7999-465F-45A9-AB36-F4963545E84A}" type="parTrans" cxnId="{B0B6AA77-4FD5-43C3-AAE5-65734DB40EA0}">
      <dgm:prSet/>
      <dgm:spPr/>
      <dgm:t>
        <a:bodyPr/>
        <a:lstStyle/>
        <a:p>
          <a:endParaRPr lang="es-ES"/>
        </a:p>
      </dgm:t>
    </dgm:pt>
    <dgm:pt modelId="{2307F7F2-3F23-46DC-A11D-5AB632B237D1}" type="sibTrans" cxnId="{B0B6AA77-4FD5-43C3-AAE5-65734DB40EA0}">
      <dgm:prSet/>
      <dgm:spPr/>
      <dgm:t>
        <a:bodyPr/>
        <a:lstStyle/>
        <a:p>
          <a:endParaRPr lang="es-ES"/>
        </a:p>
      </dgm:t>
    </dgm:pt>
    <dgm:pt modelId="{8B682B72-C684-496F-A34A-A9C6694BB9ED}">
      <dgm:prSet custT="1"/>
      <dgm:spPr/>
      <dgm:t>
        <a:bodyPr/>
        <a:lstStyle/>
        <a:p>
          <a:r>
            <a:rPr lang="es-ES" sz="1050" dirty="0"/>
            <a:t>e Inteligencia Artificial: Generativa y Tradicional.</a:t>
          </a:r>
        </a:p>
      </dgm:t>
    </dgm:pt>
    <dgm:pt modelId="{C458E2A8-5FAD-4546-9372-3FC60EBEBFDD}" type="parTrans" cxnId="{DC630516-0F8A-45A5-A9EC-B081DE444777}">
      <dgm:prSet/>
      <dgm:spPr/>
      <dgm:t>
        <a:bodyPr/>
        <a:lstStyle/>
        <a:p>
          <a:endParaRPr lang="es-ES"/>
        </a:p>
      </dgm:t>
    </dgm:pt>
    <dgm:pt modelId="{F5D08524-87A9-4098-B55D-6DB1A65BC59B}" type="sibTrans" cxnId="{DC630516-0F8A-45A5-A9EC-B081DE444777}">
      <dgm:prSet/>
      <dgm:spPr/>
      <dgm:t>
        <a:bodyPr/>
        <a:lstStyle/>
        <a:p>
          <a:endParaRPr lang="es-ES"/>
        </a:p>
      </dgm:t>
    </dgm:pt>
    <dgm:pt modelId="{4C478888-813E-41FB-AB45-6CDA8F592901}" type="pres">
      <dgm:prSet presAssocID="{1C05035A-58A3-4D77-8108-2D01F519782F}" presName="Name0" presStyleCnt="0">
        <dgm:presLayoutVars>
          <dgm:dir/>
          <dgm:resizeHandles val="exact"/>
        </dgm:presLayoutVars>
      </dgm:prSet>
      <dgm:spPr/>
    </dgm:pt>
    <dgm:pt modelId="{12031CAE-653E-444D-B94F-C48EC568733D}" type="pres">
      <dgm:prSet presAssocID="{D3BEFF40-4EB0-443D-AE54-07D627537D7D}" presName="node" presStyleLbl="node1" presStyleIdx="0" presStyleCnt="8">
        <dgm:presLayoutVars>
          <dgm:bulletEnabled val="1"/>
        </dgm:presLayoutVars>
      </dgm:prSet>
      <dgm:spPr/>
    </dgm:pt>
    <dgm:pt modelId="{B0CCCB34-D60A-44E1-A44A-EB47EA3AB751}" type="pres">
      <dgm:prSet presAssocID="{63D4F358-B5F7-4989-8719-A380EF79791B}" presName="sibTrans" presStyleLbl="sibTrans1D1" presStyleIdx="0" presStyleCnt="7"/>
      <dgm:spPr/>
    </dgm:pt>
    <dgm:pt modelId="{1DD016A1-6F87-4EBE-A0E8-25D68F51531F}" type="pres">
      <dgm:prSet presAssocID="{63D4F358-B5F7-4989-8719-A380EF79791B}" presName="connectorText" presStyleLbl="sibTrans1D1" presStyleIdx="0" presStyleCnt="7"/>
      <dgm:spPr/>
    </dgm:pt>
    <dgm:pt modelId="{BC841A12-76DD-4881-BCFC-87324C87DFF4}" type="pres">
      <dgm:prSet presAssocID="{7D660CDE-E901-4730-99A7-98E3CDD51D2D}" presName="node" presStyleLbl="node1" presStyleIdx="1" presStyleCnt="8">
        <dgm:presLayoutVars>
          <dgm:bulletEnabled val="1"/>
        </dgm:presLayoutVars>
      </dgm:prSet>
      <dgm:spPr/>
    </dgm:pt>
    <dgm:pt modelId="{3AA65DD2-5546-4C52-B82E-A52514E48654}" type="pres">
      <dgm:prSet presAssocID="{3812DF9A-CFAA-4DA7-B308-093053EC3CF3}" presName="sibTrans" presStyleLbl="sibTrans1D1" presStyleIdx="1" presStyleCnt="7"/>
      <dgm:spPr/>
    </dgm:pt>
    <dgm:pt modelId="{F83C5CE1-9D1F-4C4E-82F2-CEDDC13FE395}" type="pres">
      <dgm:prSet presAssocID="{3812DF9A-CFAA-4DA7-B308-093053EC3CF3}" presName="connectorText" presStyleLbl="sibTrans1D1" presStyleIdx="1" presStyleCnt="7"/>
      <dgm:spPr/>
    </dgm:pt>
    <dgm:pt modelId="{F393F410-F746-434F-AC7D-679C0E30025E}" type="pres">
      <dgm:prSet presAssocID="{8A8D6F37-49AC-4E06-93AD-FE41F1A5FC8F}" presName="node" presStyleLbl="node1" presStyleIdx="2" presStyleCnt="8">
        <dgm:presLayoutVars>
          <dgm:bulletEnabled val="1"/>
        </dgm:presLayoutVars>
      </dgm:prSet>
      <dgm:spPr/>
    </dgm:pt>
    <dgm:pt modelId="{08D88CB0-60AD-46C9-BC66-01E230BE336C}" type="pres">
      <dgm:prSet presAssocID="{4FA1F2E1-A09C-44E2-8E85-2CCBB1CCBFE0}" presName="sibTrans" presStyleLbl="sibTrans1D1" presStyleIdx="2" presStyleCnt="7"/>
      <dgm:spPr/>
    </dgm:pt>
    <dgm:pt modelId="{2A2B2ED0-09BD-451C-BC31-FF960DE87806}" type="pres">
      <dgm:prSet presAssocID="{4FA1F2E1-A09C-44E2-8E85-2CCBB1CCBFE0}" presName="connectorText" presStyleLbl="sibTrans1D1" presStyleIdx="2" presStyleCnt="7"/>
      <dgm:spPr/>
    </dgm:pt>
    <dgm:pt modelId="{4D47CEDA-E50B-4818-8FEE-8561B2EF3E17}" type="pres">
      <dgm:prSet presAssocID="{68E3830A-D040-4437-A664-ED689B730331}" presName="node" presStyleLbl="node1" presStyleIdx="3" presStyleCnt="8">
        <dgm:presLayoutVars>
          <dgm:bulletEnabled val="1"/>
        </dgm:presLayoutVars>
      </dgm:prSet>
      <dgm:spPr/>
    </dgm:pt>
    <dgm:pt modelId="{01A68787-5999-4120-83FB-42567CD4C527}" type="pres">
      <dgm:prSet presAssocID="{80C0D042-C0D4-4936-BA64-5845DD4EA926}" presName="sibTrans" presStyleLbl="sibTrans1D1" presStyleIdx="3" presStyleCnt="7"/>
      <dgm:spPr/>
    </dgm:pt>
    <dgm:pt modelId="{15FD8E3B-D945-4456-940B-71661610C00C}" type="pres">
      <dgm:prSet presAssocID="{80C0D042-C0D4-4936-BA64-5845DD4EA926}" presName="connectorText" presStyleLbl="sibTrans1D1" presStyleIdx="3" presStyleCnt="7"/>
      <dgm:spPr/>
    </dgm:pt>
    <dgm:pt modelId="{2657BA48-BD47-4BE1-858B-072D4CDBD2EB}" type="pres">
      <dgm:prSet presAssocID="{9BB0138D-F3BE-4720-A04C-838F97396951}" presName="node" presStyleLbl="node1" presStyleIdx="4" presStyleCnt="8">
        <dgm:presLayoutVars>
          <dgm:bulletEnabled val="1"/>
        </dgm:presLayoutVars>
      </dgm:prSet>
      <dgm:spPr/>
    </dgm:pt>
    <dgm:pt modelId="{8202FED3-7CF9-4D9C-8DB9-D33AE18C03DD}" type="pres">
      <dgm:prSet presAssocID="{36DBC555-AECC-4B36-B4AF-45EC42E4489D}" presName="sibTrans" presStyleLbl="sibTrans1D1" presStyleIdx="4" presStyleCnt="7"/>
      <dgm:spPr/>
    </dgm:pt>
    <dgm:pt modelId="{949FEAE1-6B8E-4E49-9846-51C8ADAB5736}" type="pres">
      <dgm:prSet presAssocID="{36DBC555-AECC-4B36-B4AF-45EC42E4489D}" presName="connectorText" presStyleLbl="sibTrans1D1" presStyleIdx="4" presStyleCnt="7"/>
      <dgm:spPr/>
    </dgm:pt>
    <dgm:pt modelId="{4B7699E1-03BB-44A3-BBB0-351096F4838D}" type="pres">
      <dgm:prSet presAssocID="{93FA9806-8290-4C0E-8F3B-DD4061BDE197}" presName="node" presStyleLbl="node1" presStyleIdx="5" presStyleCnt="8">
        <dgm:presLayoutVars>
          <dgm:bulletEnabled val="1"/>
        </dgm:presLayoutVars>
      </dgm:prSet>
      <dgm:spPr/>
    </dgm:pt>
    <dgm:pt modelId="{41359306-62C6-42FB-A79A-EF0E25A4E3B3}" type="pres">
      <dgm:prSet presAssocID="{F6704F76-85E4-48ED-9DE6-CF2AE64037FA}" presName="sibTrans" presStyleLbl="sibTrans1D1" presStyleIdx="5" presStyleCnt="7"/>
      <dgm:spPr/>
    </dgm:pt>
    <dgm:pt modelId="{3C3B7CC8-0F1A-41E6-85D5-B0FD5AD60985}" type="pres">
      <dgm:prSet presAssocID="{F6704F76-85E4-48ED-9DE6-CF2AE64037FA}" presName="connectorText" presStyleLbl="sibTrans1D1" presStyleIdx="5" presStyleCnt="7"/>
      <dgm:spPr/>
    </dgm:pt>
    <dgm:pt modelId="{335C5C5F-FDCF-427E-A197-92575D120A5C}" type="pres">
      <dgm:prSet presAssocID="{E0BAB958-40A7-4BB7-BFBA-3478B87F3DA1}" presName="node" presStyleLbl="node1" presStyleIdx="6" presStyleCnt="8">
        <dgm:presLayoutVars>
          <dgm:bulletEnabled val="1"/>
        </dgm:presLayoutVars>
      </dgm:prSet>
      <dgm:spPr/>
    </dgm:pt>
    <dgm:pt modelId="{04233DCC-F3F4-4F09-9FDC-06FC568CC460}" type="pres">
      <dgm:prSet presAssocID="{56DC33F5-FBEC-498D-BA7A-29DFCB9AA1F1}" presName="sibTrans" presStyleLbl="sibTrans1D1" presStyleIdx="6" presStyleCnt="7"/>
      <dgm:spPr/>
    </dgm:pt>
    <dgm:pt modelId="{7C430775-AF8D-4D57-8FDB-FB8CBE6A7BF1}" type="pres">
      <dgm:prSet presAssocID="{56DC33F5-FBEC-498D-BA7A-29DFCB9AA1F1}" presName="connectorText" presStyleLbl="sibTrans1D1" presStyleIdx="6" presStyleCnt="7"/>
      <dgm:spPr/>
    </dgm:pt>
    <dgm:pt modelId="{17AAEB00-218F-479E-B87D-D1AE9970CD6B}" type="pres">
      <dgm:prSet presAssocID="{5D2CEAD6-F409-4BD8-8345-5499421AB792}" presName="node" presStyleLbl="node1" presStyleIdx="7" presStyleCnt="8">
        <dgm:presLayoutVars>
          <dgm:bulletEnabled val="1"/>
        </dgm:presLayoutVars>
      </dgm:prSet>
      <dgm:spPr/>
    </dgm:pt>
  </dgm:ptLst>
  <dgm:cxnLst>
    <dgm:cxn modelId="{6A145A01-B5E7-4D90-9BE6-FBDA8F5A9B7C}" type="presOf" srcId="{8A8D6F37-49AC-4E06-93AD-FE41F1A5FC8F}" destId="{F393F410-F746-434F-AC7D-679C0E30025E}" srcOrd="0" destOrd="0" presId="urn:microsoft.com/office/officeart/2005/8/layout/bProcess3"/>
    <dgm:cxn modelId="{3F3A670C-FB0F-4EF9-B46C-D9CFADD6E48D}" srcId="{1C05035A-58A3-4D77-8108-2D01F519782F}" destId="{D3BEFF40-4EB0-443D-AE54-07D627537D7D}" srcOrd="0" destOrd="0" parTransId="{F0569AAD-E0B3-4CBE-8C7A-8B56B42273E4}" sibTransId="{63D4F358-B5F7-4989-8719-A380EF79791B}"/>
    <dgm:cxn modelId="{C6835E11-3F73-4FA7-89D7-DA3AA712E85E}" srcId="{8A8D6F37-49AC-4E06-93AD-FE41F1A5FC8F}" destId="{A9B3B3AF-502B-4C35-B753-60713E20BDCE}" srcOrd="2" destOrd="0" parTransId="{417756B4-D7C9-46D7-A09D-A9EF1297654B}" sibTransId="{17333C71-421B-4B95-A147-58111892EE78}"/>
    <dgm:cxn modelId="{12E6BC12-0561-442B-AF87-40754709A9B3}" type="presOf" srcId="{68E3830A-D040-4437-A664-ED689B730331}" destId="{4D47CEDA-E50B-4818-8FEE-8561B2EF3E17}" srcOrd="0" destOrd="0" presId="urn:microsoft.com/office/officeart/2005/8/layout/bProcess3"/>
    <dgm:cxn modelId="{DC630516-0F8A-45A5-A9EC-B081DE444777}" srcId="{E0BAB958-40A7-4BB7-BFBA-3478B87F3DA1}" destId="{8B682B72-C684-496F-A34A-A9C6694BB9ED}" srcOrd="1" destOrd="0" parTransId="{C458E2A8-5FAD-4546-9372-3FC60EBEBFDD}" sibTransId="{F5D08524-87A9-4098-B55D-6DB1A65BC59B}"/>
    <dgm:cxn modelId="{18CE5430-9EEB-4BD0-9279-A00C18DC5E08}" srcId="{1C05035A-58A3-4D77-8108-2D01F519782F}" destId="{93FA9806-8290-4C0E-8F3B-DD4061BDE197}" srcOrd="5" destOrd="0" parTransId="{C7C98F96-4708-461C-B15A-66DB2E6656A4}" sibTransId="{F6704F76-85E4-48ED-9DE6-CF2AE64037FA}"/>
    <dgm:cxn modelId="{F46AF136-6B84-48FA-9C3C-D7A9ED554B68}" type="presOf" srcId="{8B682B72-C684-496F-A34A-A9C6694BB9ED}" destId="{335C5C5F-FDCF-427E-A197-92575D120A5C}" srcOrd="0" destOrd="2" presId="urn:microsoft.com/office/officeart/2005/8/layout/bProcess3"/>
    <dgm:cxn modelId="{06063D3A-7F66-4FB2-8427-18A963460255}" type="presOf" srcId="{F6704F76-85E4-48ED-9DE6-CF2AE64037FA}" destId="{3C3B7CC8-0F1A-41E6-85D5-B0FD5AD60985}" srcOrd="1" destOrd="0" presId="urn:microsoft.com/office/officeart/2005/8/layout/bProcess3"/>
    <dgm:cxn modelId="{3A447B5B-FA10-4235-AF0D-4490B0B5B4F1}" type="presOf" srcId="{4FA1F2E1-A09C-44E2-8E85-2CCBB1CCBFE0}" destId="{2A2B2ED0-09BD-451C-BC31-FF960DE87806}" srcOrd="1" destOrd="0" presId="urn:microsoft.com/office/officeart/2005/8/layout/bProcess3"/>
    <dgm:cxn modelId="{B2F2485E-300A-4A93-A0D1-7B709F2ADC1D}" type="presOf" srcId="{56DC33F5-FBEC-498D-BA7A-29DFCB9AA1F1}" destId="{04233DCC-F3F4-4F09-9FDC-06FC568CC460}" srcOrd="0" destOrd="0" presId="urn:microsoft.com/office/officeart/2005/8/layout/bProcess3"/>
    <dgm:cxn modelId="{7CAA6960-DDCC-441D-82D0-E64735B6718F}" srcId="{1C05035A-58A3-4D77-8108-2D01F519782F}" destId="{8A8D6F37-49AC-4E06-93AD-FE41F1A5FC8F}" srcOrd="2" destOrd="0" parTransId="{FC37648F-0106-490C-9551-8540F69B7276}" sibTransId="{4FA1F2E1-A09C-44E2-8E85-2CCBB1CCBFE0}"/>
    <dgm:cxn modelId="{EA858E48-9851-46CB-9CD2-D11B211A4BE3}" type="presOf" srcId="{7D660CDE-E901-4730-99A7-98E3CDD51D2D}" destId="{BC841A12-76DD-4881-BCFC-87324C87DFF4}" srcOrd="0" destOrd="0" presId="urn:microsoft.com/office/officeart/2005/8/layout/bProcess3"/>
    <dgm:cxn modelId="{6845916B-1D12-4F77-84DA-7BEBB11E2475}" srcId="{1C05035A-58A3-4D77-8108-2D01F519782F}" destId="{7D660CDE-E901-4730-99A7-98E3CDD51D2D}" srcOrd="1" destOrd="0" parTransId="{F12FDFB6-12BD-4D9E-B32C-5DA663ACDDF8}" sibTransId="{3812DF9A-CFAA-4DA7-B308-093053EC3CF3}"/>
    <dgm:cxn modelId="{8157FF70-B9B8-4EE5-B953-6D3AF55E1FB2}" type="presOf" srcId="{99ECE200-A889-4A0C-9FA5-64790AB6FDB0}" destId="{F393F410-F746-434F-AC7D-679C0E30025E}" srcOrd="0" destOrd="2" presId="urn:microsoft.com/office/officeart/2005/8/layout/bProcess3"/>
    <dgm:cxn modelId="{6D8E3454-6171-496D-99C1-92682C9167B3}" srcId="{1C05035A-58A3-4D77-8108-2D01F519782F}" destId="{5D2CEAD6-F409-4BD8-8345-5499421AB792}" srcOrd="7" destOrd="0" parTransId="{E025D544-4097-4A41-9167-B1BB0B55CCB0}" sibTransId="{5F618E9F-7B28-406A-9E57-3ECB949FF2D3}"/>
    <dgm:cxn modelId="{00E4C776-B88B-48A5-90BB-0CF64A26ACA0}" srcId="{8A8D6F37-49AC-4E06-93AD-FE41F1A5FC8F}" destId="{99ECE200-A889-4A0C-9FA5-64790AB6FDB0}" srcOrd="1" destOrd="0" parTransId="{ECB1A2CF-4F4A-4E54-81BE-924F2E89C0FE}" sibTransId="{3EAEE95A-82FE-455C-9C93-48B2D28B795F}"/>
    <dgm:cxn modelId="{B0B6AA77-4FD5-43C3-AAE5-65734DB40EA0}" srcId="{9BB0138D-F3BE-4720-A04C-838F97396951}" destId="{A01ECBA6-CD50-423B-9617-78C46577CC06}" srcOrd="0" destOrd="0" parTransId="{372F7999-465F-45A9-AB36-F4963545E84A}" sibTransId="{2307F7F2-3F23-46DC-A11D-5AB632B237D1}"/>
    <dgm:cxn modelId="{E4A29558-6F14-43DE-8E69-5CDC7312274A}" type="presOf" srcId="{6E614D4C-7548-4CCD-AFA8-3F7F02844704}" destId="{4B7699E1-03BB-44A3-BBB0-351096F4838D}" srcOrd="0" destOrd="2" presId="urn:microsoft.com/office/officeart/2005/8/layout/bProcess3"/>
    <dgm:cxn modelId="{4DA92583-1AD4-45AF-A94B-F70C07B4176A}" type="presOf" srcId="{81163E10-FA1B-4546-AE24-1CCF4A55551F}" destId="{F393F410-F746-434F-AC7D-679C0E30025E}" srcOrd="0" destOrd="1" presId="urn:microsoft.com/office/officeart/2005/8/layout/bProcess3"/>
    <dgm:cxn modelId="{3EC05983-7FAC-4F34-BBAF-BB11213EF417}" type="presOf" srcId="{E0BAB958-40A7-4BB7-BFBA-3478B87F3DA1}" destId="{335C5C5F-FDCF-427E-A197-92575D120A5C}" srcOrd="0" destOrd="0" presId="urn:microsoft.com/office/officeart/2005/8/layout/bProcess3"/>
    <dgm:cxn modelId="{B5635887-0639-4A6A-BD60-5DDE1AC2A6FE}" srcId="{1C05035A-58A3-4D77-8108-2D01F519782F}" destId="{68E3830A-D040-4437-A664-ED689B730331}" srcOrd="3" destOrd="0" parTransId="{20CF792D-5769-47D5-A681-E4D045B10247}" sibTransId="{80C0D042-C0D4-4936-BA64-5845DD4EA926}"/>
    <dgm:cxn modelId="{EB411B88-4EBB-4C80-A265-60B364C12A87}" srcId="{1C05035A-58A3-4D77-8108-2D01F519782F}" destId="{E0BAB958-40A7-4BB7-BFBA-3478B87F3DA1}" srcOrd="6" destOrd="0" parTransId="{02E249BB-7867-43BF-8958-938322EFB74E}" sibTransId="{56DC33F5-FBEC-498D-BA7A-29DFCB9AA1F1}"/>
    <dgm:cxn modelId="{19BBAE8A-D980-461B-984E-91CEB3AEB563}" type="presOf" srcId="{81A71E17-0351-4253-88FF-A15907E4AB56}" destId="{4B7699E1-03BB-44A3-BBB0-351096F4838D}" srcOrd="0" destOrd="1" presId="urn:microsoft.com/office/officeart/2005/8/layout/bProcess3"/>
    <dgm:cxn modelId="{701E8E94-BEDB-4675-A7A6-916406836028}" type="presOf" srcId="{93FA9806-8290-4C0E-8F3B-DD4061BDE197}" destId="{4B7699E1-03BB-44A3-BBB0-351096F4838D}" srcOrd="0" destOrd="0" presId="urn:microsoft.com/office/officeart/2005/8/layout/bProcess3"/>
    <dgm:cxn modelId="{73E31A95-995C-43B0-82B3-F3A48D6697EE}" type="presOf" srcId="{A9B3B3AF-502B-4C35-B753-60713E20BDCE}" destId="{F393F410-F746-434F-AC7D-679C0E30025E}" srcOrd="0" destOrd="3" presId="urn:microsoft.com/office/officeart/2005/8/layout/bProcess3"/>
    <dgm:cxn modelId="{0FAA7395-D2C2-4B4D-A49B-1178952990E7}" srcId="{1C05035A-58A3-4D77-8108-2D01F519782F}" destId="{9BB0138D-F3BE-4720-A04C-838F97396951}" srcOrd="4" destOrd="0" parTransId="{6900AAF1-3694-4857-B79A-3EDA584794D7}" sibTransId="{36DBC555-AECC-4B36-B4AF-45EC42E4489D}"/>
    <dgm:cxn modelId="{39742BA3-D0C8-4ADF-83B0-0A7488D208A6}" type="presOf" srcId="{1C05035A-58A3-4D77-8108-2D01F519782F}" destId="{4C478888-813E-41FB-AB45-6CDA8F592901}" srcOrd="0" destOrd="0" presId="urn:microsoft.com/office/officeart/2005/8/layout/bProcess3"/>
    <dgm:cxn modelId="{0BE352A3-FBA4-48C0-94AD-9B2E28401F20}" srcId="{E0BAB958-40A7-4BB7-BFBA-3478B87F3DA1}" destId="{E456B2A4-137B-4419-8A9C-E13EFF181355}" srcOrd="0" destOrd="0" parTransId="{C6A2B1A2-0EA4-445D-9E5D-B7269939CFBE}" sibTransId="{1F5917D9-556C-4C91-9DD2-0D2CB3D468C3}"/>
    <dgm:cxn modelId="{AAE671A4-9FD9-4828-A720-E24E3B04BC5B}" type="presOf" srcId="{36DBC555-AECC-4B36-B4AF-45EC42E4489D}" destId="{949FEAE1-6B8E-4E49-9846-51C8ADAB5736}" srcOrd="1" destOrd="0" presId="urn:microsoft.com/office/officeart/2005/8/layout/bProcess3"/>
    <dgm:cxn modelId="{9BFAB7A9-634A-4920-9309-EC28FABC0739}" type="presOf" srcId="{56DC33F5-FBEC-498D-BA7A-29DFCB9AA1F1}" destId="{7C430775-AF8D-4D57-8FDB-FB8CBE6A7BF1}" srcOrd="1" destOrd="0" presId="urn:microsoft.com/office/officeart/2005/8/layout/bProcess3"/>
    <dgm:cxn modelId="{A235FFAA-E2CE-4AA6-A103-A82FA6F746EE}" type="presOf" srcId="{D3BEFF40-4EB0-443D-AE54-07D627537D7D}" destId="{12031CAE-653E-444D-B94F-C48EC568733D}" srcOrd="0" destOrd="0" presId="urn:microsoft.com/office/officeart/2005/8/layout/bProcess3"/>
    <dgm:cxn modelId="{BF5DCDBA-D2EB-4AF5-9D10-5143719EC8D6}" type="presOf" srcId="{80C0D042-C0D4-4936-BA64-5845DD4EA926}" destId="{15FD8E3B-D945-4456-940B-71661610C00C}" srcOrd="1" destOrd="0" presId="urn:microsoft.com/office/officeart/2005/8/layout/bProcess3"/>
    <dgm:cxn modelId="{F8ABDBBD-DEAC-48F2-A860-58CB9EB6F395}" type="presOf" srcId="{3812DF9A-CFAA-4DA7-B308-093053EC3CF3}" destId="{3AA65DD2-5546-4C52-B82E-A52514E48654}" srcOrd="0" destOrd="0" presId="urn:microsoft.com/office/officeart/2005/8/layout/bProcess3"/>
    <dgm:cxn modelId="{C900B7C4-6394-47FF-84D1-C91C2FB215B0}" type="presOf" srcId="{5D2CEAD6-F409-4BD8-8345-5499421AB792}" destId="{17AAEB00-218F-479E-B87D-D1AE9970CD6B}" srcOrd="0" destOrd="0" presId="urn:microsoft.com/office/officeart/2005/8/layout/bProcess3"/>
    <dgm:cxn modelId="{C39434CA-EAE5-4F46-8A84-53EB258E27D0}" srcId="{8A8D6F37-49AC-4E06-93AD-FE41F1A5FC8F}" destId="{81163E10-FA1B-4546-AE24-1CCF4A55551F}" srcOrd="0" destOrd="0" parTransId="{29D7F255-01F7-4B7C-8F01-1C81E0BD8D6C}" sibTransId="{FD8C849F-866B-4150-965A-B3FE8B69E6C8}"/>
    <dgm:cxn modelId="{99B54ECB-7F18-4DA1-9E95-6426A2F285E5}" type="presOf" srcId="{4FA1F2E1-A09C-44E2-8E85-2CCBB1CCBFE0}" destId="{08D88CB0-60AD-46C9-BC66-01E230BE336C}" srcOrd="0" destOrd="0" presId="urn:microsoft.com/office/officeart/2005/8/layout/bProcess3"/>
    <dgm:cxn modelId="{115AB1D4-DBFA-4AAB-9151-B8DEAF000B39}" type="presOf" srcId="{36DBC555-AECC-4B36-B4AF-45EC42E4489D}" destId="{8202FED3-7CF9-4D9C-8DB9-D33AE18C03DD}" srcOrd="0" destOrd="0" presId="urn:microsoft.com/office/officeart/2005/8/layout/bProcess3"/>
    <dgm:cxn modelId="{920ABBD6-06A5-4A11-BC22-2D0E02B91A7E}" type="presOf" srcId="{80C0D042-C0D4-4936-BA64-5845DD4EA926}" destId="{01A68787-5999-4120-83FB-42567CD4C527}" srcOrd="0" destOrd="0" presId="urn:microsoft.com/office/officeart/2005/8/layout/bProcess3"/>
    <dgm:cxn modelId="{1026FEDB-2828-446D-827B-66907970217F}" srcId="{93FA9806-8290-4C0E-8F3B-DD4061BDE197}" destId="{6E614D4C-7548-4CCD-AFA8-3F7F02844704}" srcOrd="1" destOrd="0" parTransId="{6ADD149E-92E5-4E19-B100-905A13421E44}" sibTransId="{21CDB6FC-7056-40D1-A131-31328B532B37}"/>
    <dgm:cxn modelId="{36B94FDD-D8ED-4CEF-BDC5-E4D1FD5704F3}" type="presOf" srcId="{A01ECBA6-CD50-423B-9617-78C46577CC06}" destId="{2657BA48-BD47-4BE1-858B-072D4CDBD2EB}" srcOrd="0" destOrd="1" presId="urn:microsoft.com/office/officeart/2005/8/layout/bProcess3"/>
    <dgm:cxn modelId="{ACC4F1DE-B562-467C-AAD6-521E1B63385B}" type="presOf" srcId="{E456B2A4-137B-4419-8A9C-E13EFF181355}" destId="{335C5C5F-FDCF-427E-A197-92575D120A5C}" srcOrd="0" destOrd="1" presId="urn:microsoft.com/office/officeart/2005/8/layout/bProcess3"/>
    <dgm:cxn modelId="{2215F3E2-079E-4470-A6F6-8C31A12796F3}" type="presOf" srcId="{63D4F358-B5F7-4989-8719-A380EF79791B}" destId="{B0CCCB34-D60A-44E1-A44A-EB47EA3AB751}" srcOrd="0" destOrd="0" presId="urn:microsoft.com/office/officeart/2005/8/layout/bProcess3"/>
    <dgm:cxn modelId="{EC198DE8-4D2C-470E-B850-C5FCD73A122F}" type="presOf" srcId="{9BB0138D-F3BE-4720-A04C-838F97396951}" destId="{2657BA48-BD47-4BE1-858B-072D4CDBD2EB}" srcOrd="0" destOrd="0" presId="urn:microsoft.com/office/officeart/2005/8/layout/bProcess3"/>
    <dgm:cxn modelId="{82CFE7F2-A464-4A5B-8D07-E7607C703EE0}" srcId="{93FA9806-8290-4C0E-8F3B-DD4061BDE197}" destId="{81A71E17-0351-4253-88FF-A15907E4AB56}" srcOrd="0" destOrd="0" parTransId="{1739CCA5-FA4A-4736-8B7C-AA023ECE0EC0}" sibTransId="{A9968063-9F62-4259-A401-18B0B299C5F6}"/>
    <dgm:cxn modelId="{169720F6-BE95-48A1-AF36-0D7E36E9D2FB}" type="presOf" srcId="{3812DF9A-CFAA-4DA7-B308-093053EC3CF3}" destId="{F83C5CE1-9D1F-4C4E-82F2-CEDDC13FE395}" srcOrd="1" destOrd="0" presId="urn:microsoft.com/office/officeart/2005/8/layout/bProcess3"/>
    <dgm:cxn modelId="{405B92F6-7D52-466C-83C1-1E2BCEC6929D}" type="presOf" srcId="{F6704F76-85E4-48ED-9DE6-CF2AE64037FA}" destId="{41359306-62C6-42FB-A79A-EF0E25A4E3B3}" srcOrd="0" destOrd="0" presId="urn:microsoft.com/office/officeart/2005/8/layout/bProcess3"/>
    <dgm:cxn modelId="{8446CCFE-4ECA-415C-8292-90D4C18CD307}" type="presOf" srcId="{63D4F358-B5F7-4989-8719-A380EF79791B}" destId="{1DD016A1-6F87-4EBE-A0E8-25D68F51531F}" srcOrd="1" destOrd="0" presId="urn:microsoft.com/office/officeart/2005/8/layout/bProcess3"/>
    <dgm:cxn modelId="{BFA76A7C-67DE-4B6A-A737-22C1D0D0DE16}" type="presParOf" srcId="{4C478888-813E-41FB-AB45-6CDA8F592901}" destId="{12031CAE-653E-444D-B94F-C48EC568733D}" srcOrd="0" destOrd="0" presId="urn:microsoft.com/office/officeart/2005/8/layout/bProcess3"/>
    <dgm:cxn modelId="{850BAE5D-18D7-4D48-AFA3-965D57BED15C}" type="presParOf" srcId="{4C478888-813E-41FB-AB45-6CDA8F592901}" destId="{B0CCCB34-D60A-44E1-A44A-EB47EA3AB751}" srcOrd="1" destOrd="0" presId="urn:microsoft.com/office/officeart/2005/8/layout/bProcess3"/>
    <dgm:cxn modelId="{2A0BE688-AA40-44FA-9E18-1915FDF2820D}" type="presParOf" srcId="{B0CCCB34-D60A-44E1-A44A-EB47EA3AB751}" destId="{1DD016A1-6F87-4EBE-A0E8-25D68F51531F}" srcOrd="0" destOrd="0" presId="urn:microsoft.com/office/officeart/2005/8/layout/bProcess3"/>
    <dgm:cxn modelId="{71F0E388-CDD6-4159-87DF-398ABC7945AA}" type="presParOf" srcId="{4C478888-813E-41FB-AB45-6CDA8F592901}" destId="{BC841A12-76DD-4881-BCFC-87324C87DFF4}" srcOrd="2" destOrd="0" presId="urn:microsoft.com/office/officeart/2005/8/layout/bProcess3"/>
    <dgm:cxn modelId="{E5B3F969-FE53-412A-9C0F-D9661F4BFB08}" type="presParOf" srcId="{4C478888-813E-41FB-AB45-6CDA8F592901}" destId="{3AA65DD2-5546-4C52-B82E-A52514E48654}" srcOrd="3" destOrd="0" presId="urn:microsoft.com/office/officeart/2005/8/layout/bProcess3"/>
    <dgm:cxn modelId="{76671725-428B-4186-9E9E-AB48C26E5186}" type="presParOf" srcId="{3AA65DD2-5546-4C52-B82E-A52514E48654}" destId="{F83C5CE1-9D1F-4C4E-82F2-CEDDC13FE395}" srcOrd="0" destOrd="0" presId="urn:microsoft.com/office/officeart/2005/8/layout/bProcess3"/>
    <dgm:cxn modelId="{C4DA5FEE-D7B0-4E6B-A5B1-89A1D13E7E8B}" type="presParOf" srcId="{4C478888-813E-41FB-AB45-6CDA8F592901}" destId="{F393F410-F746-434F-AC7D-679C0E30025E}" srcOrd="4" destOrd="0" presId="urn:microsoft.com/office/officeart/2005/8/layout/bProcess3"/>
    <dgm:cxn modelId="{2ED48693-025F-4F84-BDC5-E903BD8EC754}" type="presParOf" srcId="{4C478888-813E-41FB-AB45-6CDA8F592901}" destId="{08D88CB0-60AD-46C9-BC66-01E230BE336C}" srcOrd="5" destOrd="0" presId="urn:microsoft.com/office/officeart/2005/8/layout/bProcess3"/>
    <dgm:cxn modelId="{6ACAFA61-AE92-4BBB-9A1E-E56381568EBC}" type="presParOf" srcId="{08D88CB0-60AD-46C9-BC66-01E230BE336C}" destId="{2A2B2ED0-09BD-451C-BC31-FF960DE87806}" srcOrd="0" destOrd="0" presId="urn:microsoft.com/office/officeart/2005/8/layout/bProcess3"/>
    <dgm:cxn modelId="{AEB92926-F903-4B4E-A649-D1ECD3FA22D8}" type="presParOf" srcId="{4C478888-813E-41FB-AB45-6CDA8F592901}" destId="{4D47CEDA-E50B-4818-8FEE-8561B2EF3E17}" srcOrd="6" destOrd="0" presId="urn:microsoft.com/office/officeart/2005/8/layout/bProcess3"/>
    <dgm:cxn modelId="{A000C330-48E2-4C4A-80B0-68383CC4B703}" type="presParOf" srcId="{4C478888-813E-41FB-AB45-6CDA8F592901}" destId="{01A68787-5999-4120-83FB-42567CD4C527}" srcOrd="7" destOrd="0" presId="urn:microsoft.com/office/officeart/2005/8/layout/bProcess3"/>
    <dgm:cxn modelId="{D976CF83-1C67-4EC2-BFDD-1EF4A7B79FB5}" type="presParOf" srcId="{01A68787-5999-4120-83FB-42567CD4C527}" destId="{15FD8E3B-D945-4456-940B-71661610C00C}" srcOrd="0" destOrd="0" presId="urn:microsoft.com/office/officeart/2005/8/layout/bProcess3"/>
    <dgm:cxn modelId="{582C4534-0E9D-402F-84BD-5575F74EF2BD}" type="presParOf" srcId="{4C478888-813E-41FB-AB45-6CDA8F592901}" destId="{2657BA48-BD47-4BE1-858B-072D4CDBD2EB}" srcOrd="8" destOrd="0" presId="urn:microsoft.com/office/officeart/2005/8/layout/bProcess3"/>
    <dgm:cxn modelId="{5CC1C0DB-2F66-480E-96C5-45CF1530323B}" type="presParOf" srcId="{4C478888-813E-41FB-AB45-6CDA8F592901}" destId="{8202FED3-7CF9-4D9C-8DB9-D33AE18C03DD}" srcOrd="9" destOrd="0" presId="urn:microsoft.com/office/officeart/2005/8/layout/bProcess3"/>
    <dgm:cxn modelId="{4A9ADF96-413F-40D1-9091-3A0801776A48}" type="presParOf" srcId="{8202FED3-7CF9-4D9C-8DB9-D33AE18C03DD}" destId="{949FEAE1-6B8E-4E49-9846-51C8ADAB5736}" srcOrd="0" destOrd="0" presId="urn:microsoft.com/office/officeart/2005/8/layout/bProcess3"/>
    <dgm:cxn modelId="{5B7D52AA-CBA4-41B9-AB95-D3CEAE26F4D1}" type="presParOf" srcId="{4C478888-813E-41FB-AB45-6CDA8F592901}" destId="{4B7699E1-03BB-44A3-BBB0-351096F4838D}" srcOrd="10" destOrd="0" presId="urn:microsoft.com/office/officeart/2005/8/layout/bProcess3"/>
    <dgm:cxn modelId="{D02338DA-7FC3-4F7F-B3E1-720FA6B0CD85}" type="presParOf" srcId="{4C478888-813E-41FB-AB45-6CDA8F592901}" destId="{41359306-62C6-42FB-A79A-EF0E25A4E3B3}" srcOrd="11" destOrd="0" presId="urn:microsoft.com/office/officeart/2005/8/layout/bProcess3"/>
    <dgm:cxn modelId="{5233F38D-3A9C-434A-B4E8-BA794C3D90F0}" type="presParOf" srcId="{41359306-62C6-42FB-A79A-EF0E25A4E3B3}" destId="{3C3B7CC8-0F1A-41E6-85D5-B0FD5AD60985}" srcOrd="0" destOrd="0" presId="urn:microsoft.com/office/officeart/2005/8/layout/bProcess3"/>
    <dgm:cxn modelId="{D96BA932-1541-423A-9AE8-FAE08E4A4D60}" type="presParOf" srcId="{4C478888-813E-41FB-AB45-6CDA8F592901}" destId="{335C5C5F-FDCF-427E-A197-92575D120A5C}" srcOrd="12" destOrd="0" presId="urn:microsoft.com/office/officeart/2005/8/layout/bProcess3"/>
    <dgm:cxn modelId="{F5C91AED-8B64-405F-A3BE-749630A065E0}" type="presParOf" srcId="{4C478888-813E-41FB-AB45-6CDA8F592901}" destId="{04233DCC-F3F4-4F09-9FDC-06FC568CC460}" srcOrd="13" destOrd="0" presId="urn:microsoft.com/office/officeart/2005/8/layout/bProcess3"/>
    <dgm:cxn modelId="{BD5D16E8-A83D-4A96-8383-65014ABF3688}" type="presParOf" srcId="{04233DCC-F3F4-4F09-9FDC-06FC568CC460}" destId="{7C430775-AF8D-4D57-8FDB-FB8CBE6A7BF1}" srcOrd="0" destOrd="0" presId="urn:microsoft.com/office/officeart/2005/8/layout/bProcess3"/>
    <dgm:cxn modelId="{44CE7725-F6B8-4206-A174-32168FE0BADA}" type="presParOf" srcId="{4C478888-813E-41FB-AB45-6CDA8F592901}" destId="{17AAEB00-218F-479E-B87D-D1AE9970CD6B}" srcOrd="1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F86922A8-90FA-445C-A46F-6E2C91013A11}" type="doc">
      <dgm:prSet loTypeId="urn:microsoft.com/office/officeart/2005/8/layout/hList1" loCatId="list" qsTypeId="urn:microsoft.com/office/officeart/2005/8/quickstyle/simple2" qsCatId="simple" csTypeId="urn:microsoft.com/office/officeart/2005/8/colors/accent1_4" csCatId="accent1" phldr="1"/>
      <dgm:spPr/>
      <dgm:t>
        <a:bodyPr/>
        <a:lstStyle/>
        <a:p>
          <a:endParaRPr lang="es-ES"/>
        </a:p>
      </dgm:t>
    </dgm:pt>
    <dgm:pt modelId="{BAA9CF60-8F33-4246-A099-95887688B956}">
      <dgm:prSet phldrT="[Texto]"/>
      <dgm:spPr/>
      <dgm:t>
        <a:bodyPr/>
        <a:lstStyle/>
        <a:p>
          <a:r>
            <a:rPr lang="es-ES" dirty="0"/>
            <a:t>Según su forma jurídica:</a:t>
          </a:r>
        </a:p>
      </dgm:t>
    </dgm:pt>
    <dgm:pt modelId="{F4686F59-CB83-43BD-8E55-6389A18CD937}" type="parTrans" cxnId="{E4DE737E-C6AE-4277-9955-ADAEE6832117}">
      <dgm:prSet/>
      <dgm:spPr/>
      <dgm:t>
        <a:bodyPr/>
        <a:lstStyle/>
        <a:p>
          <a:endParaRPr lang="es-ES"/>
        </a:p>
      </dgm:t>
    </dgm:pt>
    <dgm:pt modelId="{F208650D-400B-461F-9CBB-F169E4C7D631}" type="sibTrans" cxnId="{E4DE737E-C6AE-4277-9955-ADAEE6832117}">
      <dgm:prSet/>
      <dgm:spPr/>
      <dgm:t>
        <a:bodyPr/>
        <a:lstStyle/>
        <a:p>
          <a:endParaRPr lang="es-ES"/>
        </a:p>
      </dgm:t>
    </dgm:pt>
    <dgm:pt modelId="{1CB12E0F-7CB5-4D17-B7A7-D8C27C6D7C37}">
      <dgm:prSet/>
      <dgm:spPr/>
      <dgm:t>
        <a:bodyPr/>
        <a:lstStyle/>
        <a:p>
          <a:r>
            <a:rPr lang="es-ES" dirty="0"/>
            <a:t>Empresario individual.</a:t>
          </a:r>
        </a:p>
      </dgm:t>
    </dgm:pt>
    <dgm:pt modelId="{365C73E8-FDE4-4F1D-A3B2-B6FF6178ED14}" type="parTrans" cxnId="{3916C447-CCC0-4120-B04F-4FA08DAB69B2}">
      <dgm:prSet/>
      <dgm:spPr/>
      <dgm:t>
        <a:bodyPr/>
        <a:lstStyle/>
        <a:p>
          <a:endParaRPr lang="es-ES"/>
        </a:p>
      </dgm:t>
    </dgm:pt>
    <dgm:pt modelId="{56F2BDC6-2DA0-4A78-8BF3-FB89BFB72842}" type="sibTrans" cxnId="{3916C447-CCC0-4120-B04F-4FA08DAB69B2}">
      <dgm:prSet/>
      <dgm:spPr/>
      <dgm:t>
        <a:bodyPr/>
        <a:lstStyle/>
        <a:p>
          <a:endParaRPr lang="es-ES"/>
        </a:p>
      </dgm:t>
    </dgm:pt>
    <dgm:pt modelId="{FBF064A3-162C-4871-AFD7-FB60CDBAC618}">
      <dgm:prSet/>
      <dgm:spPr/>
      <dgm:t>
        <a:bodyPr/>
        <a:lstStyle/>
        <a:p>
          <a:r>
            <a:rPr lang="es-ES" dirty="0"/>
            <a:t>Sociedad Limitada (S.L.).</a:t>
          </a:r>
        </a:p>
      </dgm:t>
    </dgm:pt>
    <dgm:pt modelId="{F583D81D-E5F3-4ED7-B1B2-745D699D62C2}" type="parTrans" cxnId="{216741BA-BC8B-4088-B38F-2EE66DCAD8D0}">
      <dgm:prSet/>
      <dgm:spPr/>
      <dgm:t>
        <a:bodyPr/>
        <a:lstStyle/>
        <a:p>
          <a:endParaRPr lang="es-ES"/>
        </a:p>
      </dgm:t>
    </dgm:pt>
    <dgm:pt modelId="{B0A9FD48-61A1-4A54-BDAD-061F2F937316}" type="sibTrans" cxnId="{216741BA-BC8B-4088-B38F-2EE66DCAD8D0}">
      <dgm:prSet/>
      <dgm:spPr/>
      <dgm:t>
        <a:bodyPr/>
        <a:lstStyle/>
        <a:p>
          <a:endParaRPr lang="es-ES"/>
        </a:p>
      </dgm:t>
    </dgm:pt>
    <dgm:pt modelId="{BB5B9840-75A6-412F-A579-AACA46AB50A8}">
      <dgm:prSet/>
      <dgm:spPr/>
      <dgm:t>
        <a:bodyPr/>
        <a:lstStyle/>
        <a:p>
          <a:r>
            <a:rPr lang="es-ES" dirty="0"/>
            <a:t>Sociedad Anónima (S.A.).</a:t>
          </a:r>
        </a:p>
      </dgm:t>
    </dgm:pt>
    <dgm:pt modelId="{5828E094-317E-4741-9701-D0AE7C596A75}" type="parTrans" cxnId="{4CA5D31D-AFAB-489A-AFB0-BA291AAD332F}">
      <dgm:prSet/>
      <dgm:spPr/>
      <dgm:t>
        <a:bodyPr/>
        <a:lstStyle/>
        <a:p>
          <a:endParaRPr lang="es-ES"/>
        </a:p>
      </dgm:t>
    </dgm:pt>
    <dgm:pt modelId="{911D1600-F28D-41A1-99F4-A61E47A46343}" type="sibTrans" cxnId="{4CA5D31D-AFAB-489A-AFB0-BA291AAD332F}">
      <dgm:prSet/>
      <dgm:spPr/>
      <dgm:t>
        <a:bodyPr/>
        <a:lstStyle/>
        <a:p>
          <a:endParaRPr lang="es-ES"/>
        </a:p>
      </dgm:t>
    </dgm:pt>
    <dgm:pt modelId="{A5D9939A-B6EF-46D0-A39C-347B8EDD931F}">
      <dgm:prSet/>
      <dgm:spPr/>
      <dgm:t>
        <a:bodyPr/>
        <a:lstStyle/>
        <a:p>
          <a:r>
            <a:rPr lang="es-ES" dirty="0"/>
            <a:t>Sociedad Colectiva.</a:t>
          </a:r>
        </a:p>
      </dgm:t>
    </dgm:pt>
    <dgm:pt modelId="{BC46A14F-23E5-4383-800C-A31E1AAB3C0F}" type="parTrans" cxnId="{F584BB99-0549-48E5-BC80-67A97DAEC67D}">
      <dgm:prSet/>
      <dgm:spPr/>
      <dgm:t>
        <a:bodyPr/>
        <a:lstStyle/>
        <a:p>
          <a:endParaRPr lang="es-ES"/>
        </a:p>
      </dgm:t>
    </dgm:pt>
    <dgm:pt modelId="{302D0767-318A-4FC5-98F8-A6F7BE606FD6}" type="sibTrans" cxnId="{F584BB99-0549-48E5-BC80-67A97DAEC67D}">
      <dgm:prSet/>
      <dgm:spPr/>
      <dgm:t>
        <a:bodyPr/>
        <a:lstStyle/>
        <a:p>
          <a:endParaRPr lang="es-ES"/>
        </a:p>
      </dgm:t>
    </dgm:pt>
    <dgm:pt modelId="{CC8F9EA0-89E8-419C-BEAD-E5C8BD3A13B3}">
      <dgm:prSet/>
      <dgm:spPr/>
      <dgm:t>
        <a:bodyPr/>
        <a:lstStyle/>
        <a:p>
          <a:r>
            <a:rPr lang="es-ES" dirty="0"/>
            <a:t>Sociedad Comanditaria: entre colectiva y limitada.</a:t>
          </a:r>
        </a:p>
      </dgm:t>
    </dgm:pt>
    <dgm:pt modelId="{9BF25EFD-3E71-4B27-A35C-FACDE1803810}" type="parTrans" cxnId="{06F72098-74C8-4755-AB5C-8F00E82F5226}">
      <dgm:prSet/>
      <dgm:spPr/>
      <dgm:t>
        <a:bodyPr/>
        <a:lstStyle/>
        <a:p>
          <a:endParaRPr lang="es-ES"/>
        </a:p>
      </dgm:t>
    </dgm:pt>
    <dgm:pt modelId="{CF4E2C06-A7AF-4522-A8F2-F1AF999D035D}" type="sibTrans" cxnId="{06F72098-74C8-4755-AB5C-8F00E82F5226}">
      <dgm:prSet/>
      <dgm:spPr/>
      <dgm:t>
        <a:bodyPr/>
        <a:lstStyle/>
        <a:p>
          <a:endParaRPr lang="es-ES"/>
        </a:p>
      </dgm:t>
    </dgm:pt>
    <dgm:pt modelId="{8CD925BA-62A4-4803-AC4E-51358390C8AC}">
      <dgm:prSet/>
      <dgm:spPr/>
      <dgm:t>
        <a:bodyPr/>
        <a:lstStyle/>
        <a:p>
          <a:r>
            <a:rPr lang="es-ES" dirty="0"/>
            <a:t>Cooperativas.</a:t>
          </a:r>
        </a:p>
      </dgm:t>
    </dgm:pt>
    <dgm:pt modelId="{936CEB5E-DD4F-42C5-A001-E7A3F9510CC0}" type="parTrans" cxnId="{950B8F80-3B08-48C2-8D57-8C416DDFE19B}">
      <dgm:prSet/>
      <dgm:spPr/>
      <dgm:t>
        <a:bodyPr/>
        <a:lstStyle/>
        <a:p>
          <a:endParaRPr lang="es-ES"/>
        </a:p>
      </dgm:t>
    </dgm:pt>
    <dgm:pt modelId="{EEA9FBB2-2BE5-48AF-A330-082253FD3A67}" type="sibTrans" cxnId="{950B8F80-3B08-48C2-8D57-8C416DDFE19B}">
      <dgm:prSet/>
      <dgm:spPr/>
      <dgm:t>
        <a:bodyPr/>
        <a:lstStyle/>
        <a:p>
          <a:endParaRPr lang="es-ES"/>
        </a:p>
      </dgm:t>
    </dgm:pt>
    <dgm:pt modelId="{38FC82E8-AD92-44EB-A4AF-0F15F47F5FD5}">
      <dgm:prSet/>
      <dgm:spPr/>
      <dgm:t>
        <a:bodyPr/>
        <a:lstStyle/>
        <a:p>
          <a:r>
            <a:rPr lang="es-ES" dirty="0"/>
            <a:t>Asociaciones sin ánimo de lucro.</a:t>
          </a:r>
        </a:p>
      </dgm:t>
    </dgm:pt>
    <dgm:pt modelId="{9C554429-F146-47B0-B342-798B9AADA80E}" type="parTrans" cxnId="{97019EB8-E425-4C69-BB11-BC2C8D818FD5}">
      <dgm:prSet/>
      <dgm:spPr/>
      <dgm:t>
        <a:bodyPr/>
        <a:lstStyle/>
        <a:p>
          <a:endParaRPr lang="es-ES"/>
        </a:p>
      </dgm:t>
    </dgm:pt>
    <dgm:pt modelId="{2AF8B362-5519-4AA6-BC6B-A73C82C9EA57}" type="sibTrans" cxnId="{97019EB8-E425-4C69-BB11-BC2C8D818FD5}">
      <dgm:prSet/>
      <dgm:spPr/>
      <dgm:t>
        <a:bodyPr/>
        <a:lstStyle/>
        <a:p>
          <a:endParaRPr lang="es-ES"/>
        </a:p>
      </dgm:t>
    </dgm:pt>
    <dgm:pt modelId="{CA87A775-EA43-4CD5-936C-9C36D8B366E5}">
      <dgm:prSet/>
      <dgm:spPr/>
      <dgm:t>
        <a:bodyPr/>
        <a:lstStyle/>
        <a:p>
          <a:r>
            <a:rPr lang="es-ES" dirty="0"/>
            <a:t>Comunidad de Bienes.</a:t>
          </a:r>
        </a:p>
      </dgm:t>
    </dgm:pt>
    <dgm:pt modelId="{1E7FC0C4-DB10-48F8-A700-6805334FA655}" type="parTrans" cxnId="{CF03D12E-9945-4861-8E21-9C2A0FAE3493}">
      <dgm:prSet/>
      <dgm:spPr/>
      <dgm:t>
        <a:bodyPr/>
        <a:lstStyle/>
        <a:p>
          <a:endParaRPr lang="es-ES"/>
        </a:p>
      </dgm:t>
    </dgm:pt>
    <dgm:pt modelId="{F6333ECC-CCBB-4FEC-9D79-9FA178E84BF4}" type="sibTrans" cxnId="{CF03D12E-9945-4861-8E21-9C2A0FAE3493}">
      <dgm:prSet/>
      <dgm:spPr/>
      <dgm:t>
        <a:bodyPr/>
        <a:lstStyle/>
        <a:p>
          <a:endParaRPr lang="es-ES"/>
        </a:p>
      </dgm:t>
    </dgm:pt>
    <dgm:pt modelId="{F2E3B09A-B0E2-4086-947A-8ED1D8D3C448}">
      <dgm:prSet/>
      <dgm:spPr/>
      <dgm:t>
        <a:bodyPr/>
        <a:lstStyle/>
        <a:p>
          <a:r>
            <a:rPr lang="es-ES" dirty="0"/>
            <a:t>Según su sector económico:</a:t>
          </a:r>
        </a:p>
      </dgm:t>
    </dgm:pt>
    <dgm:pt modelId="{BE3BF9E2-EA5E-4980-9B0A-BDE3B7AE7AEB}" type="parTrans" cxnId="{56CD8A43-AF26-4CD5-98E4-0DAEB7A2A3A7}">
      <dgm:prSet/>
      <dgm:spPr/>
      <dgm:t>
        <a:bodyPr/>
        <a:lstStyle/>
        <a:p>
          <a:endParaRPr lang="es-ES"/>
        </a:p>
      </dgm:t>
    </dgm:pt>
    <dgm:pt modelId="{13E6A85F-7D57-4BA5-96C5-1B4202292D10}" type="sibTrans" cxnId="{56CD8A43-AF26-4CD5-98E4-0DAEB7A2A3A7}">
      <dgm:prSet/>
      <dgm:spPr/>
      <dgm:t>
        <a:bodyPr/>
        <a:lstStyle/>
        <a:p>
          <a:endParaRPr lang="es-ES"/>
        </a:p>
      </dgm:t>
    </dgm:pt>
    <dgm:pt modelId="{83C99031-3704-440E-BAA5-AFE9AB1ABD57}">
      <dgm:prSet/>
      <dgm:spPr/>
      <dgm:t>
        <a:bodyPr/>
        <a:lstStyle/>
        <a:p>
          <a:r>
            <a:rPr lang="es-ES" dirty="0">
              <a:highlight>
                <a:srgbClr val="FFFFFF"/>
              </a:highlight>
            </a:rPr>
            <a:t>Sector primario</a:t>
          </a:r>
          <a:r>
            <a:rPr lang="es-ES" dirty="0"/>
            <a:t>: Dedicadas a la extracción de recursos naturales (agricultura, ganadería, pesca, minería).</a:t>
          </a:r>
        </a:p>
      </dgm:t>
    </dgm:pt>
    <dgm:pt modelId="{C03428C1-1F4E-47D7-B4BD-16C6ED720CBC}" type="parTrans" cxnId="{0403306F-2927-479B-ABEF-AF6906909818}">
      <dgm:prSet/>
      <dgm:spPr/>
      <dgm:t>
        <a:bodyPr/>
        <a:lstStyle/>
        <a:p>
          <a:endParaRPr lang="es-ES"/>
        </a:p>
      </dgm:t>
    </dgm:pt>
    <dgm:pt modelId="{EF3FEA23-0494-4E4C-9FD1-3B9F8B9B5E6B}" type="sibTrans" cxnId="{0403306F-2927-479B-ABEF-AF6906909818}">
      <dgm:prSet/>
      <dgm:spPr/>
      <dgm:t>
        <a:bodyPr/>
        <a:lstStyle/>
        <a:p>
          <a:endParaRPr lang="es-ES"/>
        </a:p>
      </dgm:t>
    </dgm:pt>
    <dgm:pt modelId="{2B466AC4-8B93-47C3-B0D9-D577EA6A6D43}">
      <dgm:prSet/>
      <dgm:spPr/>
      <dgm:t>
        <a:bodyPr/>
        <a:lstStyle/>
        <a:p>
          <a:r>
            <a:rPr lang="es-ES" dirty="0">
              <a:highlight>
                <a:srgbClr val="FFFFFF"/>
              </a:highlight>
            </a:rPr>
            <a:t>Sector secundario</a:t>
          </a:r>
          <a:r>
            <a:rPr lang="es-ES" dirty="0"/>
            <a:t>: Transforman las materias primas en productos (industria manufacturera, construcción).</a:t>
          </a:r>
        </a:p>
      </dgm:t>
    </dgm:pt>
    <dgm:pt modelId="{8A33D093-37C9-4624-A479-EFFAE81AC780}" type="parTrans" cxnId="{DB81ABAA-5B93-45E4-891B-FCF1F6A9A117}">
      <dgm:prSet/>
      <dgm:spPr/>
      <dgm:t>
        <a:bodyPr/>
        <a:lstStyle/>
        <a:p>
          <a:endParaRPr lang="es-ES"/>
        </a:p>
      </dgm:t>
    </dgm:pt>
    <dgm:pt modelId="{15BC0445-B215-42FB-8893-ABCBF435F377}" type="sibTrans" cxnId="{DB81ABAA-5B93-45E4-891B-FCF1F6A9A117}">
      <dgm:prSet/>
      <dgm:spPr/>
      <dgm:t>
        <a:bodyPr/>
        <a:lstStyle/>
        <a:p>
          <a:endParaRPr lang="es-ES"/>
        </a:p>
      </dgm:t>
    </dgm:pt>
    <dgm:pt modelId="{CE392B86-F2F2-4BA4-B318-108F08CBEC05}">
      <dgm:prSet/>
      <dgm:spPr/>
      <dgm:t>
        <a:bodyPr/>
        <a:lstStyle/>
        <a:p>
          <a:r>
            <a:rPr lang="es-ES" dirty="0">
              <a:highlight>
                <a:srgbClr val="FFFFFF"/>
              </a:highlight>
            </a:rPr>
            <a:t>Sector terciario</a:t>
          </a:r>
          <a:r>
            <a:rPr lang="es-ES" dirty="0"/>
            <a:t>: Ofrecen servicios (comercio, transporte, hostelería, finanzas, educación, salud).</a:t>
          </a:r>
        </a:p>
      </dgm:t>
    </dgm:pt>
    <dgm:pt modelId="{C8C73411-ABBF-4468-ADA5-DBD66E8728D9}" type="parTrans" cxnId="{EBB0F32A-1E8B-409D-BF55-8AB099959D1D}">
      <dgm:prSet/>
      <dgm:spPr/>
      <dgm:t>
        <a:bodyPr/>
        <a:lstStyle/>
        <a:p>
          <a:endParaRPr lang="es-ES"/>
        </a:p>
      </dgm:t>
    </dgm:pt>
    <dgm:pt modelId="{947353A9-D760-4AA3-96D5-8107999AD675}" type="sibTrans" cxnId="{EBB0F32A-1E8B-409D-BF55-8AB099959D1D}">
      <dgm:prSet/>
      <dgm:spPr/>
      <dgm:t>
        <a:bodyPr/>
        <a:lstStyle/>
        <a:p>
          <a:endParaRPr lang="es-ES"/>
        </a:p>
      </dgm:t>
    </dgm:pt>
    <dgm:pt modelId="{E5F831A2-0049-49DD-A337-7FBBEF849628}">
      <dgm:prSet/>
      <dgm:spPr/>
      <dgm:t>
        <a:bodyPr/>
        <a:lstStyle/>
        <a:p>
          <a:r>
            <a:rPr lang="es-ES" dirty="0"/>
            <a:t>Según su tamaño:</a:t>
          </a:r>
        </a:p>
      </dgm:t>
    </dgm:pt>
    <dgm:pt modelId="{0D013057-3E1E-4401-9F66-6D2E53463855}" type="parTrans" cxnId="{C2CEC07A-4C09-4BC5-9620-803BD4555E70}">
      <dgm:prSet/>
      <dgm:spPr/>
      <dgm:t>
        <a:bodyPr/>
        <a:lstStyle/>
        <a:p>
          <a:endParaRPr lang="es-ES"/>
        </a:p>
      </dgm:t>
    </dgm:pt>
    <dgm:pt modelId="{EDB70D8E-D5D2-4A1F-97B4-F021975723A6}" type="sibTrans" cxnId="{C2CEC07A-4C09-4BC5-9620-803BD4555E70}">
      <dgm:prSet/>
      <dgm:spPr/>
      <dgm:t>
        <a:bodyPr/>
        <a:lstStyle/>
        <a:p>
          <a:endParaRPr lang="es-ES"/>
        </a:p>
      </dgm:t>
    </dgm:pt>
    <dgm:pt modelId="{A72F1BAB-E5DC-42DD-8C70-E31C843FFD2E}">
      <dgm:prSet/>
      <dgm:spPr/>
      <dgm:t>
        <a:bodyPr/>
        <a:lstStyle/>
        <a:p>
          <a:r>
            <a:rPr lang="es-ES" dirty="0">
              <a:highlight>
                <a:srgbClr val="FFFFFF"/>
              </a:highlight>
            </a:rPr>
            <a:t>Microempresas</a:t>
          </a:r>
          <a:r>
            <a:rPr lang="es-ES" dirty="0"/>
            <a:t>: Pequeñas empresas con pocos empleados.</a:t>
          </a:r>
        </a:p>
      </dgm:t>
    </dgm:pt>
    <dgm:pt modelId="{F63243FC-1BC9-4E9A-AE25-6CD72BCF3DF6}" type="parTrans" cxnId="{2FDE8AAF-8130-4614-B3C9-9DE5D27B08C4}">
      <dgm:prSet/>
      <dgm:spPr/>
      <dgm:t>
        <a:bodyPr/>
        <a:lstStyle/>
        <a:p>
          <a:endParaRPr lang="es-ES"/>
        </a:p>
      </dgm:t>
    </dgm:pt>
    <dgm:pt modelId="{A0AB1571-2F8F-4120-B582-63F7F0608714}" type="sibTrans" cxnId="{2FDE8AAF-8130-4614-B3C9-9DE5D27B08C4}">
      <dgm:prSet/>
      <dgm:spPr/>
      <dgm:t>
        <a:bodyPr/>
        <a:lstStyle/>
        <a:p>
          <a:endParaRPr lang="es-ES"/>
        </a:p>
      </dgm:t>
    </dgm:pt>
    <dgm:pt modelId="{0C710DBB-A276-47D3-9D46-F20965C15FA0}">
      <dgm:prSet/>
      <dgm:spPr/>
      <dgm:t>
        <a:bodyPr/>
        <a:lstStyle/>
        <a:p>
          <a:r>
            <a:rPr lang="es-ES" dirty="0">
              <a:highlight>
                <a:srgbClr val="FFFFFF"/>
              </a:highlight>
            </a:rPr>
            <a:t>Pequeñas empresas</a:t>
          </a:r>
          <a:r>
            <a:rPr lang="es-ES" dirty="0"/>
            <a:t>: Empresas de tamaño intermedio.</a:t>
          </a:r>
        </a:p>
      </dgm:t>
    </dgm:pt>
    <dgm:pt modelId="{D21838BF-73E1-43CF-BE99-1AA0F1512513}" type="parTrans" cxnId="{FAD1FECE-43C7-4E07-839E-2B0B02C737BA}">
      <dgm:prSet/>
      <dgm:spPr/>
      <dgm:t>
        <a:bodyPr/>
        <a:lstStyle/>
        <a:p>
          <a:endParaRPr lang="es-ES"/>
        </a:p>
      </dgm:t>
    </dgm:pt>
    <dgm:pt modelId="{73B04921-BA46-454A-92EE-AF89ABC532A6}" type="sibTrans" cxnId="{FAD1FECE-43C7-4E07-839E-2B0B02C737BA}">
      <dgm:prSet/>
      <dgm:spPr/>
      <dgm:t>
        <a:bodyPr/>
        <a:lstStyle/>
        <a:p>
          <a:endParaRPr lang="es-ES"/>
        </a:p>
      </dgm:t>
    </dgm:pt>
    <dgm:pt modelId="{63595AC5-2468-49E4-90EE-770F2A9FE5D3}">
      <dgm:prSet/>
      <dgm:spPr/>
      <dgm:t>
        <a:bodyPr/>
        <a:lstStyle/>
        <a:p>
          <a:r>
            <a:rPr lang="es-ES" dirty="0">
              <a:highlight>
                <a:srgbClr val="FFFFFF"/>
              </a:highlight>
            </a:rPr>
            <a:t>Medianas empresas</a:t>
          </a:r>
          <a:r>
            <a:rPr lang="es-ES" dirty="0"/>
            <a:t>: Empresas de mayor tamaño que las pequeñas.</a:t>
          </a:r>
        </a:p>
      </dgm:t>
    </dgm:pt>
    <dgm:pt modelId="{B7EEE028-28B1-41D9-A88E-9158FF425C82}" type="parTrans" cxnId="{7495EEBB-4B0F-4BA5-B8BD-790F4DF56C98}">
      <dgm:prSet/>
      <dgm:spPr/>
      <dgm:t>
        <a:bodyPr/>
        <a:lstStyle/>
        <a:p>
          <a:endParaRPr lang="es-ES"/>
        </a:p>
      </dgm:t>
    </dgm:pt>
    <dgm:pt modelId="{7F519CF5-4417-4558-A1BF-68D02396B24A}" type="sibTrans" cxnId="{7495EEBB-4B0F-4BA5-B8BD-790F4DF56C98}">
      <dgm:prSet/>
      <dgm:spPr/>
      <dgm:t>
        <a:bodyPr/>
        <a:lstStyle/>
        <a:p>
          <a:endParaRPr lang="es-ES"/>
        </a:p>
      </dgm:t>
    </dgm:pt>
    <dgm:pt modelId="{8673E885-1A66-4311-8E68-FCF714EF8C8E}">
      <dgm:prSet/>
      <dgm:spPr/>
      <dgm:t>
        <a:bodyPr/>
        <a:lstStyle/>
        <a:p>
          <a:r>
            <a:rPr lang="es-ES" dirty="0">
              <a:highlight>
                <a:srgbClr val="FFFFFF"/>
              </a:highlight>
            </a:rPr>
            <a:t>Grandes empresas</a:t>
          </a:r>
          <a:r>
            <a:rPr lang="es-ES" dirty="0"/>
            <a:t>: Empresas con un gran número de empleados y una amplia presencia en el mercado.</a:t>
          </a:r>
        </a:p>
      </dgm:t>
    </dgm:pt>
    <dgm:pt modelId="{4634F654-9126-4B66-A884-976BFB8403BB}" type="parTrans" cxnId="{FA431E4D-4F76-4DCD-8999-02875F78FC16}">
      <dgm:prSet/>
      <dgm:spPr/>
      <dgm:t>
        <a:bodyPr/>
        <a:lstStyle/>
        <a:p>
          <a:endParaRPr lang="es-ES"/>
        </a:p>
      </dgm:t>
    </dgm:pt>
    <dgm:pt modelId="{B919E1A6-82EE-4B92-ABC4-441703C3FCFC}" type="sibTrans" cxnId="{FA431E4D-4F76-4DCD-8999-02875F78FC16}">
      <dgm:prSet/>
      <dgm:spPr/>
      <dgm:t>
        <a:bodyPr/>
        <a:lstStyle/>
        <a:p>
          <a:endParaRPr lang="es-ES"/>
        </a:p>
      </dgm:t>
    </dgm:pt>
    <dgm:pt modelId="{EAF35834-1D31-47A9-B445-973C6E974181}">
      <dgm:prSet/>
      <dgm:spPr/>
      <dgm:t>
        <a:bodyPr/>
        <a:lstStyle/>
        <a:p>
          <a:r>
            <a:rPr lang="es-ES" dirty="0"/>
            <a:t>Según su origen del capital:</a:t>
          </a:r>
        </a:p>
      </dgm:t>
    </dgm:pt>
    <dgm:pt modelId="{91E9C875-2391-4484-AA8F-05BCE0CAAE7B}" type="parTrans" cxnId="{D49C53A8-B1B3-4EC9-955A-ADED6367D400}">
      <dgm:prSet/>
      <dgm:spPr/>
      <dgm:t>
        <a:bodyPr/>
        <a:lstStyle/>
        <a:p>
          <a:endParaRPr lang="es-ES"/>
        </a:p>
      </dgm:t>
    </dgm:pt>
    <dgm:pt modelId="{4E6F0B05-41F2-45DC-81F0-4B1AD21B37C8}" type="sibTrans" cxnId="{D49C53A8-B1B3-4EC9-955A-ADED6367D400}">
      <dgm:prSet/>
      <dgm:spPr/>
      <dgm:t>
        <a:bodyPr/>
        <a:lstStyle/>
        <a:p>
          <a:endParaRPr lang="es-ES"/>
        </a:p>
      </dgm:t>
    </dgm:pt>
    <dgm:pt modelId="{DAF02930-41BE-4F6A-B0DC-04CC13D3C969}">
      <dgm:prSet/>
      <dgm:spPr/>
      <dgm:t>
        <a:bodyPr/>
        <a:lstStyle/>
        <a:p>
          <a:r>
            <a:rPr lang="es-ES" dirty="0">
              <a:highlight>
                <a:srgbClr val="FFFFFF"/>
              </a:highlight>
            </a:rPr>
            <a:t>Públicas</a:t>
          </a:r>
          <a:r>
            <a:rPr lang="es-ES" dirty="0"/>
            <a:t>: Su capital pertenece al Estado o a organismos públicos.</a:t>
          </a:r>
        </a:p>
      </dgm:t>
    </dgm:pt>
    <dgm:pt modelId="{6AE5574D-5763-4283-821E-7B889C4C71D4}" type="parTrans" cxnId="{5CA8EDCD-666F-4C99-893A-2B0142A9B4B8}">
      <dgm:prSet/>
      <dgm:spPr/>
      <dgm:t>
        <a:bodyPr/>
        <a:lstStyle/>
        <a:p>
          <a:endParaRPr lang="es-ES"/>
        </a:p>
      </dgm:t>
    </dgm:pt>
    <dgm:pt modelId="{B74B7773-1194-49EA-A048-CF91C1BD6058}" type="sibTrans" cxnId="{5CA8EDCD-666F-4C99-893A-2B0142A9B4B8}">
      <dgm:prSet/>
      <dgm:spPr/>
      <dgm:t>
        <a:bodyPr/>
        <a:lstStyle/>
        <a:p>
          <a:endParaRPr lang="es-ES"/>
        </a:p>
      </dgm:t>
    </dgm:pt>
    <dgm:pt modelId="{8A8EFEFF-8FE3-43FB-A66C-2EFAEDB0D5A9}">
      <dgm:prSet/>
      <dgm:spPr/>
      <dgm:t>
        <a:bodyPr/>
        <a:lstStyle/>
        <a:p>
          <a:r>
            <a:rPr lang="es-ES" dirty="0">
              <a:highlight>
                <a:srgbClr val="FFFFFF"/>
              </a:highlight>
            </a:rPr>
            <a:t>Privadas</a:t>
          </a:r>
          <a:r>
            <a:rPr lang="es-ES" dirty="0"/>
            <a:t>: Su capital pertenece a particulares.</a:t>
          </a:r>
        </a:p>
      </dgm:t>
    </dgm:pt>
    <dgm:pt modelId="{4B453902-A38B-42BE-84EB-1838B6BCDBDB}" type="parTrans" cxnId="{8320296D-9BD6-4B2C-B6F1-9E91DF9FA157}">
      <dgm:prSet/>
      <dgm:spPr/>
      <dgm:t>
        <a:bodyPr/>
        <a:lstStyle/>
        <a:p>
          <a:endParaRPr lang="es-ES"/>
        </a:p>
      </dgm:t>
    </dgm:pt>
    <dgm:pt modelId="{7BD89C94-8A45-452D-8820-06511F3A4DFE}" type="sibTrans" cxnId="{8320296D-9BD6-4B2C-B6F1-9E91DF9FA157}">
      <dgm:prSet/>
      <dgm:spPr/>
      <dgm:t>
        <a:bodyPr/>
        <a:lstStyle/>
        <a:p>
          <a:endParaRPr lang="es-ES"/>
        </a:p>
      </dgm:t>
    </dgm:pt>
    <dgm:pt modelId="{1EDC811C-CD44-49EB-8B00-6042F4F65F9D}">
      <dgm:prSet/>
      <dgm:spPr/>
      <dgm:t>
        <a:bodyPr/>
        <a:lstStyle/>
        <a:p>
          <a:r>
            <a:rPr lang="es-ES" dirty="0">
              <a:highlight>
                <a:srgbClr val="FFFFFF"/>
              </a:highlight>
            </a:rPr>
            <a:t>Mixtas</a:t>
          </a:r>
          <a:r>
            <a:rPr lang="es-ES" dirty="0"/>
            <a:t>: Combinan capital público y privado.</a:t>
          </a:r>
        </a:p>
      </dgm:t>
    </dgm:pt>
    <dgm:pt modelId="{CBA23A40-15F1-40DE-A7DD-E59099864A84}" type="parTrans" cxnId="{746F470B-888E-49B5-9C78-B2E769CB5BA1}">
      <dgm:prSet/>
      <dgm:spPr/>
      <dgm:t>
        <a:bodyPr/>
        <a:lstStyle/>
        <a:p>
          <a:endParaRPr lang="es-ES"/>
        </a:p>
      </dgm:t>
    </dgm:pt>
    <dgm:pt modelId="{84D55846-CE39-4ED9-A877-5E0C96997209}" type="sibTrans" cxnId="{746F470B-888E-49B5-9C78-B2E769CB5BA1}">
      <dgm:prSet/>
      <dgm:spPr/>
      <dgm:t>
        <a:bodyPr/>
        <a:lstStyle/>
        <a:p>
          <a:endParaRPr lang="es-ES"/>
        </a:p>
      </dgm:t>
    </dgm:pt>
    <dgm:pt modelId="{AFBBA32E-948F-4377-8A15-B8826A33E7A2}">
      <dgm:prSet/>
      <dgm:spPr/>
      <dgm:t>
        <a:bodyPr/>
        <a:lstStyle/>
        <a:p>
          <a:r>
            <a:rPr lang="es-ES" dirty="0"/>
            <a:t>Por categorías:</a:t>
          </a:r>
        </a:p>
      </dgm:t>
    </dgm:pt>
    <dgm:pt modelId="{5FA928E2-AF63-4287-A0E7-A78DB925EB50}" type="parTrans" cxnId="{D4A9AC98-2EC0-4FEB-BF8A-65A9A009343C}">
      <dgm:prSet/>
      <dgm:spPr/>
      <dgm:t>
        <a:bodyPr/>
        <a:lstStyle/>
        <a:p>
          <a:endParaRPr lang="es-ES"/>
        </a:p>
      </dgm:t>
    </dgm:pt>
    <dgm:pt modelId="{CE5309E7-D224-468D-8A4C-9597E84946FC}" type="sibTrans" cxnId="{D4A9AC98-2EC0-4FEB-BF8A-65A9A009343C}">
      <dgm:prSet/>
      <dgm:spPr/>
      <dgm:t>
        <a:bodyPr/>
        <a:lstStyle/>
        <a:p>
          <a:endParaRPr lang="es-ES"/>
        </a:p>
      </dgm:t>
    </dgm:pt>
    <dgm:pt modelId="{CD8AC84F-8665-420C-A3F5-720755C9922B}">
      <dgm:prSet/>
      <dgm:spPr/>
      <dgm:t>
        <a:bodyPr/>
        <a:lstStyle/>
        <a:p>
          <a:r>
            <a:rPr lang="es-ES" dirty="0">
              <a:highlight>
                <a:srgbClr val="FFFFFF"/>
              </a:highlight>
            </a:rPr>
            <a:t>Por su nacionalidad</a:t>
          </a:r>
          <a:r>
            <a:rPr lang="es-ES" dirty="0"/>
            <a:t>: Nacionales, extranjeras, multinacionales.</a:t>
          </a:r>
        </a:p>
      </dgm:t>
    </dgm:pt>
    <dgm:pt modelId="{C6837A86-AE70-4682-8450-86A0D8DC1CAA}" type="parTrans" cxnId="{15F4D82C-790F-4D24-80A5-625C28875FF6}">
      <dgm:prSet/>
      <dgm:spPr/>
      <dgm:t>
        <a:bodyPr/>
        <a:lstStyle/>
        <a:p>
          <a:endParaRPr lang="es-ES"/>
        </a:p>
      </dgm:t>
    </dgm:pt>
    <dgm:pt modelId="{D4363EA2-D297-46B1-933C-6D4D08893210}" type="sibTrans" cxnId="{15F4D82C-790F-4D24-80A5-625C28875FF6}">
      <dgm:prSet/>
      <dgm:spPr/>
      <dgm:t>
        <a:bodyPr/>
        <a:lstStyle/>
        <a:p>
          <a:endParaRPr lang="es-ES"/>
        </a:p>
      </dgm:t>
    </dgm:pt>
    <dgm:pt modelId="{7CA574F9-477E-40EB-899C-0547202BC3AA}">
      <dgm:prSet/>
      <dgm:spPr/>
      <dgm:t>
        <a:bodyPr/>
        <a:lstStyle/>
        <a:p>
          <a:r>
            <a:rPr lang="es-ES" dirty="0">
              <a:highlight>
                <a:srgbClr val="FFFFFF"/>
              </a:highlight>
            </a:rPr>
            <a:t>Por su objetivo</a:t>
          </a:r>
          <a:r>
            <a:rPr lang="es-ES" dirty="0"/>
            <a:t>: Con ánimo de lucro, sin ánimo de lucro.</a:t>
          </a:r>
        </a:p>
      </dgm:t>
    </dgm:pt>
    <dgm:pt modelId="{D27E2839-8AF3-4F5D-8938-2E6426B315CB}" type="parTrans" cxnId="{D03D8321-2F2A-4B0E-BD96-7CDA44804E77}">
      <dgm:prSet/>
      <dgm:spPr/>
      <dgm:t>
        <a:bodyPr/>
        <a:lstStyle/>
        <a:p>
          <a:endParaRPr lang="es-ES"/>
        </a:p>
      </dgm:t>
    </dgm:pt>
    <dgm:pt modelId="{5C06BD15-8FA7-469C-84B8-63AB9F5672D9}" type="sibTrans" cxnId="{D03D8321-2F2A-4B0E-BD96-7CDA44804E77}">
      <dgm:prSet/>
      <dgm:spPr/>
      <dgm:t>
        <a:bodyPr/>
        <a:lstStyle/>
        <a:p>
          <a:endParaRPr lang="es-ES"/>
        </a:p>
      </dgm:t>
    </dgm:pt>
    <dgm:pt modelId="{DDD5576A-EE9D-480C-955A-09DFB64CAFEE}">
      <dgm:prSet/>
      <dgm:spPr/>
      <dgm:t>
        <a:bodyPr/>
        <a:lstStyle/>
        <a:p>
          <a:r>
            <a:rPr lang="es-ES" dirty="0">
              <a:highlight>
                <a:srgbClr val="FFFFFF"/>
              </a:highlight>
            </a:rPr>
            <a:t>Por su tecnología</a:t>
          </a:r>
          <a:r>
            <a:rPr lang="es-ES" dirty="0"/>
            <a:t>: Tradicionales, tecnológicas.</a:t>
          </a:r>
        </a:p>
      </dgm:t>
    </dgm:pt>
    <dgm:pt modelId="{AC445A6B-778A-4D3C-8673-C3AE00C02A81}" type="parTrans" cxnId="{4DF05BD4-7380-4E99-B5EB-13EDA930DDB8}">
      <dgm:prSet/>
      <dgm:spPr/>
      <dgm:t>
        <a:bodyPr/>
        <a:lstStyle/>
        <a:p>
          <a:endParaRPr lang="es-ES"/>
        </a:p>
      </dgm:t>
    </dgm:pt>
    <dgm:pt modelId="{7E1FFE25-A36C-4882-BC9C-1512886EF7B6}" type="sibTrans" cxnId="{4DF05BD4-7380-4E99-B5EB-13EDA930DDB8}">
      <dgm:prSet/>
      <dgm:spPr/>
      <dgm:t>
        <a:bodyPr/>
        <a:lstStyle/>
        <a:p>
          <a:endParaRPr lang="es-ES"/>
        </a:p>
      </dgm:t>
    </dgm:pt>
    <dgm:pt modelId="{A4F674C3-1EC8-4B6C-A5C4-326D35EC3E68}" type="pres">
      <dgm:prSet presAssocID="{F86922A8-90FA-445C-A46F-6E2C91013A11}" presName="Name0" presStyleCnt="0">
        <dgm:presLayoutVars>
          <dgm:dir/>
          <dgm:animLvl val="lvl"/>
          <dgm:resizeHandles val="exact"/>
        </dgm:presLayoutVars>
      </dgm:prSet>
      <dgm:spPr/>
    </dgm:pt>
    <dgm:pt modelId="{65DDB825-A863-43DB-B905-6A9ABEFDE90F}" type="pres">
      <dgm:prSet presAssocID="{BAA9CF60-8F33-4246-A099-95887688B956}" presName="composite" presStyleCnt="0"/>
      <dgm:spPr/>
    </dgm:pt>
    <dgm:pt modelId="{8807FD5C-431B-46A1-BBB0-55BBB1D1648B}" type="pres">
      <dgm:prSet presAssocID="{BAA9CF60-8F33-4246-A099-95887688B956}" presName="parTx" presStyleLbl="alignNode1" presStyleIdx="0" presStyleCnt="5">
        <dgm:presLayoutVars>
          <dgm:chMax val="0"/>
          <dgm:chPref val="0"/>
          <dgm:bulletEnabled val="1"/>
        </dgm:presLayoutVars>
      </dgm:prSet>
      <dgm:spPr/>
    </dgm:pt>
    <dgm:pt modelId="{AC13DDB0-5C85-4AEE-AFFB-1974396BCA65}" type="pres">
      <dgm:prSet presAssocID="{BAA9CF60-8F33-4246-A099-95887688B956}" presName="desTx" presStyleLbl="alignAccFollowNode1" presStyleIdx="0" presStyleCnt="5">
        <dgm:presLayoutVars>
          <dgm:bulletEnabled val="1"/>
        </dgm:presLayoutVars>
      </dgm:prSet>
      <dgm:spPr/>
    </dgm:pt>
    <dgm:pt modelId="{8CDAB947-5797-40B7-BDE2-AF70FF48A56D}" type="pres">
      <dgm:prSet presAssocID="{F208650D-400B-461F-9CBB-F169E4C7D631}" presName="space" presStyleCnt="0"/>
      <dgm:spPr/>
    </dgm:pt>
    <dgm:pt modelId="{2120E765-2885-4226-90D7-0CED4DEA4C6E}" type="pres">
      <dgm:prSet presAssocID="{F2E3B09A-B0E2-4086-947A-8ED1D8D3C448}" presName="composite" presStyleCnt="0"/>
      <dgm:spPr/>
    </dgm:pt>
    <dgm:pt modelId="{4CC4F6DD-5A0F-4E19-BC24-113DD16DB3D1}" type="pres">
      <dgm:prSet presAssocID="{F2E3B09A-B0E2-4086-947A-8ED1D8D3C448}" presName="parTx" presStyleLbl="alignNode1" presStyleIdx="1" presStyleCnt="5">
        <dgm:presLayoutVars>
          <dgm:chMax val="0"/>
          <dgm:chPref val="0"/>
          <dgm:bulletEnabled val="1"/>
        </dgm:presLayoutVars>
      </dgm:prSet>
      <dgm:spPr/>
    </dgm:pt>
    <dgm:pt modelId="{A09BB9F0-C89A-4C11-9BF7-872790089868}" type="pres">
      <dgm:prSet presAssocID="{F2E3B09A-B0E2-4086-947A-8ED1D8D3C448}" presName="desTx" presStyleLbl="alignAccFollowNode1" presStyleIdx="1" presStyleCnt="5">
        <dgm:presLayoutVars>
          <dgm:bulletEnabled val="1"/>
        </dgm:presLayoutVars>
      </dgm:prSet>
      <dgm:spPr/>
    </dgm:pt>
    <dgm:pt modelId="{9454D92E-9639-4B9C-B37E-D57087548DAA}" type="pres">
      <dgm:prSet presAssocID="{13E6A85F-7D57-4BA5-96C5-1B4202292D10}" presName="space" presStyleCnt="0"/>
      <dgm:spPr/>
    </dgm:pt>
    <dgm:pt modelId="{16211DFA-4908-4764-A6A4-239ED331943C}" type="pres">
      <dgm:prSet presAssocID="{E5F831A2-0049-49DD-A337-7FBBEF849628}" presName="composite" presStyleCnt="0"/>
      <dgm:spPr/>
    </dgm:pt>
    <dgm:pt modelId="{0E66AB36-F37E-4F63-BD8D-1400613FB47D}" type="pres">
      <dgm:prSet presAssocID="{E5F831A2-0049-49DD-A337-7FBBEF849628}" presName="parTx" presStyleLbl="alignNode1" presStyleIdx="2" presStyleCnt="5">
        <dgm:presLayoutVars>
          <dgm:chMax val="0"/>
          <dgm:chPref val="0"/>
          <dgm:bulletEnabled val="1"/>
        </dgm:presLayoutVars>
      </dgm:prSet>
      <dgm:spPr/>
    </dgm:pt>
    <dgm:pt modelId="{F8B03E91-3A02-49B7-8F22-E708F84C2FF7}" type="pres">
      <dgm:prSet presAssocID="{E5F831A2-0049-49DD-A337-7FBBEF849628}" presName="desTx" presStyleLbl="alignAccFollowNode1" presStyleIdx="2" presStyleCnt="5">
        <dgm:presLayoutVars>
          <dgm:bulletEnabled val="1"/>
        </dgm:presLayoutVars>
      </dgm:prSet>
      <dgm:spPr/>
    </dgm:pt>
    <dgm:pt modelId="{B0779F69-C21A-4D5E-B0F0-E8A2DE4EA846}" type="pres">
      <dgm:prSet presAssocID="{EDB70D8E-D5D2-4A1F-97B4-F021975723A6}" presName="space" presStyleCnt="0"/>
      <dgm:spPr/>
    </dgm:pt>
    <dgm:pt modelId="{C20C238A-94F7-408B-9C02-695CFF1B9995}" type="pres">
      <dgm:prSet presAssocID="{EAF35834-1D31-47A9-B445-973C6E974181}" presName="composite" presStyleCnt="0"/>
      <dgm:spPr/>
    </dgm:pt>
    <dgm:pt modelId="{330A1E76-D394-4A07-AB0D-16E443F1040A}" type="pres">
      <dgm:prSet presAssocID="{EAF35834-1D31-47A9-B445-973C6E974181}" presName="parTx" presStyleLbl="alignNode1" presStyleIdx="3" presStyleCnt="5">
        <dgm:presLayoutVars>
          <dgm:chMax val="0"/>
          <dgm:chPref val="0"/>
          <dgm:bulletEnabled val="1"/>
        </dgm:presLayoutVars>
      </dgm:prSet>
      <dgm:spPr/>
    </dgm:pt>
    <dgm:pt modelId="{2163D39D-A822-4B11-B5D0-23D6A6255F24}" type="pres">
      <dgm:prSet presAssocID="{EAF35834-1D31-47A9-B445-973C6E974181}" presName="desTx" presStyleLbl="alignAccFollowNode1" presStyleIdx="3" presStyleCnt="5">
        <dgm:presLayoutVars>
          <dgm:bulletEnabled val="1"/>
        </dgm:presLayoutVars>
      </dgm:prSet>
      <dgm:spPr/>
    </dgm:pt>
    <dgm:pt modelId="{280B8120-CECD-4B93-BE9C-EAF16EE0B964}" type="pres">
      <dgm:prSet presAssocID="{4E6F0B05-41F2-45DC-81F0-4B1AD21B37C8}" presName="space" presStyleCnt="0"/>
      <dgm:spPr/>
    </dgm:pt>
    <dgm:pt modelId="{41E33D8F-B8F0-4572-89DC-0E69D296DED2}" type="pres">
      <dgm:prSet presAssocID="{AFBBA32E-948F-4377-8A15-B8826A33E7A2}" presName="composite" presStyleCnt="0"/>
      <dgm:spPr/>
    </dgm:pt>
    <dgm:pt modelId="{3A97E9A1-780C-4C76-9562-FD291B304499}" type="pres">
      <dgm:prSet presAssocID="{AFBBA32E-948F-4377-8A15-B8826A33E7A2}" presName="parTx" presStyleLbl="alignNode1" presStyleIdx="4" presStyleCnt="5">
        <dgm:presLayoutVars>
          <dgm:chMax val="0"/>
          <dgm:chPref val="0"/>
          <dgm:bulletEnabled val="1"/>
        </dgm:presLayoutVars>
      </dgm:prSet>
      <dgm:spPr/>
    </dgm:pt>
    <dgm:pt modelId="{B5429443-F1E7-4ACE-8A41-68AFECD435E1}" type="pres">
      <dgm:prSet presAssocID="{AFBBA32E-948F-4377-8A15-B8826A33E7A2}" presName="desTx" presStyleLbl="alignAccFollowNode1" presStyleIdx="4" presStyleCnt="5">
        <dgm:presLayoutVars>
          <dgm:bulletEnabled val="1"/>
        </dgm:presLayoutVars>
      </dgm:prSet>
      <dgm:spPr/>
    </dgm:pt>
  </dgm:ptLst>
  <dgm:cxnLst>
    <dgm:cxn modelId="{746F470B-888E-49B5-9C78-B2E769CB5BA1}" srcId="{EAF35834-1D31-47A9-B445-973C6E974181}" destId="{1EDC811C-CD44-49EB-8B00-6042F4F65F9D}" srcOrd="2" destOrd="0" parTransId="{CBA23A40-15F1-40DE-A7DD-E59099864A84}" sibTransId="{84D55846-CE39-4ED9-A877-5E0C96997209}"/>
    <dgm:cxn modelId="{C192BA0C-A7C7-4D9F-81BB-33E009C0EAF2}" type="presOf" srcId="{CE392B86-F2F2-4BA4-B318-108F08CBEC05}" destId="{A09BB9F0-C89A-4C11-9BF7-872790089868}" srcOrd="0" destOrd="2" presId="urn:microsoft.com/office/officeart/2005/8/layout/hList1"/>
    <dgm:cxn modelId="{4CA5D31D-AFAB-489A-AFB0-BA291AAD332F}" srcId="{BAA9CF60-8F33-4246-A099-95887688B956}" destId="{BB5B9840-75A6-412F-A579-AACA46AB50A8}" srcOrd="2" destOrd="0" parTransId="{5828E094-317E-4741-9701-D0AE7C596A75}" sibTransId="{911D1600-F28D-41A1-99F4-A61E47A46343}"/>
    <dgm:cxn modelId="{2B4C2A1E-F141-405D-8C17-50C7838088E5}" type="presOf" srcId="{7CA574F9-477E-40EB-899C-0547202BC3AA}" destId="{B5429443-F1E7-4ACE-8A41-68AFECD435E1}" srcOrd="0" destOrd="1" presId="urn:microsoft.com/office/officeart/2005/8/layout/hList1"/>
    <dgm:cxn modelId="{D03D8321-2F2A-4B0E-BD96-7CDA44804E77}" srcId="{AFBBA32E-948F-4377-8A15-B8826A33E7A2}" destId="{7CA574F9-477E-40EB-899C-0547202BC3AA}" srcOrd="1" destOrd="0" parTransId="{D27E2839-8AF3-4F5D-8938-2E6426B315CB}" sibTransId="{5C06BD15-8FA7-469C-84B8-63AB9F5672D9}"/>
    <dgm:cxn modelId="{2AACF122-7669-491A-A8F2-FB7DC95A446D}" type="presOf" srcId="{EAF35834-1D31-47A9-B445-973C6E974181}" destId="{330A1E76-D394-4A07-AB0D-16E443F1040A}" srcOrd="0" destOrd="0" presId="urn:microsoft.com/office/officeart/2005/8/layout/hList1"/>
    <dgm:cxn modelId="{EBB0F32A-1E8B-409D-BF55-8AB099959D1D}" srcId="{F2E3B09A-B0E2-4086-947A-8ED1D8D3C448}" destId="{CE392B86-F2F2-4BA4-B318-108F08CBEC05}" srcOrd="2" destOrd="0" parTransId="{C8C73411-ABBF-4468-ADA5-DBD66E8728D9}" sibTransId="{947353A9-D760-4AA3-96D5-8107999AD675}"/>
    <dgm:cxn modelId="{15F4D82C-790F-4D24-80A5-625C28875FF6}" srcId="{AFBBA32E-948F-4377-8A15-B8826A33E7A2}" destId="{CD8AC84F-8665-420C-A3F5-720755C9922B}" srcOrd="0" destOrd="0" parTransId="{C6837A86-AE70-4682-8450-86A0D8DC1CAA}" sibTransId="{D4363EA2-D297-46B1-933C-6D4D08893210}"/>
    <dgm:cxn modelId="{CF03D12E-9945-4861-8E21-9C2A0FAE3493}" srcId="{BAA9CF60-8F33-4246-A099-95887688B956}" destId="{CA87A775-EA43-4CD5-936C-9C36D8B366E5}" srcOrd="7" destOrd="0" parTransId="{1E7FC0C4-DB10-48F8-A700-6805334FA655}" sibTransId="{F6333ECC-CCBB-4FEC-9D79-9FA178E84BF4}"/>
    <dgm:cxn modelId="{77D1E25B-B5D7-46AE-AEDD-3956D16D3319}" type="presOf" srcId="{A5D9939A-B6EF-46D0-A39C-347B8EDD931F}" destId="{AC13DDB0-5C85-4AEE-AFFB-1974396BCA65}" srcOrd="0" destOrd="3" presId="urn:microsoft.com/office/officeart/2005/8/layout/hList1"/>
    <dgm:cxn modelId="{2C520262-A3AC-44D3-8982-F91348DA9189}" type="presOf" srcId="{83C99031-3704-440E-BAA5-AFE9AB1ABD57}" destId="{A09BB9F0-C89A-4C11-9BF7-872790089868}" srcOrd="0" destOrd="0" presId="urn:microsoft.com/office/officeart/2005/8/layout/hList1"/>
    <dgm:cxn modelId="{56CD8A43-AF26-4CD5-98E4-0DAEB7A2A3A7}" srcId="{F86922A8-90FA-445C-A46F-6E2C91013A11}" destId="{F2E3B09A-B0E2-4086-947A-8ED1D8D3C448}" srcOrd="1" destOrd="0" parTransId="{BE3BF9E2-EA5E-4980-9B0A-BDE3B7AE7AEB}" sibTransId="{13E6A85F-7D57-4BA5-96C5-1B4202292D10}"/>
    <dgm:cxn modelId="{54A2C044-3143-46E0-A187-D23F6A4FE786}" type="presOf" srcId="{2B466AC4-8B93-47C3-B0D9-D577EA6A6D43}" destId="{A09BB9F0-C89A-4C11-9BF7-872790089868}" srcOrd="0" destOrd="1" presId="urn:microsoft.com/office/officeart/2005/8/layout/hList1"/>
    <dgm:cxn modelId="{C40E5147-57CE-4252-A11F-CBBD8593EAAD}" type="presOf" srcId="{8CD925BA-62A4-4803-AC4E-51358390C8AC}" destId="{AC13DDB0-5C85-4AEE-AFFB-1974396BCA65}" srcOrd="0" destOrd="5" presId="urn:microsoft.com/office/officeart/2005/8/layout/hList1"/>
    <dgm:cxn modelId="{3916C447-CCC0-4120-B04F-4FA08DAB69B2}" srcId="{BAA9CF60-8F33-4246-A099-95887688B956}" destId="{1CB12E0F-7CB5-4D17-B7A7-D8C27C6D7C37}" srcOrd="0" destOrd="0" parTransId="{365C73E8-FDE4-4F1D-A3B2-B6FF6178ED14}" sibTransId="{56F2BDC6-2DA0-4A78-8BF3-FB89BFB72842}"/>
    <dgm:cxn modelId="{97D63249-8D18-4D1C-ACF2-C4A64837710F}" type="presOf" srcId="{A72F1BAB-E5DC-42DD-8C70-E31C843FFD2E}" destId="{F8B03E91-3A02-49B7-8F22-E708F84C2FF7}" srcOrd="0" destOrd="0" presId="urn:microsoft.com/office/officeart/2005/8/layout/hList1"/>
    <dgm:cxn modelId="{950DBF4C-FD0F-40AD-B703-B2945FDFB2FE}" type="presOf" srcId="{F2E3B09A-B0E2-4086-947A-8ED1D8D3C448}" destId="{4CC4F6DD-5A0F-4E19-BC24-113DD16DB3D1}" srcOrd="0" destOrd="0" presId="urn:microsoft.com/office/officeart/2005/8/layout/hList1"/>
    <dgm:cxn modelId="{FA431E4D-4F76-4DCD-8999-02875F78FC16}" srcId="{E5F831A2-0049-49DD-A337-7FBBEF849628}" destId="{8673E885-1A66-4311-8E68-FCF714EF8C8E}" srcOrd="3" destOrd="0" parTransId="{4634F654-9126-4B66-A884-976BFB8403BB}" sibTransId="{B919E1A6-82EE-4B92-ABC4-441703C3FCFC}"/>
    <dgm:cxn modelId="{8320296D-9BD6-4B2C-B6F1-9E91DF9FA157}" srcId="{EAF35834-1D31-47A9-B445-973C6E974181}" destId="{8A8EFEFF-8FE3-43FB-A66C-2EFAEDB0D5A9}" srcOrd="1" destOrd="0" parTransId="{4B453902-A38B-42BE-84EB-1838B6BCDBDB}" sibTransId="{7BD89C94-8A45-452D-8820-06511F3A4DFE}"/>
    <dgm:cxn modelId="{5022904E-CE50-4334-956F-147DB8283135}" type="presOf" srcId="{CA87A775-EA43-4CD5-936C-9C36D8B366E5}" destId="{AC13DDB0-5C85-4AEE-AFFB-1974396BCA65}" srcOrd="0" destOrd="7" presId="urn:microsoft.com/office/officeart/2005/8/layout/hList1"/>
    <dgm:cxn modelId="{0403306F-2927-479B-ABEF-AF6906909818}" srcId="{F2E3B09A-B0E2-4086-947A-8ED1D8D3C448}" destId="{83C99031-3704-440E-BAA5-AFE9AB1ABD57}" srcOrd="0" destOrd="0" parTransId="{C03428C1-1F4E-47D7-B4BD-16C6ED720CBC}" sibTransId="{EF3FEA23-0494-4E4C-9FD1-3B9F8B9B5E6B}"/>
    <dgm:cxn modelId="{612FD44F-A5A7-44C6-9A7A-B02C680BACDE}" type="presOf" srcId="{0C710DBB-A276-47D3-9D46-F20965C15FA0}" destId="{F8B03E91-3A02-49B7-8F22-E708F84C2FF7}" srcOrd="0" destOrd="1" presId="urn:microsoft.com/office/officeart/2005/8/layout/hList1"/>
    <dgm:cxn modelId="{62DD7271-125A-4759-A1EE-03DE43B0AEE2}" type="presOf" srcId="{8A8EFEFF-8FE3-43FB-A66C-2EFAEDB0D5A9}" destId="{2163D39D-A822-4B11-B5D0-23D6A6255F24}" srcOrd="0" destOrd="1" presId="urn:microsoft.com/office/officeart/2005/8/layout/hList1"/>
    <dgm:cxn modelId="{E439B952-F09D-4E98-BEE0-999DBBE147EC}" type="presOf" srcId="{FBF064A3-162C-4871-AFD7-FB60CDBAC618}" destId="{AC13DDB0-5C85-4AEE-AFFB-1974396BCA65}" srcOrd="0" destOrd="1" presId="urn:microsoft.com/office/officeart/2005/8/layout/hList1"/>
    <dgm:cxn modelId="{4D6ED159-ACE9-4941-BFFE-B3F274009A82}" type="presOf" srcId="{1CB12E0F-7CB5-4D17-B7A7-D8C27C6D7C37}" destId="{AC13DDB0-5C85-4AEE-AFFB-1974396BCA65}" srcOrd="0" destOrd="0" presId="urn:microsoft.com/office/officeart/2005/8/layout/hList1"/>
    <dgm:cxn modelId="{C2CEC07A-4C09-4BC5-9620-803BD4555E70}" srcId="{F86922A8-90FA-445C-A46F-6E2C91013A11}" destId="{E5F831A2-0049-49DD-A337-7FBBEF849628}" srcOrd="2" destOrd="0" parTransId="{0D013057-3E1E-4401-9F66-6D2E53463855}" sibTransId="{EDB70D8E-D5D2-4A1F-97B4-F021975723A6}"/>
    <dgm:cxn modelId="{E4DE737E-C6AE-4277-9955-ADAEE6832117}" srcId="{F86922A8-90FA-445C-A46F-6E2C91013A11}" destId="{BAA9CF60-8F33-4246-A099-95887688B956}" srcOrd="0" destOrd="0" parTransId="{F4686F59-CB83-43BD-8E55-6389A18CD937}" sibTransId="{F208650D-400B-461F-9CBB-F169E4C7D631}"/>
    <dgm:cxn modelId="{950B8F80-3B08-48C2-8D57-8C416DDFE19B}" srcId="{BAA9CF60-8F33-4246-A099-95887688B956}" destId="{8CD925BA-62A4-4803-AC4E-51358390C8AC}" srcOrd="5" destOrd="0" parTransId="{936CEB5E-DD4F-42C5-A001-E7A3F9510CC0}" sibTransId="{EEA9FBB2-2BE5-48AF-A330-082253FD3A67}"/>
    <dgm:cxn modelId="{6C78668D-547E-410C-B70D-324314414783}" type="presOf" srcId="{38FC82E8-AD92-44EB-A4AF-0F15F47F5FD5}" destId="{AC13DDB0-5C85-4AEE-AFFB-1974396BCA65}" srcOrd="0" destOrd="6" presId="urn:microsoft.com/office/officeart/2005/8/layout/hList1"/>
    <dgm:cxn modelId="{06F72098-74C8-4755-AB5C-8F00E82F5226}" srcId="{BAA9CF60-8F33-4246-A099-95887688B956}" destId="{CC8F9EA0-89E8-419C-BEAD-E5C8BD3A13B3}" srcOrd="4" destOrd="0" parTransId="{9BF25EFD-3E71-4B27-A35C-FACDE1803810}" sibTransId="{CF4E2C06-A7AF-4522-A8F2-F1AF999D035D}"/>
    <dgm:cxn modelId="{D4A9AC98-2EC0-4FEB-BF8A-65A9A009343C}" srcId="{F86922A8-90FA-445C-A46F-6E2C91013A11}" destId="{AFBBA32E-948F-4377-8A15-B8826A33E7A2}" srcOrd="4" destOrd="0" parTransId="{5FA928E2-AF63-4287-A0E7-A78DB925EB50}" sibTransId="{CE5309E7-D224-468D-8A4C-9597E84946FC}"/>
    <dgm:cxn modelId="{1A96DF98-2BD5-4AAC-826C-76DF34E183C4}" type="presOf" srcId="{AFBBA32E-948F-4377-8A15-B8826A33E7A2}" destId="{3A97E9A1-780C-4C76-9562-FD291B304499}" srcOrd="0" destOrd="0" presId="urn:microsoft.com/office/officeart/2005/8/layout/hList1"/>
    <dgm:cxn modelId="{F584BB99-0549-48E5-BC80-67A97DAEC67D}" srcId="{BAA9CF60-8F33-4246-A099-95887688B956}" destId="{A5D9939A-B6EF-46D0-A39C-347B8EDD931F}" srcOrd="3" destOrd="0" parTransId="{BC46A14F-23E5-4383-800C-A31E1AAB3C0F}" sibTransId="{302D0767-318A-4FC5-98F8-A6F7BE606FD6}"/>
    <dgm:cxn modelId="{A32FE799-1202-4AE0-B92B-3C630D75EC17}" type="presOf" srcId="{DAF02930-41BE-4F6A-B0DC-04CC13D3C969}" destId="{2163D39D-A822-4B11-B5D0-23D6A6255F24}" srcOrd="0" destOrd="0" presId="urn:microsoft.com/office/officeart/2005/8/layout/hList1"/>
    <dgm:cxn modelId="{783E679C-B3FA-4E76-8CEE-D9AD813609F5}" type="presOf" srcId="{CD8AC84F-8665-420C-A3F5-720755C9922B}" destId="{B5429443-F1E7-4ACE-8A41-68AFECD435E1}" srcOrd="0" destOrd="0" presId="urn:microsoft.com/office/officeart/2005/8/layout/hList1"/>
    <dgm:cxn modelId="{D49C53A8-B1B3-4EC9-955A-ADED6367D400}" srcId="{F86922A8-90FA-445C-A46F-6E2C91013A11}" destId="{EAF35834-1D31-47A9-B445-973C6E974181}" srcOrd="3" destOrd="0" parTransId="{91E9C875-2391-4484-AA8F-05BCE0CAAE7B}" sibTransId="{4E6F0B05-41F2-45DC-81F0-4B1AD21B37C8}"/>
    <dgm:cxn modelId="{DB81ABAA-5B93-45E4-891B-FCF1F6A9A117}" srcId="{F2E3B09A-B0E2-4086-947A-8ED1D8D3C448}" destId="{2B466AC4-8B93-47C3-B0D9-D577EA6A6D43}" srcOrd="1" destOrd="0" parTransId="{8A33D093-37C9-4624-A479-EFFAE81AC780}" sibTransId="{15BC0445-B215-42FB-8893-ABCBF435F377}"/>
    <dgm:cxn modelId="{2FDE8AAF-8130-4614-B3C9-9DE5D27B08C4}" srcId="{E5F831A2-0049-49DD-A337-7FBBEF849628}" destId="{A72F1BAB-E5DC-42DD-8C70-E31C843FFD2E}" srcOrd="0" destOrd="0" parTransId="{F63243FC-1BC9-4E9A-AE25-6CD72BCF3DF6}" sibTransId="{A0AB1571-2F8F-4120-B582-63F7F0608714}"/>
    <dgm:cxn modelId="{97019EB8-E425-4C69-BB11-BC2C8D818FD5}" srcId="{BAA9CF60-8F33-4246-A099-95887688B956}" destId="{38FC82E8-AD92-44EB-A4AF-0F15F47F5FD5}" srcOrd="6" destOrd="0" parTransId="{9C554429-F146-47B0-B342-798B9AADA80E}" sibTransId="{2AF8B362-5519-4AA6-BC6B-A73C82C9EA57}"/>
    <dgm:cxn modelId="{045258B9-DC22-4957-8419-99A9863DD4B2}" type="presOf" srcId="{E5F831A2-0049-49DD-A337-7FBBEF849628}" destId="{0E66AB36-F37E-4F63-BD8D-1400613FB47D}" srcOrd="0" destOrd="0" presId="urn:microsoft.com/office/officeart/2005/8/layout/hList1"/>
    <dgm:cxn modelId="{216741BA-BC8B-4088-B38F-2EE66DCAD8D0}" srcId="{BAA9CF60-8F33-4246-A099-95887688B956}" destId="{FBF064A3-162C-4871-AFD7-FB60CDBAC618}" srcOrd="1" destOrd="0" parTransId="{F583D81D-E5F3-4ED7-B1B2-745D699D62C2}" sibTransId="{B0A9FD48-61A1-4A54-BDAD-061F2F937316}"/>
    <dgm:cxn modelId="{7495EEBB-4B0F-4BA5-B8BD-790F4DF56C98}" srcId="{E5F831A2-0049-49DD-A337-7FBBEF849628}" destId="{63595AC5-2468-49E4-90EE-770F2A9FE5D3}" srcOrd="2" destOrd="0" parTransId="{B7EEE028-28B1-41D9-A88E-9158FF425C82}" sibTransId="{7F519CF5-4417-4558-A1BF-68D02396B24A}"/>
    <dgm:cxn modelId="{234E7BC1-AB3C-4482-B2AF-69C794CF2755}" type="presOf" srcId="{CC8F9EA0-89E8-419C-BEAD-E5C8BD3A13B3}" destId="{AC13DDB0-5C85-4AEE-AFFB-1974396BCA65}" srcOrd="0" destOrd="4" presId="urn:microsoft.com/office/officeart/2005/8/layout/hList1"/>
    <dgm:cxn modelId="{5CA8EDCD-666F-4C99-893A-2B0142A9B4B8}" srcId="{EAF35834-1D31-47A9-B445-973C6E974181}" destId="{DAF02930-41BE-4F6A-B0DC-04CC13D3C969}" srcOrd="0" destOrd="0" parTransId="{6AE5574D-5763-4283-821E-7B889C4C71D4}" sibTransId="{B74B7773-1194-49EA-A048-CF91C1BD6058}"/>
    <dgm:cxn modelId="{FAD1FECE-43C7-4E07-839E-2B0B02C737BA}" srcId="{E5F831A2-0049-49DD-A337-7FBBEF849628}" destId="{0C710DBB-A276-47D3-9D46-F20965C15FA0}" srcOrd="1" destOrd="0" parTransId="{D21838BF-73E1-43CF-BE99-1AA0F1512513}" sibTransId="{73B04921-BA46-454A-92EE-AF89ABC532A6}"/>
    <dgm:cxn modelId="{4DF05BD4-7380-4E99-B5EB-13EDA930DDB8}" srcId="{AFBBA32E-948F-4377-8A15-B8826A33E7A2}" destId="{DDD5576A-EE9D-480C-955A-09DFB64CAFEE}" srcOrd="2" destOrd="0" parTransId="{AC445A6B-778A-4D3C-8673-C3AE00C02A81}" sibTransId="{7E1FFE25-A36C-4882-BC9C-1512886EF7B6}"/>
    <dgm:cxn modelId="{915B13D6-9245-4B63-8EF4-104B4A8BD998}" type="presOf" srcId="{F86922A8-90FA-445C-A46F-6E2C91013A11}" destId="{A4F674C3-1EC8-4B6C-A5C4-326D35EC3E68}" srcOrd="0" destOrd="0" presId="urn:microsoft.com/office/officeart/2005/8/layout/hList1"/>
    <dgm:cxn modelId="{7BFBB8D6-9F49-4239-9E25-3C6D25467EFE}" type="presOf" srcId="{BAA9CF60-8F33-4246-A099-95887688B956}" destId="{8807FD5C-431B-46A1-BBB0-55BBB1D1648B}" srcOrd="0" destOrd="0" presId="urn:microsoft.com/office/officeart/2005/8/layout/hList1"/>
    <dgm:cxn modelId="{60E7CFE1-C04D-42F6-95A8-0980712BBBFB}" type="presOf" srcId="{BB5B9840-75A6-412F-A579-AACA46AB50A8}" destId="{AC13DDB0-5C85-4AEE-AFFB-1974396BCA65}" srcOrd="0" destOrd="2" presId="urn:microsoft.com/office/officeart/2005/8/layout/hList1"/>
    <dgm:cxn modelId="{6AC9CFE7-96CB-4FC1-AA3F-A752329E0148}" type="presOf" srcId="{63595AC5-2468-49E4-90EE-770F2A9FE5D3}" destId="{F8B03E91-3A02-49B7-8F22-E708F84C2FF7}" srcOrd="0" destOrd="2" presId="urn:microsoft.com/office/officeart/2005/8/layout/hList1"/>
    <dgm:cxn modelId="{F9523AE8-FC10-4B6D-8DFF-7694A56A8BCF}" type="presOf" srcId="{8673E885-1A66-4311-8E68-FCF714EF8C8E}" destId="{F8B03E91-3A02-49B7-8F22-E708F84C2FF7}" srcOrd="0" destOrd="3" presId="urn:microsoft.com/office/officeart/2005/8/layout/hList1"/>
    <dgm:cxn modelId="{14D771E8-AF1E-47A2-92EB-187A3D814A3F}" type="presOf" srcId="{DDD5576A-EE9D-480C-955A-09DFB64CAFEE}" destId="{B5429443-F1E7-4ACE-8A41-68AFECD435E1}" srcOrd="0" destOrd="2" presId="urn:microsoft.com/office/officeart/2005/8/layout/hList1"/>
    <dgm:cxn modelId="{31BEF3FE-5085-4309-BDC1-979AA4BE304B}" type="presOf" srcId="{1EDC811C-CD44-49EB-8B00-6042F4F65F9D}" destId="{2163D39D-A822-4B11-B5D0-23D6A6255F24}" srcOrd="0" destOrd="2" presId="urn:microsoft.com/office/officeart/2005/8/layout/hList1"/>
    <dgm:cxn modelId="{0A528302-3756-4EF3-887B-42F5CEC7E579}" type="presParOf" srcId="{A4F674C3-1EC8-4B6C-A5C4-326D35EC3E68}" destId="{65DDB825-A863-43DB-B905-6A9ABEFDE90F}" srcOrd="0" destOrd="0" presId="urn:microsoft.com/office/officeart/2005/8/layout/hList1"/>
    <dgm:cxn modelId="{A795F977-CF08-47B2-A9A9-C34B755BD649}" type="presParOf" srcId="{65DDB825-A863-43DB-B905-6A9ABEFDE90F}" destId="{8807FD5C-431B-46A1-BBB0-55BBB1D1648B}" srcOrd="0" destOrd="0" presId="urn:microsoft.com/office/officeart/2005/8/layout/hList1"/>
    <dgm:cxn modelId="{56A10023-8AF7-4535-8E90-0F61058797EE}" type="presParOf" srcId="{65DDB825-A863-43DB-B905-6A9ABEFDE90F}" destId="{AC13DDB0-5C85-4AEE-AFFB-1974396BCA65}" srcOrd="1" destOrd="0" presId="urn:microsoft.com/office/officeart/2005/8/layout/hList1"/>
    <dgm:cxn modelId="{F96A6620-A6CE-462F-B121-E70AB6B2F20A}" type="presParOf" srcId="{A4F674C3-1EC8-4B6C-A5C4-326D35EC3E68}" destId="{8CDAB947-5797-40B7-BDE2-AF70FF48A56D}" srcOrd="1" destOrd="0" presId="urn:microsoft.com/office/officeart/2005/8/layout/hList1"/>
    <dgm:cxn modelId="{8262D023-19C5-4372-973B-6D9A47C5E198}" type="presParOf" srcId="{A4F674C3-1EC8-4B6C-A5C4-326D35EC3E68}" destId="{2120E765-2885-4226-90D7-0CED4DEA4C6E}" srcOrd="2" destOrd="0" presId="urn:microsoft.com/office/officeart/2005/8/layout/hList1"/>
    <dgm:cxn modelId="{6ED14914-9128-4731-9174-215F85A5A214}" type="presParOf" srcId="{2120E765-2885-4226-90D7-0CED4DEA4C6E}" destId="{4CC4F6DD-5A0F-4E19-BC24-113DD16DB3D1}" srcOrd="0" destOrd="0" presId="urn:microsoft.com/office/officeart/2005/8/layout/hList1"/>
    <dgm:cxn modelId="{135CB9CC-3842-48CF-AC51-4C0C47C85D69}" type="presParOf" srcId="{2120E765-2885-4226-90D7-0CED4DEA4C6E}" destId="{A09BB9F0-C89A-4C11-9BF7-872790089868}" srcOrd="1" destOrd="0" presId="urn:microsoft.com/office/officeart/2005/8/layout/hList1"/>
    <dgm:cxn modelId="{DAB67FA2-CE42-47EA-A641-8FD33B21E4BD}" type="presParOf" srcId="{A4F674C3-1EC8-4B6C-A5C4-326D35EC3E68}" destId="{9454D92E-9639-4B9C-B37E-D57087548DAA}" srcOrd="3" destOrd="0" presId="urn:microsoft.com/office/officeart/2005/8/layout/hList1"/>
    <dgm:cxn modelId="{7AFF906A-1608-4B2F-B8DB-CA89F09F45E9}" type="presParOf" srcId="{A4F674C3-1EC8-4B6C-A5C4-326D35EC3E68}" destId="{16211DFA-4908-4764-A6A4-239ED331943C}" srcOrd="4" destOrd="0" presId="urn:microsoft.com/office/officeart/2005/8/layout/hList1"/>
    <dgm:cxn modelId="{DB568B46-4CC5-4E05-B299-1DA9C6722CDF}" type="presParOf" srcId="{16211DFA-4908-4764-A6A4-239ED331943C}" destId="{0E66AB36-F37E-4F63-BD8D-1400613FB47D}" srcOrd="0" destOrd="0" presId="urn:microsoft.com/office/officeart/2005/8/layout/hList1"/>
    <dgm:cxn modelId="{DC288DF2-97F2-4843-847F-3B5DFAF306B9}" type="presParOf" srcId="{16211DFA-4908-4764-A6A4-239ED331943C}" destId="{F8B03E91-3A02-49B7-8F22-E708F84C2FF7}" srcOrd="1" destOrd="0" presId="urn:microsoft.com/office/officeart/2005/8/layout/hList1"/>
    <dgm:cxn modelId="{6CD46EA3-1BB6-4574-9962-AFACCB2BF6E5}" type="presParOf" srcId="{A4F674C3-1EC8-4B6C-A5C4-326D35EC3E68}" destId="{B0779F69-C21A-4D5E-B0F0-E8A2DE4EA846}" srcOrd="5" destOrd="0" presId="urn:microsoft.com/office/officeart/2005/8/layout/hList1"/>
    <dgm:cxn modelId="{2D20F949-97B1-41AD-9B08-2A1C796B35D0}" type="presParOf" srcId="{A4F674C3-1EC8-4B6C-A5C4-326D35EC3E68}" destId="{C20C238A-94F7-408B-9C02-695CFF1B9995}" srcOrd="6" destOrd="0" presId="urn:microsoft.com/office/officeart/2005/8/layout/hList1"/>
    <dgm:cxn modelId="{70557F0B-11C3-43B1-A2D1-88216AEC013C}" type="presParOf" srcId="{C20C238A-94F7-408B-9C02-695CFF1B9995}" destId="{330A1E76-D394-4A07-AB0D-16E443F1040A}" srcOrd="0" destOrd="0" presId="urn:microsoft.com/office/officeart/2005/8/layout/hList1"/>
    <dgm:cxn modelId="{85F3FA47-A5AA-4DB3-A167-1ED861277BD2}" type="presParOf" srcId="{C20C238A-94F7-408B-9C02-695CFF1B9995}" destId="{2163D39D-A822-4B11-B5D0-23D6A6255F24}" srcOrd="1" destOrd="0" presId="urn:microsoft.com/office/officeart/2005/8/layout/hList1"/>
    <dgm:cxn modelId="{B804EEC9-ECB4-40B6-A9F2-CB9893C3FA66}" type="presParOf" srcId="{A4F674C3-1EC8-4B6C-A5C4-326D35EC3E68}" destId="{280B8120-CECD-4B93-BE9C-EAF16EE0B964}" srcOrd="7" destOrd="0" presId="urn:microsoft.com/office/officeart/2005/8/layout/hList1"/>
    <dgm:cxn modelId="{9306DBE7-1959-4C47-A072-BFF05EF2C734}" type="presParOf" srcId="{A4F674C3-1EC8-4B6C-A5C4-326D35EC3E68}" destId="{41E33D8F-B8F0-4572-89DC-0E69D296DED2}" srcOrd="8" destOrd="0" presId="urn:microsoft.com/office/officeart/2005/8/layout/hList1"/>
    <dgm:cxn modelId="{86963262-3667-4025-B5D8-DE3234D61147}" type="presParOf" srcId="{41E33D8F-B8F0-4572-89DC-0E69D296DED2}" destId="{3A97E9A1-780C-4C76-9562-FD291B304499}" srcOrd="0" destOrd="0" presId="urn:microsoft.com/office/officeart/2005/8/layout/hList1"/>
    <dgm:cxn modelId="{07C86C17-C329-49C8-A5E2-FF1A03DC0877}" type="presParOf" srcId="{41E33D8F-B8F0-4572-89DC-0E69D296DED2}" destId="{B5429443-F1E7-4ACE-8A41-68AFECD435E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234BC87B-D92D-4836-AFD0-7A4EF0BB1F14}" type="doc">
      <dgm:prSet loTypeId="urn:microsoft.com/office/officeart/2005/8/layout/process3" loCatId="process" qsTypeId="urn:microsoft.com/office/officeart/2005/8/quickstyle/simple1" qsCatId="simple" csTypeId="urn:microsoft.com/office/officeart/2005/8/colors/accent1_4" csCatId="accent1" phldr="1"/>
      <dgm:spPr/>
      <dgm:t>
        <a:bodyPr/>
        <a:lstStyle/>
        <a:p>
          <a:endParaRPr lang="es-ES"/>
        </a:p>
      </dgm:t>
    </dgm:pt>
    <dgm:pt modelId="{DD16FD8C-5657-45B7-BBE2-B27BAB1A4F1A}">
      <dgm:prSet phldrT="[Texto]"/>
      <dgm:spPr/>
      <dgm:t>
        <a:bodyPr/>
        <a:lstStyle/>
        <a:p>
          <a:r>
            <a:rPr lang="es-ES_tradnl" b="1" dirty="0">
              <a:latin typeface="+mj-lt"/>
            </a:rPr>
            <a:t>Reducción de Costes</a:t>
          </a:r>
          <a:endParaRPr lang="es-ES" dirty="0">
            <a:latin typeface="+mj-lt"/>
          </a:endParaRPr>
        </a:p>
      </dgm:t>
    </dgm:pt>
    <dgm:pt modelId="{D1FF8E70-91BD-4563-8B85-F38BDE54D890}" type="parTrans" cxnId="{77A20AF5-28D9-4463-A02A-2DD9E4DAE45B}">
      <dgm:prSet/>
      <dgm:spPr/>
      <dgm:t>
        <a:bodyPr/>
        <a:lstStyle/>
        <a:p>
          <a:endParaRPr lang="es-ES">
            <a:latin typeface="+mn-lt"/>
          </a:endParaRPr>
        </a:p>
      </dgm:t>
    </dgm:pt>
    <dgm:pt modelId="{EFBDA690-8B70-4398-BF9A-207B13A6CF42}" type="sibTrans" cxnId="{77A20AF5-28D9-4463-A02A-2DD9E4DAE45B}">
      <dgm:prSet/>
      <dgm:spPr/>
      <dgm:t>
        <a:bodyPr/>
        <a:lstStyle/>
        <a:p>
          <a:endParaRPr lang="es-ES">
            <a:latin typeface="+mn-lt"/>
          </a:endParaRPr>
        </a:p>
      </dgm:t>
    </dgm:pt>
    <dgm:pt modelId="{4C6B5F12-27F7-4E84-944B-3AD27647E85D}">
      <dgm:prSet phldrT="[Texto]" custT="1"/>
      <dgm:spPr/>
      <dgm:t>
        <a:bodyPr/>
        <a:lstStyle/>
        <a:p>
          <a:pPr>
            <a:lnSpc>
              <a:spcPct val="100000"/>
            </a:lnSpc>
            <a:spcAft>
              <a:spcPts val="600"/>
            </a:spcAft>
          </a:pPr>
          <a:r>
            <a:rPr lang="es-ES" sz="1400" dirty="0">
              <a:highlight>
                <a:srgbClr val="FFFFCC"/>
              </a:highlight>
              <a:latin typeface="+mn-lt"/>
            </a:rPr>
            <a:t>Hardware barato</a:t>
          </a:r>
          <a:r>
            <a:rPr lang="es-ES" sz="1400" dirty="0">
              <a:latin typeface="+mn-lt"/>
            </a:rPr>
            <a:t>, Commodity</a:t>
          </a:r>
        </a:p>
      </dgm:t>
    </dgm:pt>
    <dgm:pt modelId="{DD7F891C-C4F9-4F68-A397-3145B0836CB9}" type="parTrans" cxnId="{E2CAAF0D-78E8-45FE-9398-A0A553577106}">
      <dgm:prSet/>
      <dgm:spPr/>
      <dgm:t>
        <a:bodyPr/>
        <a:lstStyle/>
        <a:p>
          <a:endParaRPr lang="es-ES">
            <a:latin typeface="+mn-lt"/>
          </a:endParaRPr>
        </a:p>
      </dgm:t>
    </dgm:pt>
    <dgm:pt modelId="{2D6EAB27-4547-4D7E-A038-334887C7FF7A}" type="sibTrans" cxnId="{E2CAAF0D-78E8-45FE-9398-A0A553577106}">
      <dgm:prSet/>
      <dgm:spPr/>
      <dgm:t>
        <a:bodyPr/>
        <a:lstStyle/>
        <a:p>
          <a:endParaRPr lang="es-ES">
            <a:latin typeface="+mn-lt"/>
          </a:endParaRPr>
        </a:p>
      </dgm:t>
    </dgm:pt>
    <dgm:pt modelId="{A64999F5-3D4A-497A-9A77-7A97D480FA82}">
      <dgm:prSet phldrT="[Texto]" custT="1"/>
      <dgm:spPr/>
      <dgm:t>
        <a:bodyPr/>
        <a:lstStyle/>
        <a:p>
          <a:r>
            <a:rPr lang="es-ES_tradnl" sz="1400" b="1" dirty="0">
              <a:latin typeface="+mj-lt"/>
            </a:rPr>
            <a:t>Datos en Información</a:t>
          </a:r>
          <a:endParaRPr lang="es-ES" sz="1400" dirty="0">
            <a:latin typeface="+mj-lt"/>
          </a:endParaRPr>
        </a:p>
      </dgm:t>
    </dgm:pt>
    <dgm:pt modelId="{858EF401-2A46-4E7F-895A-7FC55A97223B}" type="parTrans" cxnId="{C2F549C8-A113-4CE1-9EB6-4104E22E62B3}">
      <dgm:prSet/>
      <dgm:spPr/>
      <dgm:t>
        <a:bodyPr/>
        <a:lstStyle/>
        <a:p>
          <a:endParaRPr lang="es-ES">
            <a:latin typeface="+mn-lt"/>
          </a:endParaRPr>
        </a:p>
      </dgm:t>
    </dgm:pt>
    <dgm:pt modelId="{D7A6E66C-3A28-4A87-9536-6082D60443E3}" type="sibTrans" cxnId="{C2F549C8-A113-4CE1-9EB6-4104E22E62B3}">
      <dgm:prSet/>
      <dgm:spPr/>
      <dgm:t>
        <a:bodyPr/>
        <a:lstStyle/>
        <a:p>
          <a:endParaRPr lang="es-ES" dirty="0">
            <a:latin typeface="+mn-lt"/>
          </a:endParaRPr>
        </a:p>
      </dgm:t>
    </dgm:pt>
    <dgm:pt modelId="{3CC173BF-76DC-4411-9B03-013539B0E0E9}">
      <dgm:prSet phldrT="[Texto]"/>
      <dgm:spPr/>
      <dgm:t>
        <a:bodyPr/>
        <a:lstStyle/>
        <a:p>
          <a:pPr>
            <a:lnSpc>
              <a:spcPct val="100000"/>
            </a:lnSpc>
            <a:spcAft>
              <a:spcPts val="600"/>
            </a:spcAft>
          </a:pPr>
          <a:r>
            <a:rPr lang="es-ES" dirty="0">
              <a:latin typeface="+mn-lt"/>
            </a:rPr>
            <a:t>De manera </a:t>
          </a:r>
          <a:r>
            <a:rPr lang="es-ES" dirty="0">
              <a:highlight>
                <a:srgbClr val="FFFFCC"/>
              </a:highlight>
              <a:latin typeface="+mn-lt"/>
            </a:rPr>
            <a:t>no estructurada y también estructurada</a:t>
          </a:r>
          <a:r>
            <a:rPr lang="es-ES" dirty="0">
              <a:latin typeface="+mn-lt"/>
            </a:rPr>
            <a:t>.</a:t>
          </a:r>
        </a:p>
      </dgm:t>
    </dgm:pt>
    <dgm:pt modelId="{188E9DA2-7425-4EB9-B1E7-D9BFE1219211}" type="parTrans" cxnId="{FF24E8D5-C210-4825-8FD4-BADEEA1B45B8}">
      <dgm:prSet/>
      <dgm:spPr/>
      <dgm:t>
        <a:bodyPr/>
        <a:lstStyle/>
        <a:p>
          <a:endParaRPr lang="es-ES">
            <a:latin typeface="+mn-lt"/>
          </a:endParaRPr>
        </a:p>
      </dgm:t>
    </dgm:pt>
    <dgm:pt modelId="{0DE20D06-84BB-43A9-A73B-AD40DFC6C968}" type="sibTrans" cxnId="{FF24E8D5-C210-4825-8FD4-BADEEA1B45B8}">
      <dgm:prSet/>
      <dgm:spPr/>
      <dgm:t>
        <a:bodyPr/>
        <a:lstStyle/>
        <a:p>
          <a:endParaRPr lang="es-ES">
            <a:latin typeface="+mn-lt"/>
          </a:endParaRPr>
        </a:p>
      </dgm:t>
    </dgm:pt>
    <dgm:pt modelId="{7CDE2650-AACB-4D24-9CBE-C70FF659F146}">
      <dgm:prSet custT="1"/>
      <dgm:spPr/>
      <dgm:t>
        <a:bodyPr/>
        <a:lstStyle/>
        <a:p>
          <a:pPr>
            <a:lnSpc>
              <a:spcPct val="100000"/>
            </a:lnSpc>
            <a:spcAft>
              <a:spcPts val="600"/>
            </a:spcAft>
          </a:pPr>
          <a:r>
            <a:rPr lang="es-ES" sz="1400" dirty="0">
              <a:highlight>
                <a:srgbClr val="FFFFCC"/>
              </a:highlight>
              <a:latin typeface="+mn-lt"/>
            </a:rPr>
            <a:t>Plataforma barata.</a:t>
          </a:r>
          <a:endParaRPr lang="es-ES" sz="1400" b="0" dirty="0">
            <a:highlight>
              <a:srgbClr val="FFFFCC"/>
            </a:highlight>
            <a:latin typeface="+mn-lt"/>
          </a:endParaRPr>
        </a:p>
      </dgm:t>
    </dgm:pt>
    <dgm:pt modelId="{0E5DDE27-5404-47BD-8B17-E50EEE2D5211}" type="parTrans" cxnId="{4672F1A7-8C27-4AAC-A594-80AD631E9939}">
      <dgm:prSet/>
      <dgm:spPr/>
      <dgm:t>
        <a:bodyPr/>
        <a:lstStyle/>
        <a:p>
          <a:endParaRPr lang="es-ES">
            <a:latin typeface="+mn-lt"/>
          </a:endParaRPr>
        </a:p>
      </dgm:t>
    </dgm:pt>
    <dgm:pt modelId="{2F3A36E8-2083-4415-A964-D290BA94CF17}" type="sibTrans" cxnId="{4672F1A7-8C27-4AAC-A594-80AD631E9939}">
      <dgm:prSet/>
      <dgm:spPr/>
      <dgm:t>
        <a:bodyPr/>
        <a:lstStyle/>
        <a:p>
          <a:endParaRPr lang="es-ES">
            <a:latin typeface="+mn-lt"/>
          </a:endParaRPr>
        </a:p>
      </dgm:t>
    </dgm:pt>
    <dgm:pt modelId="{2D376720-3A24-4183-BE02-4F2E45E59924}">
      <dgm:prSet custT="1"/>
      <dgm:spPr/>
      <dgm:t>
        <a:bodyPr/>
        <a:lstStyle/>
        <a:p>
          <a:pPr>
            <a:lnSpc>
              <a:spcPct val="100000"/>
            </a:lnSpc>
            <a:spcAft>
              <a:spcPts val="600"/>
            </a:spcAft>
          </a:pPr>
          <a:r>
            <a:rPr lang="es-ES" sz="1400" dirty="0">
              <a:latin typeface="+mn-lt"/>
            </a:rPr>
            <a:t>El Desarrollo divide los tiempos de las tecnologías convencionales  entre cuatro.</a:t>
          </a:r>
          <a:endParaRPr lang="en-US" sz="1400" dirty="0">
            <a:latin typeface="+mn-lt"/>
          </a:endParaRPr>
        </a:p>
      </dgm:t>
    </dgm:pt>
    <dgm:pt modelId="{37952722-9824-4BD3-8AD0-406D185C3FA4}" type="parTrans" cxnId="{38610D5C-B115-4754-AA92-8B2D8B0EDB80}">
      <dgm:prSet/>
      <dgm:spPr/>
      <dgm:t>
        <a:bodyPr/>
        <a:lstStyle/>
        <a:p>
          <a:endParaRPr lang="es-ES">
            <a:latin typeface="+mn-lt"/>
          </a:endParaRPr>
        </a:p>
      </dgm:t>
    </dgm:pt>
    <dgm:pt modelId="{49CF9F6D-DAA4-47B4-8711-55248B533C3A}" type="sibTrans" cxnId="{38610D5C-B115-4754-AA92-8B2D8B0EDB80}">
      <dgm:prSet/>
      <dgm:spPr/>
      <dgm:t>
        <a:bodyPr/>
        <a:lstStyle/>
        <a:p>
          <a:endParaRPr lang="es-ES">
            <a:latin typeface="+mn-lt"/>
          </a:endParaRPr>
        </a:p>
      </dgm:t>
    </dgm:pt>
    <dgm:pt modelId="{4C04843C-1FD2-44C4-942F-B8A17E6B67AC}">
      <dgm:prSet/>
      <dgm:spPr/>
      <dgm:t>
        <a:bodyPr/>
        <a:lstStyle/>
        <a:p>
          <a:pPr>
            <a:lnSpc>
              <a:spcPct val="100000"/>
            </a:lnSpc>
            <a:spcAft>
              <a:spcPts val="600"/>
            </a:spcAft>
          </a:pPr>
          <a:r>
            <a:rPr lang="es-ES" dirty="0">
              <a:highlight>
                <a:srgbClr val="FFFFCC"/>
              </a:highlight>
              <a:latin typeface="+mn-lt"/>
            </a:rPr>
            <a:t>Acceder a diversas fuentes </a:t>
          </a:r>
          <a:r>
            <a:rPr lang="es-ES" dirty="0">
              <a:latin typeface="+mn-lt"/>
            </a:rPr>
            <a:t>de información: Internas y Externas.</a:t>
          </a:r>
        </a:p>
      </dgm:t>
    </dgm:pt>
    <dgm:pt modelId="{0604643F-7B8C-4A71-8579-C9DC2F4DEB24}" type="parTrans" cxnId="{59F4D13E-2464-4D8F-9F14-192AEB070867}">
      <dgm:prSet/>
      <dgm:spPr/>
      <dgm:t>
        <a:bodyPr/>
        <a:lstStyle/>
        <a:p>
          <a:endParaRPr lang="es-ES">
            <a:latin typeface="+mn-lt"/>
          </a:endParaRPr>
        </a:p>
      </dgm:t>
    </dgm:pt>
    <dgm:pt modelId="{10C4ED9E-D0B2-4DDD-82D0-62C43F751D82}" type="sibTrans" cxnId="{59F4D13E-2464-4D8F-9F14-192AEB070867}">
      <dgm:prSet/>
      <dgm:spPr/>
      <dgm:t>
        <a:bodyPr/>
        <a:lstStyle/>
        <a:p>
          <a:endParaRPr lang="es-ES">
            <a:latin typeface="+mn-lt"/>
          </a:endParaRPr>
        </a:p>
      </dgm:t>
    </dgm:pt>
    <dgm:pt modelId="{D69E0918-FF4F-415B-A550-B81289D63F06}">
      <dgm:prSet phldrT="[Texto]"/>
      <dgm:spPr/>
      <dgm:t>
        <a:bodyPr/>
        <a:lstStyle/>
        <a:p>
          <a:pPr>
            <a:lnSpc>
              <a:spcPct val="100000"/>
            </a:lnSpc>
            <a:spcAft>
              <a:spcPts val="600"/>
            </a:spcAft>
          </a:pPr>
          <a:r>
            <a:rPr lang="es-ES" b="0" dirty="0">
              <a:highlight>
                <a:srgbClr val="FFFFCC"/>
              </a:highlight>
              <a:latin typeface="+mn-lt"/>
            </a:rPr>
            <a:t>Streaming</a:t>
          </a:r>
          <a:r>
            <a:rPr lang="es-ES" b="0" dirty="0">
              <a:latin typeface="+mn-lt"/>
            </a:rPr>
            <a:t>: </a:t>
          </a:r>
          <a:r>
            <a:rPr lang="es-ES" dirty="0">
              <a:latin typeface="+mn-lt"/>
            </a:rPr>
            <a:t>Procesado en real-time o near-real-time.</a:t>
          </a:r>
        </a:p>
      </dgm:t>
    </dgm:pt>
    <dgm:pt modelId="{EDE9FDA0-660E-4F74-91B1-B0A03204E3D2}" type="parTrans" cxnId="{4DB5F6B6-D3EF-4287-8439-506E88D9902B}">
      <dgm:prSet/>
      <dgm:spPr/>
      <dgm:t>
        <a:bodyPr/>
        <a:lstStyle/>
        <a:p>
          <a:endParaRPr lang="es-ES">
            <a:latin typeface="+mn-lt"/>
          </a:endParaRPr>
        </a:p>
      </dgm:t>
    </dgm:pt>
    <dgm:pt modelId="{B3B79B7C-C5C9-4EB9-918E-47D278F86797}" type="sibTrans" cxnId="{4DB5F6B6-D3EF-4287-8439-506E88D9902B}">
      <dgm:prSet/>
      <dgm:spPr/>
      <dgm:t>
        <a:bodyPr/>
        <a:lstStyle/>
        <a:p>
          <a:endParaRPr lang="es-ES">
            <a:latin typeface="+mn-lt"/>
          </a:endParaRPr>
        </a:p>
      </dgm:t>
    </dgm:pt>
    <dgm:pt modelId="{4D779C30-BC34-49EB-A934-D5BE5F40AA84}">
      <dgm:prSet phldrT="[Texto]" custT="1"/>
      <dgm:spPr/>
      <dgm:t>
        <a:bodyPr/>
        <a:lstStyle/>
        <a:p>
          <a:pPr>
            <a:lnSpc>
              <a:spcPct val="100000"/>
            </a:lnSpc>
            <a:spcAft>
              <a:spcPts val="600"/>
            </a:spcAft>
          </a:pPr>
          <a:r>
            <a:rPr lang="es-ES_tradnl" sz="1400" b="0" dirty="0">
              <a:highlight>
                <a:srgbClr val="FFFFCC"/>
              </a:highlight>
              <a:latin typeface="+mn-lt"/>
            </a:rPr>
            <a:t>Escalabilidad y Volumen</a:t>
          </a:r>
          <a:endParaRPr lang="es-ES" sz="1400" b="0" dirty="0">
            <a:highlight>
              <a:srgbClr val="FFFFCC"/>
            </a:highlight>
            <a:latin typeface="+mn-lt"/>
          </a:endParaRPr>
        </a:p>
      </dgm:t>
    </dgm:pt>
    <dgm:pt modelId="{4FEE0D31-55C4-4E2D-ADBE-848C6C8AEEB7}" type="parTrans" cxnId="{FCA86EFA-39B2-4A27-8643-D56B257369BE}">
      <dgm:prSet/>
      <dgm:spPr/>
      <dgm:t>
        <a:bodyPr/>
        <a:lstStyle/>
        <a:p>
          <a:endParaRPr lang="es-ES">
            <a:latin typeface="+mn-lt"/>
          </a:endParaRPr>
        </a:p>
      </dgm:t>
    </dgm:pt>
    <dgm:pt modelId="{4073A98B-DD9F-4436-93C3-8C114C8C4921}" type="sibTrans" cxnId="{FCA86EFA-39B2-4A27-8643-D56B257369BE}">
      <dgm:prSet/>
      <dgm:spPr/>
      <dgm:t>
        <a:bodyPr/>
        <a:lstStyle/>
        <a:p>
          <a:endParaRPr lang="es-ES">
            <a:latin typeface="+mn-lt"/>
          </a:endParaRPr>
        </a:p>
      </dgm:t>
    </dgm:pt>
    <dgm:pt modelId="{1386C9BC-FBC8-4DF8-8372-A16DDBEB5744}">
      <dgm:prSet/>
      <dgm:spPr/>
      <dgm:t>
        <a:bodyPr/>
        <a:lstStyle/>
        <a:p>
          <a:pPr>
            <a:lnSpc>
              <a:spcPct val="100000"/>
            </a:lnSpc>
            <a:spcAft>
              <a:spcPts val="600"/>
            </a:spcAft>
          </a:pPr>
          <a:r>
            <a:rPr lang="es-ES" dirty="0">
              <a:latin typeface="+mn-lt"/>
            </a:rPr>
            <a:t>Convertir los </a:t>
          </a:r>
          <a:r>
            <a:rPr lang="es-ES" dirty="0">
              <a:highlight>
                <a:srgbClr val="FFFFCC"/>
              </a:highlight>
              <a:latin typeface="+mn-lt"/>
            </a:rPr>
            <a:t>datos en información</a:t>
          </a:r>
          <a:endParaRPr lang="es-ES" dirty="0">
            <a:latin typeface="+mn-lt"/>
          </a:endParaRPr>
        </a:p>
      </dgm:t>
    </dgm:pt>
    <dgm:pt modelId="{B95FFB7F-101F-4DE6-BB30-0467494BAF06}" type="parTrans" cxnId="{34C385D9-3495-436F-BDFA-126C984032F9}">
      <dgm:prSet/>
      <dgm:spPr/>
      <dgm:t>
        <a:bodyPr/>
        <a:lstStyle/>
        <a:p>
          <a:endParaRPr lang="es-ES">
            <a:latin typeface="+mn-lt"/>
          </a:endParaRPr>
        </a:p>
      </dgm:t>
    </dgm:pt>
    <dgm:pt modelId="{435A37FB-756C-4A05-A2F9-CDFA484147D1}" type="sibTrans" cxnId="{34C385D9-3495-436F-BDFA-126C984032F9}">
      <dgm:prSet/>
      <dgm:spPr/>
      <dgm:t>
        <a:bodyPr/>
        <a:lstStyle/>
        <a:p>
          <a:endParaRPr lang="es-ES">
            <a:latin typeface="+mn-lt"/>
          </a:endParaRPr>
        </a:p>
      </dgm:t>
    </dgm:pt>
    <dgm:pt modelId="{96837FF0-292A-45EF-ADED-CD9FB23ED741}">
      <dgm:prSet custT="1"/>
      <dgm:spPr/>
      <dgm:t>
        <a:bodyPr/>
        <a:lstStyle/>
        <a:p>
          <a:pPr>
            <a:lnSpc>
              <a:spcPct val="100000"/>
            </a:lnSpc>
            <a:spcAft>
              <a:spcPts val="600"/>
            </a:spcAft>
          </a:pPr>
          <a:r>
            <a:rPr lang="es-ES" sz="1400" dirty="0">
              <a:latin typeface="+mn-lt"/>
            </a:rPr>
            <a:t>Imposible o </a:t>
          </a:r>
          <a:r>
            <a:rPr lang="es-ES" sz="1400" dirty="0">
              <a:highlight>
                <a:srgbClr val="FFFFCC"/>
              </a:highlight>
              <a:latin typeface="+mn-lt"/>
            </a:rPr>
            <a:t>muy costoso con tecnologías convencionales</a:t>
          </a:r>
          <a:r>
            <a:rPr lang="es-ES" sz="1400" dirty="0">
              <a:latin typeface="+mn-lt"/>
            </a:rPr>
            <a:t>.</a:t>
          </a:r>
        </a:p>
      </dgm:t>
    </dgm:pt>
    <dgm:pt modelId="{7676D9DB-0BB7-4219-8278-C0C964943CF5}" type="parTrans" cxnId="{0A65E379-B631-4B44-B8BD-93D177CC8779}">
      <dgm:prSet/>
      <dgm:spPr/>
      <dgm:t>
        <a:bodyPr/>
        <a:lstStyle/>
        <a:p>
          <a:endParaRPr lang="es-ES">
            <a:latin typeface="+mn-lt"/>
          </a:endParaRPr>
        </a:p>
      </dgm:t>
    </dgm:pt>
    <dgm:pt modelId="{69694BD9-EB86-47A0-B6D9-FCE6CFBD4E89}" type="sibTrans" cxnId="{0A65E379-B631-4B44-B8BD-93D177CC8779}">
      <dgm:prSet/>
      <dgm:spPr/>
      <dgm:t>
        <a:bodyPr/>
        <a:lstStyle/>
        <a:p>
          <a:endParaRPr lang="es-ES">
            <a:latin typeface="+mn-lt"/>
          </a:endParaRPr>
        </a:p>
      </dgm:t>
    </dgm:pt>
    <dgm:pt modelId="{B330D906-1F3B-4486-AEE6-64484CE0DF33}">
      <dgm:prSet phldrT="[Texto]"/>
      <dgm:spPr/>
      <dgm:t>
        <a:bodyPr/>
        <a:lstStyle/>
        <a:p>
          <a:pPr>
            <a:lnSpc>
              <a:spcPct val="100000"/>
            </a:lnSpc>
            <a:spcAft>
              <a:spcPts val="600"/>
            </a:spcAft>
          </a:pPr>
          <a:r>
            <a:rPr lang="es-ES" dirty="0">
              <a:latin typeface="+mn-lt"/>
            </a:rPr>
            <a:t>Análisis y generación de </a:t>
          </a:r>
          <a:r>
            <a:rPr lang="es-ES" dirty="0">
              <a:highlight>
                <a:srgbClr val="FFFFCC"/>
              </a:highlight>
              <a:latin typeface="+mn-lt"/>
            </a:rPr>
            <a:t>Texto libre.</a:t>
          </a:r>
        </a:p>
      </dgm:t>
    </dgm:pt>
    <dgm:pt modelId="{78090DCF-A019-4F50-8FFC-03335D7C6CE3}" type="parTrans" cxnId="{5AB8D310-1C77-4F9C-B43F-10C43EEE2544}">
      <dgm:prSet/>
      <dgm:spPr/>
      <dgm:t>
        <a:bodyPr/>
        <a:lstStyle/>
        <a:p>
          <a:endParaRPr lang="es-ES">
            <a:latin typeface="+mn-lt"/>
          </a:endParaRPr>
        </a:p>
      </dgm:t>
    </dgm:pt>
    <dgm:pt modelId="{5200EC76-27FB-4C71-9F39-912961B7F827}" type="sibTrans" cxnId="{5AB8D310-1C77-4F9C-B43F-10C43EEE2544}">
      <dgm:prSet/>
      <dgm:spPr/>
      <dgm:t>
        <a:bodyPr/>
        <a:lstStyle/>
        <a:p>
          <a:endParaRPr lang="es-ES">
            <a:latin typeface="+mn-lt"/>
          </a:endParaRPr>
        </a:p>
      </dgm:t>
    </dgm:pt>
    <dgm:pt modelId="{72EE255C-9CFD-412E-9CEE-47E187977876}">
      <dgm:prSet phldrT="[Texto]"/>
      <dgm:spPr/>
      <dgm:t>
        <a:bodyPr/>
        <a:lstStyle/>
        <a:p>
          <a:pPr>
            <a:lnSpc>
              <a:spcPct val="100000"/>
            </a:lnSpc>
            <a:spcAft>
              <a:spcPts val="600"/>
            </a:spcAft>
          </a:pPr>
          <a:r>
            <a:rPr lang="es-ES" dirty="0">
              <a:latin typeface="+mn-lt"/>
            </a:rPr>
            <a:t>Análisis y generación de  </a:t>
          </a:r>
          <a:r>
            <a:rPr lang="es-ES" dirty="0">
              <a:highlight>
                <a:srgbClr val="FFFFCC"/>
              </a:highlight>
              <a:latin typeface="+mn-lt"/>
            </a:rPr>
            <a:t>Imágenes.</a:t>
          </a:r>
        </a:p>
      </dgm:t>
    </dgm:pt>
    <dgm:pt modelId="{10567EEE-5DB3-428B-B4BA-C51A65541C9B}" type="parTrans" cxnId="{30A4D3F9-AD2D-47A9-B533-DC871C46EF94}">
      <dgm:prSet/>
      <dgm:spPr/>
      <dgm:t>
        <a:bodyPr/>
        <a:lstStyle/>
        <a:p>
          <a:endParaRPr lang="es-ES">
            <a:latin typeface="+mn-lt"/>
          </a:endParaRPr>
        </a:p>
      </dgm:t>
    </dgm:pt>
    <dgm:pt modelId="{E5311892-F2EC-4C44-8AA0-6168EF979FFD}" type="sibTrans" cxnId="{30A4D3F9-AD2D-47A9-B533-DC871C46EF94}">
      <dgm:prSet/>
      <dgm:spPr/>
      <dgm:t>
        <a:bodyPr/>
        <a:lstStyle/>
        <a:p>
          <a:endParaRPr lang="es-ES">
            <a:latin typeface="+mn-lt"/>
          </a:endParaRPr>
        </a:p>
      </dgm:t>
    </dgm:pt>
    <dgm:pt modelId="{C52FA15F-5AD0-4DAF-9329-688BBB631456}">
      <dgm:prSet phldrT="[Texto]"/>
      <dgm:spPr/>
      <dgm:t>
        <a:bodyPr/>
        <a:lstStyle/>
        <a:p>
          <a:pPr>
            <a:lnSpc>
              <a:spcPct val="100000"/>
            </a:lnSpc>
            <a:spcAft>
              <a:spcPts val="600"/>
            </a:spcAft>
          </a:pPr>
          <a:r>
            <a:rPr lang="es-ES" dirty="0">
              <a:latin typeface="+mn-lt"/>
            </a:rPr>
            <a:t>Análisis y generación de </a:t>
          </a:r>
          <a:r>
            <a:rPr lang="es-ES" dirty="0">
              <a:highlight>
                <a:srgbClr val="FFFFCC"/>
              </a:highlight>
              <a:latin typeface="+mn-lt"/>
            </a:rPr>
            <a:t>Video.</a:t>
          </a:r>
        </a:p>
      </dgm:t>
    </dgm:pt>
    <dgm:pt modelId="{9AD16BE3-F283-49B3-9E1F-097997725951}" type="parTrans" cxnId="{A2A8F1E8-36F1-431A-9A9C-5C3F1FF97A37}">
      <dgm:prSet/>
      <dgm:spPr/>
      <dgm:t>
        <a:bodyPr/>
        <a:lstStyle/>
        <a:p>
          <a:endParaRPr lang="es-ES">
            <a:latin typeface="+mn-lt"/>
          </a:endParaRPr>
        </a:p>
      </dgm:t>
    </dgm:pt>
    <dgm:pt modelId="{C64E66A9-FC4D-4276-BF2D-70E88219F624}" type="sibTrans" cxnId="{A2A8F1E8-36F1-431A-9A9C-5C3F1FF97A37}">
      <dgm:prSet/>
      <dgm:spPr/>
      <dgm:t>
        <a:bodyPr/>
        <a:lstStyle/>
        <a:p>
          <a:endParaRPr lang="es-ES">
            <a:latin typeface="+mn-lt"/>
          </a:endParaRPr>
        </a:p>
      </dgm:t>
    </dgm:pt>
    <dgm:pt modelId="{3FBBE79F-6BD5-4E44-83F2-466908FAB61F}">
      <dgm:prSet/>
      <dgm:spPr/>
      <dgm:t>
        <a:bodyPr/>
        <a:lstStyle/>
        <a:p>
          <a:pPr>
            <a:lnSpc>
              <a:spcPct val="100000"/>
            </a:lnSpc>
            <a:spcAft>
              <a:spcPts val="600"/>
            </a:spcAft>
          </a:pPr>
          <a:r>
            <a:rPr lang="es-ES" dirty="0">
              <a:highlight>
                <a:srgbClr val="FFFFCC"/>
              </a:highlight>
              <a:latin typeface="+mn-lt"/>
            </a:rPr>
            <a:t>Interpretación</a:t>
          </a:r>
          <a:r>
            <a:rPr lang="es-ES" dirty="0">
              <a:latin typeface="+mn-lt"/>
            </a:rPr>
            <a:t> de los datos.</a:t>
          </a:r>
        </a:p>
      </dgm:t>
    </dgm:pt>
    <dgm:pt modelId="{9A90D261-5D55-4FB1-A009-90884CEC9AA9}" type="parTrans" cxnId="{E33CFEA1-3CD2-4C5D-B1C8-546D619C3C76}">
      <dgm:prSet/>
      <dgm:spPr/>
      <dgm:t>
        <a:bodyPr/>
        <a:lstStyle/>
        <a:p>
          <a:endParaRPr lang="es-ES">
            <a:latin typeface="+mn-lt"/>
          </a:endParaRPr>
        </a:p>
      </dgm:t>
    </dgm:pt>
    <dgm:pt modelId="{CED8DBF5-D96E-4B10-8C00-4A96A643DC8A}" type="sibTrans" cxnId="{E33CFEA1-3CD2-4C5D-B1C8-546D619C3C76}">
      <dgm:prSet/>
      <dgm:spPr/>
      <dgm:t>
        <a:bodyPr/>
        <a:lstStyle/>
        <a:p>
          <a:endParaRPr lang="es-ES">
            <a:latin typeface="+mn-lt"/>
          </a:endParaRPr>
        </a:p>
      </dgm:t>
    </dgm:pt>
    <dgm:pt modelId="{D9FE8CC3-1D93-4C94-96E9-55D51BCF7DC4}" type="pres">
      <dgm:prSet presAssocID="{234BC87B-D92D-4836-AFD0-7A4EF0BB1F14}" presName="linearFlow" presStyleCnt="0">
        <dgm:presLayoutVars>
          <dgm:dir/>
          <dgm:animLvl val="lvl"/>
          <dgm:resizeHandles val="exact"/>
        </dgm:presLayoutVars>
      </dgm:prSet>
      <dgm:spPr/>
    </dgm:pt>
    <dgm:pt modelId="{E9D6CB92-B5F5-4AFC-A301-86F451610D73}" type="pres">
      <dgm:prSet presAssocID="{A64999F5-3D4A-497A-9A77-7A97D480FA82}" presName="composite" presStyleCnt="0"/>
      <dgm:spPr/>
    </dgm:pt>
    <dgm:pt modelId="{7D32428C-5266-4236-826D-21E0333FC4A9}" type="pres">
      <dgm:prSet presAssocID="{A64999F5-3D4A-497A-9A77-7A97D480FA82}" presName="parTx" presStyleLbl="node1" presStyleIdx="0" presStyleCnt="2">
        <dgm:presLayoutVars>
          <dgm:chMax val="0"/>
          <dgm:chPref val="0"/>
          <dgm:bulletEnabled val="1"/>
        </dgm:presLayoutVars>
      </dgm:prSet>
      <dgm:spPr/>
    </dgm:pt>
    <dgm:pt modelId="{0FC08386-E762-4EDF-8C5B-1DD63F376904}" type="pres">
      <dgm:prSet presAssocID="{A64999F5-3D4A-497A-9A77-7A97D480FA82}" presName="parSh" presStyleLbl="node1" presStyleIdx="0" presStyleCnt="2"/>
      <dgm:spPr/>
    </dgm:pt>
    <dgm:pt modelId="{E0982006-D377-47DE-92A0-A7B0F523A8B1}" type="pres">
      <dgm:prSet presAssocID="{A64999F5-3D4A-497A-9A77-7A97D480FA82}" presName="desTx" presStyleLbl="fgAcc1" presStyleIdx="0" presStyleCnt="2">
        <dgm:presLayoutVars>
          <dgm:bulletEnabled val="1"/>
        </dgm:presLayoutVars>
      </dgm:prSet>
      <dgm:spPr/>
    </dgm:pt>
    <dgm:pt modelId="{A2654C41-F7C7-41E4-9BBB-5E58438F6C08}" type="pres">
      <dgm:prSet presAssocID="{D7A6E66C-3A28-4A87-9536-6082D60443E3}" presName="sibTrans" presStyleLbl="sibTrans2D1" presStyleIdx="0" presStyleCnt="1"/>
      <dgm:spPr/>
    </dgm:pt>
    <dgm:pt modelId="{0518E795-FC00-4040-ADAB-F374D6D04A05}" type="pres">
      <dgm:prSet presAssocID="{D7A6E66C-3A28-4A87-9536-6082D60443E3}" presName="connTx" presStyleLbl="sibTrans2D1" presStyleIdx="0" presStyleCnt="1"/>
      <dgm:spPr/>
    </dgm:pt>
    <dgm:pt modelId="{3743704F-E0CA-43FC-A98F-EC76F0FC1242}" type="pres">
      <dgm:prSet presAssocID="{DD16FD8C-5657-45B7-BBE2-B27BAB1A4F1A}" presName="composite" presStyleCnt="0"/>
      <dgm:spPr/>
    </dgm:pt>
    <dgm:pt modelId="{87AEDA42-FC3F-46B6-A666-A3819E46CE81}" type="pres">
      <dgm:prSet presAssocID="{DD16FD8C-5657-45B7-BBE2-B27BAB1A4F1A}" presName="parTx" presStyleLbl="node1" presStyleIdx="0" presStyleCnt="2">
        <dgm:presLayoutVars>
          <dgm:chMax val="0"/>
          <dgm:chPref val="0"/>
          <dgm:bulletEnabled val="1"/>
        </dgm:presLayoutVars>
      </dgm:prSet>
      <dgm:spPr/>
    </dgm:pt>
    <dgm:pt modelId="{C593E13B-14C0-4F7F-82EA-5AD2B0FF7DB6}" type="pres">
      <dgm:prSet presAssocID="{DD16FD8C-5657-45B7-BBE2-B27BAB1A4F1A}" presName="parSh" presStyleLbl="node1" presStyleIdx="1" presStyleCnt="2"/>
      <dgm:spPr/>
    </dgm:pt>
    <dgm:pt modelId="{CA349119-EC38-435E-9DAB-0B0553B76382}" type="pres">
      <dgm:prSet presAssocID="{DD16FD8C-5657-45B7-BBE2-B27BAB1A4F1A}" presName="desTx" presStyleLbl="fgAcc1" presStyleIdx="1" presStyleCnt="2">
        <dgm:presLayoutVars>
          <dgm:bulletEnabled val="1"/>
        </dgm:presLayoutVars>
      </dgm:prSet>
      <dgm:spPr/>
    </dgm:pt>
  </dgm:ptLst>
  <dgm:cxnLst>
    <dgm:cxn modelId="{E2CAAF0D-78E8-45FE-9398-A0A553577106}" srcId="{DD16FD8C-5657-45B7-BBE2-B27BAB1A4F1A}" destId="{4C6B5F12-27F7-4E84-944B-3AD27647E85D}" srcOrd="3" destOrd="0" parTransId="{DD7F891C-C4F9-4F68-A397-3145B0836CB9}" sibTransId="{2D6EAB27-4547-4D7E-A038-334887C7FF7A}"/>
    <dgm:cxn modelId="{5AB8D310-1C77-4F9C-B43F-10C43EEE2544}" srcId="{A64999F5-3D4A-497A-9A77-7A97D480FA82}" destId="{B330D906-1F3B-4486-AEE6-64484CE0DF33}" srcOrd="5" destOrd="0" parTransId="{78090DCF-A019-4F50-8FFC-03335D7C6CE3}" sibTransId="{5200EC76-27FB-4C71-9F39-912961B7F827}"/>
    <dgm:cxn modelId="{0A9DA811-C108-4185-A851-C0B9448742A0}" type="presOf" srcId="{96837FF0-292A-45EF-ADED-CD9FB23ED741}" destId="{CA349119-EC38-435E-9DAB-0B0553B76382}" srcOrd="0" destOrd="0" presId="urn:microsoft.com/office/officeart/2005/8/layout/process3"/>
    <dgm:cxn modelId="{6DA1451C-4E0F-436A-B61E-45E463FC18B0}" type="presOf" srcId="{A64999F5-3D4A-497A-9A77-7A97D480FA82}" destId="{0FC08386-E762-4EDF-8C5B-1DD63F376904}" srcOrd="1" destOrd="0" presId="urn:microsoft.com/office/officeart/2005/8/layout/process3"/>
    <dgm:cxn modelId="{A552A71C-3E61-4FB1-AD75-3726C24E1126}" type="presOf" srcId="{D7A6E66C-3A28-4A87-9536-6082D60443E3}" destId="{A2654C41-F7C7-41E4-9BBB-5E58438F6C08}" srcOrd="0" destOrd="0" presId="urn:microsoft.com/office/officeart/2005/8/layout/process3"/>
    <dgm:cxn modelId="{BDC4EE1F-D756-4080-8DC5-1582D67CF684}" type="presOf" srcId="{234BC87B-D92D-4836-AFD0-7A4EF0BB1F14}" destId="{D9FE8CC3-1D93-4C94-96E9-55D51BCF7DC4}" srcOrd="0" destOrd="0" presId="urn:microsoft.com/office/officeart/2005/8/layout/process3"/>
    <dgm:cxn modelId="{1BD34320-C0DB-49EB-9CA4-99D14446F008}" type="presOf" srcId="{1386C9BC-FBC8-4DF8-8372-A16DDBEB5744}" destId="{E0982006-D377-47DE-92A0-A7B0F523A8B1}" srcOrd="0" destOrd="0" presId="urn:microsoft.com/office/officeart/2005/8/layout/process3"/>
    <dgm:cxn modelId="{DD4ADE2B-CECF-44ED-A25A-5BF021D33D6B}" type="presOf" srcId="{7CDE2650-AACB-4D24-9CBE-C70FF659F146}" destId="{CA349119-EC38-435E-9DAB-0B0553B76382}" srcOrd="0" destOrd="2" presId="urn:microsoft.com/office/officeart/2005/8/layout/process3"/>
    <dgm:cxn modelId="{5F70732D-FE41-4B8E-A95F-334C0DE0C3F9}" type="presOf" srcId="{DD16FD8C-5657-45B7-BBE2-B27BAB1A4F1A}" destId="{87AEDA42-FC3F-46B6-A666-A3819E46CE81}" srcOrd="0" destOrd="0" presId="urn:microsoft.com/office/officeart/2005/8/layout/process3"/>
    <dgm:cxn modelId="{C0A59C3C-FCBC-450A-B70F-CBCD6D83A515}" type="presOf" srcId="{4C04843C-1FD2-44C4-942F-B8A17E6B67AC}" destId="{E0982006-D377-47DE-92A0-A7B0F523A8B1}" srcOrd="0" destOrd="3" presId="urn:microsoft.com/office/officeart/2005/8/layout/process3"/>
    <dgm:cxn modelId="{59F4D13E-2464-4D8F-9F14-192AEB070867}" srcId="{A64999F5-3D4A-497A-9A77-7A97D480FA82}" destId="{4C04843C-1FD2-44C4-942F-B8A17E6B67AC}" srcOrd="3" destOrd="0" parTransId="{0604643F-7B8C-4A71-8579-C9DC2F4DEB24}" sibTransId="{10C4ED9E-D0B2-4DDD-82D0-62C43F751D82}"/>
    <dgm:cxn modelId="{38610D5C-B115-4754-AA92-8B2D8B0EDB80}" srcId="{DD16FD8C-5657-45B7-BBE2-B27BAB1A4F1A}" destId="{2D376720-3A24-4183-BE02-4F2E45E59924}" srcOrd="1" destOrd="0" parTransId="{37952722-9824-4BD3-8AD0-406D185C3FA4}" sibTransId="{49CF9F6D-DAA4-47B4-8711-55248B533C3A}"/>
    <dgm:cxn modelId="{A3D67F44-139A-4D2C-914F-003633505978}" type="presOf" srcId="{4C6B5F12-27F7-4E84-944B-3AD27647E85D}" destId="{CA349119-EC38-435E-9DAB-0B0553B76382}" srcOrd="0" destOrd="3" presId="urn:microsoft.com/office/officeart/2005/8/layout/process3"/>
    <dgm:cxn modelId="{26164E69-132C-453D-9D84-BA71D51B73C7}" type="presOf" srcId="{D7A6E66C-3A28-4A87-9536-6082D60443E3}" destId="{0518E795-FC00-4040-ADAB-F374D6D04A05}" srcOrd="1" destOrd="0" presId="urn:microsoft.com/office/officeart/2005/8/layout/process3"/>
    <dgm:cxn modelId="{129A5072-3010-4DFA-92B1-7D847A5577E7}" type="presOf" srcId="{A64999F5-3D4A-497A-9A77-7A97D480FA82}" destId="{7D32428C-5266-4236-826D-21E0333FC4A9}" srcOrd="0" destOrd="0" presId="urn:microsoft.com/office/officeart/2005/8/layout/process3"/>
    <dgm:cxn modelId="{E5585775-E2FC-4A1F-BC2F-77587D41FFC2}" type="presOf" srcId="{D69E0918-FF4F-415B-A550-B81289D63F06}" destId="{E0982006-D377-47DE-92A0-A7B0F523A8B1}" srcOrd="0" destOrd="4" presId="urn:microsoft.com/office/officeart/2005/8/layout/process3"/>
    <dgm:cxn modelId="{4EDE6457-536D-4F81-85CF-1AC739ABB3DF}" type="presOf" srcId="{72EE255C-9CFD-412E-9CEE-47E187977876}" destId="{E0982006-D377-47DE-92A0-A7B0F523A8B1}" srcOrd="0" destOrd="6" presId="urn:microsoft.com/office/officeart/2005/8/layout/process3"/>
    <dgm:cxn modelId="{BD51CC77-9CC3-4570-BC3B-6F7B34F82FD6}" type="presOf" srcId="{4D779C30-BC34-49EB-A934-D5BE5F40AA84}" destId="{CA349119-EC38-435E-9DAB-0B0553B76382}" srcOrd="0" destOrd="4" presId="urn:microsoft.com/office/officeart/2005/8/layout/process3"/>
    <dgm:cxn modelId="{0A65E379-B631-4B44-B8BD-93D177CC8779}" srcId="{DD16FD8C-5657-45B7-BBE2-B27BAB1A4F1A}" destId="{96837FF0-292A-45EF-ADED-CD9FB23ED741}" srcOrd="0" destOrd="0" parTransId="{7676D9DB-0BB7-4219-8278-C0C964943CF5}" sibTransId="{69694BD9-EB86-47A0-B6D9-FCE6CFBD4E89}"/>
    <dgm:cxn modelId="{D9B25E7C-45EF-49BE-9315-6EC86AC9F084}" type="presOf" srcId="{DD16FD8C-5657-45B7-BBE2-B27BAB1A4F1A}" destId="{C593E13B-14C0-4F7F-82EA-5AD2B0FF7DB6}" srcOrd="1" destOrd="0" presId="urn:microsoft.com/office/officeart/2005/8/layout/process3"/>
    <dgm:cxn modelId="{D2B2EC80-1181-4593-9E7D-F69A1A559C15}" type="presOf" srcId="{3CC173BF-76DC-4411-9B03-013539B0E0E9}" destId="{E0982006-D377-47DE-92A0-A7B0F523A8B1}" srcOrd="0" destOrd="2" presId="urn:microsoft.com/office/officeart/2005/8/layout/process3"/>
    <dgm:cxn modelId="{C6470188-2DDE-4B49-BAF4-9E611A40F638}" type="presOf" srcId="{2D376720-3A24-4183-BE02-4F2E45E59924}" destId="{CA349119-EC38-435E-9DAB-0B0553B76382}" srcOrd="0" destOrd="1" presId="urn:microsoft.com/office/officeart/2005/8/layout/process3"/>
    <dgm:cxn modelId="{E33CFEA1-3CD2-4C5D-B1C8-546D619C3C76}" srcId="{A64999F5-3D4A-497A-9A77-7A97D480FA82}" destId="{3FBBE79F-6BD5-4E44-83F2-466908FAB61F}" srcOrd="1" destOrd="0" parTransId="{9A90D261-5D55-4FB1-A009-90884CEC9AA9}" sibTransId="{CED8DBF5-D96E-4B10-8C00-4A96A643DC8A}"/>
    <dgm:cxn modelId="{4672F1A7-8C27-4AAC-A594-80AD631E9939}" srcId="{DD16FD8C-5657-45B7-BBE2-B27BAB1A4F1A}" destId="{7CDE2650-AACB-4D24-9CBE-C70FF659F146}" srcOrd="2" destOrd="0" parTransId="{0E5DDE27-5404-47BD-8B17-E50EEE2D5211}" sibTransId="{2F3A36E8-2083-4415-A964-D290BA94CF17}"/>
    <dgm:cxn modelId="{4DB5F6B6-D3EF-4287-8439-506E88D9902B}" srcId="{A64999F5-3D4A-497A-9A77-7A97D480FA82}" destId="{D69E0918-FF4F-415B-A550-B81289D63F06}" srcOrd="4" destOrd="0" parTransId="{EDE9FDA0-660E-4F74-91B1-B0A03204E3D2}" sibTransId="{B3B79B7C-C5C9-4EB9-918E-47D278F86797}"/>
    <dgm:cxn modelId="{C2F549C8-A113-4CE1-9EB6-4104E22E62B3}" srcId="{234BC87B-D92D-4836-AFD0-7A4EF0BB1F14}" destId="{A64999F5-3D4A-497A-9A77-7A97D480FA82}" srcOrd="0" destOrd="0" parTransId="{858EF401-2A46-4E7F-895A-7FC55A97223B}" sibTransId="{D7A6E66C-3A28-4A87-9536-6082D60443E3}"/>
    <dgm:cxn modelId="{FF24E8D5-C210-4825-8FD4-BADEEA1B45B8}" srcId="{A64999F5-3D4A-497A-9A77-7A97D480FA82}" destId="{3CC173BF-76DC-4411-9B03-013539B0E0E9}" srcOrd="2" destOrd="0" parTransId="{188E9DA2-7425-4EB9-B1E7-D9BFE1219211}" sibTransId="{0DE20D06-84BB-43A9-A73B-AD40DFC6C968}"/>
    <dgm:cxn modelId="{34C385D9-3495-436F-BDFA-126C984032F9}" srcId="{A64999F5-3D4A-497A-9A77-7A97D480FA82}" destId="{1386C9BC-FBC8-4DF8-8372-A16DDBEB5744}" srcOrd="0" destOrd="0" parTransId="{B95FFB7F-101F-4DE6-BB30-0467494BAF06}" sibTransId="{435A37FB-756C-4A05-A2F9-CDFA484147D1}"/>
    <dgm:cxn modelId="{7E58EEE8-EB5A-48F2-809B-569A07B429D3}" type="presOf" srcId="{B330D906-1F3B-4486-AEE6-64484CE0DF33}" destId="{E0982006-D377-47DE-92A0-A7B0F523A8B1}" srcOrd="0" destOrd="5" presId="urn:microsoft.com/office/officeart/2005/8/layout/process3"/>
    <dgm:cxn modelId="{A2A8F1E8-36F1-431A-9A9C-5C3F1FF97A37}" srcId="{A64999F5-3D4A-497A-9A77-7A97D480FA82}" destId="{C52FA15F-5AD0-4DAF-9329-688BBB631456}" srcOrd="7" destOrd="0" parTransId="{9AD16BE3-F283-49B3-9E1F-097997725951}" sibTransId="{C64E66A9-FC4D-4276-BF2D-70E88219F624}"/>
    <dgm:cxn modelId="{B84B85E9-5115-4B23-8A24-BCD14075A1A5}" type="presOf" srcId="{3FBBE79F-6BD5-4E44-83F2-466908FAB61F}" destId="{E0982006-D377-47DE-92A0-A7B0F523A8B1}" srcOrd="0" destOrd="1" presId="urn:microsoft.com/office/officeart/2005/8/layout/process3"/>
    <dgm:cxn modelId="{6C53A0EC-D84B-4054-8450-5F07113FC3D4}" type="presOf" srcId="{C52FA15F-5AD0-4DAF-9329-688BBB631456}" destId="{E0982006-D377-47DE-92A0-A7B0F523A8B1}" srcOrd="0" destOrd="7" presId="urn:microsoft.com/office/officeart/2005/8/layout/process3"/>
    <dgm:cxn modelId="{77A20AF5-28D9-4463-A02A-2DD9E4DAE45B}" srcId="{234BC87B-D92D-4836-AFD0-7A4EF0BB1F14}" destId="{DD16FD8C-5657-45B7-BBE2-B27BAB1A4F1A}" srcOrd="1" destOrd="0" parTransId="{D1FF8E70-91BD-4563-8B85-F38BDE54D890}" sibTransId="{EFBDA690-8B70-4398-BF9A-207B13A6CF42}"/>
    <dgm:cxn modelId="{30A4D3F9-AD2D-47A9-B533-DC871C46EF94}" srcId="{A64999F5-3D4A-497A-9A77-7A97D480FA82}" destId="{72EE255C-9CFD-412E-9CEE-47E187977876}" srcOrd="6" destOrd="0" parTransId="{10567EEE-5DB3-428B-B4BA-C51A65541C9B}" sibTransId="{E5311892-F2EC-4C44-8AA0-6168EF979FFD}"/>
    <dgm:cxn modelId="{FCA86EFA-39B2-4A27-8643-D56B257369BE}" srcId="{DD16FD8C-5657-45B7-BBE2-B27BAB1A4F1A}" destId="{4D779C30-BC34-49EB-A934-D5BE5F40AA84}" srcOrd="4" destOrd="0" parTransId="{4FEE0D31-55C4-4E2D-ADBE-848C6C8AEEB7}" sibTransId="{4073A98B-DD9F-4436-93C3-8C114C8C4921}"/>
    <dgm:cxn modelId="{20A00267-894F-455A-BC25-94F1D33257DE}" type="presParOf" srcId="{D9FE8CC3-1D93-4C94-96E9-55D51BCF7DC4}" destId="{E9D6CB92-B5F5-4AFC-A301-86F451610D73}" srcOrd="0" destOrd="0" presId="urn:microsoft.com/office/officeart/2005/8/layout/process3"/>
    <dgm:cxn modelId="{C6E465F0-07D1-4B75-AFC8-73CDA12C38A8}" type="presParOf" srcId="{E9D6CB92-B5F5-4AFC-A301-86F451610D73}" destId="{7D32428C-5266-4236-826D-21E0333FC4A9}" srcOrd="0" destOrd="0" presId="urn:microsoft.com/office/officeart/2005/8/layout/process3"/>
    <dgm:cxn modelId="{64954425-1A86-46F4-9DE9-5FA94A3DACEF}" type="presParOf" srcId="{E9D6CB92-B5F5-4AFC-A301-86F451610D73}" destId="{0FC08386-E762-4EDF-8C5B-1DD63F376904}" srcOrd="1" destOrd="0" presId="urn:microsoft.com/office/officeart/2005/8/layout/process3"/>
    <dgm:cxn modelId="{01D4FC76-4BDD-44C1-8E85-67590B97E5A0}" type="presParOf" srcId="{E9D6CB92-B5F5-4AFC-A301-86F451610D73}" destId="{E0982006-D377-47DE-92A0-A7B0F523A8B1}" srcOrd="2" destOrd="0" presId="urn:microsoft.com/office/officeart/2005/8/layout/process3"/>
    <dgm:cxn modelId="{0C8DAB85-E79A-4FF8-B683-65428BC7B5AA}" type="presParOf" srcId="{D9FE8CC3-1D93-4C94-96E9-55D51BCF7DC4}" destId="{A2654C41-F7C7-41E4-9BBB-5E58438F6C08}" srcOrd="1" destOrd="0" presId="urn:microsoft.com/office/officeart/2005/8/layout/process3"/>
    <dgm:cxn modelId="{B5316A57-53BF-4F93-99F0-80CBE07F80B7}" type="presParOf" srcId="{A2654C41-F7C7-41E4-9BBB-5E58438F6C08}" destId="{0518E795-FC00-4040-ADAB-F374D6D04A05}" srcOrd="0" destOrd="0" presId="urn:microsoft.com/office/officeart/2005/8/layout/process3"/>
    <dgm:cxn modelId="{AE590849-57B2-427E-9F74-4A7FC210DE9E}" type="presParOf" srcId="{D9FE8CC3-1D93-4C94-96E9-55D51BCF7DC4}" destId="{3743704F-E0CA-43FC-A98F-EC76F0FC1242}" srcOrd="2" destOrd="0" presId="urn:microsoft.com/office/officeart/2005/8/layout/process3"/>
    <dgm:cxn modelId="{193E5541-420E-44E7-80F9-70C0919AFBCE}" type="presParOf" srcId="{3743704F-E0CA-43FC-A98F-EC76F0FC1242}" destId="{87AEDA42-FC3F-46B6-A666-A3819E46CE81}" srcOrd="0" destOrd="0" presId="urn:microsoft.com/office/officeart/2005/8/layout/process3"/>
    <dgm:cxn modelId="{8B197338-3125-4C8B-AAF2-916193773B52}" type="presParOf" srcId="{3743704F-E0CA-43FC-A98F-EC76F0FC1242}" destId="{C593E13B-14C0-4F7F-82EA-5AD2B0FF7DB6}" srcOrd="1" destOrd="0" presId="urn:microsoft.com/office/officeart/2005/8/layout/process3"/>
    <dgm:cxn modelId="{95A04FF8-A2E7-4C07-B813-0CF30D3BD544}" type="presParOf" srcId="{3743704F-E0CA-43FC-A98F-EC76F0FC1242}" destId="{CA349119-EC38-435E-9DAB-0B0553B76382}"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A414F13D-7DEF-48F5-B2D0-3D09B718A0E0}" type="doc">
      <dgm:prSet loTypeId="urn:microsoft.com/office/officeart/2005/8/layout/bList2" loCatId="list" qsTypeId="urn:microsoft.com/office/officeart/2005/8/quickstyle/simple1" qsCatId="simple" csTypeId="urn:microsoft.com/office/officeart/2005/8/colors/accent1_2" csCatId="accent1" phldr="1"/>
      <dgm:spPr/>
      <dgm:t>
        <a:bodyPr/>
        <a:lstStyle/>
        <a:p>
          <a:endParaRPr lang="es-ES"/>
        </a:p>
      </dgm:t>
    </dgm:pt>
    <dgm:pt modelId="{DA4E76C7-9BF2-4A3D-95E7-FFAF58116247}">
      <dgm:prSet phldrT="[Texto]" custT="1"/>
      <dgm:spPr>
        <a:solidFill>
          <a:schemeClr val="tx1">
            <a:lumMod val="50000"/>
            <a:lumOff val="50000"/>
          </a:schemeClr>
        </a:solidFill>
      </dgm:spPr>
      <dgm:t>
        <a:bodyPr/>
        <a:lstStyle/>
        <a:p>
          <a:r>
            <a:rPr lang="es-ES" sz="1600" b="1" dirty="0"/>
            <a:t>Las preferencias de los alumnos no responden a la necesidad del mercado</a:t>
          </a:r>
          <a:endParaRPr lang="es-ES" sz="1600" dirty="0"/>
        </a:p>
      </dgm:t>
    </dgm:pt>
    <dgm:pt modelId="{116B2AD4-8B98-426C-82F3-4258D28F5DB9}" type="parTrans" cxnId="{A69E4CD6-C56C-4171-84E8-871692BB30CA}">
      <dgm:prSet/>
      <dgm:spPr/>
      <dgm:t>
        <a:bodyPr/>
        <a:lstStyle/>
        <a:p>
          <a:endParaRPr lang="es-ES" sz="2000"/>
        </a:p>
      </dgm:t>
    </dgm:pt>
    <dgm:pt modelId="{9134E1A5-DA6F-4E39-9188-44C180AD7F30}" type="sibTrans" cxnId="{A69E4CD6-C56C-4171-84E8-871692BB30CA}">
      <dgm:prSet/>
      <dgm:spPr/>
      <dgm:t>
        <a:bodyPr/>
        <a:lstStyle/>
        <a:p>
          <a:endParaRPr lang="es-ES" sz="2000"/>
        </a:p>
      </dgm:t>
    </dgm:pt>
    <dgm:pt modelId="{0EA2FE47-2505-49D2-AA31-22F8CC335680}">
      <dgm:prSet phldrT="[Texto]" custT="1"/>
      <dgm:spPr/>
      <dgm:t>
        <a:bodyPr/>
        <a:lstStyle/>
        <a:p>
          <a:r>
            <a:rPr lang="es-ES" sz="1600" dirty="0"/>
            <a:t>Escogen carreras relacionadas con las Ciencias Sociales y Jurídicas</a:t>
          </a:r>
        </a:p>
      </dgm:t>
    </dgm:pt>
    <dgm:pt modelId="{B2527C20-1D15-41F3-8DAC-4D13E9CFC270}" type="parTrans" cxnId="{A34FC881-28D4-4128-AD84-01861E0D4D4D}">
      <dgm:prSet/>
      <dgm:spPr/>
      <dgm:t>
        <a:bodyPr/>
        <a:lstStyle/>
        <a:p>
          <a:endParaRPr lang="es-ES" sz="2000"/>
        </a:p>
      </dgm:t>
    </dgm:pt>
    <dgm:pt modelId="{829E6EE8-A34F-4518-8CD4-4602F839BF7B}" type="sibTrans" cxnId="{A34FC881-28D4-4128-AD84-01861E0D4D4D}">
      <dgm:prSet/>
      <dgm:spPr/>
      <dgm:t>
        <a:bodyPr/>
        <a:lstStyle/>
        <a:p>
          <a:endParaRPr lang="es-ES" sz="2000"/>
        </a:p>
      </dgm:t>
    </dgm:pt>
    <dgm:pt modelId="{93EA0AE0-1F90-466B-BE26-006A11D9CBAF}">
      <dgm:prSet phldrT="[Texto]" custT="1"/>
      <dgm:spPr>
        <a:solidFill>
          <a:srgbClr val="FF0000"/>
        </a:solidFill>
      </dgm:spPr>
      <dgm:t>
        <a:bodyPr/>
        <a:lstStyle/>
        <a:p>
          <a:r>
            <a:rPr lang="es-ES" sz="1800" dirty="0"/>
            <a:t>Empleos en riesgo</a:t>
          </a:r>
        </a:p>
      </dgm:t>
    </dgm:pt>
    <dgm:pt modelId="{BCC3FA9C-7B9D-4C0D-8717-2B8F2BD4FF12}" type="parTrans" cxnId="{A80501A0-89D5-48BF-BE20-A39851B048E9}">
      <dgm:prSet/>
      <dgm:spPr/>
      <dgm:t>
        <a:bodyPr/>
        <a:lstStyle/>
        <a:p>
          <a:endParaRPr lang="es-ES" sz="2000"/>
        </a:p>
      </dgm:t>
    </dgm:pt>
    <dgm:pt modelId="{A9042CD7-318F-402C-9EBF-211CB47702AD}" type="sibTrans" cxnId="{A80501A0-89D5-48BF-BE20-A39851B048E9}">
      <dgm:prSet/>
      <dgm:spPr/>
      <dgm:t>
        <a:bodyPr/>
        <a:lstStyle/>
        <a:p>
          <a:endParaRPr lang="es-ES" sz="2000"/>
        </a:p>
      </dgm:t>
    </dgm:pt>
    <dgm:pt modelId="{86F9B9E2-27E0-4487-8DAE-3B8F849ABDD0}">
      <dgm:prSet phldrT="[Texto]" custT="1"/>
      <dgm:spPr/>
      <dgm:t>
        <a:bodyPr/>
        <a:lstStyle/>
        <a:p>
          <a:r>
            <a:rPr lang="es-ES" sz="1800" dirty="0"/>
            <a:t>Empleos con futuro</a:t>
          </a:r>
        </a:p>
      </dgm:t>
    </dgm:pt>
    <dgm:pt modelId="{043A04C9-67AB-4660-A00E-28D8B3AAE0FE}" type="parTrans" cxnId="{C7DAE5FB-6B92-48D3-ADAA-5032A2037713}">
      <dgm:prSet/>
      <dgm:spPr/>
      <dgm:t>
        <a:bodyPr/>
        <a:lstStyle/>
        <a:p>
          <a:endParaRPr lang="es-ES" sz="2000"/>
        </a:p>
      </dgm:t>
    </dgm:pt>
    <dgm:pt modelId="{3E6957D1-CEB3-44F5-A055-0A7CE623A438}" type="sibTrans" cxnId="{C7DAE5FB-6B92-48D3-ADAA-5032A2037713}">
      <dgm:prSet/>
      <dgm:spPr/>
      <dgm:t>
        <a:bodyPr/>
        <a:lstStyle/>
        <a:p>
          <a:endParaRPr lang="es-ES" sz="2000"/>
        </a:p>
      </dgm:t>
    </dgm:pt>
    <dgm:pt modelId="{4E283DC0-1E16-435F-B6DE-23510B592CD0}">
      <dgm:prSet phldrT="[Texto]" custT="1"/>
      <dgm:spPr/>
      <dgm:t>
        <a:bodyPr/>
        <a:lstStyle/>
        <a:p>
          <a:r>
            <a:rPr lang="es-ES" sz="1200" dirty="0"/>
            <a:t>lDesarrolladores de Software y Programadores: (Python, Java, JavaScript y movilidad).</a:t>
          </a:r>
        </a:p>
      </dgm:t>
    </dgm:pt>
    <dgm:pt modelId="{50B0012A-C888-420D-BDC6-1534C861EFCC}" type="parTrans" cxnId="{F833EFBF-DFF0-43EB-A9DD-7778F6A6DD42}">
      <dgm:prSet/>
      <dgm:spPr/>
      <dgm:t>
        <a:bodyPr/>
        <a:lstStyle/>
        <a:p>
          <a:endParaRPr lang="es-ES" sz="2000"/>
        </a:p>
      </dgm:t>
    </dgm:pt>
    <dgm:pt modelId="{3D0A3B62-9C58-4805-8B31-FE9B87D9326F}" type="sibTrans" cxnId="{F833EFBF-DFF0-43EB-A9DD-7778F6A6DD42}">
      <dgm:prSet/>
      <dgm:spPr/>
      <dgm:t>
        <a:bodyPr/>
        <a:lstStyle/>
        <a:p>
          <a:endParaRPr lang="es-ES" sz="2000"/>
        </a:p>
      </dgm:t>
    </dgm:pt>
    <dgm:pt modelId="{22CA574D-4724-4E29-833A-21E3587EEECA}">
      <dgm:prSet custT="1"/>
      <dgm:spPr/>
      <dgm:t>
        <a:bodyPr/>
        <a:lstStyle/>
        <a:p>
          <a:r>
            <a:rPr lang="es-ES" sz="1600" dirty="0"/>
            <a:t>Obvian: Ciencias, la Tecnología, la Ingeniería o las Matemáticas, presentan más salidas laborales.</a:t>
          </a:r>
        </a:p>
      </dgm:t>
    </dgm:pt>
    <dgm:pt modelId="{9133F7C9-FB27-4A44-8A8F-EF0F9811A19F}" type="parTrans" cxnId="{0CC6D887-0C66-4417-B432-A88748D680A1}">
      <dgm:prSet/>
      <dgm:spPr/>
      <dgm:t>
        <a:bodyPr/>
        <a:lstStyle/>
        <a:p>
          <a:endParaRPr lang="es-ES" sz="2000"/>
        </a:p>
      </dgm:t>
    </dgm:pt>
    <dgm:pt modelId="{8B042716-C13C-4152-99DC-49F89C34510E}" type="sibTrans" cxnId="{0CC6D887-0C66-4417-B432-A88748D680A1}">
      <dgm:prSet/>
      <dgm:spPr/>
      <dgm:t>
        <a:bodyPr/>
        <a:lstStyle/>
        <a:p>
          <a:endParaRPr lang="es-ES" sz="2000"/>
        </a:p>
      </dgm:t>
    </dgm:pt>
    <dgm:pt modelId="{39E2F55E-F768-46B2-A8C5-D2FF4CB21128}">
      <dgm:prSet phldrT="[Texto]" custT="1"/>
      <dgm:spPr/>
      <dgm:t>
        <a:bodyPr/>
        <a:lstStyle/>
        <a:p>
          <a:pPr>
            <a:spcAft>
              <a:spcPts val="0"/>
            </a:spcAft>
          </a:pPr>
          <a:r>
            <a:rPr lang="es-ES" sz="1200" dirty="0"/>
            <a:t>Abogados y Notarios</a:t>
          </a:r>
        </a:p>
      </dgm:t>
    </dgm:pt>
    <dgm:pt modelId="{F1359F78-DF10-45E5-921E-C084D543F662}" type="parTrans" cxnId="{7FCE50A3-0D14-43D4-B107-85A7EBBAD24B}">
      <dgm:prSet/>
      <dgm:spPr/>
      <dgm:t>
        <a:bodyPr/>
        <a:lstStyle/>
        <a:p>
          <a:endParaRPr lang="es-ES" sz="2000"/>
        </a:p>
      </dgm:t>
    </dgm:pt>
    <dgm:pt modelId="{E78E3812-FCBA-42E4-942A-0B2F812BA6AE}" type="sibTrans" cxnId="{7FCE50A3-0D14-43D4-B107-85A7EBBAD24B}">
      <dgm:prSet/>
      <dgm:spPr/>
      <dgm:t>
        <a:bodyPr/>
        <a:lstStyle/>
        <a:p>
          <a:endParaRPr lang="es-ES" sz="2000"/>
        </a:p>
      </dgm:t>
    </dgm:pt>
    <dgm:pt modelId="{EBC8AE10-C57E-464A-8BEF-7EC984D70B04}">
      <dgm:prSet custT="1"/>
      <dgm:spPr/>
      <dgm:t>
        <a:bodyPr/>
        <a:lstStyle/>
        <a:p>
          <a:pPr>
            <a:spcAft>
              <a:spcPts val="0"/>
            </a:spcAft>
          </a:pPr>
          <a:r>
            <a:rPr lang="es-ES" sz="1200" dirty="0"/>
            <a:t>Empleo Público</a:t>
          </a:r>
        </a:p>
      </dgm:t>
    </dgm:pt>
    <dgm:pt modelId="{E951C622-688A-45BE-B5DC-EFACD4CEDC58}" type="parTrans" cxnId="{6D65784B-1AFF-49B9-B56F-FDE622984A86}">
      <dgm:prSet/>
      <dgm:spPr/>
      <dgm:t>
        <a:bodyPr/>
        <a:lstStyle/>
        <a:p>
          <a:endParaRPr lang="es-ES" sz="2000"/>
        </a:p>
      </dgm:t>
    </dgm:pt>
    <dgm:pt modelId="{7545FC3A-7FFB-4C18-979E-9E7C6A66D744}" type="sibTrans" cxnId="{6D65784B-1AFF-49B9-B56F-FDE622984A86}">
      <dgm:prSet/>
      <dgm:spPr/>
      <dgm:t>
        <a:bodyPr/>
        <a:lstStyle/>
        <a:p>
          <a:endParaRPr lang="es-ES" sz="2000"/>
        </a:p>
      </dgm:t>
    </dgm:pt>
    <dgm:pt modelId="{457826D4-A152-4A2F-B43A-F94DC01B17F6}">
      <dgm:prSet custT="1"/>
      <dgm:spPr/>
      <dgm:t>
        <a:bodyPr/>
        <a:lstStyle/>
        <a:p>
          <a:pPr>
            <a:spcAft>
              <a:spcPts val="0"/>
            </a:spcAft>
          </a:pPr>
          <a:r>
            <a:rPr lang="es-ES" sz="1200" dirty="0"/>
            <a:t>Trabajadores de ensamblaje y manufactura</a:t>
          </a:r>
        </a:p>
      </dgm:t>
    </dgm:pt>
    <dgm:pt modelId="{881191FC-0C82-47E8-B693-33036F1B6372}" type="parTrans" cxnId="{E459CD18-C254-45D3-9843-3A959E398C5B}">
      <dgm:prSet/>
      <dgm:spPr/>
      <dgm:t>
        <a:bodyPr/>
        <a:lstStyle/>
        <a:p>
          <a:endParaRPr lang="es-ES" sz="2000"/>
        </a:p>
      </dgm:t>
    </dgm:pt>
    <dgm:pt modelId="{94E693CF-BBF2-4E1F-ACF4-711EA534823B}" type="sibTrans" cxnId="{E459CD18-C254-45D3-9843-3A959E398C5B}">
      <dgm:prSet/>
      <dgm:spPr/>
      <dgm:t>
        <a:bodyPr/>
        <a:lstStyle/>
        <a:p>
          <a:endParaRPr lang="es-ES" sz="2000"/>
        </a:p>
      </dgm:t>
    </dgm:pt>
    <dgm:pt modelId="{D5B1253A-61AD-45F8-A695-C1EE205B4EDE}">
      <dgm:prSet custT="1"/>
      <dgm:spPr/>
      <dgm:t>
        <a:bodyPr/>
        <a:lstStyle/>
        <a:p>
          <a:pPr>
            <a:spcAft>
              <a:spcPts val="0"/>
            </a:spcAft>
          </a:pPr>
          <a:r>
            <a:rPr lang="es-ES" sz="1200" dirty="0"/>
            <a:t>Cajeros y trabajadores de supermercados</a:t>
          </a:r>
        </a:p>
      </dgm:t>
    </dgm:pt>
    <dgm:pt modelId="{2AA2124E-7AFA-44A8-B943-CF3A0885AEA7}" type="parTrans" cxnId="{959F8A80-A55B-4AB2-908C-EF048CC19381}">
      <dgm:prSet/>
      <dgm:spPr/>
      <dgm:t>
        <a:bodyPr/>
        <a:lstStyle/>
        <a:p>
          <a:endParaRPr lang="es-ES" sz="2000"/>
        </a:p>
      </dgm:t>
    </dgm:pt>
    <dgm:pt modelId="{0792147F-7A4F-4FDC-9219-BDCFB920A1AC}" type="sibTrans" cxnId="{959F8A80-A55B-4AB2-908C-EF048CC19381}">
      <dgm:prSet/>
      <dgm:spPr/>
      <dgm:t>
        <a:bodyPr/>
        <a:lstStyle/>
        <a:p>
          <a:endParaRPr lang="es-ES" sz="2000"/>
        </a:p>
      </dgm:t>
    </dgm:pt>
    <dgm:pt modelId="{F9ED123D-B28A-4CC2-8D82-C7D76D0979F2}">
      <dgm:prSet custT="1"/>
      <dgm:spPr/>
      <dgm:t>
        <a:bodyPr/>
        <a:lstStyle/>
        <a:p>
          <a:pPr>
            <a:spcAft>
              <a:spcPts val="0"/>
            </a:spcAft>
          </a:pPr>
          <a:r>
            <a:rPr lang="es-ES" sz="1200" dirty="0"/>
            <a:t>Operadores de telemarketing</a:t>
          </a:r>
        </a:p>
      </dgm:t>
    </dgm:pt>
    <dgm:pt modelId="{3B2D1FE1-4C16-4326-93C4-5529302A51FA}" type="parTrans" cxnId="{4EC5BE54-3528-43DE-8F18-778F0D424EA9}">
      <dgm:prSet/>
      <dgm:spPr/>
      <dgm:t>
        <a:bodyPr/>
        <a:lstStyle/>
        <a:p>
          <a:endParaRPr lang="es-ES" sz="2000"/>
        </a:p>
      </dgm:t>
    </dgm:pt>
    <dgm:pt modelId="{9D9B2432-4356-4AB8-9318-9527C81E20E2}" type="sibTrans" cxnId="{4EC5BE54-3528-43DE-8F18-778F0D424EA9}">
      <dgm:prSet/>
      <dgm:spPr/>
      <dgm:t>
        <a:bodyPr/>
        <a:lstStyle/>
        <a:p>
          <a:endParaRPr lang="es-ES" sz="2000"/>
        </a:p>
      </dgm:t>
    </dgm:pt>
    <dgm:pt modelId="{9D811BAB-75B7-4263-BFB4-2C1C7DEA82FB}">
      <dgm:prSet custT="1"/>
      <dgm:spPr/>
      <dgm:t>
        <a:bodyPr/>
        <a:lstStyle/>
        <a:p>
          <a:pPr>
            <a:spcAft>
              <a:spcPts val="0"/>
            </a:spcAft>
          </a:pPr>
          <a:r>
            <a:rPr lang="es-ES" sz="1200" dirty="0"/>
            <a:t>Operadores de atención al cliente</a:t>
          </a:r>
        </a:p>
      </dgm:t>
    </dgm:pt>
    <dgm:pt modelId="{6F2E0DF2-B88A-46A5-8B76-138097654E2F}" type="parTrans" cxnId="{EC1F0588-C434-43A4-9ACA-F1A22C5D2FC6}">
      <dgm:prSet/>
      <dgm:spPr/>
      <dgm:t>
        <a:bodyPr/>
        <a:lstStyle/>
        <a:p>
          <a:endParaRPr lang="es-ES" sz="2000"/>
        </a:p>
      </dgm:t>
    </dgm:pt>
    <dgm:pt modelId="{01C51189-0E6B-4B00-AFD9-8CD6C2EF8D1B}" type="sibTrans" cxnId="{EC1F0588-C434-43A4-9ACA-F1A22C5D2FC6}">
      <dgm:prSet/>
      <dgm:spPr/>
      <dgm:t>
        <a:bodyPr/>
        <a:lstStyle/>
        <a:p>
          <a:endParaRPr lang="es-ES" sz="2000"/>
        </a:p>
      </dgm:t>
    </dgm:pt>
    <dgm:pt modelId="{EB04B6C8-2C30-4F42-9B83-2F9C4684FDCF}">
      <dgm:prSet custT="1"/>
      <dgm:spPr/>
      <dgm:t>
        <a:bodyPr/>
        <a:lstStyle/>
        <a:p>
          <a:pPr>
            <a:spcAft>
              <a:spcPts val="0"/>
            </a:spcAft>
          </a:pPr>
          <a:r>
            <a:rPr lang="es-ES" sz="1200" dirty="0"/>
            <a:t>Trabajadores en el sector financiero</a:t>
          </a:r>
        </a:p>
      </dgm:t>
    </dgm:pt>
    <dgm:pt modelId="{6077DF8A-54E8-43C7-98B1-753F552EB141}" type="parTrans" cxnId="{78F8150E-99CC-453D-AB75-597FA7C4BD89}">
      <dgm:prSet/>
      <dgm:spPr/>
      <dgm:t>
        <a:bodyPr/>
        <a:lstStyle/>
        <a:p>
          <a:endParaRPr lang="es-ES" sz="2000"/>
        </a:p>
      </dgm:t>
    </dgm:pt>
    <dgm:pt modelId="{D81973CD-C341-428B-96CF-64A5C15648A2}" type="sibTrans" cxnId="{78F8150E-99CC-453D-AB75-597FA7C4BD89}">
      <dgm:prSet/>
      <dgm:spPr/>
      <dgm:t>
        <a:bodyPr/>
        <a:lstStyle/>
        <a:p>
          <a:endParaRPr lang="es-ES" sz="2000"/>
        </a:p>
      </dgm:t>
    </dgm:pt>
    <dgm:pt modelId="{09297C34-F114-460B-AF6D-E8908C72EEFC}">
      <dgm:prSet custT="1"/>
      <dgm:spPr/>
      <dgm:t>
        <a:bodyPr/>
        <a:lstStyle/>
        <a:p>
          <a:pPr>
            <a:spcAft>
              <a:spcPts val="0"/>
            </a:spcAft>
          </a:pPr>
          <a:r>
            <a:rPr lang="es-ES" sz="1200" dirty="0"/>
            <a:t>Trabajadores Back Office de grandes empresas: Telco, Energía, Distribución... </a:t>
          </a:r>
        </a:p>
      </dgm:t>
    </dgm:pt>
    <dgm:pt modelId="{F105544B-0C5F-408E-8AC9-7389FE346D29}" type="parTrans" cxnId="{EEA02F86-2202-4AA3-8835-EC558C5BDBB7}">
      <dgm:prSet/>
      <dgm:spPr/>
      <dgm:t>
        <a:bodyPr/>
        <a:lstStyle/>
        <a:p>
          <a:endParaRPr lang="es-ES" sz="2000"/>
        </a:p>
      </dgm:t>
    </dgm:pt>
    <dgm:pt modelId="{9FD0A6A0-474F-43BF-B521-688215FE4BEB}" type="sibTrans" cxnId="{EEA02F86-2202-4AA3-8835-EC558C5BDBB7}">
      <dgm:prSet/>
      <dgm:spPr/>
      <dgm:t>
        <a:bodyPr/>
        <a:lstStyle/>
        <a:p>
          <a:endParaRPr lang="es-ES" sz="2000"/>
        </a:p>
      </dgm:t>
    </dgm:pt>
    <dgm:pt modelId="{164DF50D-3F95-46D1-B332-73E888496103}">
      <dgm:prSet custT="1"/>
      <dgm:spPr/>
      <dgm:t>
        <a:bodyPr/>
        <a:lstStyle/>
        <a:p>
          <a:pPr>
            <a:spcAft>
              <a:spcPts val="0"/>
            </a:spcAft>
          </a:pPr>
          <a:r>
            <a:rPr lang="es-ES" sz="1200" dirty="0"/>
            <a:t>Conductores de vehículos</a:t>
          </a:r>
        </a:p>
      </dgm:t>
    </dgm:pt>
    <dgm:pt modelId="{1F2BA92E-9EC6-4679-9009-7ABCF12A1FD3}" type="parTrans" cxnId="{D639CE88-5036-4C34-BEFF-F95C8E7E607D}">
      <dgm:prSet/>
      <dgm:spPr/>
      <dgm:t>
        <a:bodyPr/>
        <a:lstStyle/>
        <a:p>
          <a:endParaRPr lang="es-ES" sz="2000"/>
        </a:p>
      </dgm:t>
    </dgm:pt>
    <dgm:pt modelId="{CEFC9D05-A6EA-41B8-820D-AA99872225C6}" type="sibTrans" cxnId="{D639CE88-5036-4C34-BEFF-F95C8E7E607D}">
      <dgm:prSet/>
      <dgm:spPr/>
      <dgm:t>
        <a:bodyPr/>
        <a:lstStyle/>
        <a:p>
          <a:endParaRPr lang="es-ES" sz="2000"/>
        </a:p>
      </dgm:t>
    </dgm:pt>
    <dgm:pt modelId="{A3F9C4A5-D51C-47A6-B824-BF3DA0121EF7}">
      <dgm:prSet custT="1"/>
      <dgm:spPr/>
      <dgm:t>
        <a:bodyPr/>
        <a:lstStyle/>
        <a:p>
          <a:pPr>
            <a:spcAft>
              <a:spcPts val="0"/>
            </a:spcAft>
          </a:pPr>
          <a:r>
            <a:rPr lang="es-ES" sz="1200" dirty="0"/>
            <a:t>Empleados de servicios postales y mensajería</a:t>
          </a:r>
        </a:p>
      </dgm:t>
    </dgm:pt>
    <dgm:pt modelId="{0E479B40-F37A-4540-9D4E-5D05A43F3453}" type="parTrans" cxnId="{A8DFE92A-B455-4596-8ABA-A27F885AEAFC}">
      <dgm:prSet/>
      <dgm:spPr/>
      <dgm:t>
        <a:bodyPr/>
        <a:lstStyle/>
        <a:p>
          <a:endParaRPr lang="es-ES" sz="2000"/>
        </a:p>
      </dgm:t>
    </dgm:pt>
    <dgm:pt modelId="{7B19EA86-43B2-4DED-830B-39DEB9A1385C}" type="sibTrans" cxnId="{A8DFE92A-B455-4596-8ABA-A27F885AEAFC}">
      <dgm:prSet/>
      <dgm:spPr/>
      <dgm:t>
        <a:bodyPr/>
        <a:lstStyle/>
        <a:p>
          <a:endParaRPr lang="es-ES" sz="2000"/>
        </a:p>
      </dgm:t>
    </dgm:pt>
    <dgm:pt modelId="{0C6D5471-3249-46A8-A43F-2F65406D144F}">
      <dgm:prSet custT="1"/>
      <dgm:spPr/>
      <dgm:t>
        <a:bodyPr/>
        <a:lstStyle/>
        <a:p>
          <a:pPr>
            <a:spcAft>
              <a:spcPts val="0"/>
            </a:spcAft>
          </a:pPr>
          <a:r>
            <a:rPr lang="es-ES" sz="1200" dirty="0"/>
            <a:t>Recepcionistas y asistentes administrativos</a:t>
          </a:r>
        </a:p>
      </dgm:t>
    </dgm:pt>
    <dgm:pt modelId="{578CC02C-BC28-4810-80D6-0EC65B361997}" type="parTrans" cxnId="{0982FE02-36B0-4D4C-9975-1D522CE74D7C}">
      <dgm:prSet/>
      <dgm:spPr/>
      <dgm:t>
        <a:bodyPr/>
        <a:lstStyle/>
        <a:p>
          <a:endParaRPr lang="es-ES" sz="2000"/>
        </a:p>
      </dgm:t>
    </dgm:pt>
    <dgm:pt modelId="{A8AF62FD-C4B0-44EB-80F2-097079503F6D}" type="sibTrans" cxnId="{0982FE02-36B0-4D4C-9975-1D522CE74D7C}">
      <dgm:prSet/>
      <dgm:spPr/>
      <dgm:t>
        <a:bodyPr/>
        <a:lstStyle/>
        <a:p>
          <a:endParaRPr lang="es-ES" sz="2000"/>
        </a:p>
      </dgm:t>
    </dgm:pt>
    <dgm:pt modelId="{42DB1803-5496-4457-8B2D-223377AE2B41}">
      <dgm:prSet custT="1"/>
      <dgm:spPr/>
      <dgm:t>
        <a:bodyPr/>
        <a:lstStyle/>
        <a:p>
          <a:pPr>
            <a:spcAft>
              <a:spcPts val="0"/>
            </a:spcAft>
          </a:pPr>
          <a:r>
            <a:rPr lang="es-ES" sz="1200" dirty="0"/>
            <a:t>Contadores y auditores</a:t>
          </a:r>
        </a:p>
      </dgm:t>
    </dgm:pt>
    <dgm:pt modelId="{A16F4833-920B-4E9B-B604-5DE8519F0ACC}" type="parTrans" cxnId="{A2A67189-42C0-4285-A108-EC9C5672664A}">
      <dgm:prSet/>
      <dgm:spPr/>
      <dgm:t>
        <a:bodyPr/>
        <a:lstStyle/>
        <a:p>
          <a:endParaRPr lang="es-ES" sz="2000"/>
        </a:p>
      </dgm:t>
    </dgm:pt>
    <dgm:pt modelId="{D6887AEC-D36B-4580-97AF-CC0CF907CA0A}" type="sibTrans" cxnId="{A2A67189-42C0-4285-A108-EC9C5672664A}">
      <dgm:prSet/>
      <dgm:spPr/>
      <dgm:t>
        <a:bodyPr/>
        <a:lstStyle/>
        <a:p>
          <a:endParaRPr lang="es-ES" sz="2000"/>
        </a:p>
      </dgm:t>
    </dgm:pt>
    <dgm:pt modelId="{23E3C241-2EBF-403D-B8E8-5F236E318BB8}">
      <dgm:prSet custT="1"/>
      <dgm:spPr/>
      <dgm:t>
        <a:bodyPr/>
        <a:lstStyle/>
        <a:p>
          <a:pPr>
            <a:spcAft>
              <a:spcPts val="0"/>
            </a:spcAft>
          </a:pPr>
          <a:r>
            <a:rPr lang="es-ES" sz="1200" dirty="0"/>
            <a:t>Trabajadores de la construcción</a:t>
          </a:r>
        </a:p>
      </dgm:t>
    </dgm:pt>
    <dgm:pt modelId="{51048EB2-F168-4092-ADA8-7AE386051CDA}" type="parTrans" cxnId="{A34AA55C-CDC9-4A12-9E8A-C11BC7BA320F}">
      <dgm:prSet/>
      <dgm:spPr/>
      <dgm:t>
        <a:bodyPr/>
        <a:lstStyle/>
        <a:p>
          <a:endParaRPr lang="es-ES" sz="2000"/>
        </a:p>
      </dgm:t>
    </dgm:pt>
    <dgm:pt modelId="{68075486-E8CF-486B-BABB-A171E58B4D91}" type="sibTrans" cxnId="{A34AA55C-CDC9-4A12-9E8A-C11BC7BA320F}">
      <dgm:prSet/>
      <dgm:spPr/>
      <dgm:t>
        <a:bodyPr/>
        <a:lstStyle/>
        <a:p>
          <a:endParaRPr lang="es-ES" sz="2000"/>
        </a:p>
      </dgm:t>
    </dgm:pt>
    <dgm:pt modelId="{4FD66759-2749-4DE2-A0CE-B828F1611DCC}">
      <dgm:prSet custT="1"/>
      <dgm:spPr/>
      <dgm:t>
        <a:bodyPr/>
        <a:lstStyle/>
        <a:p>
          <a:r>
            <a:rPr lang="es-ES" sz="1200" dirty="0"/>
            <a:t>Ingenieros de Inteligencia Artificial y Machine Learning</a:t>
          </a:r>
        </a:p>
      </dgm:t>
    </dgm:pt>
    <dgm:pt modelId="{5F16386D-CEF9-42D1-98D4-5844802560D9}" type="parTrans" cxnId="{8003A5AE-D567-4C77-A014-D8E5566CE94C}">
      <dgm:prSet/>
      <dgm:spPr/>
      <dgm:t>
        <a:bodyPr/>
        <a:lstStyle/>
        <a:p>
          <a:endParaRPr lang="es-ES" sz="2000"/>
        </a:p>
      </dgm:t>
    </dgm:pt>
    <dgm:pt modelId="{192E78F0-2D23-455D-9C34-18F76FA389ED}" type="sibTrans" cxnId="{8003A5AE-D567-4C77-A014-D8E5566CE94C}">
      <dgm:prSet/>
      <dgm:spPr/>
      <dgm:t>
        <a:bodyPr/>
        <a:lstStyle/>
        <a:p>
          <a:endParaRPr lang="es-ES" sz="2000"/>
        </a:p>
      </dgm:t>
    </dgm:pt>
    <dgm:pt modelId="{1AB4D965-E79F-4515-AA50-B88C6195392C}">
      <dgm:prSet custT="1"/>
      <dgm:spPr/>
      <dgm:t>
        <a:bodyPr/>
        <a:lstStyle/>
        <a:p>
          <a:r>
            <a:rPr lang="es-ES" sz="1200" dirty="0"/>
            <a:t>Científicos de Datos y Analistas de Datos</a:t>
          </a:r>
        </a:p>
      </dgm:t>
    </dgm:pt>
    <dgm:pt modelId="{38C33888-344A-4DD0-967E-7844C15F3694}" type="parTrans" cxnId="{4A857898-4AA5-4D4A-8B93-26DBC02514F6}">
      <dgm:prSet/>
      <dgm:spPr/>
      <dgm:t>
        <a:bodyPr/>
        <a:lstStyle/>
        <a:p>
          <a:endParaRPr lang="es-ES" sz="2000"/>
        </a:p>
      </dgm:t>
    </dgm:pt>
    <dgm:pt modelId="{D97C14CA-7FDC-46DB-AA51-B55A61468187}" type="sibTrans" cxnId="{4A857898-4AA5-4D4A-8B93-26DBC02514F6}">
      <dgm:prSet/>
      <dgm:spPr/>
      <dgm:t>
        <a:bodyPr/>
        <a:lstStyle/>
        <a:p>
          <a:endParaRPr lang="es-ES" sz="2000"/>
        </a:p>
      </dgm:t>
    </dgm:pt>
    <dgm:pt modelId="{B7767B1B-2121-4413-9C3C-60BDE868242F}">
      <dgm:prSet custT="1"/>
      <dgm:spPr/>
      <dgm:t>
        <a:bodyPr/>
        <a:lstStyle/>
        <a:p>
          <a:r>
            <a:rPr lang="es-ES" sz="1200" dirty="0"/>
            <a:t>Especialistas en Ciberseguridad</a:t>
          </a:r>
        </a:p>
      </dgm:t>
    </dgm:pt>
    <dgm:pt modelId="{BAA8DC63-CE40-408D-86AE-FEEE39D89879}" type="parTrans" cxnId="{DDB4D7C3-3D0E-4DCE-A4C5-093767930C83}">
      <dgm:prSet/>
      <dgm:spPr/>
      <dgm:t>
        <a:bodyPr/>
        <a:lstStyle/>
        <a:p>
          <a:endParaRPr lang="es-ES" sz="2000"/>
        </a:p>
      </dgm:t>
    </dgm:pt>
    <dgm:pt modelId="{29D662CC-9D53-4D91-BBE2-F89EBE21E523}" type="sibTrans" cxnId="{DDB4D7C3-3D0E-4DCE-A4C5-093767930C83}">
      <dgm:prSet/>
      <dgm:spPr/>
      <dgm:t>
        <a:bodyPr/>
        <a:lstStyle/>
        <a:p>
          <a:endParaRPr lang="es-ES" sz="2000"/>
        </a:p>
      </dgm:t>
    </dgm:pt>
    <dgm:pt modelId="{1D1A4600-04F0-4F43-95B3-C9BBA34A8C30}">
      <dgm:prSet custT="1"/>
      <dgm:spPr/>
      <dgm:t>
        <a:bodyPr/>
        <a:lstStyle/>
        <a:p>
          <a:r>
            <a:rPr lang="es-ES" sz="1200" dirty="0"/>
            <a:t>Profesionales en Experiencia del Usuario (UX) y Diseño de Interfaz de Usuario (UI)</a:t>
          </a:r>
        </a:p>
      </dgm:t>
    </dgm:pt>
    <dgm:pt modelId="{06DC8FBE-60BD-436E-A46A-00F103C17251}" type="parTrans" cxnId="{A9252E14-3C43-433E-AEE5-B91499CBE4F6}">
      <dgm:prSet/>
      <dgm:spPr/>
      <dgm:t>
        <a:bodyPr/>
        <a:lstStyle/>
        <a:p>
          <a:endParaRPr lang="es-ES" sz="2000"/>
        </a:p>
      </dgm:t>
    </dgm:pt>
    <dgm:pt modelId="{13EEAA67-06B7-45EA-95C0-DB2E320B418A}" type="sibTrans" cxnId="{A9252E14-3C43-433E-AEE5-B91499CBE4F6}">
      <dgm:prSet/>
      <dgm:spPr/>
      <dgm:t>
        <a:bodyPr/>
        <a:lstStyle/>
        <a:p>
          <a:endParaRPr lang="es-ES" sz="2000"/>
        </a:p>
      </dgm:t>
    </dgm:pt>
    <dgm:pt modelId="{F5F7329C-182B-409A-B400-5C60D70B46C3}">
      <dgm:prSet custT="1"/>
      <dgm:spPr/>
      <dgm:t>
        <a:bodyPr/>
        <a:lstStyle/>
        <a:p>
          <a:r>
            <a:rPr lang="es-ES" sz="1200" dirty="0"/>
            <a:t>Expertos en Tecnología de la Información (TI)</a:t>
          </a:r>
        </a:p>
      </dgm:t>
    </dgm:pt>
    <dgm:pt modelId="{725621DF-2145-4E25-82F9-C9FFA79E2F57}" type="parTrans" cxnId="{6FF3AE8A-C908-40A7-9465-F00059CB394A}">
      <dgm:prSet/>
      <dgm:spPr/>
      <dgm:t>
        <a:bodyPr/>
        <a:lstStyle/>
        <a:p>
          <a:endParaRPr lang="es-ES" sz="2000"/>
        </a:p>
      </dgm:t>
    </dgm:pt>
    <dgm:pt modelId="{4BEC87E8-6CD7-4CF9-B9FF-D6D8D5DD8658}" type="sibTrans" cxnId="{6FF3AE8A-C908-40A7-9465-F00059CB394A}">
      <dgm:prSet/>
      <dgm:spPr/>
      <dgm:t>
        <a:bodyPr/>
        <a:lstStyle/>
        <a:p>
          <a:endParaRPr lang="es-ES" sz="2000"/>
        </a:p>
      </dgm:t>
    </dgm:pt>
    <dgm:pt modelId="{901E94B3-3EEC-40B3-A1CC-7F7D0F73388E}">
      <dgm:prSet custT="1"/>
      <dgm:spPr/>
      <dgm:t>
        <a:bodyPr/>
        <a:lstStyle/>
        <a:p>
          <a:r>
            <a:rPr lang="es-ES" sz="1200" dirty="0"/>
            <a:t>Especialistas en Energías Renovables</a:t>
          </a:r>
        </a:p>
      </dgm:t>
    </dgm:pt>
    <dgm:pt modelId="{CC409BA3-2312-438F-8012-5D289DEF948E}" type="parTrans" cxnId="{82F59E30-DF82-4B20-81F7-0D5109A829D1}">
      <dgm:prSet/>
      <dgm:spPr/>
      <dgm:t>
        <a:bodyPr/>
        <a:lstStyle/>
        <a:p>
          <a:endParaRPr lang="es-ES" sz="2000"/>
        </a:p>
      </dgm:t>
    </dgm:pt>
    <dgm:pt modelId="{77027139-A753-4229-8CC2-C725C8AC3EAA}" type="sibTrans" cxnId="{82F59E30-DF82-4B20-81F7-0D5109A829D1}">
      <dgm:prSet/>
      <dgm:spPr/>
      <dgm:t>
        <a:bodyPr/>
        <a:lstStyle/>
        <a:p>
          <a:endParaRPr lang="es-ES" sz="2000"/>
        </a:p>
      </dgm:t>
    </dgm:pt>
    <dgm:pt modelId="{3E96236D-9F2D-46A6-80B3-92F96DEAADC1}">
      <dgm:prSet custT="1"/>
      <dgm:spPr/>
      <dgm:t>
        <a:bodyPr/>
        <a:lstStyle/>
        <a:p>
          <a:r>
            <a:rPr lang="es-ES" sz="1200" dirty="0"/>
            <a:t>Profesionales de la Salud Digital</a:t>
          </a:r>
        </a:p>
      </dgm:t>
    </dgm:pt>
    <dgm:pt modelId="{CCB7413D-24A0-4C9B-BB3B-BE0832AE5BAC}" type="parTrans" cxnId="{3EEF86E4-A187-46F4-92EA-929BB3F06AF1}">
      <dgm:prSet/>
      <dgm:spPr/>
      <dgm:t>
        <a:bodyPr/>
        <a:lstStyle/>
        <a:p>
          <a:endParaRPr lang="es-ES" sz="2000"/>
        </a:p>
      </dgm:t>
    </dgm:pt>
    <dgm:pt modelId="{D58DF95F-31E8-43B4-91BB-1DD26ACBFB76}" type="sibTrans" cxnId="{3EEF86E4-A187-46F4-92EA-929BB3F06AF1}">
      <dgm:prSet/>
      <dgm:spPr/>
      <dgm:t>
        <a:bodyPr/>
        <a:lstStyle/>
        <a:p>
          <a:endParaRPr lang="es-ES" sz="2000"/>
        </a:p>
      </dgm:t>
    </dgm:pt>
    <dgm:pt modelId="{97809F25-C29A-4A1B-BF53-500703C5D4F6}">
      <dgm:prSet custT="1"/>
      <dgm:spPr/>
      <dgm:t>
        <a:bodyPr/>
        <a:lstStyle/>
        <a:p>
          <a:r>
            <a:rPr lang="es-ES" sz="1200" dirty="0"/>
            <a:t>Especialistas en Ética de la Inteligencia Artificial</a:t>
          </a:r>
        </a:p>
      </dgm:t>
    </dgm:pt>
    <dgm:pt modelId="{29297354-ABB9-49BA-906B-AD4BAD58D347}" type="parTrans" cxnId="{06CF5CAD-6DB2-42E3-9B1F-D8EDE7A025EF}">
      <dgm:prSet/>
      <dgm:spPr/>
      <dgm:t>
        <a:bodyPr/>
        <a:lstStyle/>
        <a:p>
          <a:endParaRPr lang="es-ES" sz="2000"/>
        </a:p>
      </dgm:t>
    </dgm:pt>
    <dgm:pt modelId="{21CF1413-4ED1-496A-B49C-A768AFB30D12}" type="sibTrans" cxnId="{06CF5CAD-6DB2-42E3-9B1F-D8EDE7A025EF}">
      <dgm:prSet/>
      <dgm:spPr/>
      <dgm:t>
        <a:bodyPr/>
        <a:lstStyle/>
        <a:p>
          <a:endParaRPr lang="es-ES" sz="2000"/>
        </a:p>
      </dgm:t>
    </dgm:pt>
    <dgm:pt modelId="{FEC068FA-8B4D-44CE-90B0-689EBD26DA6E}">
      <dgm:prSet custT="1"/>
      <dgm:spPr/>
      <dgm:t>
        <a:bodyPr/>
        <a:lstStyle/>
        <a:p>
          <a:r>
            <a:rPr lang="es-ES" sz="1200" dirty="0"/>
            <a:t>Orientación al ocio y a la tercera Edad</a:t>
          </a:r>
        </a:p>
      </dgm:t>
    </dgm:pt>
    <dgm:pt modelId="{14ADB537-AB46-4BF4-A079-67E63FF0C03B}" type="parTrans" cxnId="{0F171483-6185-4E1D-AB50-DBA0DF847E49}">
      <dgm:prSet/>
      <dgm:spPr/>
      <dgm:t>
        <a:bodyPr/>
        <a:lstStyle/>
        <a:p>
          <a:endParaRPr lang="es-ES" sz="2000"/>
        </a:p>
      </dgm:t>
    </dgm:pt>
    <dgm:pt modelId="{3EBC8F76-4508-485C-B070-C4EBC141F35C}" type="sibTrans" cxnId="{0F171483-6185-4E1D-AB50-DBA0DF847E49}">
      <dgm:prSet/>
      <dgm:spPr/>
      <dgm:t>
        <a:bodyPr/>
        <a:lstStyle/>
        <a:p>
          <a:endParaRPr lang="es-ES" sz="2000"/>
        </a:p>
      </dgm:t>
    </dgm:pt>
    <dgm:pt modelId="{A3A7D82E-F5C2-4349-9D23-B6AD1C6925A0}" type="pres">
      <dgm:prSet presAssocID="{A414F13D-7DEF-48F5-B2D0-3D09B718A0E0}" presName="diagram" presStyleCnt="0">
        <dgm:presLayoutVars>
          <dgm:dir/>
          <dgm:animLvl val="lvl"/>
          <dgm:resizeHandles val="exact"/>
        </dgm:presLayoutVars>
      </dgm:prSet>
      <dgm:spPr/>
    </dgm:pt>
    <dgm:pt modelId="{E636C2A4-BB08-4A58-9CAC-681C35E371AB}" type="pres">
      <dgm:prSet presAssocID="{DA4E76C7-9BF2-4A3D-95E7-FFAF58116247}" presName="compNode" presStyleCnt="0"/>
      <dgm:spPr/>
    </dgm:pt>
    <dgm:pt modelId="{E725C583-0445-4AED-B71E-3FA1C9012BCE}" type="pres">
      <dgm:prSet presAssocID="{DA4E76C7-9BF2-4A3D-95E7-FFAF58116247}" presName="childRect" presStyleLbl="bgAcc1" presStyleIdx="0" presStyleCnt="3">
        <dgm:presLayoutVars>
          <dgm:bulletEnabled val="1"/>
        </dgm:presLayoutVars>
      </dgm:prSet>
      <dgm:spPr/>
    </dgm:pt>
    <dgm:pt modelId="{076D22B1-A814-494A-BE35-2521DC48495B}" type="pres">
      <dgm:prSet presAssocID="{DA4E76C7-9BF2-4A3D-95E7-FFAF58116247}" presName="parentText" presStyleLbl="node1" presStyleIdx="0" presStyleCnt="0">
        <dgm:presLayoutVars>
          <dgm:chMax val="0"/>
          <dgm:bulletEnabled val="1"/>
        </dgm:presLayoutVars>
      </dgm:prSet>
      <dgm:spPr/>
    </dgm:pt>
    <dgm:pt modelId="{C1823FC1-C543-43C0-805A-E2AB05FB4F83}" type="pres">
      <dgm:prSet presAssocID="{DA4E76C7-9BF2-4A3D-95E7-FFAF58116247}" presName="parentRect" presStyleLbl="alignNode1" presStyleIdx="0" presStyleCnt="3" custScaleY="74791"/>
      <dgm:spPr/>
    </dgm:pt>
    <dgm:pt modelId="{C2ABD96C-AB47-4413-9EF0-9DD28DF5F752}" type="pres">
      <dgm:prSet presAssocID="{DA4E76C7-9BF2-4A3D-95E7-FFAF58116247}" presName="adorn" presStyleLbl="fgAccFollowNode1" presStyleIdx="0" presStyleCnt="3"/>
      <dgm:spPr>
        <a:blipFill rotWithShape="1">
          <a:blip xmlns:r="http://schemas.openxmlformats.org/officeDocument/2006/relationships" r:embed="rId1">
            <a:duotone>
              <a:prstClr val="black"/>
              <a:srgbClr val="99CB38">
                <a:tint val="45000"/>
                <a:satMod val="400000"/>
              </a:srgbClr>
            </a:duotone>
            <a:extLst>
              <a:ext uri="{28A0092B-C50C-407E-A947-70E740481C1C}">
                <a14:useLocalDpi xmlns:a14="http://schemas.microsoft.com/office/drawing/2010/main" val="0"/>
              </a:ext>
            </a:extLst>
          </a:blip>
          <a:srcRect/>
          <a:stretch>
            <a:fillRect/>
          </a:stretch>
        </a:blipFill>
      </dgm:spPr>
    </dgm:pt>
    <dgm:pt modelId="{94AAA9DD-3A55-4A25-8100-8C0B2391F946}" type="pres">
      <dgm:prSet presAssocID="{9134E1A5-DA6F-4E39-9188-44C180AD7F30}" presName="sibTrans" presStyleLbl="sibTrans2D1" presStyleIdx="0" presStyleCnt="0"/>
      <dgm:spPr/>
    </dgm:pt>
    <dgm:pt modelId="{28DF8E04-8486-4AA2-8745-74739EDF45EF}" type="pres">
      <dgm:prSet presAssocID="{93EA0AE0-1F90-466B-BE26-006A11D9CBAF}" presName="compNode" presStyleCnt="0"/>
      <dgm:spPr/>
    </dgm:pt>
    <dgm:pt modelId="{1694BACD-1D0B-45FF-88D2-F8EC105E768D}" type="pres">
      <dgm:prSet presAssocID="{93EA0AE0-1F90-466B-BE26-006A11D9CBAF}" presName="childRect" presStyleLbl="bgAcc1" presStyleIdx="1" presStyleCnt="3">
        <dgm:presLayoutVars>
          <dgm:bulletEnabled val="1"/>
        </dgm:presLayoutVars>
      </dgm:prSet>
      <dgm:spPr/>
    </dgm:pt>
    <dgm:pt modelId="{F1EF9DBE-1984-443D-9DA2-EB97C50279B6}" type="pres">
      <dgm:prSet presAssocID="{93EA0AE0-1F90-466B-BE26-006A11D9CBAF}" presName="parentText" presStyleLbl="node1" presStyleIdx="0" presStyleCnt="0">
        <dgm:presLayoutVars>
          <dgm:chMax val="0"/>
          <dgm:bulletEnabled val="1"/>
        </dgm:presLayoutVars>
      </dgm:prSet>
      <dgm:spPr/>
    </dgm:pt>
    <dgm:pt modelId="{C618CCB6-A667-4A92-8D27-9A906C06FC55}" type="pres">
      <dgm:prSet presAssocID="{93EA0AE0-1F90-466B-BE26-006A11D9CBAF}" presName="parentRect" presStyleLbl="alignNode1" presStyleIdx="1" presStyleCnt="3" custScaleY="74682"/>
      <dgm:spPr/>
    </dgm:pt>
    <dgm:pt modelId="{DA9D2D37-5A24-4FE9-8163-27592143BEF7}" type="pres">
      <dgm:prSet presAssocID="{93EA0AE0-1F90-466B-BE26-006A11D9CBAF}" presName="adorn" presStyleLbl="fgAccFollowNode1" presStyleIdx="1" presStyleCnt="3"/>
      <dgm:spPr>
        <a:blipFill rotWithShape="1">
          <a:blip xmlns:r="http://schemas.openxmlformats.org/officeDocument/2006/relationships"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t="-7000" b="-7000"/>
          </a:stretch>
        </a:blipFill>
        <a:ln>
          <a:solidFill>
            <a:schemeClr val="bg1">
              <a:alpha val="90000"/>
            </a:schemeClr>
          </a:solidFill>
        </a:ln>
      </dgm:spPr>
    </dgm:pt>
    <dgm:pt modelId="{FF3632FF-D4C6-46D1-A06F-40AF147F021C}" type="pres">
      <dgm:prSet presAssocID="{A9042CD7-318F-402C-9EBF-211CB47702AD}" presName="sibTrans" presStyleLbl="sibTrans2D1" presStyleIdx="0" presStyleCnt="0"/>
      <dgm:spPr/>
    </dgm:pt>
    <dgm:pt modelId="{3CAC0B6D-7836-4EA5-9A34-BE463A43594C}" type="pres">
      <dgm:prSet presAssocID="{86F9B9E2-27E0-4487-8DAE-3B8F849ABDD0}" presName="compNode" presStyleCnt="0"/>
      <dgm:spPr/>
    </dgm:pt>
    <dgm:pt modelId="{DE703D61-2760-4B38-B281-99B1B53A6357}" type="pres">
      <dgm:prSet presAssocID="{86F9B9E2-27E0-4487-8DAE-3B8F849ABDD0}" presName="childRect" presStyleLbl="bgAcc1" presStyleIdx="2" presStyleCnt="3">
        <dgm:presLayoutVars>
          <dgm:bulletEnabled val="1"/>
        </dgm:presLayoutVars>
      </dgm:prSet>
      <dgm:spPr/>
    </dgm:pt>
    <dgm:pt modelId="{0A794BE2-3159-4716-A952-A446C6C5476E}" type="pres">
      <dgm:prSet presAssocID="{86F9B9E2-27E0-4487-8DAE-3B8F849ABDD0}" presName="parentText" presStyleLbl="node1" presStyleIdx="0" presStyleCnt="0">
        <dgm:presLayoutVars>
          <dgm:chMax val="0"/>
          <dgm:bulletEnabled val="1"/>
        </dgm:presLayoutVars>
      </dgm:prSet>
      <dgm:spPr/>
    </dgm:pt>
    <dgm:pt modelId="{503CF6A9-FE5D-4456-8B2D-A60656297B43}" type="pres">
      <dgm:prSet presAssocID="{86F9B9E2-27E0-4487-8DAE-3B8F849ABDD0}" presName="parentRect" presStyleLbl="alignNode1" presStyleIdx="2" presStyleCnt="3" custScaleY="74791"/>
      <dgm:spPr/>
    </dgm:pt>
    <dgm:pt modelId="{8F2323C1-D9F8-44F9-AD00-C6E6476DCF19}" type="pres">
      <dgm:prSet presAssocID="{86F9B9E2-27E0-4487-8DAE-3B8F849ABDD0}" presName="adorn" presStyleLbl="fgAccFollowNode1" presStyleIdx="2" presStyleCnt="3"/>
      <dgm:spPr>
        <a:blipFill rotWithShape="1">
          <a:blip xmlns:r="http://schemas.openxmlformats.org/officeDocument/2006/relationships"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a:blipFill>
      </dgm:spPr>
    </dgm:pt>
  </dgm:ptLst>
  <dgm:cxnLst>
    <dgm:cxn modelId="{1155ED01-D196-4DE8-921D-BF1D786AF26A}" type="presOf" srcId="{F9ED123D-B28A-4CC2-8D82-C7D76D0979F2}" destId="{1694BACD-1D0B-45FF-88D2-F8EC105E768D}" srcOrd="0" destOrd="4" presId="urn:microsoft.com/office/officeart/2005/8/layout/bList2"/>
    <dgm:cxn modelId="{0982FE02-36B0-4D4C-9975-1D522CE74D7C}" srcId="{93EA0AE0-1F90-466B-BE26-006A11D9CBAF}" destId="{0C6D5471-3249-46A8-A43F-2F65406D144F}" srcOrd="10" destOrd="0" parTransId="{578CC02C-BC28-4810-80D6-0EC65B361997}" sibTransId="{A8AF62FD-C4B0-44EB-80F2-097079503F6D}"/>
    <dgm:cxn modelId="{78F8150E-99CC-453D-AB75-597FA7C4BD89}" srcId="{93EA0AE0-1F90-466B-BE26-006A11D9CBAF}" destId="{EB04B6C8-2C30-4F42-9B83-2F9C4684FDCF}" srcOrd="6" destOrd="0" parTransId="{6077DF8A-54E8-43C7-98B1-753F552EB141}" sibTransId="{D81973CD-C341-428B-96CF-64A5C15648A2}"/>
    <dgm:cxn modelId="{A9252E14-3C43-433E-AEE5-B91499CBE4F6}" srcId="{86F9B9E2-27E0-4487-8DAE-3B8F849ABDD0}" destId="{1D1A4600-04F0-4F43-95B3-C9BBA34A8C30}" srcOrd="4" destOrd="0" parTransId="{06DC8FBE-60BD-436E-A46A-00F103C17251}" sibTransId="{13EEAA67-06B7-45EA-95C0-DB2E320B418A}"/>
    <dgm:cxn modelId="{C3E8DA16-7038-4EFF-992D-CB50409CBC23}" type="presOf" srcId="{1D1A4600-04F0-4F43-95B3-C9BBA34A8C30}" destId="{DE703D61-2760-4B38-B281-99B1B53A6357}" srcOrd="0" destOrd="4" presId="urn:microsoft.com/office/officeart/2005/8/layout/bList2"/>
    <dgm:cxn modelId="{E459CD18-C254-45D3-9843-3A959E398C5B}" srcId="{93EA0AE0-1F90-466B-BE26-006A11D9CBAF}" destId="{457826D4-A152-4A2F-B43A-F94DC01B17F6}" srcOrd="2" destOrd="0" parTransId="{881191FC-0C82-47E8-B693-33036F1B6372}" sibTransId="{94E693CF-BBF2-4E1F-ACF4-711EA534823B}"/>
    <dgm:cxn modelId="{C04A4221-6D8F-427D-B360-78E69A533719}" type="presOf" srcId="{B7767B1B-2121-4413-9C3C-60BDE868242F}" destId="{DE703D61-2760-4B38-B281-99B1B53A6357}" srcOrd="0" destOrd="3" presId="urn:microsoft.com/office/officeart/2005/8/layout/bList2"/>
    <dgm:cxn modelId="{C4066E28-0144-469A-A91C-998BD10B3F7C}" type="presOf" srcId="{457826D4-A152-4A2F-B43A-F94DC01B17F6}" destId="{1694BACD-1D0B-45FF-88D2-F8EC105E768D}" srcOrd="0" destOrd="2" presId="urn:microsoft.com/office/officeart/2005/8/layout/bList2"/>
    <dgm:cxn modelId="{A8DFE92A-B455-4596-8ABA-A27F885AEAFC}" srcId="{93EA0AE0-1F90-466B-BE26-006A11D9CBAF}" destId="{A3F9C4A5-D51C-47A6-B824-BF3DA0121EF7}" srcOrd="9" destOrd="0" parTransId="{0E479B40-F37A-4540-9D4E-5D05A43F3453}" sibTransId="{7B19EA86-43B2-4DED-830B-39DEB9A1385C}"/>
    <dgm:cxn modelId="{82F59E30-DF82-4B20-81F7-0D5109A829D1}" srcId="{86F9B9E2-27E0-4487-8DAE-3B8F849ABDD0}" destId="{901E94B3-3EEC-40B3-A1CC-7F7D0F73388E}" srcOrd="6" destOrd="0" parTransId="{CC409BA3-2312-438F-8012-5D289DEF948E}" sibTransId="{77027139-A753-4229-8CC2-C725C8AC3EAA}"/>
    <dgm:cxn modelId="{EFE9BA39-7ED0-4602-8473-26C5EF827B0B}" type="presOf" srcId="{DA4E76C7-9BF2-4A3D-95E7-FFAF58116247}" destId="{C1823FC1-C543-43C0-805A-E2AB05FB4F83}" srcOrd="1" destOrd="0" presId="urn:microsoft.com/office/officeart/2005/8/layout/bList2"/>
    <dgm:cxn modelId="{A34AA55C-CDC9-4A12-9E8A-C11BC7BA320F}" srcId="{93EA0AE0-1F90-466B-BE26-006A11D9CBAF}" destId="{23E3C241-2EBF-403D-B8E8-5F236E318BB8}" srcOrd="12" destOrd="0" parTransId="{51048EB2-F168-4092-ADA8-7AE386051CDA}" sibTransId="{68075486-E8CF-486B-BABB-A171E58B4D91}"/>
    <dgm:cxn modelId="{AAF4D25D-42EB-4043-9F3B-D71D42D62B1D}" type="presOf" srcId="{86F9B9E2-27E0-4487-8DAE-3B8F849ABDD0}" destId="{503CF6A9-FE5D-4456-8B2D-A60656297B43}" srcOrd="1" destOrd="0" presId="urn:microsoft.com/office/officeart/2005/8/layout/bList2"/>
    <dgm:cxn modelId="{B73B895F-05DB-4E71-9A0B-01C2910E1F3A}" type="presOf" srcId="{1AB4D965-E79F-4515-AA50-B88C6195392C}" destId="{DE703D61-2760-4B38-B281-99B1B53A6357}" srcOrd="0" destOrd="2" presId="urn:microsoft.com/office/officeart/2005/8/layout/bList2"/>
    <dgm:cxn modelId="{B80CA641-B1ED-43A9-A728-91C871372462}" type="presOf" srcId="{EBC8AE10-C57E-464A-8BEF-7EC984D70B04}" destId="{1694BACD-1D0B-45FF-88D2-F8EC105E768D}" srcOrd="0" destOrd="1" presId="urn:microsoft.com/office/officeart/2005/8/layout/bList2"/>
    <dgm:cxn modelId="{6D65784B-1AFF-49B9-B56F-FDE622984A86}" srcId="{93EA0AE0-1F90-466B-BE26-006A11D9CBAF}" destId="{EBC8AE10-C57E-464A-8BEF-7EC984D70B04}" srcOrd="1" destOrd="0" parTransId="{E951C622-688A-45BE-B5DC-EFACD4CEDC58}" sibTransId="{7545FC3A-7FFB-4C18-979E-9E7C6A66D744}"/>
    <dgm:cxn modelId="{76557F4C-2C5D-4C2E-95DC-9103D8442A9E}" type="presOf" srcId="{F5F7329C-182B-409A-B400-5C60D70B46C3}" destId="{DE703D61-2760-4B38-B281-99B1B53A6357}" srcOrd="0" destOrd="5" presId="urn:microsoft.com/office/officeart/2005/8/layout/bList2"/>
    <dgm:cxn modelId="{4EC5BE54-3528-43DE-8F18-778F0D424EA9}" srcId="{93EA0AE0-1F90-466B-BE26-006A11D9CBAF}" destId="{F9ED123D-B28A-4CC2-8D82-C7D76D0979F2}" srcOrd="4" destOrd="0" parTransId="{3B2D1FE1-4C16-4326-93C4-5529302A51FA}" sibTransId="{9D9B2432-4356-4AB8-9318-9527C81E20E2}"/>
    <dgm:cxn modelId="{08FE027B-5B3D-4F8A-86EE-19F2A8CB9E2A}" type="presOf" srcId="{A9042CD7-318F-402C-9EBF-211CB47702AD}" destId="{FF3632FF-D4C6-46D1-A06F-40AF147F021C}" srcOrd="0" destOrd="0" presId="urn:microsoft.com/office/officeart/2005/8/layout/bList2"/>
    <dgm:cxn modelId="{31D03A7B-9F85-4D88-AC13-C6CFADF94CCF}" type="presOf" srcId="{42DB1803-5496-4457-8B2D-223377AE2B41}" destId="{1694BACD-1D0B-45FF-88D2-F8EC105E768D}" srcOrd="0" destOrd="11" presId="urn:microsoft.com/office/officeart/2005/8/layout/bList2"/>
    <dgm:cxn modelId="{3F4CF37D-2559-4DE7-A0A9-4C1ECB71462F}" type="presOf" srcId="{0C6D5471-3249-46A8-A43F-2F65406D144F}" destId="{1694BACD-1D0B-45FF-88D2-F8EC105E768D}" srcOrd="0" destOrd="10" presId="urn:microsoft.com/office/officeart/2005/8/layout/bList2"/>
    <dgm:cxn modelId="{959F8A80-A55B-4AB2-908C-EF048CC19381}" srcId="{93EA0AE0-1F90-466B-BE26-006A11D9CBAF}" destId="{D5B1253A-61AD-45F8-A695-C1EE205B4EDE}" srcOrd="3" destOrd="0" parTransId="{2AA2124E-7AFA-44A8-B943-CF3A0885AEA7}" sibTransId="{0792147F-7A4F-4FDC-9219-BDCFB920A1AC}"/>
    <dgm:cxn modelId="{A34FC881-28D4-4128-AD84-01861E0D4D4D}" srcId="{DA4E76C7-9BF2-4A3D-95E7-FFAF58116247}" destId="{0EA2FE47-2505-49D2-AA31-22F8CC335680}" srcOrd="0" destOrd="0" parTransId="{B2527C20-1D15-41F3-8DAC-4D13E9CFC270}" sibTransId="{829E6EE8-A34F-4518-8CD4-4602F839BF7B}"/>
    <dgm:cxn modelId="{6B13E382-6F2F-499F-8E6A-B70C25CFD596}" type="presOf" srcId="{9134E1A5-DA6F-4E39-9188-44C180AD7F30}" destId="{94AAA9DD-3A55-4A25-8100-8C0B2391F946}" srcOrd="0" destOrd="0" presId="urn:microsoft.com/office/officeart/2005/8/layout/bList2"/>
    <dgm:cxn modelId="{0F171483-6185-4E1D-AB50-DBA0DF847E49}" srcId="{86F9B9E2-27E0-4487-8DAE-3B8F849ABDD0}" destId="{FEC068FA-8B4D-44CE-90B0-689EBD26DA6E}" srcOrd="9" destOrd="0" parTransId="{14ADB537-AB46-4BF4-A079-67E63FF0C03B}" sibTransId="{3EBC8F76-4508-485C-B070-C4EBC141F35C}"/>
    <dgm:cxn modelId="{3D067083-6AD2-472E-8F47-6EF082B1B39E}" type="presOf" srcId="{23E3C241-2EBF-403D-B8E8-5F236E318BB8}" destId="{1694BACD-1D0B-45FF-88D2-F8EC105E768D}" srcOrd="0" destOrd="12" presId="urn:microsoft.com/office/officeart/2005/8/layout/bList2"/>
    <dgm:cxn modelId="{EEA02F86-2202-4AA3-8835-EC558C5BDBB7}" srcId="{93EA0AE0-1F90-466B-BE26-006A11D9CBAF}" destId="{09297C34-F114-460B-AF6D-E8908C72EEFC}" srcOrd="7" destOrd="0" parTransId="{F105544B-0C5F-408E-8AC9-7389FE346D29}" sibTransId="{9FD0A6A0-474F-43BF-B521-688215FE4BEB}"/>
    <dgm:cxn modelId="{0CC6D887-0C66-4417-B432-A88748D680A1}" srcId="{DA4E76C7-9BF2-4A3D-95E7-FFAF58116247}" destId="{22CA574D-4724-4E29-833A-21E3587EEECA}" srcOrd="1" destOrd="0" parTransId="{9133F7C9-FB27-4A44-8A8F-EF0F9811A19F}" sibTransId="{8B042716-C13C-4152-99DC-49F89C34510E}"/>
    <dgm:cxn modelId="{EC1F0588-C434-43A4-9ACA-F1A22C5D2FC6}" srcId="{93EA0AE0-1F90-466B-BE26-006A11D9CBAF}" destId="{9D811BAB-75B7-4263-BFB4-2C1C7DEA82FB}" srcOrd="5" destOrd="0" parTransId="{6F2E0DF2-B88A-46A5-8B76-138097654E2F}" sibTransId="{01C51189-0E6B-4B00-AFD9-8CD6C2EF8D1B}"/>
    <dgm:cxn modelId="{D639CE88-5036-4C34-BEFF-F95C8E7E607D}" srcId="{93EA0AE0-1F90-466B-BE26-006A11D9CBAF}" destId="{164DF50D-3F95-46D1-B332-73E888496103}" srcOrd="8" destOrd="0" parTransId="{1F2BA92E-9EC6-4679-9009-7ABCF12A1FD3}" sibTransId="{CEFC9D05-A6EA-41B8-820D-AA99872225C6}"/>
    <dgm:cxn modelId="{01C85E89-D15F-4307-AE11-CA68831DFE39}" type="presOf" srcId="{22CA574D-4724-4E29-833A-21E3587EEECA}" destId="{E725C583-0445-4AED-B71E-3FA1C9012BCE}" srcOrd="0" destOrd="1" presId="urn:microsoft.com/office/officeart/2005/8/layout/bList2"/>
    <dgm:cxn modelId="{A2A67189-42C0-4285-A108-EC9C5672664A}" srcId="{93EA0AE0-1F90-466B-BE26-006A11D9CBAF}" destId="{42DB1803-5496-4457-8B2D-223377AE2B41}" srcOrd="11" destOrd="0" parTransId="{A16F4833-920B-4E9B-B604-5DE8519F0ACC}" sibTransId="{D6887AEC-D36B-4580-97AF-CC0CF907CA0A}"/>
    <dgm:cxn modelId="{6FF3AE8A-C908-40A7-9465-F00059CB394A}" srcId="{86F9B9E2-27E0-4487-8DAE-3B8F849ABDD0}" destId="{F5F7329C-182B-409A-B400-5C60D70B46C3}" srcOrd="5" destOrd="0" parTransId="{725621DF-2145-4E25-82F9-C9FFA79E2F57}" sibTransId="{4BEC87E8-6CD7-4CF9-B9FF-D6D8D5DD8658}"/>
    <dgm:cxn modelId="{C7657492-CD97-4807-B337-963173038ADD}" type="presOf" srcId="{09297C34-F114-460B-AF6D-E8908C72EEFC}" destId="{1694BACD-1D0B-45FF-88D2-F8EC105E768D}" srcOrd="0" destOrd="7" presId="urn:microsoft.com/office/officeart/2005/8/layout/bList2"/>
    <dgm:cxn modelId="{4A857898-4AA5-4D4A-8B93-26DBC02514F6}" srcId="{86F9B9E2-27E0-4487-8DAE-3B8F849ABDD0}" destId="{1AB4D965-E79F-4515-AA50-B88C6195392C}" srcOrd="2" destOrd="0" parTransId="{38C33888-344A-4DD0-967E-7844C15F3694}" sibTransId="{D97C14CA-7FDC-46DB-AA51-B55A61468187}"/>
    <dgm:cxn modelId="{B8C00699-D83C-4539-8F5E-89FD99C39FA1}" type="presOf" srcId="{901E94B3-3EEC-40B3-A1CC-7F7D0F73388E}" destId="{DE703D61-2760-4B38-B281-99B1B53A6357}" srcOrd="0" destOrd="6" presId="urn:microsoft.com/office/officeart/2005/8/layout/bList2"/>
    <dgm:cxn modelId="{DDB2609B-6692-437E-8FDA-5D5B81EC5AE4}" type="presOf" srcId="{EB04B6C8-2C30-4F42-9B83-2F9C4684FDCF}" destId="{1694BACD-1D0B-45FF-88D2-F8EC105E768D}" srcOrd="0" destOrd="6" presId="urn:microsoft.com/office/officeart/2005/8/layout/bList2"/>
    <dgm:cxn modelId="{A80501A0-89D5-48BF-BE20-A39851B048E9}" srcId="{A414F13D-7DEF-48F5-B2D0-3D09B718A0E0}" destId="{93EA0AE0-1F90-466B-BE26-006A11D9CBAF}" srcOrd="1" destOrd="0" parTransId="{BCC3FA9C-7B9D-4C0D-8717-2B8F2BD4FF12}" sibTransId="{A9042CD7-318F-402C-9EBF-211CB47702AD}"/>
    <dgm:cxn modelId="{7FCE50A3-0D14-43D4-B107-85A7EBBAD24B}" srcId="{93EA0AE0-1F90-466B-BE26-006A11D9CBAF}" destId="{39E2F55E-F768-46B2-A8C5-D2FF4CB21128}" srcOrd="0" destOrd="0" parTransId="{F1359F78-DF10-45E5-921E-C084D543F662}" sibTransId="{E78E3812-FCBA-42E4-942A-0B2F812BA6AE}"/>
    <dgm:cxn modelId="{95BC84A4-7E16-422C-A100-AB6513F5131B}" type="presOf" srcId="{97809F25-C29A-4A1B-BF53-500703C5D4F6}" destId="{DE703D61-2760-4B38-B281-99B1B53A6357}" srcOrd="0" destOrd="8" presId="urn:microsoft.com/office/officeart/2005/8/layout/bList2"/>
    <dgm:cxn modelId="{8DA5E6AB-22FD-48FD-B2C6-22B2FCCCEA62}" type="presOf" srcId="{39E2F55E-F768-46B2-A8C5-D2FF4CB21128}" destId="{1694BACD-1D0B-45FF-88D2-F8EC105E768D}" srcOrd="0" destOrd="0" presId="urn:microsoft.com/office/officeart/2005/8/layout/bList2"/>
    <dgm:cxn modelId="{AB7242AC-3A0D-484C-8349-3D1333D316E2}" type="presOf" srcId="{164DF50D-3F95-46D1-B332-73E888496103}" destId="{1694BACD-1D0B-45FF-88D2-F8EC105E768D}" srcOrd="0" destOrd="8" presId="urn:microsoft.com/office/officeart/2005/8/layout/bList2"/>
    <dgm:cxn modelId="{06CF5CAD-6DB2-42E3-9B1F-D8EDE7A025EF}" srcId="{86F9B9E2-27E0-4487-8DAE-3B8F849ABDD0}" destId="{97809F25-C29A-4A1B-BF53-500703C5D4F6}" srcOrd="8" destOrd="0" parTransId="{29297354-ABB9-49BA-906B-AD4BAD58D347}" sibTransId="{21CF1413-4ED1-496A-B49C-A768AFB30D12}"/>
    <dgm:cxn modelId="{8003A5AE-D567-4C77-A014-D8E5566CE94C}" srcId="{86F9B9E2-27E0-4487-8DAE-3B8F849ABDD0}" destId="{4FD66759-2749-4DE2-A0CE-B828F1611DCC}" srcOrd="1" destOrd="0" parTransId="{5F16386D-CEF9-42D1-98D4-5844802560D9}" sibTransId="{192E78F0-2D23-455D-9C34-18F76FA389ED}"/>
    <dgm:cxn modelId="{F833EFBF-DFF0-43EB-A9DD-7778F6A6DD42}" srcId="{86F9B9E2-27E0-4487-8DAE-3B8F849ABDD0}" destId="{4E283DC0-1E16-435F-B6DE-23510B592CD0}" srcOrd="0" destOrd="0" parTransId="{50B0012A-C888-420D-BDC6-1534C861EFCC}" sibTransId="{3D0A3B62-9C58-4805-8B31-FE9B87D9326F}"/>
    <dgm:cxn modelId="{DDB4D7C3-3D0E-4DCE-A4C5-093767930C83}" srcId="{86F9B9E2-27E0-4487-8DAE-3B8F849ABDD0}" destId="{B7767B1B-2121-4413-9C3C-60BDE868242F}" srcOrd="3" destOrd="0" parTransId="{BAA8DC63-CE40-408D-86AE-FEEE39D89879}" sibTransId="{29D662CC-9D53-4D91-BBE2-F89EBE21E523}"/>
    <dgm:cxn modelId="{3A6114C4-FCF2-4E6C-9ED9-7D855D833771}" type="presOf" srcId="{FEC068FA-8B4D-44CE-90B0-689EBD26DA6E}" destId="{DE703D61-2760-4B38-B281-99B1B53A6357}" srcOrd="0" destOrd="9" presId="urn:microsoft.com/office/officeart/2005/8/layout/bList2"/>
    <dgm:cxn modelId="{22EC6BCF-D8C7-401F-A467-63DCA2F7299B}" type="presOf" srcId="{A3F9C4A5-D51C-47A6-B824-BF3DA0121EF7}" destId="{1694BACD-1D0B-45FF-88D2-F8EC105E768D}" srcOrd="0" destOrd="9" presId="urn:microsoft.com/office/officeart/2005/8/layout/bList2"/>
    <dgm:cxn modelId="{86DE1AD1-B85C-4753-9C72-216F793AD801}" type="presOf" srcId="{4FD66759-2749-4DE2-A0CE-B828F1611DCC}" destId="{DE703D61-2760-4B38-B281-99B1B53A6357}" srcOrd="0" destOrd="1" presId="urn:microsoft.com/office/officeart/2005/8/layout/bList2"/>
    <dgm:cxn modelId="{A69E4CD6-C56C-4171-84E8-871692BB30CA}" srcId="{A414F13D-7DEF-48F5-B2D0-3D09B718A0E0}" destId="{DA4E76C7-9BF2-4A3D-95E7-FFAF58116247}" srcOrd="0" destOrd="0" parTransId="{116B2AD4-8B98-426C-82F3-4258D28F5DB9}" sibTransId="{9134E1A5-DA6F-4E39-9188-44C180AD7F30}"/>
    <dgm:cxn modelId="{5816F8D6-C791-47C9-A461-B016FCB6531A}" type="presOf" srcId="{86F9B9E2-27E0-4487-8DAE-3B8F849ABDD0}" destId="{0A794BE2-3159-4716-A952-A446C6C5476E}" srcOrd="0" destOrd="0" presId="urn:microsoft.com/office/officeart/2005/8/layout/bList2"/>
    <dgm:cxn modelId="{1C98FBDA-2F68-4CCB-9666-D0212F5335BA}" type="presOf" srcId="{A414F13D-7DEF-48F5-B2D0-3D09B718A0E0}" destId="{A3A7D82E-F5C2-4349-9D23-B6AD1C6925A0}" srcOrd="0" destOrd="0" presId="urn:microsoft.com/office/officeart/2005/8/layout/bList2"/>
    <dgm:cxn modelId="{E7F355E1-5B3B-459F-90A5-A7625C02E30A}" type="presOf" srcId="{4E283DC0-1E16-435F-B6DE-23510B592CD0}" destId="{DE703D61-2760-4B38-B281-99B1B53A6357}" srcOrd="0" destOrd="0" presId="urn:microsoft.com/office/officeart/2005/8/layout/bList2"/>
    <dgm:cxn modelId="{0629E8E2-27A2-4C95-9AB6-F3FCA2EEC8D6}" type="presOf" srcId="{DA4E76C7-9BF2-4A3D-95E7-FFAF58116247}" destId="{076D22B1-A814-494A-BE35-2521DC48495B}" srcOrd="0" destOrd="0" presId="urn:microsoft.com/office/officeart/2005/8/layout/bList2"/>
    <dgm:cxn modelId="{3EEF86E4-A187-46F4-92EA-929BB3F06AF1}" srcId="{86F9B9E2-27E0-4487-8DAE-3B8F849ABDD0}" destId="{3E96236D-9F2D-46A6-80B3-92F96DEAADC1}" srcOrd="7" destOrd="0" parTransId="{CCB7413D-24A0-4C9B-BB3B-BE0832AE5BAC}" sibTransId="{D58DF95F-31E8-43B4-91BB-1DD26ACBFB76}"/>
    <dgm:cxn modelId="{2A892CE7-DB35-45E1-81D9-8A3D1907B44C}" type="presOf" srcId="{93EA0AE0-1F90-466B-BE26-006A11D9CBAF}" destId="{C618CCB6-A667-4A92-8D27-9A906C06FC55}" srcOrd="1" destOrd="0" presId="urn:microsoft.com/office/officeart/2005/8/layout/bList2"/>
    <dgm:cxn modelId="{15F081EE-3618-4541-BCA9-FCBA1130DF81}" type="presOf" srcId="{93EA0AE0-1F90-466B-BE26-006A11D9CBAF}" destId="{F1EF9DBE-1984-443D-9DA2-EB97C50279B6}" srcOrd="0" destOrd="0" presId="urn:microsoft.com/office/officeart/2005/8/layout/bList2"/>
    <dgm:cxn modelId="{C3558FF1-1C87-4D37-8D5C-4A697187BD69}" type="presOf" srcId="{0EA2FE47-2505-49D2-AA31-22F8CC335680}" destId="{E725C583-0445-4AED-B71E-3FA1C9012BCE}" srcOrd="0" destOrd="0" presId="urn:microsoft.com/office/officeart/2005/8/layout/bList2"/>
    <dgm:cxn modelId="{49ADA6F2-7460-4301-AE5F-C4A958144F19}" type="presOf" srcId="{9D811BAB-75B7-4263-BFB4-2C1C7DEA82FB}" destId="{1694BACD-1D0B-45FF-88D2-F8EC105E768D}" srcOrd="0" destOrd="5" presId="urn:microsoft.com/office/officeart/2005/8/layout/bList2"/>
    <dgm:cxn modelId="{237C4FF5-103A-4E8E-BBFD-70A6E7E35084}" type="presOf" srcId="{3E96236D-9F2D-46A6-80B3-92F96DEAADC1}" destId="{DE703D61-2760-4B38-B281-99B1B53A6357}" srcOrd="0" destOrd="7" presId="urn:microsoft.com/office/officeart/2005/8/layout/bList2"/>
    <dgm:cxn modelId="{3AFD76F7-E48B-41B8-9F33-E3B0EC90687B}" type="presOf" srcId="{D5B1253A-61AD-45F8-A695-C1EE205B4EDE}" destId="{1694BACD-1D0B-45FF-88D2-F8EC105E768D}" srcOrd="0" destOrd="3" presId="urn:microsoft.com/office/officeart/2005/8/layout/bList2"/>
    <dgm:cxn modelId="{C7DAE5FB-6B92-48D3-ADAA-5032A2037713}" srcId="{A414F13D-7DEF-48F5-B2D0-3D09B718A0E0}" destId="{86F9B9E2-27E0-4487-8DAE-3B8F849ABDD0}" srcOrd="2" destOrd="0" parTransId="{043A04C9-67AB-4660-A00E-28D8B3AAE0FE}" sibTransId="{3E6957D1-CEB3-44F5-A055-0A7CE623A438}"/>
    <dgm:cxn modelId="{54DAEB19-65A6-4C76-BC19-2E5B2EF03627}" type="presParOf" srcId="{A3A7D82E-F5C2-4349-9D23-B6AD1C6925A0}" destId="{E636C2A4-BB08-4A58-9CAC-681C35E371AB}" srcOrd="0" destOrd="0" presId="urn:microsoft.com/office/officeart/2005/8/layout/bList2"/>
    <dgm:cxn modelId="{F8DCF81B-4BC8-409E-870E-960683B2DDFD}" type="presParOf" srcId="{E636C2A4-BB08-4A58-9CAC-681C35E371AB}" destId="{E725C583-0445-4AED-B71E-3FA1C9012BCE}" srcOrd="0" destOrd="0" presId="urn:microsoft.com/office/officeart/2005/8/layout/bList2"/>
    <dgm:cxn modelId="{307DB35E-4DFB-46C0-8F27-DB86F88291CB}" type="presParOf" srcId="{E636C2A4-BB08-4A58-9CAC-681C35E371AB}" destId="{076D22B1-A814-494A-BE35-2521DC48495B}" srcOrd="1" destOrd="0" presId="urn:microsoft.com/office/officeart/2005/8/layout/bList2"/>
    <dgm:cxn modelId="{5BB7A8ED-FB09-4949-9D28-F32AAC3EA4BB}" type="presParOf" srcId="{E636C2A4-BB08-4A58-9CAC-681C35E371AB}" destId="{C1823FC1-C543-43C0-805A-E2AB05FB4F83}" srcOrd="2" destOrd="0" presId="urn:microsoft.com/office/officeart/2005/8/layout/bList2"/>
    <dgm:cxn modelId="{6FB72024-9313-4EFA-9DDC-5B7CB03310B9}" type="presParOf" srcId="{E636C2A4-BB08-4A58-9CAC-681C35E371AB}" destId="{C2ABD96C-AB47-4413-9EF0-9DD28DF5F752}" srcOrd="3" destOrd="0" presId="urn:microsoft.com/office/officeart/2005/8/layout/bList2"/>
    <dgm:cxn modelId="{293D6681-983A-4DA7-9AE7-080931F18781}" type="presParOf" srcId="{A3A7D82E-F5C2-4349-9D23-B6AD1C6925A0}" destId="{94AAA9DD-3A55-4A25-8100-8C0B2391F946}" srcOrd="1" destOrd="0" presId="urn:microsoft.com/office/officeart/2005/8/layout/bList2"/>
    <dgm:cxn modelId="{CB138E82-0620-425F-AA07-F10B7EE73D9E}" type="presParOf" srcId="{A3A7D82E-F5C2-4349-9D23-B6AD1C6925A0}" destId="{28DF8E04-8486-4AA2-8745-74739EDF45EF}" srcOrd="2" destOrd="0" presId="urn:microsoft.com/office/officeart/2005/8/layout/bList2"/>
    <dgm:cxn modelId="{342E210F-A918-4283-8EB1-34FF0AF7256A}" type="presParOf" srcId="{28DF8E04-8486-4AA2-8745-74739EDF45EF}" destId="{1694BACD-1D0B-45FF-88D2-F8EC105E768D}" srcOrd="0" destOrd="0" presId="urn:microsoft.com/office/officeart/2005/8/layout/bList2"/>
    <dgm:cxn modelId="{2B0571C6-5BEB-4F7D-BAEC-43F1A95278EE}" type="presParOf" srcId="{28DF8E04-8486-4AA2-8745-74739EDF45EF}" destId="{F1EF9DBE-1984-443D-9DA2-EB97C50279B6}" srcOrd="1" destOrd="0" presId="urn:microsoft.com/office/officeart/2005/8/layout/bList2"/>
    <dgm:cxn modelId="{BD544705-10AC-46EC-AC8C-E47357850598}" type="presParOf" srcId="{28DF8E04-8486-4AA2-8745-74739EDF45EF}" destId="{C618CCB6-A667-4A92-8D27-9A906C06FC55}" srcOrd="2" destOrd="0" presId="urn:microsoft.com/office/officeart/2005/8/layout/bList2"/>
    <dgm:cxn modelId="{50136D8C-27F0-4F32-ABCE-5773744EC536}" type="presParOf" srcId="{28DF8E04-8486-4AA2-8745-74739EDF45EF}" destId="{DA9D2D37-5A24-4FE9-8163-27592143BEF7}" srcOrd="3" destOrd="0" presId="urn:microsoft.com/office/officeart/2005/8/layout/bList2"/>
    <dgm:cxn modelId="{18227E49-DC1C-4A1F-BDF3-4A7AAD15F7C0}" type="presParOf" srcId="{A3A7D82E-F5C2-4349-9D23-B6AD1C6925A0}" destId="{FF3632FF-D4C6-46D1-A06F-40AF147F021C}" srcOrd="3" destOrd="0" presId="urn:microsoft.com/office/officeart/2005/8/layout/bList2"/>
    <dgm:cxn modelId="{8DF52DA0-8B7C-4479-872A-0B6AF3A440E2}" type="presParOf" srcId="{A3A7D82E-F5C2-4349-9D23-B6AD1C6925A0}" destId="{3CAC0B6D-7836-4EA5-9A34-BE463A43594C}" srcOrd="4" destOrd="0" presId="urn:microsoft.com/office/officeart/2005/8/layout/bList2"/>
    <dgm:cxn modelId="{F839461A-63AA-40B0-9D85-B712BC64C302}" type="presParOf" srcId="{3CAC0B6D-7836-4EA5-9A34-BE463A43594C}" destId="{DE703D61-2760-4B38-B281-99B1B53A6357}" srcOrd="0" destOrd="0" presId="urn:microsoft.com/office/officeart/2005/8/layout/bList2"/>
    <dgm:cxn modelId="{9CA18B36-DABC-4AE4-8617-D4EDCE92D8A1}" type="presParOf" srcId="{3CAC0B6D-7836-4EA5-9A34-BE463A43594C}" destId="{0A794BE2-3159-4716-A952-A446C6C5476E}" srcOrd="1" destOrd="0" presId="urn:microsoft.com/office/officeart/2005/8/layout/bList2"/>
    <dgm:cxn modelId="{09FA2CD2-1A29-4316-8357-D2C4EBACD73D}" type="presParOf" srcId="{3CAC0B6D-7836-4EA5-9A34-BE463A43594C}" destId="{503CF6A9-FE5D-4456-8B2D-A60656297B43}" srcOrd="2" destOrd="0" presId="urn:microsoft.com/office/officeart/2005/8/layout/bList2"/>
    <dgm:cxn modelId="{297A701E-808D-47CC-8270-1E994EFD1B32}" type="presParOf" srcId="{3CAC0B6D-7836-4EA5-9A34-BE463A43594C}" destId="{8F2323C1-D9F8-44F9-AD00-C6E6476DCF19}"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B77157B-2272-4ED1-A939-128BECE6C83D}" type="doc">
      <dgm:prSet loTypeId="urn:microsoft.com/office/officeart/2005/8/layout/radial3" loCatId="cycle" qsTypeId="urn:microsoft.com/office/officeart/2005/8/quickstyle/simple3" qsCatId="simple" csTypeId="urn:microsoft.com/office/officeart/2005/8/colors/accent1_5" csCatId="accent1" phldr="1"/>
      <dgm:spPr/>
      <dgm:t>
        <a:bodyPr/>
        <a:lstStyle/>
        <a:p>
          <a:endParaRPr lang="es-ES"/>
        </a:p>
      </dgm:t>
    </dgm:pt>
    <dgm:pt modelId="{A8DF8EB7-650D-4D3D-9FC5-3354442131A4}">
      <dgm:prSet phldrT="[Texto]" custT="1"/>
      <dgm:spPr/>
      <dgm:t>
        <a:bodyPr/>
        <a:lstStyle/>
        <a:p>
          <a:r>
            <a:rPr lang="es-ES" sz="1800" dirty="0">
              <a:latin typeface="Avenir LT Std 35 Light" panose="020B0402020203020204" pitchFamily="34" charset="0"/>
              <a:cs typeface="Calibri" panose="020F0502020204030204" pitchFamily="34" charset="0"/>
            </a:rPr>
            <a:t>Liderazgo</a:t>
          </a:r>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50382B2C-6D5E-4636-AC02-4915BA20E5CA}" type="parTrans" cxnId="{DBDF9AAC-8797-49E1-9436-29BA3238DE68}">
      <dgm:prSet/>
      <dgm:spPr/>
      <dgm:t>
        <a:bodyPr/>
        <a:lstStyle/>
        <a:p>
          <a:endParaRPr lang="es-ES" sz="2800">
            <a:latin typeface="Calibri" panose="020F0502020204030204" pitchFamily="34" charset="0"/>
            <a:cs typeface="Calibri" panose="020F0502020204030204" pitchFamily="34" charset="0"/>
          </a:endParaRPr>
        </a:p>
      </dgm:t>
    </dgm:pt>
    <dgm:pt modelId="{B08F0DE6-1419-4B7C-B591-C0CA8F4193F5}" type="sibTrans" cxnId="{DBDF9AAC-8797-49E1-9436-29BA3238DE68}">
      <dgm:prSet/>
      <dgm:spPr/>
      <dgm:t>
        <a:bodyPr/>
        <a:lstStyle/>
        <a:p>
          <a:endParaRPr lang="es-ES" sz="2800" dirty="0">
            <a:latin typeface="Bebas Neue"/>
            <a:cs typeface="Calibri" panose="020F0502020204030204" pitchFamily="34" charset="0"/>
          </a:endParaRPr>
        </a:p>
      </dgm:t>
    </dgm:pt>
    <dgm:pt modelId="{2F418789-A38C-4D4C-8DB4-45C3300946B1}">
      <dgm:prSet phldrT="[Texto]" custT="1"/>
      <dgm:spPr/>
      <dgm:t>
        <a:bodyPr/>
        <a:lstStyle/>
        <a:p>
          <a:r>
            <a:rPr lang="es-ES" sz="1800" dirty="0">
              <a:latin typeface="Avenir LT Std 35 Light" panose="020B0402020203020204" pitchFamily="34" charset="0"/>
              <a:cs typeface="Calibri" panose="020F0502020204030204" pitchFamily="34" charset="0"/>
            </a:rPr>
            <a:t>Operaciones y empleados</a:t>
          </a:r>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2C14ED3D-CA63-4645-BED1-9051E5574CB4}" type="parTrans" cxnId="{F00465A6-1236-4646-8C0D-7AB5BA0D9E30}">
      <dgm:prSet/>
      <dgm:spPr/>
      <dgm:t>
        <a:bodyPr/>
        <a:lstStyle/>
        <a:p>
          <a:endParaRPr lang="es-ES" sz="2800">
            <a:latin typeface="Calibri" panose="020F0502020204030204" pitchFamily="34" charset="0"/>
            <a:cs typeface="Calibri" panose="020F0502020204030204" pitchFamily="34" charset="0"/>
          </a:endParaRPr>
        </a:p>
      </dgm:t>
    </dgm:pt>
    <dgm:pt modelId="{443AABF5-BB14-45C4-8338-D6A4DF2B29C7}" type="sibTrans" cxnId="{F00465A6-1236-4646-8C0D-7AB5BA0D9E30}">
      <dgm:prSet/>
      <dgm:spPr/>
      <dgm:t>
        <a:bodyPr/>
        <a:lstStyle/>
        <a:p>
          <a:endParaRPr lang="es-ES" sz="2800" dirty="0">
            <a:latin typeface="Bebas Neue"/>
            <a:cs typeface="Calibri" panose="020F0502020204030204" pitchFamily="34" charset="0"/>
          </a:endParaRPr>
        </a:p>
      </dgm:t>
    </dgm:pt>
    <dgm:pt modelId="{B454416A-B2C1-43ED-81F5-AE015831B89F}">
      <dgm:prSet phldrT="[Texto]" custT="1"/>
      <dgm:spPr/>
      <dgm:t>
        <a:bodyPr/>
        <a:lstStyle/>
        <a:p>
          <a:r>
            <a:rPr lang="es-ES" sz="1800" dirty="0">
              <a:latin typeface="Avenir LT Std 35 Light" panose="020B0402020203020204" pitchFamily="34" charset="0"/>
              <a:cs typeface="Calibri" panose="020F0502020204030204" pitchFamily="34" charset="0"/>
            </a:rPr>
            <a:t>Tecnología e innovación</a:t>
          </a:r>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B949C62-86C7-4971-81D0-6870CE66E27D}" type="parTrans" cxnId="{EF812659-58AF-4CE7-B472-24319BACAB22}">
      <dgm:prSet/>
      <dgm:spPr/>
      <dgm:t>
        <a:bodyPr/>
        <a:lstStyle/>
        <a:p>
          <a:endParaRPr lang="es-ES" sz="2800">
            <a:latin typeface="Calibri" panose="020F0502020204030204" pitchFamily="34" charset="0"/>
            <a:cs typeface="Calibri" panose="020F0502020204030204" pitchFamily="34" charset="0"/>
          </a:endParaRPr>
        </a:p>
      </dgm:t>
    </dgm:pt>
    <dgm:pt modelId="{2E5B4F3A-62C5-40E7-8A3B-F8820F427899}" type="sibTrans" cxnId="{EF812659-58AF-4CE7-B472-24319BACAB22}">
      <dgm:prSet/>
      <dgm:spPr/>
      <dgm:t>
        <a:bodyPr/>
        <a:lstStyle/>
        <a:p>
          <a:endParaRPr lang="es-ES" sz="2800" dirty="0">
            <a:latin typeface="Bebas Neue"/>
            <a:cs typeface="Calibri" panose="020F0502020204030204" pitchFamily="34" charset="0"/>
          </a:endParaRPr>
        </a:p>
      </dgm:t>
    </dgm:pt>
    <dgm:pt modelId="{6B74E78F-8ADB-4B4E-8A5B-FA4576ED80AB}">
      <dgm:prSet phldrT="[Texto]" custT="1"/>
      <dgm:spPr/>
      <dgm:t>
        <a:bodyPr/>
        <a:lstStyle/>
        <a:p>
          <a:r>
            <a:rPr lang="es-ES" sz="1800" dirty="0">
              <a:latin typeface="Avenir LT Std 35 Light" panose="020B0402020203020204" pitchFamily="34" charset="0"/>
              <a:cs typeface="Calibri" panose="020F0502020204030204" pitchFamily="34" charset="0"/>
            </a:rPr>
            <a:t>Nuevos modelos de negocio</a:t>
          </a:r>
        </a:p>
      </dgm:t>
    </dgm:pt>
    <dgm:pt modelId="{7626DA09-B696-444E-BD1B-4DD9A9BDEEFC}" type="parTrans" cxnId="{43935E78-8647-4569-AB19-C6D06ED32E3C}">
      <dgm:prSet/>
      <dgm:spPr/>
      <dgm:t>
        <a:bodyPr/>
        <a:lstStyle/>
        <a:p>
          <a:endParaRPr lang="es-ES" sz="2800">
            <a:latin typeface="Calibri" panose="020F0502020204030204" pitchFamily="34" charset="0"/>
            <a:cs typeface="Calibri" panose="020F0502020204030204" pitchFamily="34" charset="0"/>
          </a:endParaRPr>
        </a:p>
      </dgm:t>
    </dgm:pt>
    <dgm:pt modelId="{D33CB508-C6DA-4A1A-9B52-90614F9E4C87}" type="sibTrans" cxnId="{43935E78-8647-4569-AB19-C6D06ED32E3C}">
      <dgm:prSet/>
      <dgm:spPr/>
      <dgm:t>
        <a:bodyPr/>
        <a:lstStyle/>
        <a:p>
          <a:endParaRPr lang="es-ES" sz="2800">
            <a:latin typeface="Calibri" panose="020F0502020204030204" pitchFamily="34" charset="0"/>
            <a:cs typeface="Calibri" panose="020F0502020204030204" pitchFamily="34" charset="0"/>
          </a:endParaRPr>
        </a:p>
      </dgm:t>
    </dgm:pt>
    <dgm:pt modelId="{E86AD746-C210-49E2-A98E-9B94868B3841}">
      <dgm:prSet phldrT="[Texto]" custT="1"/>
      <dgm:spPr/>
      <dgm:t>
        <a:bodyPr/>
        <a:lstStyle/>
        <a:p>
          <a:endParaRPr lang="es-ES" sz="4800" dirty="0">
            <a:latin typeface="Avenir LT Std 35 Light" panose="020B0402020203020204" pitchFamily="34" charset="0"/>
            <a:cs typeface="Calibri" panose="020F0502020204030204" pitchFamily="34" charset="0"/>
          </a:endParaRPr>
        </a:p>
        <a:p>
          <a:r>
            <a:rPr lang="es-ES" sz="3600" dirty="0">
              <a:latin typeface="Avenir LT Std 35 Light" panose="020B0402020203020204" pitchFamily="34" charset="0"/>
              <a:cs typeface="Calibri" panose="020F0502020204030204" pitchFamily="34" charset="0"/>
            </a:rPr>
            <a:t>Cliente</a:t>
          </a:r>
        </a:p>
      </dgm:t>
    </dgm:pt>
    <dgm:pt modelId="{12A10613-CED4-4FE0-9E2E-A38982589F03}" type="parTrans" cxnId="{AC6397FD-0E16-4A11-BAA8-54251FCDFF06}">
      <dgm:prSet/>
      <dgm:spPr/>
      <dgm:t>
        <a:bodyPr/>
        <a:lstStyle/>
        <a:p>
          <a:endParaRPr lang="es-ES" sz="2800"/>
        </a:p>
      </dgm:t>
    </dgm:pt>
    <dgm:pt modelId="{2514F71D-D18E-47B3-90C8-B25678BC283F}" type="sibTrans" cxnId="{AC6397FD-0E16-4A11-BAA8-54251FCDFF06}">
      <dgm:prSet/>
      <dgm:spPr/>
      <dgm:t>
        <a:bodyPr/>
        <a:lstStyle/>
        <a:p>
          <a:endParaRPr lang="es-ES" sz="2800"/>
        </a:p>
      </dgm:t>
    </dgm:pt>
    <dgm:pt modelId="{1562D76F-23AB-4CAE-8950-1F77AABA1141}" type="pres">
      <dgm:prSet presAssocID="{2B77157B-2272-4ED1-A939-128BECE6C83D}" presName="composite" presStyleCnt="0">
        <dgm:presLayoutVars>
          <dgm:chMax val="1"/>
          <dgm:dir/>
          <dgm:resizeHandles val="exact"/>
        </dgm:presLayoutVars>
      </dgm:prSet>
      <dgm:spPr/>
    </dgm:pt>
    <dgm:pt modelId="{C163994D-276F-4B6E-BA2A-AE2A7F2C0910}" type="pres">
      <dgm:prSet presAssocID="{2B77157B-2272-4ED1-A939-128BECE6C83D}" presName="radial" presStyleCnt="0">
        <dgm:presLayoutVars>
          <dgm:animLvl val="ctr"/>
        </dgm:presLayoutVars>
      </dgm:prSet>
      <dgm:spPr/>
    </dgm:pt>
    <dgm:pt modelId="{9CB4AE60-DEA0-45AF-A4E7-55828F80C537}" type="pres">
      <dgm:prSet presAssocID="{E86AD746-C210-49E2-A98E-9B94868B3841}" presName="centerShape" presStyleLbl="vennNode1" presStyleIdx="0" presStyleCnt="5"/>
      <dgm:spPr/>
    </dgm:pt>
    <dgm:pt modelId="{AEA4595D-C1A9-434A-864B-A882DBA0BD5F}" type="pres">
      <dgm:prSet presAssocID="{A8DF8EB7-650D-4D3D-9FC5-3354442131A4}" presName="node" presStyleLbl="vennNode1" presStyleIdx="1" presStyleCnt="5" custScaleX="122983" custScaleY="130411">
        <dgm:presLayoutVars>
          <dgm:bulletEnabled val="1"/>
        </dgm:presLayoutVars>
      </dgm:prSet>
      <dgm:spPr/>
    </dgm:pt>
    <dgm:pt modelId="{432F4BCF-9A1C-42BA-9BF2-9623C49EF207}" type="pres">
      <dgm:prSet presAssocID="{2F418789-A38C-4D4C-8DB4-45C3300946B1}" presName="node" presStyleLbl="vennNode1" presStyleIdx="2" presStyleCnt="5" custScaleX="140137" custScaleY="127334">
        <dgm:presLayoutVars>
          <dgm:bulletEnabled val="1"/>
        </dgm:presLayoutVars>
      </dgm:prSet>
      <dgm:spPr/>
    </dgm:pt>
    <dgm:pt modelId="{7762B66C-BE59-44E8-9669-DD25AAE0E9DC}" type="pres">
      <dgm:prSet presAssocID="{B454416A-B2C1-43ED-81F5-AE015831B89F}" presName="node" presStyleLbl="vennNode1" presStyleIdx="3" presStyleCnt="5" custScaleX="135008" custScaleY="119311">
        <dgm:presLayoutVars>
          <dgm:bulletEnabled val="1"/>
        </dgm:presLayoutVars>
      </dgm:prSet>
      <dgm:spPr/>
    </dgm:pt>
    <dgm:pt modelId="{CDB3B3BE-7290-4583-BE39-37E86E87275C}" type="pres">
      <dgm:prSet presAssocID="{6B74E78F-8ADB-4B4E-8A5B-FA4576ED80AB}" presName="node" presStyleLbl="vennNode1" presStyleIdx="4" presStyleCnt="5" custScaleX="152342" custScaleY="135618">
        <dgm:presLayoutVars>
          <dgm:bulletEnabled val="1"/>
        </dgm:presLayoutVars>
      </dgm:prSet>
      <dgm:spPr/>
    </dgm:pt>
  </dgm:ptLst>
  <dgm:cxnLst>
    <dgm:cxn modelId="{B436F502-08BE-40A7-AEA5-38C9E90648CD}" type="presOf" srcId="{6B74E78F-8ADB-4B4E-8A5B-FA4576ED80AB}" destId="{CDB3B3BE-7290-4583-BE39-37E86E87275C}" srcOrd="0" destOrd="0" presId="urn:microsoft.com/office/officeart/2005/8/layout/radial3"/>
    <dgm:cxn modelId="{D2375D74-0265-48D5-B382-B87C64D829EC}" type="presOf" srcId="{B454416A-B2C1-43ED-81F5-AE015831B89F}" destId="{7762B66C-BE59-44E8-9669-DD25AAE0E9DC}" srcOrd="0" destOrd="0" presId="urn:microsoft.com/office/officeart/2005/8/layout/radial3"/>
    <dgm:cxn modelId="{43935E78-8647-4569-AB19-C6D06ED32E3C}" srcId="{E86AD746-C210-49E2-A98E-9B94868B3841}" destId="{6B74E78F-8ADB-4B4E-8A5B-FA4576ED80AB}" srcOrd="3" destOrd="0" parTransId="{7626DA09-B696-444E-BD1B-4DD9A9BDEEFC}" sibTransId="{D33CB508-C6DA-4A1A-9B52-90614F9E4C87}"/>
    <dgm:cxn modelId="{EF812659-58AF-4CE7-B472-24319BACAB22}" srcId="{E86AD746-C210-49E2-A98E-9B94868B3841}" destId="{B454416A-B2C1-43ED-81F5-AE015831B89F}" srcOrd="2" destOrd="0" parTransId="{6B949C62-86C7-4971-81D0-6870CE66E27D}" sibTransId="{2E5B4F3A-62C5-40E7-8A3B-F8820F427899}"/>
    <dgm:cxn modelId="{D896588A-216E-40EB-B98F-CAD64F5C8BC4}" type="presOf" srcId="{E86AD746-C210-49E2-A98E-9B94868B3841}" destId="{9CB4AE60-DEA0-45AF-A4E7-55828F80C537}" srcOrd="0" destOrd="0" presId="urn:microsoft.com/office/officeart/2005/8/layout/radial3"/>
    <dgm:cxn modelId="{F00465A6-1236-4646-8C0D-7AB5BA0D9E30}" srcId="{E86AD746-C210-49E2-A98E-9B94868B3841}" destId="{2F418789-A38C-4D4C-8DB4-45C3300946B1}" srcOrd="1" destOrd="0" parTransId="{2C14ED3D-CA63-4645-BED1-9051E5574CB4}" sibTransId="{443AABF5-BB14-45C4-8338-D6A4DF2B29C7}"/>
    <dgm:cxn modelId="{887C68AC-BB41-4362-ABF9-1B8C19C430F6}" type="presOf" srcId="{2B77157B-2272-4ED1-A939-128BECE6C83D}" destId="{1562D76F-23AB-4CAE-8950-1F77AABA1141}" srcOrd="0" destOrd="0" presId="urn:microsoft.com/office/officeart/2005/8/layout/radial3"/>
    <dgm:cxn modelId="{DBDF9AAC-8797-49E1-9436-29BA3238DE68}" srcId="{E86AD746-C210-49E2-A98E-9B94868B3841}" destId="{A8DF8EB7-650D-4D3D-9FC5-3354442131A4}" srcOrd="0" destOrd="0" parTransId="{50382B2C-6D5E-4636-AC02-4915BA20E5CA}" sibTransId="{B08F0DE6-1419-4B7C-B591-C0CA8F4193F5}"/>
    <dgm:cxn modelId="{9A853FC7-1DD1-4CF6-B8AB-283DDB74603E}" type="presOf" srcId="{A8DF8EB7-650D-4D3D-9FC5-3354442131A4}" destId="{AEA4595D-C1A9-434A-864B-A882DBA0BD5F}" srcOrd="0" destOrd="0" presId="urn:microsoft.com/office/officeart/2005/8/layout/radial3"/>
    <dgm:cxn modelId="{C2D6AAFB-030F-4027-8FB9-C4BD2AA53B56}" type="presOf" srcId="{2F418789-A38C-4D4C-8DB4-45C3300946B1}" destId="{432F4BCF-9A1C-42BA-9BF2-9623C49EF207}" srcOrd="0" destOrd="0" presId="urn:microsoft.com/office/officeart/2005/8/layout/radial3"/>
    <dgm:cxn modelId="{AC6397FD-0E16-4A11-BAA8-54251FCDFF06}" srcId="{2B77157B-2272-4ED1-A939-128BECE6C83D}" destId="{E86AD746-C210-49E2-A98E-9B94868B3841}" srcOrd="0" destOrd="0" parTransId="{12A10613-CED4-4FE0-9E2E-A38982589F03}" sibTransId="{2514F71D-D18E-47B3-90C8-B25678BC283F}"/>
    <dgm:cxn modelId="{374905B1-4400-4C9C-ADD7-9B27E2340A5A}" type="presParOf" srcId="{1562D76F-23AB-4CAE-8950-1F77AABA1141}" destId="{C163994D-276F-4B6E-BA2A-AE2A7F2C0910}" srcOrd="0" destOrd="0" presId="urn:microsoft.com/office/officeart/2005/8/layout/radial3"/>
    <dgm:cxn modelId="{86682216-EF00-4D56-83DB-4576FF172E01}" type="presParOf" srcId="{C163994D-276F-4B6E-BA2A-AE2A7F2C0910}" destId="{9CB4AE60-DEA0-45AF-A4E7-55828F80C537}" srcOrd="0" destOrd="0" presId="urn:microsoft.com/office/officeart/2005/8/layout/radial3"/>
    <dgm:cxn modelId="{CB899EE8-C13F-4032-A272-CEC0DD27B76B}" type="presParOf" srcId="{C163994D-276F-4B6E-BA2A-AE2A7F2C0910}" destId="{AEA4595D-C1A9-434A-864B-A882DBA0BD5F}" srcOrd="1" destOrd="0" presId="urn:microsoft.com/office/officeart/2005/8/layout/radial3"/>
    <dgm:cxn modelId="{EC8D3311-59E5-45EA-B8C4-99D9806BC775}" type="presParOf" srcId="{C163994D-276F-4B6E-BA2A-AE2A7F2C0910}" destId="{432F4BCF-9A1C-42BA-9BF2-9623C49EF207}" srcOrd="2" destOrd="0" presId="urn:microsoft.com/office/officeart/2005/8/layout/radial3"/>
    <dgm:cxn modelId="{A731A12A-3DC3-4AD7-A251-EBD8216C3713}" type="presParOf" srcId="{C163994D-276F-4B6E-BA2A-AE2A7F2C0910}" destId="{7762B66C-BE59-44E8-9669-DD25AAE0E9DC}" srcOrd="3" destOrd="0" presId="urn:microsoft.com/office/officeart/2005/8/layout/radial3"/>
    <dgm:cxn modelId="{4246252A-762A-433E-80FA-FD0806D656E7}" type="presParOf" srcId="{C163994D-276F-4B6E-BA2A-AE2A7F2C0910}" destId="{CDB3B3BE-7290-4583-BE39-37E86E87275C}" srcOrd="4"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D8A4ADEE-1273-4160-8377-AADC47376208}" type="doc">
      <dgm:prSet loTypeId="urn:microsoft.com/office/officeart/2008/layout/NameandTitleOrganizationalChart" loCatId="hierarchy" qsTypeId="urn:microsoft.com/office/officeart/2005/8/quickstyle/simple4" qsCatId="simple" csTypeId="urn:microsoft.com/office/officeart/2005/8/colors/accent1_3" csCatId="accent1" phldr="1"/>
      <dgm:spPr/>
      <dgm:t>
        <a:bodyPr/>
        <a:lstStyle/>
        <a:p>
          <a:endParaRPr lang="es-ES"/>
        </a:p>
      </dgm:t>
    </dgm:pt>
    <dgm:pt modelId="{B985D8B9-956F-4338-BE49-1AA01E37C486}">
      <dgm:prSet phldrT="[Texto]"/>
      <dgm:spPr/>
      <dgm:t>
        <a:bodyPr/>
        <a:lstStyle/>
        <a:p>
          <a:r>
            <a:rPr lang="es-ES" dirty="0"/>
            <a:t>CEO</a:t>
          </a:r>
        </a:p>
      </dgm:t>
    </dgm:pt>
    <dgm:pt modelId="{696F356A-BC19-4126-883B-F072F6F8E624}" type="parTrans" cxnId="{52506609-6562-4122-AB7D-A67238387552}">
      <dgm:prSet/>
      <dgm:spPr/>
      <dgm:t>
        <a:bodyPr/>
        <a:lstStyle/>
        <a:p>
          <a:endParaRPr lang="es-ES"/>
        </a:p>
      </dgm:t>
    </dgm:pt>
    <dgm:pt modelId="{A950D9B0-5ED1-4575-B394-80FBFB8A0F0F}" type="sibTrans" cxnId="{52506609-6562-4122-AB7D-A67238387552}">
      <dgm:prSet/>
      <dgm:spPr/>
      <dgm:t>
        <a:bodyPr/>
        <a:lstStyle/>
        <a:p>
          <a:r>
            <a:rPr lang="es-ES" dirty="0"/>
            <a:t>Máximo ejecutivo</a:t>
          </a:r>
        </a:p>
      </dgm:t>
    </dgm:pt>
    <dgm:pt modelId="{69FC9E51-3602-4906-AF00-D26A8A325C38}">
      <dgm:prSet/>
      <dgm:spPr/>
      <dgm:t>
        <a:bodyPr/>
        <a:lstStyle/>
        <a:p>
          <a:r>
            <a:rPr lang="es-ES" dirty="0"/>
            <a:t>CISO</a:t>
          </a:r>
        </a:p>
      </dgm:t>
    </dgm:pt>
    <dgm:pt modelId="{5AB5CDBA-8AFC-414C-9B82-AA9A86D0B948}" type="parTrans" cxnId="{9A2F33D6-E1A8-4EEF-ADF2-EC4466125B81}">
      <dgm:prSet/>
      <dgm:spPr/>
      <dgm:t>
        <a:bodyPr/>
        <a:lstStyle/>
        <a:p>
          <a:endParaRPr lang="es-ES"/>
        </a:p>
      </dgm:t>
    </dgm:pt>
    <dgm:pt modelId="{5A011732-66CF-4A35-8C09-0E6F2F9D70A0}" type="sibTrans" cxnId="{9A2F33D6-E1A8-4EEF-ADF2-EC4466125B81}">
      <dgm:prSet/>
      <dgm:spPr/>
      <dgm:t>
        <a:bodyPr/>
        <a:lstStyle/>
        <a:p>
          <a:r>
            <a:rPr lang="es-ES" dirty="0"/>
            <a:t>Seguridad</a:t>
          </a:r>
        </a:p>
      </dgm:t>
    </dgm:pt>
    <dgm:pt modelId="{612F2244-FAA5-4400-9EBD-FFA97A00AACE}">
      <dgm:prSet/>
      <dgm:spPr/>
      <dgm:t>
        <a:bodyPr/>
        <a:lstStyle/>
        <a:p>
          <a:r>
            <a:rPr lang="es-ES" dirty="0"/>
            <a:t>DPO</a:t>
          </a:r>
        </a:p>
      </dgm:t>
    </dgm:pt>
    <dgm:pt modelId="{F6FD43EB-8D9D-4C7F-877A-E2A3070AFFF3}" type="parTrans" cxnId="{1DFF549D-D46A-4356-A456-C84A1CCA6C2E}">
      <dgm:prSet/>
      <dgm:spPr/>
      <dgm:t>
        <a:bodyPr/>
        <a:lstStyle/>
        <a:p>
          <a:endParaRPr lang="es-ES"/>
        </a:p>
      </dgm:t>
    </dgm:pt>
    <dgm:pt modelId="{CE8B10C7-D63D-4285-B7DF-EA7319351886}" type="sibTrans" cxnId="{1DFF549D-D46A-4356-A456-C84A1CCA6C2E}">
      <dgm:prSet/>
      <dgm:spPr/>
      <dgm:t>
        <a:bodyPr/>
        <a:lstStyle/>
        <a:p>
          <a:r>
            <a:rPr lang="es-ES" dirty="0"/>
            <a:t>Protección de datos</a:t>
          </a:r>
        </a:p>
      </dgm:t>
    </dgm:pt>
    <dgm:pt modelId="{F195479F-6E18-4EED-AC38-2E4F94BD94D2}">
      <dgm:prSet/>
      <dgm:spPr/>
      <dgm:t>
        <a:bodyPr/>
        <a:lstStyle/>
        <a:p>
          <a:r>
            <a:rPr lang="es-ES" dirty="0"/>
            <a:t>CDO</a:t>
          </a:r>
        </a:p>
      </dgm:t>
    </dgm:pt>
    <dgm:pt modelId="{54CE2DB1-C97C-4A61-AA9A-A355EF78E18E}" type="parTrans" cxnId="{16C9E001-78FD-4E88-B9B2-6A7165D9197E}">
      <dgm:prSet/>
      <dgm:spPr/>
      <dgm:t>
        <a:bodyPr/>
        <a:lstStyle/>
        <a:p>
          <a:endParaRPr lang="es-ES"/>
        </a:p>
      </dgm:t>
    </dgm:pt>
    <dgm:pt modelId="{E09915E2-0BFD-4683-81D3-225D6AB50CAC}" type="sibTrans" cxnId="{16C9E001-78FD-4E88-B9B2-6A7165D9197E}">
      <dgm:prSet/>
      <dgm:spPr/>
      <dgm:t>
        <a:bodyPr/>
        <a:lstStyle/>
        <a:p>
          <a:r>
            <a:rPr lang="es-ES" dirty="0"/>
            <a:t>Analítica de datos</a:t>
          </a:r>
        </a:p>
      </dgm:t>
    </dgm:pt>
    <dgm:pt modelId="{B272F14D-7BA9-4827-B300-667464B34457}">
      <dgm:prSet/>
      <dgm:spPr/>
      <dgm:t>
        <a:bodyPr/>
        <a:lstStyle/>
        <a:p>
          <a:r>
            <a:rPr lang="es-ES" dirty="0"/>
            <a:t>CIO</a:t>
          </a:r>
        </a:p>
      </dgm:t>
    </dgm:pt>
    <dgm:pt modelId="{2AA270B4-A7BA-4762-836B-CAFAD9232F54}" type="parTrans" cxnId="{A7C4A2AD-A62B-4FBB-B67F-DBCE3E41B7A5}">
      <dgm:prSet/>
      <dgm:spPr/>
      <dgm:t>
        <a:bodyPr/>
        <a:lstStyle/>
        <a:p>
          <a:endParaRPr lang="es-ES"/>
        </a:p>
      </dgm:t>
    </dgm:pt>
    <dgm:pt modelId="{B55603BE-0DEF-45C4-9E5C-E970CF1611D3}" type="sibTrans" cxnId="{A7C4A2AD-A62B-4FBB-B67F-DBCE3E41B7A5}">
      <dgm:prSet/>
      <dgm:spPr/>
      <dgm:t>
        <a:bodyPr/>
        <a:lstStyle/>
        <a:p>
          <a:r>
            <a:rPr lang="es-ES" dirty="0"/>
            <a:t>Informatica</a:t>
          </a:r>
        </a:p>
      </dgm:t>
    </dgm:pt>
    <dgm:pt modelId="{2E471681-F0EE-4A50-B51D-0AF2A68046F5}">
      <dgm:prSet/>
      <dgm:spPr/>
      <dgm:t>
        <a:bodyPr/>
        <a:lstStyle/>
        <a:p>
          <a:r>
            <a:rPr lang="es-ES" dirty="0"/>
            <a:t>Internos</a:t>
          </a:r>
        </a:p>
      </dgm:t>
    </dgm:pt>
    <dgm:pt modelId="{C874EA7C-90C3-4DCC-9165-5A75E20E3585}" type="parTrans" cxnId="{8B36B2F5-77C7-4730-B174-9E4B576117D9}">
      <dgm:prSet/>
      <dgm:spPr/>
      <dgm:t>
        <a:bodyPr/>
        <a:lstStyle/>
        <a:p>
          <a:endParaRPr lang="es-ES"/>
        </a:p>
      </dgm:t>
    </dgm:pt>
    <dgm:pt modelId="{49ECC78B-EF91-4561-B938-55D5D8909BEE}" type="sibTrans" cxnId="{8B36B2F5-77C7-4730-B174-9E4B576117D9}">
      <dgm:prSet/>
      <dgm:spPr/>
      <dgm:t>
        <a:bodyPr/>
        <a:lstStyle/>
        <a:p>
          <a:r>
            <a:rPr lang="es-ES" dirty="0"/>
            <a:t>Administración ..</a:t>
          </a:r>
        </a:p>
      </dgm:t>
    </dgm:pt>
    <dgm:pt modelId="{E3E39099-794E-427A-8933-5E2DF8AC41E7}">
      <dgm:prSet/>
      <dgm:spPr/>
      <dgm:t>
        <a:bodyPr/>
        <a:lstStyle/>
        <a:p>
          <a:r>
            <a:rPr lang="es-ES" dirty="0"/>
            <a:t>LOBs</a:t>
          </a:r>
        </a:p>
      </dgm:t>
    </dgm:pt>
    <dgm:pt modelId="{56B0FE02-2F80-44D3-B623-4F941EBA0A10}" type="parTrans" cxnId="{3FCAEFD2-EDB7-45CA-9592-996217C77599}">
      <dgm:prSet/>
      <dgm:spPr/>
      <dgm:t>
        <a:bodyPr/>
        <a:lstStyle/>
        <a:p>
          <a:endParaRPr lang="es-ES"/>
        </a:p>
      </dgm:t>
    </dgm:pt>
    <dgm:pt modelId="{95823AAC-3558-4A45-9147-8F9BD66C341C}" type="sibTrans" cxnId="{3FCAEFD2-EDB7-45CA-9592-996217C77599}">
      <dgm:prSet/>
      <dgm:spPr/>
      <dgm:t>
        <a:bodyPr/>
        <a:lstStyle/>
        <a:p>
          <a:r>
            <a:rPr lang="es-ES" dirty="0"/>
            <a:t>Negocio</a:t>
          </a:r>
        </a:p>
      </dgm:t>
    </dgm:pt>
    <dgm:pt modelId="{122E3EAC-1C79-4427-B32D-51A34D24B8F2}" type="pres">
      <dgm:prSet presAssocID="{D8A4ADEE-1273-4160-8377-AADC47376208}" presName="hierChild1" presStyleCnt="0">
        <dgm:presLayoutVars>
          <dgm:orgChart val="1"/>
          <dgm:chPref val="1"/>
          <dgm:dir/>
          <dgm:animOne val="branch"/>
          <dgm:animLvl val="lvl"/>
          <dgm:resizeHandles/>
        </dgm:presLayoutVars>
      </dgm:prSet>
      <dgm:spPr/>
    </dgm:pt>
    <dgm:pt modelId="{B39013FB-640B-4ECE-B2B8-8D3DAD4956BF}" type="pres">
      <dgm:prSet presAssocID="{B985D8B9-956F-4338-BE49-1AA01E37C486}" presName="hierRoot1" presStyleCnt="0">
        <dgm:presLayoutVars>
          <dgm:hierBranch val="init"/>
        </dgm:presLayoutVars>
      </dgm:prSet>
      <dgm:spPr/>
    </dgm:pt>
    <dgm:pt modelId="{7F61C37D-E957-473F-A5F9-17E4EAA88615}" type="pres">
      <dgm:prSet presAssocID="{B985D8B9-956F-4338-BE49-1AA01E37C486}" presName="rootComposite1" presStyleCnt="0"/>
      <dgm:spPr/>
    </dgm:pt>
    <dgm:pt modelId="{7685C86F-B238-475B-B0F2-878E295ECD14}" type="pres">
      <dgm:prSet presAssocID="{B985D8B9-956F-4338-BE49-1AA01E37C486}" presName="rootText1" presStyleLbl="node0" presStyleIdx="0" presStyleCnt="1">
        <dgm:presLayoutVars>
          <dgm:chMax/>
          <dgm:chPref val="3"/>
        </dgm:presLayoutVars>
      </dgm:prSet>
      <dgm:spPr/>
    </dgm:pt>
    <dgm:pt modelId="{BAEB1226-A3C3-4965-A9AA-3C4194E246D1}" type="pres">
      <dgm:prSet presAssocID="{B985D8B9-956F-4338-BE49-1AA01E37C486}" presName="titleText1" presStyleLbl="fgAcc0" presStyleIdx="0" presStyleCnt="1">
        <dgm:presLayoutVars>
          <dgm:chMax val="0"/>
          <dgm:chPref val="0"/>
        </dgm:presLayoutVars>
      </dgm:prSet>
      <dgm:spPr/>
    </dgm:pt>
    <dgm:pt modelId="{A5E78A43-37BD-4018-A27A-EFE6E8A8D744}" type="pres">
      <dgm:prSet presAssocID="{B985D8B9-956F-4338-BE49-1AA01E37C486}" presName="rootConnector1" presStyleLbl="node1" presStyleIdx="0" presStyleCnt="6"/>
      <dgm:spPr/>
    </dgm:pt>
    <dgm:pt modelId="{5C8C413F-FA8D-4424-8A5F-A5F03CD25AC2}" type="pres">
      <dgm:prSet presAssocID="{B985D8B9-956F-4338-BE49-1AA01E37C486}" presName="hierChild2" presStyleCnt="0"/>
      <dgm:spPr/>
    </dgm:pt>
    <dgm:pt modelId="{D67506DC-6F4F-4C09-AE76-0A10BD4F6808}" type="pres">
      <dgm:prSet presAssocID="{5AB5CDBA-8AFC-414C-9B82-AA9A86D0B948}" presName="Name37" presStyleLbl="parChTrans1D2" presStyleIdx="0" presStyleCnt="6"/>
      <dgm:spPr/>
    </dgm:pt>
    <dgm:pt modelId="{CD35518F-740E-490D-AE47-3AFCCC17050E}" type="pres">
      <dgm:prSet presAssocID="{69FC9E51-3602-4906-AF00-D26A8A325C38}" presName="hierRoot2" presStyleCnt="0">
        <dgm:presLayoutVars>
          <dgm:hierBranch val="init"/>
        </dgm:presLayoutVars>
      </dgm:prSet>
      <dgm:spPr/>
    </dgm:pt>
    <dgm:pt modelId="{E29BAD61-F1BB-47FF-A890-A451A6DF1CD8}" type="pres">
      <dgm:prSet presAssocID="{69FC9E51-3602-4906-AF00-D26A8A325C38}" presName="rootComposite" presStyleCnt="0"/>
      <dgm:spPr/>
    </dgm:pt>
    <dgm:pt modelId="{E705A3A4-03A9-42E2-B4EB-0798849237EC}" type="pres">
      <dgm:prSet presAssocID="{69FC9E51-3602-4906-AF00-D26A8A325C38}" presName="rootText" presStyleLbl="node1" presStyleIdx="0" presStyleCnt="6">
        <dgm:presLayoutVars>
          <dgm:chMax/>
          <dgm:chPref val="3"/>
        </dgm:presLayoutVars>
      </dgm:prSet>
      <dgm:spPr/>
    </dgm:pt>
    <dgm:pt modelId="{0DF39C6C-BFCB-4420-A61D-0F141A086E4E}" type="pres">
      <dgm:prSet presAssocID="{69FC9E51-3602-4906-AF00-D26A8A325C38}" presName="titleText2" presStyleLbl="fgAcc1" presStyleIdx="0" presStyleCnt="6">
        <dgm:presLayoutVars>
          <dgm:chMax val="0"/>
          <dgm:chPref val="0"/>
        </dgm:presLayoutVars>
      </dgm:prSet>
      <dgm:spPr/>
    </dgm:pt>
    <dgm:pt modelId="{F44F5FF8-4D1B-4D05-9F7F-954EBA3A5398}" type="pres">
      <dgm:prSet presAssocID="{69FC9E51-3602-4906-AF00-D26A8A325C38}" presName="rootConnector" presStyleLbl="node2" presStyleIdx="0" presStyleCnt="0"/>
      <dgm:spPr/>
    </dgm:pt>
    <dgm:pt modelId="{32DBCD59-BA57-4C06-BA96-6EFAC29F20AF}" type="pres">
      <dgm:prSet presAssocID="{69FC9E51-3602-4906-AF00-D26A8A325C38}" presName="hierChild4" presStyleCnt="0"/>
      <dgm:spPr/>
    </dgm:pt>
    <dgm:pt modelId="{618D9F1F-84A2-4AA8-A581-07A92F47A848}" type="pres">
      <dgm:prSet presAssocID="{69FC9E51-3602-4906-AF00-D26A8A325C38}" presName="hierChild5" presStyleCnt="0"/>
      <dgm:spPr/>
    </dgm:pt>
    <dgm:pt modelId="{F466ED7F-19F6-4FCD-B065-B993000FCDA2}" type="pres">
      <dgm:prSet presAssocID="{F6FD43EB-8D9D-4C7F-877A-E2A3070AFFF3}" presName="Name37" presStyleLbl="parChTrans1D2" presStyleIdx="1" presStyleCnt="6"/>
      <dgm:spPr/>
    </dgm:pt>
    <dgm:pt modelId="{DA5A0A10-68C6-47D5-A01E-0B051C40012F}" type="pres">
      <dgm:prSet presAssocID="{612F2244-FAA5-4400-9EBD-FFA97A00AACE}" presName="hierRoot2" presStyleCnt="0">
        <dgm:presLayoutVars>
          <dgm:hierBranch val="init"/>
        </dgm:presLayoutVars>
      </dgm:prSet>
      <dgm:spPr/>
    </dgm:pt>
    <dgm:pt modelId="{3E3E7821-E6E6-41B5-869E-C0C11EB602B0}" type="pres">
      <dgm:prSet presAssocID="{612F2244-FAA5-4400-9EBD-FFA97A00AACE}" presName="rootComposite" presStyleCnt="0"/>
      <dgm:spPr/>
    </dgm:pt>
    <dgm:pt modelId="{FE86EFFD-AFB1-4F2E-8550-B1DE83DD53E8}" type="pres">
      <dgm:prSet presAssocID="{612F2244-FAA5-4400-9EBD-FFA97A00AACE}" presName="rootText" presStyleLbl="node1" presStyleIdx="1" presStyleCnt="6">
        <dgm:presLayoutVars>
          <dgm:chMax/>
          <dgm:chPref val="3"/>
        </dgm:presLayoutVars>
      </dgm:prSet>
      <dgm:spPr/>
    </dgm:pt>
    <dgm:pt modelId="{64DE486D-CC79-4693-9660-D4827AE3A75D}" type="pres">
      <dgm:prSet presAssocID="{612F2244-FAA5-4400-9EBD-FFA97A00AACE}" presName="titleText2" presStyleLbl="fgAcc1" presStyleIdx="1" presStyleCnt="6">
        <dgm:presLayoutVars>
          <dgm:chMax val="0"/>
          <dgm:chPref val="0"/>
        </dgm:presLayoutVars>
      </dgm:prSet>
      <dgm:spPr/>
    </dgm:pt>
    <dgm:pt modelId="{903D0F60-431E-4905-8090-5E761378EA69}" type="pres">
      <dgm:prSet presAssocID="{612F2244-FAA5-4400-9EBD-FFA97A00AACE}" presName="rootConnector" presStyleLbl="node2" presStyleIdx="0" presStyleCnt="0"/>
      <dgm:spPr/>
    </dgm:pt>
    <dgm:pt modelId="{5156C8D3-87AC-49EF-B708-8EF509DB0382}" type="pres">
      <dgm:prSet presAssocID="{612F2244-FAA5-4400-9EBD-FFA97A00AACE}" presName="hierChild4" presStyleCnt="0"/>
      <dgm:spPr/>
    </dgm:pt>
    <dgm:pt modelId="{4D9E1564-2408-41FA-984D-AD5AADA5128C}" type="pres">
      <dgm:prSet presAssocID="{612F2244-FAA5-4400-9EBD-FFA97A00AACE}" presName="hierChild5" presStyleCnt="0"/>
      <dgm:spPr/>
    </dgm:pt>
    <dgm:pt modelId="{388D9540-A1E7-4D0E-8ACF-8506F1210DBA}" type="pres">
      <dgm:prSet presAssocID="{54CE2DB1-C97C-4A61-AA9A-A355EF78E18E}" presName="Name37" presStyleLbl="parChTrans1D2" presStyleIdx="2" presStyleCnt="6"/>
      <dgm:spPr/>
    </dgm:pt>
    <dgm:pt modelId="{77E882AD-6FBF-4B5B-9F39-A1410E72B2B5}" type="pres">
      <dgm:prSet presAssocID="{F195479F-6E18-4EED-AC38-2E4F94BD94D2}" presName="hierRoot2" presStyleCnt="0">
        <dgm:presLayoutVars>
          <dgm:hierBranch val="init"/>
        </dgm:presLayoutVars>
      </dgm:prSet>
      <dgm:spPr/>
    </dgm:pt>
    <dgm:pt modelId="{B183439B-5AF9-4159-A153-DE90045D05BA}" type="pres">
      <dgm:prSet presAssocID="{F195479F-6E18-4EED-AC38-2E4F94BD94D2}" presName="rootComposite" presStyleCnt="0"/>
      <dgm:spPr/>
    </dgm:pt>
    <dgm:pt modelId="{1ECBFBB9-C773-4B56-960C-3A52DE0C212C}" type="pres">
      <dgm:prSet presAssocID="{F195479F-6E18-4EED-AC38-2E4F94BD94D2}" presName="rootText" presStyleLbl="node1" presStyleIdx="2" presStyleCnt="6">
        <dgm:presLayoutVars>
          <dgm:chMax/>
          <dgm:chPref val="3"/>
        </dgm:presLayoutVars>
      </dgm:prSet>
      <dgm:spPr/>
    </dgm:pt>
    <dgm:pt modelId="{5DABB6CB-32D4-447B-979F-E27D5E30996B}" type="pres">
      <dgm:prSet presAssocID="{F195479F-6E18-4EED-AC38-2E4F94BD94D2}" presName="titleText2" presStyleLbl="fgAcc1" presStyleIdx="2" presStyleCnt="6">
        <dgm:presLayoutVars>
          <dgm:chMax val="0"/>
          <dgm:chPref val="0"/>
        </dgm:presLayoutVars>
      </dgm:prSet>
      <dgm:spPr/>
    </dgm:pt>
    <dgm:pt modelId="{D7DD7E39-2029-4C97-A4AC-D99F445F34D5}" type="pres">
      <dgm:prSet presAssocID="{F195479F-6E18-4EED-AC38-2E4F94BD94D2}" presName="rootConnector" presStyleLbl="node2" presStyleIdx="0" presStyleCnt="0"/>
      <dgm:spPr/>
    </dgm:pt>
    <dgm:pt modelId="{FE11131C-41F3-49B6-A8B8-1BD270F8AD30}" type="pres">
      <dgm:prSet presAssocID="{F195479F-6E18-4EED-AC38-2E4F94BD94D2}" presName="hierChild4" presStyleCnt="0"/>
      <dgm:spPr/>
    </dgm:pt>
    <dgm:pt modelId="{80B00BC3-B6CC-4F0A-9B66-BA6AA41CD3A5}" type="pres">
      <dgm:prSet presAssocID="{F195479F-6E18-4EED-AC38-2E4F94BD94D2}" presName="hierChild5" presStyleCnt="0"/>
      <dgm:spPr/>
    </dgm:pt>
    <dgm:pt modelId="{D2AA0B85-B7F8-4B62-9646-E21D61005D17}" type="pres">
      <dgm:prSet presAssocID="{2AA270B4-A7BA-4762-836B-CAFAD9232F54}" presName="Name37" presStyleLbl="parChTrans1D2" presStyleIdx="3" presStyleCnt="6"/>
      <dgm:spPr/>
    </dgm:pt>
    <dgm:pt modelId="{B26ED889-9A8A-43F5-B506-2FA6CE75F973}" type="pres">
      <dgm:prSet presAssocID="{B272F14D-7BA9-4827-B300-667464B34457}" presName="hierRoot2" presStyleCnt="0">
        <dgm:presLayoutVars>
          <dgm:hierBranch val="init"/>
        </dgm:presLayoutVars>
      </dgm:prSet>
      <dgm:spPr/>
    </dgm:pt>
    <dgm:pt modelId="{5FFAC965-2A61-4C88-91A1-DABD4D9658C1}" type="pres">
      <dgm:prSet presAssocID="{B272F14D-7BA9-4827-B300-667464B34457}" presName="rootComposite" presStyleCnt="0"/>
      <dgm:spPr/>
    </dgm:pt>
    <dgm:pt modelId="{5ED40EED-F8CF-4D09-962A-A69AB186BD35}" type="pres">
      <dgm:prSet presAssocID="{B272F14D-7BA9-4827-B300-667464B34457}" presName="rootText" presStyleLbl="node1" presStyleIdx="3" presStyleCnt="6">
        <dgm:presLayoutVars>
          <dgm:chMax/>
          <dgm:chPref val="3"/>
        </dgm:presLayoutVars>
      </dgm:prSet>
      <dgm:spPr/>
    </dgm:pt>
    <dgm:pt modelId="{3E6F8858-046C-404B-B541-3A0250B09945}" type="pres">
      <dgm:prSet presAssocID="{B272F14D-7BA9-4827-B300-667464B34457}" presName="titleText2" presStyleLbl="fgAcc1" presStyleIdx="3" presStyleCnt="6">
        <dgm:presLayoutVars>
          <dgm:chMax val="0"/>
          <dgm:chPref val="0"/>
        </dgm:presLayoutVars>
      </dgm:prSet>
      <dgm:spPr/>
    </dgm:pt>
    <dgm:pt modelId="{D89C3249-E1FB-46C3-B80E-1FDD0D4C827A}" type="pres">
      <dgm:prSet presAssocID="{B272F14D-7BA9-4827-B300-667464B34457}" presName="rootConnector" presStyleLbl="node2" presStyleIdx="0" presStyleCnt="0"/>
      <dgm:spPr/>
    </dgm:pt>
    <dgm:pt modelId="{853A677C-D18B-47DD-816C-ED38C280E3F1}" type="pres">
      <dgm:prSet presAssocID="{B272F14D-7BA9-4827-B300-667464B34457}" presName="hierChild4" presStyleCnt="0"/>
      <dgm:spPr/>
    </dgm:pt>
    <dgm:pt modelId="{F4D2879E-D580-4404-9274-F60152FC3C15}" type="pres">
      <dgm:prSet presAssocID="{B272F14D-7BA9-4827-B300-667464B34457}" presName="hierChild5" presStyleCnt="0"/>
      <dgm:spPr/>
    </dgm:pt>
    <dgm:pt modelId="{37C3E757-B9B4-4150-B6F9-4438D6DCE42B}" type="pres">
      <dgm:prSet presAssocID="{C874EA7C-90C3-4DCC-9165-5A75E20E3585}" presName="Name37" presStyleLbl="parChTrans1D2" presStyleIdx="4" presStyleCnt="6"/>
      <dgm:spPr/>
    </dgm:pt>
    <dgm:pt modelId="{D79D70AF-C6A6-4382-A6AD-582522CA4581}" type="pres">
      <dgm:prSet presAssocID="{2E471681-F0EE-4A50-B51D-0AF2A68046F5}" presName="hierRoot2" presStyleCnt="0">
        <dgm:presLayoutVars>
          <dgm:hierBranch val="init"/>
        </dgm:presLayoutVars>
      </dgm:prSet>
      <dgm:spPr/>
    </dgm:pt>
    <dgm:pt modelId="{A45BC52C-BC3C-4C85-B3C1-D7F813638A5E}" type="pres">
      <dgm:prSet presAssocID="{2E471681-F0EE-4A50-B51D-0AF2A68046F5}" presName="rootComposite" presStyleCnt="0"/>
      <dgm:spPr/>
    </dgm:pt>
    <dgm:pt modelId="{DC518E41-C1F8-47A0-80F0-090F10C01504}" type="pres">
      <dgm:prSet presAssocID="{2E471681-F0EE-4A50-B51D-0AF2A68046F5}" presName="rootText" presStyleLbl="node1" presStyleIdx="4" presStyleCnt="6">
        <dgm:presLayoutVars>
          <dgm:chMax/>
          <dgm:chPref val="3"/>
        </dgm:presLayoutVars>
      </dgm:prSet>
      <dgm:spPr/>
    </dgm:pt>
    <dgm:pt modelId="{20C552BB-07FE-49C2-A535-C71B3BC74E51}" type="pres">
      <dgm:prSet presAssocID="{2E471681-F0EE-4A50-B51D-0AF2A68046F5}" presName="titleText2" presStyleLbl="fgAcc1" presStyleIdx="4" presStyleCnt="6">
        <dgm:presLayoutVars>
          <dgm:chMax val="0"/>
          <dgm:chPref val="0"/>
        </dgm:presLayoutVars>
      </dgm:prSet>
      <dgm:spPr/>
    </dgm:pt>
    <dgm:pt modelId="{E9502945-8C0C-4860-ABF6-9BF8C2B003A7}" type="pres">
      <dgm:prSet presAssocID="{2E471681-F0EE-4A50-B51D-0AF2A68046F5}" presName="rootConnector" presStyleLbl="node2" presStyleIdx="0" presStyleCnt="0"/>
      <dgm:spPr/>
    </dgm:pt>
    <dgm:pt modelId="{B87E683B-7642-49B6-8253-6AB09360AD12}" type="pres">
      <dgm:prSet presAssocID="{2E471681-F0EE-4A50-B51D-0AF2A68046F5}" presName="hierChild4" presStyleCnt="0"/>
      <dgm:spPr/>
    </dgm:pt>
    <dgm:pt modelId="{E02B51CF-77AD-4F58-A281-D0839FD04B4B}" type="pres">
      <dgm:prSet presAssocID="{2E471681-F0EE-4A50-B51D-0AF2A68046F5}" presName="hierChild5" presStyleCnt="0"/>
      <dgm:spPr/>
    </dgm:pt>
    <dgm:pt modelId="{DB78BEB2-DDBD-41E5-BCC2-6A3C156F5D7E}" type="pres">
      <dgm:prSet presAssocID="{56B0FE02-2F80-44D3-B623-4F941EBA0A10}" presName="Name37" presStyleLbl="parChTrans1D2" presStyleIdx="5" presStyleCnt="6"/>
      <dgm:spPr/>
    </dgm:pt>
    <dgm:pt modelId="{DFB16602-F8C4-4C22-B600-AF038AF48D9F}" type="pres">
      <dgm:prSet presAssocID="{E3E39099-794E-427A-8933-5E2DF8AC41E7}" presName="hierRoot2" presStyleCnt="0">
        <dgm:presLayoutVars>
          <dgm:hierBranch val="init"/>
        </dgm:presLayoutVars>
      </dgm:prSet>
      <dgm:spPr/>
    </dgm:pt>
    <dgm:pt modelId="{3CEC6871-159E-4B00-8F14-A2A5123E6DA8}" type="pres">
      <dgm:prSet presAssocID="{E3E39099-794E-427A-8933-5E2DF8AC41E7}" presName="rootComposite" presStyleCnt="0"/>
      <dgm:spPr/>
    </dgm:pt>
    <dgm:pt modelId="{7553ED62-BA64-49C4-98C8-86BF961BD836}" type="pres">
      <dgm:prSet presAssocID="{E3E39099-794E-427A-8933-5E2DF8AC41E7}" presName="rootText" presStyleLbl="node1" presStyleIdx="5" presStyleCnt="6">
        <dgm:presLayoutVars>
          <dgm:chMax/>
          <dgm:chPref val="3"/>
        </dgm:presLayoutVars>
      </dgm:prSet>
      <dgm:spPr/>
    </dgm:pt>
    <dgm:pt modelId="{A8D2D98B-ECB5-48CA-964F-C8B61D07A143}" type="pres">
      <dgm:prSet presAssocID="{E3E39099-794E-427A-8933-5E2DF8AC41E7}" presName="titleText2" presStyleLbl="fgAcc1" presStyleIdx="5" presStyleCnt="6">
        <dgm:presLayoutVars>
          <dgm:chMax val="0"/>
          <dgm:chPref val="0"/>
        </dgm:presLayoutVars>
      </dgm:prSet>
      <dgm:spPr/>
    </dgm:pt>
    <dgm:pt modelId="{F17224D9-6D67-4900-B167-F77059290B93}" type="pres">
      <dgm:prSet presAssocID="{E3E39099-794E-427A-8933-5E2DF8AC41E7}" presName="rootConnector" presStyleLbl="node2" presStyleIdx="0" presStyleCnt="0"/>
      <dgm:spPr/>
    </dgm:pt>
    <dgm:pt modelId="{BB3B3FAD-5522-4CD0-8778-6066AD425ED1}" type="pres">
      <dgm:prSet presAssocID="{E3E39099-794E-427A-8933-5E2DF8AC41E7}" presName="hierChild4" presStyleCnt="0"/>
      <dgm:spPr/>
    </dgm:pt>
    <dgm:pt modelId="{CDA057E9-CA66-4B0D-8E52-212968268052}" type="pres">
      <dgm:prSet presAssocID="{E3E39099-794E-427A-8933-5E2DF8AC41E7}" presName="hierChild5" presStyleCnt="0"/>
      <dgm:spPr/>
    </dgm:pt>
    <dgm:pt modelId="{5867D84E-A7EE-444B-AD95-36FD48F81E9D}" type="pres">
      <dgm:prSet presAssocID="{B985D8B9-956F-4338-BE49-1AA01E37C486}" presName="hierChild3" presStyleCnt="0"/>
      <dgm:spPr/>
    </dgm:pt>
  </dgm:ptLst>
  <dgm:cxnLst>
    <dgm:cxn modelId="{16C9E001-78FD-4E88-B9B2-6A7165D9197E}" srcId="{B985D8B9-956F-4338-BE49-1AA01E37C486}" destId="{F195479F-6E18-4EED-AC38-2E4F94BD94D2}" srcOrd="2" destOrd="0" parTransId="{54CE2DB1-C97C-4A61-AA9A-A355EF78E18E}" sibTransId="{E09915E2-0BFD-4683-81D3-225D6AB50CAC}"/>
    <dgm:cxn modelId="{AB313304-590D-4866-9F5E-19459BF54956}" type="presOf" srcId="{B55603BE-0DEF-45C4-9E5C-E970CF1611D3}" destId="{3E6F8858-046C-404B-B541-3A0250B09945}" srcOrd="0" destOrd="0" presId="urn:microsoft.com/office/officeart/2008/layout/NameandTitleOrganizationalChart"/>
    <dgm:cxn modelId="{52506609-6562-4122-AB7D-A67238387552}" srcId="{D8A4ADEE-1273-4160-8377-AADC47376208}" destId="{B985D8B9-956F-4338-BE49-1AA01E37C486}" srcOrd="0" destOrd="0" parTransId="{696F356A-BC19-4126-883B-F072F6F8E624}" sibTransId="{A950D9B0-5ED1-4575-B394-80FBFB8A0F0F}"/>
    <dgm:cxn modelId="{468C8D0F-E32B-4E04-B322-FE32B4C68889}" type="presOf" srcId="{E3E39099-794E-427A-8933-5E2DF8AC41E7}" destId="{7553ED62-BA64-49C4-98C8-86BF961BD836}" srcOrd="0" destOrd="0" presId="urn:microsoft.com/office/officeart/2008/layout/NameandTitleOrganizationalChart"/>
    <dgm:cxn modelId="{68BFB310-6CF5-43F1-9ED7-6A816D67635D}" type="presOf" srcId="{F195479F-6E18-4EED-AC38-2E4F94BD94D2}" destId="{1ECBFBB9-C773-4B56-960C-3A52DE0C212C}" srcOrd="0" destOrd="0" presId="urn:microsoft.com/office/officeart/2008/layout/NameandTitleOrganizationalChart"/>
    <dgm:cxn modelId="{DC08DA12-D2C2-4690-93FC-449BE32BAF27}" type="presOf" srcId="{B985D8B9-956F-4338-BE49-1AA01E37C486}" destId="{7685C86F-B238-475B-B0F2-878E295ECD14}" srcOrd="0" destOrd="0" presId="urn:microsoft.com/office/officeart/2008/layout/NameandTitleOrganizationalChart"/>
    <dgm:cxn modelId="{933C3D1A-51A6-4203-8E5A-CE6B505F7626}" type="presOf" srcId="{F6FD43EB-8D9D-4C7F-877A-E2A3070AFFF3}" destId="{F466ED7F-19F6-4FCD-B065-B993000FCDA2}" srcOrd="0" destOrd="0" presId="urn:microsoft.com/office/officeart/2008/layout/NameandTitleOrganizationalChart"/>
    <dgm:cxn modelId="{96BEF41E-ECCD-4D27-BF8F-4043708C4363}" type="presOf" srcId="{B272F14D-7BA9-4827-B300-667464B34457}" destId="{5ED40EED-F8CF-4D09-962A-A69AB186BD35}" srcOrd="0" destOrd="0" presId="urn:microsoft.com/office/officeart/2008/layout/NameandTitleOrganizationalChart"/>
    <dgm:cxn modelId="{4508B923-B2B1-4F36-8169-004EDFB8FF30}" type="presOf" srcId="{CE8B10C7-D63D-4285-B7DF-EA7319351886}" destId="{64DE486D-CC79-4693-9660-D4827AE3A75D}" srcOrd="0" destOrd="0" presId="urn:microsoft.com/office/officeart/2008/layout/NameandTitleOrganizationalChart"/>
    <dgm:cxn modelId="{DA61F735-5D85-4DEC-80F1-FA917EB60326}" type="presOf" srcId="{E09915E2-0BFD-4683-81D3-225D6AB50CAC}" destId="{5DABB6CB-32D4-447B-979F-E27D5E30996B}" srcOrd="0" destOrd="0" presId="urn:microsoft.com/office/officeart/2008/layout/NameandTitleOrganizationalChart"/>
    <dgm:cxn modelId="{3F066236-79E4-4657-B876-3AE01FABEDB0}" type="presOf" srcId="{E3E39099-794E-427A-8933-5E2DF8AC41E7}" destId="{F17224D9-6D67-4900-B167-F77059290B93}" srcOrd="1" destOrd="0" presId="urn:microsoft.com/office/officeart/2008/layout/NameandTitleOrganizationalChart"/>
    <dgm:cxn modelId="{17B4C85F-A222-4A0C-9DD2-47CBD54E7BCC}" type="presOf" srcId="{B985D8B9-956F-4338-BE49-1AA01E37C486}" destId="{A5E78A43-37BD-4018-A27A-EFE6E8A8D744}" srcOrd="1" destOrd="0" presId="urn:microsoft.com/office/officeart/2008/layout/NameandTitleOrganizationalChart"/>
    <dgm:cxn modelId="{DF1B0D64-F927-4787-AFC6-8BCEAC70E95D}" type="presOf" srcId="{C874EA7C-90C3-4DCC-9165-5A75E20E3585}" destId="{37C3E757-B9B4-4150-B6F9-4438D6DCE42B}" srcOrd="0" destOrd="0" presId="urn:microsoft.com/office/officeart/2008/layout/NameandTitleOrganizationalChart"/>
    <dgm:cxn modelId="{57819548-4770-4EAA-8909-FF4076DC2D0F}" type="presOf" srcId="{54CE2DB1-C97C-4A61-AA9A-A355EF78E18E}" destId="{388D9540-A1E7-4D0E-8ACF-8506F1210DBA}" srcOrd="0" destOrd="0" presId="urn:microsoft.com/office/officeart/2008/layout/NameandTitleOrganizationalChart"/>
    <dgm:cxn modelId="{A55C1C4A-64AF-4879-9424-538F7295121C}" type="presOf" srcId="{95823AAC-3558-4A45-9147-8F9BD66C341C}" destId="{A8D2D98B-ECB5-48CA-964F-C8B61D07A143}" srcOrd="0" destOrd="0" presId="urn:microsoft.com/office/officeart/2008/layout/NameandTitleOrganizationalChart"/>
    <dgm:cxn modelId="{9D382E6A-651A-487B-A638-97B7E59ADEB6}" type="presOf" srcId="{2E471681-F0EE-4A50-B51D-0AF2A68046F5}" destId="{DC518E41-C1F8-47A0-80F0-090F10C01504}" srcOrd="0" destOrd="0" presId="urn:microsoft.com/office/officeart/2008/layout/NameandTitleOrganizationalChart"/>
    <dgm:cxn modelId="{7EA87970-3E29-4606-9B4E-17A442D441A8}" type="presOf" srcId="{A950D9B0-5ED1-4575-B394-80FBFB8A0F0F}" destId="{BAEB1226-A3C3-4965-A9AA-3C4194E246D1}" srcOrd="0" destOrd="0" presId="urn:microsoft.com/office/officeart/2008/layout/NameandTitleOrganizationalChart"/>
    <dgm:cxn modelId="{C0E37A77-4345-4169-B9A0-798651FD2665}" type="presOf" srcId="{2AA270B4-A7BA-4762-836B-CAFAD9232F54}" destId="{D2AA0B85-B7F8-4B62-9646-E21D61005D17}" srcOrd="0" destOrd="0" presId="urn:microsoft.com/office/officeart/2008/layout/NameandTitleOrganizationalChart"/>
    <dgm:cxn modelId="{4F325185-28E7-4F91-90F4-F0590A09F51F}" type="presOf" srcId="{D8A4ADEE-1273-4160-8377-AADC47376208}" destId="{122E3EAC-1C79-4427-B32D-51A34D24B8F2}" srcOrd="0" destOrd="0" presId="urn:microsoft.com/office/officeart/2008/layout/NameandTitleOrganizationalChart"/>
    <dgm:cxn modelId="{AF930797-5FCA-4BCC-9F2F-6FCA1EB449E9}" type="presOf" srcId="{56B0FE02-2F80-44D3-B623-4F941EBA0A10}" destId="{DB78BEB2-DDBD-41E5-BCC2-6A3C156F5D7E}" srcOrd="0" destOrd="0" presId="urn:microsoft.com/office/officeart/2008/layout/NameandTitleOrganizationalChart"/>
    <dgm:cxn modelId="{1DFF549D-D46A-4356-A456-C84A1CCA6C2E}" srcId="{B985D8B9-956F-4338-BE49-1AA01E37C486}" destId="{612F2244-FAA5-4400-9EBD-FFA97A00AACE}" srcOrd="1" destOrd="0" parTransId="{F6FD43EB-8D9D-4C7F-877A-E2A3070AFFF3}" sibTransId="{CE8B10C7-D63D-4285-B7DF-EA7319351886}"/>
    <dgm:cxn modelId="{CF2D00A4-9F08-4400-A18F-498D41EA2BCD}" type="presOf" srcId="{49ECC78B-EF91-4561-B938-55D5D8909BEE}" destId="{20C552BB-07FE-49C2-A535-C71B3BC74E51}" srcOrd="0" destOrd="0" presId="urn:microsoft.com/office/officeart/2008/layout/NameandTitleOrganizationalChart"/>
    <dgm:cxn modelId="{A7C4A2AD-A62B-4FBB-B67F-DBCE3E41B7A5}" srcId="{B985D8B9-956F-4338-BE49-1AA01E37C486}" destId="{B272F14D-7BA9-4827-B300-667464B34457}" srcOrd="3" destOrd="0" parTransId="{2AA270B4-A7BA-4762-836B-CAFAD9232F54}" sibTransId="{B55603BE-0DEF-45C4-9E5C-E970CF1611D3}"/>
    <dgm:cxn modelId="{402F9CBE-3582-409C-A9B4-9545F7C028F1}" type="presOf" srcId="{612F2244-FAA5-4400-9EBD-FFA97A00AACE}" destId="{903D0F60-431E-4905-8090-5E761378EA69}" srcOrd="1" destOrd="0" presId="urn:microsoft.com/office/officeart/2008/layout/NameandTitleOrganizationalChart"/>
    <dgm:cxn modelId="{6E1214C2-42BC-42B6-8787-C7EDE338490A}" type="presOf" srcId="{B272F14D-7BA9-4827-B300-667464B34457}" destId="{D89C3249-E1FB-46C3-B80E-1FDD0D4C827A}" srcOrd="1" destOrd="0" presId="urn:microsoft.com/office/officeart/2008/layout/NameandTitleOrganizationalChart"/>
    <dgm:cxn modelId="{A8ACCDC3-5666-41DE-A6A6-317C246C3520}" type="presOf" srcId="{69FC9E51-3602-4906-AF00-D26A8A325C38}" destId="{E705A3A4-03A9-42E2-B4EB-0798849237EC}" srcOrd="0" destOrd="0" presId="urn:microsoft.com/office/officeart/2008/layout/NameandTitleOrganizationalChart"/>
    <dgm:cxn modelId="{0BDC3DC6-FDFF-464F-A18D-D56D17AE6CFF}" type="presOf" srcId="{69FC9E51-3602-4906-AF00-D26A8A325C38}" destId="{F44F5FF8-4D1B-4D05-9F7F-954EBA3A5398}" srcOrd="1" destOrd="0" presId="urn:microsoft.com/office/officeart/2008/layout/NameandTitleOrganizationalChart"/>
    <dgm:cxn modelId="{3FCAEFD2-EDB7-45CA-9592-996217C77599}" srcId="{B985D8B9-956F-4338-BE49-1AA01E37C486}" destId="{E3E39099-794E-427A-8933-5E2DF8AC41E7}" srcOrd="5" destOrd="0" parTransId="{56B0FE02-2F80-44D3-B623-4F941EBA0A10}" sibTransId="{95823AAC-3558-4A45-9147-8F9BD66C341C}"/>
    <dgm:cxn modelId="{9A2F33D6-E1A8-4EEF-ADF2-EC4466125B81}" srcId="{B985D8B9-956F-4338-BE49-1AA01E37C486}" destId="{69FC9E51-3602-4906-AF00-D26A8A325C38}" srcOrd="0" destOrd="0" parTransId="{5AB5CDBA-8AFC-414C-9B82-AA9A86D0B948}" sibTransId="{5A011732-66CF-4A35-8C09-0E6F2F9D70A0}"/>
    <dgm:cxn modelId="{8BA36BD8-BFFA-440D-B526-4DC3DC4FB455}" type="presOf" srcId="{F195479F-6E18-4EED-AC38-2E4F94BD94D2}" destId="{D7DD7E39-2029-4C97-A4AC-D99F445F34D5}" srcOrd="1" destOrd="0" presId="urn:microsoft.com/office/officeart/2008/layout/NameandTitleOrganizationalChart"/>
    <dgm:cxn modelId="{8B36B2F5-77C7-4730-B174-9E4B576117D9}" srcId="{B985D8B9-956F-4338-BE49-1AA01E37C486}" destId="{2E471681-F0EE-4A50-B51D-0AF2A68046F5}" srcOrd="4" destOrd="0" parTransId="{C874EA7C-90C3-4DCC-9165-5A75E20E3585}" sibTransId="{49ECC78B-EF91-4561-B938-55D5D8909BEE}"/>
    <dgm:cxn modelId="{393A56F6-FA80-4DD5-BA38-E35D7A93E92C}" type="presOf" srcId="{612F2244-FAA5-4400-9EBD-FFA97A00AACE}" destId="{FE86EFFD-AFB1-4F2E-8550-B1DE83DD53E8}" srcOrd="0" destOrd="0" presId="urn:microsoft.com/office/officeart/2008/layout/NameandTitleOrganizationalChart"/>
    <dgm:cxn modelId="{5C7C7EF6-0897-40FB-8765-BF5C4586F357}" type="presOf" srcId="{5AB5CDBA-8AFC-414C-9B82-AA9A86D0B948}" destId="{D67506DC-6F4F-4C09-AE76-0A10BD4F6808}" srcOrd="0" destOrd="0" presId="urn:microsoft.com/office/officeart/2008/layout/NameandTitleOrganizationalChart"/>
    <dgm:cxn modelId="{B69412F9-B98E-422F-95E0-69C0875E82DE}" type="presOf" srcId="{5A011732-66CF-4A35-8C09-0E6F2F9D70A0}" destId="{0DF39C6C-BFCB-4420-A61D-0F141A086E4E}" srcOrd="0" destOrd="0" presId="urn:microsoft.com/office/officeart/2008/layout/NameandTitleOrganizationalChart"/>
    <dgm:cxn modelId="{37EE36FB-D5B3-4B96-8118-728A153F2406}" type="presOf" srcId="{2E471681-F0EE-4A50-B51D-0AF2A68046F5}" destId="{E9502945-8C0C-4860-ABF6-9BF8C2B003A7}" srcOrd="1" destOrd="0" presId="urn:microsoft.com/office/officeart/2008/layout/NameandTitleOrganizationalChart"/>
    <dgm:cxn modelId="{C9F2AA35-B260-494C-A452-6D0349090C4A}" type="presParOf" srcId="{122E3EAC-1C79-4427-B32D-51A34D24B8F2}" destId="{B39013FB-640B-4ECE-B2B8-8D3DAD4956BF}" srcOrd="0" destOrd="0" presId="urn:microsoft.com/office/officeart/2008/layout/NameandTitleOrganizationalChart"/>
    <dgm:cxn modelId="{9A9EAE8C-3DD3-492E-A7C4-105FD3BFB59D}" type="presParOf" srcId="{B39013FB-640B-4ECE-B2B8-8D3DAD4956BF}" destId="{7F61C37D-E957-473F-A5F9-17E4EAA88615}" srcOrd="0" destOrd="0" presId="urn:microsoft.com/office/officeart/2008/layout/NameandTitleOrganizationalChart"/>
    <dgm:cxn modelId="{076D9D75-77C2-47DA-A817-93C125389959}" type="presParOf" srcId="{7F61C37D-E957-473F-A5F9-17E4EAA88615}" destId="{7685C86F-B238-475B-B0F2-878E295ECD14}" srcOrd="0" destOrd="0" presId="urn:microsoft.com/office/officeart/2008/layout/NameandTitleOrganizationalChart"/>
    <dgm:cxn modelId="{761DEC73-C130-4626-81D6-FB098EA37F05}" type="presParOf" srcId="{7F61C37D-E957-473F-A5F9-17E4EAA88615}" destId="{BAEB1226-A3C3-4965-A9AA-3C4194E246D1}" srcOrd="1" destOrd="0" presId="urn:microsoft.com/office/officeart/2008/layout/NameandTitleOrganizationalChart"/>
    <dgm:cxn modelId="{CE676108-289D-4DB3-B4DD-F64BDEC1594E}" type="presParOf" srcId="{7F61C37D-E957-473F-A5F9-17E4EAA88615}" destId="{A5E78A43-37BD-4018-A27A-EFE6E8A8D744}" srcOrd="2" destOrd="0" presId="urn:microsoft.com/office/officeart/2008/layout/NameandTitleOrganizationalChart"/>
    <dgm:cxn modelId="{D2EA23C6-529E-49AA-AB0C-38CDAA3FFE0A}" type="presParOf" srcId="{B39013FB-640B-4ECE-B2B8-8D3DAD4956BF}" destId="{5C8C413F-FA8D-4424-8A5F-A5F03CD25AC2}" srcOrd="1" destOrd="0" presId="urn:microsoft.com/office/officeart/2008/layout/NameandTitleOrganizationalChart"/>
    <dgm:cxn modelId="{69343C44-00A6-441E-89BB-2531A1C51953}" type="presParOf" srcId="{5C8C413F-FA8D-4424-8A5F-A5F03CD25AC2}" destId="{D67506DC-6F4F-4C09-AE76-0A10BD4F6808}" srcOrd="0" destOrd="0" presId="urn:microsoft.com/office/officeart/2008/layout/NameandTitleOrganizationalChart"/>
    <dgm:cxn modelId="{89DC889C-49E0-4DC2-AD7C-6DCAEDB70C52}" type="presParOf" srcId="{5C8C413F-FA8D-4424-8A5F-A5F03CD25AC2}" destId="{CD35518F-740E-490D-AE47-3AFCCC17050E}" srcOrd="1" destOrd="0" presId="urn:microsoft.com/office/officeart/2008/layout/NameandTitleOrganizationalChart"/>
    <dgm:cxn modelId="{49B795E5-CC1B-45E7-AB89-9441F2498E47}" type="presParOf" srcId="{CD35518F-740E-490D-AE47-3AFCCC17050E}" destId="{E29BAD61-F1BB-47FF-A890-A451A6DF1CD8}" srcOrd="0" destOrd="0" presId="urn:microsoft.com/office/officeart/2008/layout/NameandTitleOrganizationalChart"/>
    <dgm:cxn modelId="{16A86409-08B8-42AD-9484-71A03A6E9A58}" type="presParOf" srcId="{E29BAD61-F1BB-47FF-A890-A451A6DF1CD8}" destId="{E705A3A4-03A9-42E2-B4EB-0798849237EC}" srcOrd="0" destOrd="0" presId="urn:microsoft.com/office/officeart/2008/layout/NameandTitleOrganizationalChart"/>
    <dgm:cxn modelId="{7BA77281-EA4E-4DE9-B1A8-3F735B37CD7A}" type="presParOf" srcId="{E29BAD61-F1BB-47FF-A890-A451A6DF1CD8}" destId="{0DF39C6C-BFCB-4420-A61D-0F141A086E4E}" srcOrd="1" destOrd="0" presId="urn:microsoft.com/office/officeart/2008/layout/NameandTitleOrganizationalChart"/>
    <dgm:cxn modelId="{6BB6AC41-D4A3-4FF5-8E06-2D006CD6183A}" type="presParOf" srcId="{E29BAD61-F1BB-47FF-A890-A451A6DF1CD8}" destId="{F44F5FF8-4D1B-4D05-9F7F-954EBA3A5398}" srcOrd="2" destOrd="0" presId="urn:microsoft.com/office/officeart/2008/layout/NameandTitleOrganizationalChart"/>
    <dgm:cxn modelId="{C1817AED-40F5-4F85-BDAC-88F5E8875576}" type="presParOf" srcId="{CD35518F-740E-490D-AE47-3AFCCC17050E}" destId="{32DBCD59-BA57-4C06-BA96-6EFAC29F20AF}" srcOrd="1" destOrd="0" presId="urn:microsoft.com/office/officeart/2008/layout/NameandTitleOrganizationalChart"/>
    <dgm:cxn modelId="{377253B5-3B7B-4963-BFA8-4FCF9FD7EE2A}" type="presParOf" srcId="{CD35518F-740E-490D-AE47-3AFCCC17050E}" destId="{618D9F1F-84A2-4AA8-A581-07A92F47A848}" srcOrd="2" destOrd="0" presId="urn:microsoft.com/office/officeart/2008/layout/NameandTitleOrganizationalChart"/>
    <dgm:cxn modelId="{2D98DBA1-F9EC-4146-9CBE-FE60758923BE}" type="presParOf" srcId="{5C8C413F-FA8D-4424-8A5F-A5F03CD25AC2}" destId="{F466ED7F-19F6-4FCD-B065-B993000FCDA2}" srcOrd="2" destOrd="0" presId="urn:microsoft.com/office/officeart/2008/layout/NameandTitleOrganizationalChart"/>
    <dgm:cxn modelId="{39BB9D17-E69C-45DE-AAE8-D9BFC6A6D22B}" type="presParOf" srcId="{5C8C413F-FA8D-4424-8A5F-A5F03CD25AC2}" destId="{DA5A0A10-68C6-47D5-A01E-0B051C40012F}" srcOrd="3" destOrd="0" presId="urn:microsoft.com/office/officeart/2008/layout/NameandTitleOrganizationalChart"/>
    <dgm:cxn modelId="{FC07FA49-8265-4602-83B2-7EEEB3324573}" type="presParOf" srcId="{DA5A0A10-68C6-47D5-A01E-0B051C40012F}" destId="{3E3E7821-E6E6-41B5-869E-C0C11EB602B0}" srcOrd="0" destOrd="0" presId="urn:microsoft.com/office/officeart/2008/layout/NameandTitleOrganizationalChart"/>
    <dgm:cxn modelId="{CD636837-A8A0-4E46-B1B3-25C39350DAC3}" type="presParOf" srcId="{3E3E7821-E6E6-41B5-869E-C0C11EB602B0}" destId="{FE86EFFD-AFB1-4F2E-8550-B1DE83DD53E8}" srcOrd="0" destOrd="0" presId="urn:microsoft.com/office/officeart/2008/layout/NameandTitleOrganizationalChart"/>
    <dgm:cxn modelId="{3342936F-ECF1-416F-A586-493824E50311}" type="presParOf" srcId="{3E3E7821-E6E6-41B5-869E-C0C11EB602B0}" destId="{64DE486D-CC79-4693-9660-D4827AE3A75D}" srcOrd="1" destOrd="0" presId="urn:microsoft.com/office/officeart/2008/layout/NameandTitleOrganizationalChart"/>
    <dgm:cxn modelId="{B5764B3C-5FBC-4109-B5DA-6A2B22C0F205}" type="presParOf" srcId="{3E3E7821-E6E6-41B5-869E-C0C11EB602B0}" destId="{903D0F60-431E-4905-8090-5E761378EA69}" srcOrd="2" destOrd="0" presId="urn:microsoft.com/office/officeart/2008/layout/NameandTitleOrganizationalChart"/>
    <dgm:cxn modelId="{6A017EC3-7701-4FB0-ADA1-AC55E1289525}" type="presParOf" srcId="{DA5A0A10-68C6-47D5-A01E-0B051C40012F}" destId="{5156C8D3-87AC-49EF-B708-8EF509DB0382}" srcOrd="1" destOrd="0" presId="urn:microsoft.com/office/officeart/2008/layout/NameandTitleOrganizationalChart"/>
    <dgm:cxn modelId="{298D1F96-042C-4EF9-A50F-229BCA8EB38C}" type="presParOf" srcId="{DA5A0A10-68C6-47D5-A01E-0B051C40012F}" destId="{4D9E1564-2408-41FA-984D-AD5AADA5128C}" srcOrd="2" destOrd="0" presId="urn:microsoft.com/office/officeart/2008/layout/NameandTitleOrganizationalChart"/>
    <dgm:cxn modelId="{A5A06D09-34C8-4927-BE00-8BE544B4C367}" type="presParOf" srcId="{5C8C413F-FA8D-4424-8A5F-A5F03CD25AC2}" destId="{388D9540-A1E7-4D0E-8ACF-8506F1210DBA}" srcOrd="4" destOrd="0" presId="urn:microsoft.com/office/officeart/2008/layout/NameandTitleOrganizationalChart"/>
    <dgm:cxn modelId="{C7D4D4C3-E184-4B09-9592-448D1F2154B3}" type="presParOf" srcId="{5C8C413F-FA8D-4424-8A5F-A5F03CD25AC2}" destId="{77E882AD-6FBF-4B5B-9F39-A1410E72B2B5}" srcOrd="5" destOrd="0" presId="urn:microsoft.com/office/officeart/2008/layout/NameandTitleOrganizationalChart"/>
    <dgm:cxn modelId="{4FC3BE55-FEF8-443D-94B8-765E817F90F2}" type="presParOf" srcId="{77E882AD-6FBF-4B5B-9F39-A1410E72B2B5}" destId="{B183439B-5AF9-4159-A153-DE90045D05BA}" srcOrd="0" destOrd="0" presId="urn:microsoft.com/office/officeart/2008/layout/NameandTitleOrganizationalChart"/>
    <dgm:cxn modelId="{350E7A47-1193-42FF-81B6-CC7FD8A74DE0}" type="presParOf" srcId="{B183439B-5AF9-4159-A153-DE90045D05BA}" destId="{1ECBFBB9-C773-4B56-960C-3A52DE0C212C}" srcOrd="0" destOrd="0" presId="urn:microsoft.com/office/officeart/2008/layout/NameandTitleOrganizationalChart"/>
    <dgm:cxn modelId="{43D7EC62-989D-43C8-89D9-9622AADACAF2}" type="presParOf" srcId="{B183439B-5AF9-4159-A153-DE90045D05BA}" destId="{5DABB6CB-32D4-447B-979F-E27D5E30996B}" srcOrd="1" destOrd="0" presId="urn:microsoft.com/office/officeart/2008/layout/NameandTitleOrganizationalChart"/>
    <dgm:cxn modelId="{487162AF-D3FB-4AAB-B478-F7ACB459C09B}" type="presParOf" srcId="{B183439B-5AF9-4159-A153-DE90045D05BA}" destId="{D7DD7E39-2029-4C97-A4AC-D99F445F34D5}" srcOrd="2" destOrd="0" presId="urn:microsoft.com/office/officeart/2008/layout/NameandTitleOrganizationalChart"/>
    <dgm:cxn modelId="{219385E0-9F49-4DE0-A316-6FEE824864A9}" type="presParOf" srcId="{77E882AD-6FBF-4B5B-9F39-A1410E72B2B5}" destId="{FE11131C-41F3-49B6-A8B8-1BD270F8AD30}" srcOrd="1" destOrd="0" presId="urn:microsoft.com/office/officeart/2008/layout/NameandTitleOrganizationalChart"/>
    <dgm:cxn modelId="{897415F0-AE88-444E-B9D9-45281EF91DCD}" type="presParOf" srcId="{77E882AD-6FBF-4B5B-9F39-A1410E72B2B5}" destId="{80B00BC3-B6CC-4F0A-9B66-BA6AA41CD3A5}" srcOrd="2" destOrd="0" presId="urn:microsoft.com/office/officeart/2008/layout/NameandTitleOrganizationalChart"/>
    <dgm:cxn modelId="{DFA80ACB-BCAC-411C-832E-C5F2DD499A96}" type="presParOf" srcId="{5C8C413F-FA8D-4424-8A5F-A5F03CD25AC2}" destId="{D2AA0B85-B7F8-4B62-9646-E21D61005D17}" srcOrd="6" destOrd="0" presId="urn:microsoft.com/office/officeart/2008/layout/NameandTitleOrganizationalChart"/>
    <dgm:cxn modelId="{34D922A9-93B5-429C-9654-F0E405B2B159}" type="presParOf" srcId="{5C8C413F-FA8D-4424-8A5F-A5F03CD25AC2}" destId="{B26ED889-9A8A-43F5-B506-2FA6CE75F973}" srcOrd="7" destOrd="0" presId="urn:microsoft.com/office/officeart/2008/layout/NameandTitleOrganizationalChart"/>
    <dgm:cxn modelId="{A99856FF-E204-43A0-80F2-7A99F1DC7EEE}" type="presParOf" srcId="{B26ED889-9A8A-43F5-B506-2FA6CE75F973}" destId="{5FFAC965-2A61-4C88-91A1-DABD4D9658C1}" srcOrd="0" destOrd="0" presId="urn:microsoft.com/office/officeart/2008/layout/NameandTitleOrganizationalChart"/>
    <dgm:cxn modelId="{8FBA197A-E590-4994-8FE4-25645C9CD345}" type="presParOf" srcId="{5FFAC965-2A61-4C88-91A1-DABD4D9658C1}" destId="{5ED40EED-F8CF-4D09-962A-A69AB186BD35}" srcOrd="0" destOrd="0" presId="urn:microsoft.com/office/officeart/2008/layout/NameandTitleOrganizationalChart"/>
    <dgm:cxn modelId="{90485684-F1FE-4A7B-8444-CDD5EC122D99}" type="presParOf" srcId="{5FFAC965-2A61-4C88-91A1-DABD4D9658C1}" destId="{3E6F8858-046C-404B-B541-3A0250B09945}" srcOrd="1" destOrd="0" presId="urn:microsoft.com/office/officeart/2008/layout/NameandTitleOrganizationalChart"/>
    <dgm:cxn modelId="{DC1529E9-A96B-4670-A61A-7D03A9CE78A2}" type="presParOf" srcId="{5FFAC965-2A61-4C88-91A1-DABD4D9658C1}" destId="{D89C3249-E1FB-46C3-B80E-1FDD0D4C827A}" srcOrd="2" destOrd="0" presId="urn:microsoft.com/office/officeart/2008/layout/NameandTitleOrganizationalChart"/>
    <dgm:cxn modelId="{B3074CA2-4C16-4616-AC45-C71C79865B02}" type="presParOf" srcId="{B26ED889-9A8A-43F5-B506-2FA6CE75F973}" destId="{853A677C-D18B-47DD-816C-ED38C280E3F1}" srcOrd="1" destOrd="0" presId="urn:microsoft.com/office/officeart/2008/layout/NameandTitleOrganizationalChart"/>
    <dgm:cxn modelId="{279A21EB-8268-4D2B-BFE6-7CC4FED0785D}" type="presParOf" srcId="{B26ED889-9A8A-43F5-B506-2FA6CE75F973}" destId="{F4D2879E-D580-4404-9274-F60152FC3C15}" srcOrd="2" destOrd="0" presId="urn:microsoft.com/office/officeart/2008/layout/NameandTitleOrganizationalChart"/>
    <dgm:cxn modelId="{B79E2E1F-490C-4638-AA64-1A482C57D028}" type="presParOf" srcId="{5C8C413F-FA8D-4424-8A5F-A5F03CD25AC2}" destId="{37C3E757-B9B4-4150-B6F9-4438D6DCE42B}" srcOrd="8" destOrd="0" presId="urn:microsoft.com/office/officeart/2008/layout/NameandTitleOrganizationalChart"/>
    <dgm:cxn modelId="{9BC49709-E3E7-4232-93C7-214BBD2FBDF6}" type="presParOf" srcId="{5C8C413F-FA8D-4424-8A5F-A5F03CD25AC2}" destId="{D79D70AF-C6A6-4382-A6AD-582522CA4581}" srcOrd="9" destOrd="0" presId="urn:microsoft.com/office/officeart/2008/layout/NameandTitleOrganizationalChart"/>
    <dgm:cxn modelId="{C811B9D3-A735-44CB-A30D-3F00FD0F38EA}" type="presParOf" srcId="{D79D70AF-C6A6-4382-A6AD-582522CA4581}" destId="{A45BC52C-BC3C-4C85-B3C1-D7F813638A5E}" srcOrd="0" destOrd="0" presId="urn:microsoft.com/office/officeart/2008/layout/NameandTitleOrganizationalChart"/>
    <dgm:cxn modelId="{A4BB6239-1228-4657-A476-2C3AC45FB1B6}" type="presParOf" srcId="{A45BC52C-BC3C-4C85-B3C1-D7F813638A5E}" destId="{DC518E41-C1F8-47A0-80F0-090F10C01504}" srcOrd="0" destOrd="0" presId="urn:microsoft.com/office/officeart/2008/layout/NameandTitleOrganizationalChart"/>
    <dgm:cxn modelId="{0BA772FC-A0B5-4C27-BCBA-32C7BBF0ECAA}" type="presParOf" srcId="{A45BC52C-BC3C-4C85-B3C1-D7F813638A5E}" destId="{20C552BB-07FE-49C2-A535-C71B3BC74E51}" srcOrd="1" destOrd="0" presId="urn:microsoft.com/office/officeart/2008/layout/NameandTitleOrganizationalChart"/>
    <dgm:cxn modelId="{DAAF02CE-B16D-4BCF-A8FF-AB5C9A0E45F3}" type="presParOf" srcId="{A45BC52C-BC3C-4C85-B3C1-D7F813638A5E}" destId="{E9502945-8C0C-4860-ABF6-9BF8C2B003A7}" srcOrd="2" destOrd="0" presId="urn:microsoft.com/office/officeart/2008/layout/NameandTitleOrganizationalChart"/>
    <dgm:cxn modelId="{34520FAA-B337-430B-8A14-BA3F1A24A8EF}" type="presParOf" srcId="{D79D70AF-C6A6-4382-A6AD-582522CA4581}" destId="{B87E683B-7642-49B6-8253-6AB09360AD12}" srcOrd="1" destOrd="0" presId="urn:microsoft.com/office/officeart/2008/layout/NameandTitleOrganizationalChart"/>
    <dgm:cxn modelId="{6CB3EA5E-6373-48C8-9818-2A002FAF76EA}" type="presParOf" srcId="{D79D70AF-C6A6-4382-A6AD-582522CA4581}" destId="{E02B51CF-77AD-4F58-A281-D0839FD04B4B}" srcOrd="2" destOrd="0" presId="urn:microsoft.com/office/officeart/2008/layout/NameandTitleOrganizationalChart"/>
    <dgm:cxn modelId="{6051D1F7-D35F-4250-B1E7-2956D4735E9B}" type="presParOf" srcId="{5C8C413F-FA8D-4424-8A5F-A5F03CD25AC2}" destId="{DB78BEB2-DDBD-41E5-BCC2-6A3C156F5D7E}" srcOrd="10" destOrd="0" presId="urn:microsoft.com/office/officeart/2008/layout/NameandTitleOrganizationalChart"/>
    <dgm:cxn modelId="{EF85249D-F304-4A02-A6B3-70422C74DF9F}" type="presParOf" srcId="{5C8C413F-FA8D-4424-8A5F-A5F03CD25AC2}" destId="{DFB16602-F8C4-4C22-B600-AF038AF48D9F}" srcOrd="11" destOrd="0" presId="urn:microsoft.com/office/officeart/2008/layout/NameandTitleOrganizationalChart"/>
    <dgm:cxn modelId="{CB52723C-8163-4C6E-934D-6365F165B444}" type="presParOf" srcId="{DFB16602-F8C4-4C22-B600-AF038AF48D9F}" destId="{3CEC6871-159E-4B00-8F14-A2A5123E6DA8}" srcOrd="0" destOrd="0" presId="urn:microsoft.com/office/officeart/2008/layout/NameandTitleOrganizationalChart"/>
    <dgm:cxn modelId="{01C9D8CE-7C3C-4375-9CED-94517E662EDE}" type="presParOf" srcId="{3CEC6871-159E-4B00-8F14-A2A5123E6DA8}" destId="{7553ED62-BA64-49C4-98C8-86BF961BD836}" srcOrd="0" destOrd="0" presId="urn:microsoft.com/office/officeart/2008/layout/NameandTitleOrganizationalChart"/>
    <dgm:cxn modelId="{BE3A9CC5-E5E3-4A6B-BF5C-FEEF20197754}" type="presParOf" srcId="{3CEC6871-159E-4B00-8F14-A2A5123E6DA8}" destId="{A8D2D98B-ECB5-48CA-964F-C8B61D07A143}" srcOrd="1" destOrd="0" presId="urn:microsoft.com/office/officeart/2008/layout/NameandTitleOrganizationalChart"/>
    <dgm:cxn modelId="{5D57C066-FCA4-4437-997E-C439DA0CF23F}" type="presParOf" srcId="{3CEC6871-159E-4B00-8F14-A2A5123E6DA8}" destId="{F17224D9-6D67-4900-B167-F77059290B93}" srcOrd="2" destOrd="0" presId="urn:microsoft.com/office/officeart/2008/layout/NameandTitleOrganizationalChart"/>
    <dgm:cxn modelId="{B7EB638C-6922-45F2-BF66-65542AEE8097}" type="presParOf" srcId="{DFB16602-F8C4-4C22-B600-AF038AF48D9F}" destId="{BB3B3FAD-5522-4CD0-8778-6066AD425ED1}" srcOrd="1" destOrd="0" presId="urn:microsoft.com/office/officeart/2008/layout/NameandTitleOrganizationalChart"/>
    <dgm:cxn modelId="{B8053115-D9DF-4BB1-80CE-EE0980A62258}" type="presParOf" srcId="{DFB16602-F8C4-4C22-B600-AF038AF48D9F}" destId="{CDA057E9-CA66-4B0D-8E52-212968268052}" srcOrd="2" destOrd="0" presId="urn:microsoft.com/office/officeart/2008/layout/NameandTitleOrganizationalChart"/>
    <dgm:cxn modelId="{59F210BF-8AD1-4C70-A53A-47ADE03D5B08}" type="presParOf" srcId="{B39013FB-640B-4ECE-B2B8-8D3DAD4956BF}" destId="{5867D84E-A7EE-444B-AD95-36FD48F81E9D}" srcOrd="2" destOrd="0" presId="urn:microsoft.com/office/officeart/2008/layout/NameandTitleOrganizational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54A8543A-484F-4739-BA47-4290C63D4D3C}" type="doc">
      <dgm:prSet loTypeId="urn:microsoft.com/office/officeart/2005/8/layout/hList1" loCatId="list" qsTypeId="urn:microsoft.com/office/officeart/2005/8/quickstyle/simple1" qsCatId="simple" csTypeId="urn:microsoft.com/office/officeart/2005/8/colors/accent1_1" csCatId="accent1" phldr="1"/>
      <dgm:spPr/>
      <dgm:t>
        <a:bodyPr/>
        <a:lstStyle/>
        <a:p>
          <a:endParaRPr lang="es-ES"/>
        </a:p>
      </dgm:t>
    </dgm:pt>
    <dgm:pt modelId="{DB1D5ADB-2D28-49E1-8FB8-A93847CB3644}">
      <dgm:prSet phldrT="[Texto]" custT="1"/>
      <dgm:spPr/>
      <dgm: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Architect</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gm:t>
    </dgm:pt>
    <dgm:pt modelId="{62575101-FA10-4C54-9A9F-CEEB03F4FBB5}" type="parTrans" cxnId="{5CFAE90D-0E72-4334-B9C1-1F1D80DFB627}">
      <dgm:prSet/>
      <dgm:spPr/>
      <dgm:t>
        <a:bodyPr/>
        <a:lstStyle/>
        <a:p>
          <a:endParaRPr lang="es-ES" sz="2400"/>
        </a:p>
      </dgm:t>
    </dgm:pt>
    <dgm:pt modelId="{CA51F13E-1789-4C25-B9C1-0C075F80E78D}" type="sibTrans" cxnId="{5CFAE90D-0E72-4334-B9C1-1F1D80DFB627}">
      <dgm:prSet/>
      <dgm:spPr/>
      <dgm:t>
        <a:bodyPr/>
        <a:lstStyle/>
        <a:p>
          <a:endParaRPr lang="es-ES" sz="2400"/>
        </a:p>
      </dgm:t>
    </dgm:pt>
    <dgm:pt modelId="{8C547D47-83AF-47E9-AE93-B76259E3AE58}">
      <dgm:prSet phldrT="[Texto]" custT="1"/>
      <dgm:spPr/>
      <dgm:t>
        <a:bodyPr/>
        <a:lstStyle/>
        <a:p>
          <a:r>
            <a:rPr lang="en-US" sz="1400" dirty="0"/>
            <a:t>Seleccionar los módulos y herramientas apropiados.</a:t>
          </a:r>
          <a:endParaRPr lang="es-ES" sz="1400" dirty="0"/>
        </a:p>
      </dgm:t>
    </dgm:pt>
    <dgm:pt modelId="{DF7AD876-186A-40C8-880C-72B1F7284737}" type="parTrans" cxnId="{A9F9E3F8-C610-4CDA-80AB-D29B2B47E383}">
      <dgm:prSet/>
      <dgm:spPr/>
      <dgm:t>
        <a:bodyPr/>
        <a:lstStyle/>
        <a:p>
          <a:endParaRPr lang="es-ES" sz="2400"/>
        </a:p>
      </dgm:t>
    </dgm:pt>
    <dgm:pt modelId="{86A85AAD-2C8E-448E-876F-3E4C45FF477C}" type="sibTrans" cxnId="{A9F9E3F8-C610-4CDA-80AB-D29B2B47E383}">
      <dgm:prSet/>
      <dgm:spPr/>
      <dgm:t>
        <a:bodyPr/>
        <a:lstStyle/>
        <a:p>
          <a:endParaRPr lang="es-ES" sz="2400"/>
        </a:p>
      </dgm:t>
    </dgm:pt>
    <dgm:pt modelId="{75F17E86-725B-4B34-BE24-E8C0726DD18C}">
      <dgm:prSet phldrT="[Texto]" custT="1"/>
      <dgm:spPr/>
      <dgm:t>
        <a:bodyPr/>
        <a:lstStyle/>
        <a:p>
          <a:r>
            <a:rPr lang="es-ES" sz="1400" dirty="0"/>
            <a:t>Configurar y desplegar</a:t>
          </a:r>
        </a:p>
      </dgm:t>
    </dgm:pt>
    <dgm:pt modelId="{11E30854-BC02-4701-91E8-925EEFA56C11}" type="parTrans" cxnId="{14754509-17C8-4577-BA93-EAC24A94217E}">
      <dgm:prSet/>
      <dgm:spPr/>
      <dgm:t>
        <a:bodyPr/>
        <a:lstStyle/>
        <a:p>
          <a:endParaRPr lang="es-ES" sz="2400"/>
        </a:p>
      </dgm:t>
    </dgm:pt>
    <dgm:pt modelId="{46F122C9-31C4-4178-B5B1-D69EB5C16937}" type="sibTrans" cxnId="{14754509-17C8-4577-BA93-EAC24A94217E}">
      <dgm:prSet/>
      <dgm:spPr/>
      <dgm:t>
        <a:bodyPr/>
        <a:lstStyle/>
        <a:p>
          <a:endParaRPr lang="es-ES" sz="2400"/>
        </a:p>
      </dgm:t>
    </dgm:pt>
    <dgm:pt modelId="{E7B8F67C-1DEF-4D4E-BFF6-8A288DF5D0CC}">
      <dgm:prSet phldrT="[Texto]" custT="1"/>
      <dgm:spPr/>
      <dgm: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Scientist</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gm:t>
    </dgm:pt>
    <dgm:pt modelId="{88E4BB1D-A70F-4DC4-8B3B-6A17E6F44D7F}" type="parTrans" cxnId="{9ACC8AAD-9C6B-458B-8088-3D9808869CEA}">
      <dgm:prSet/>
      <dgm:spPr/>
      <dgm:t>
        <a:bodyPr/>
        <a:lstStyle/>
        <a:p>
          <a:endParaRPr lang="es-ES" sz="2400"/>
        </a:p>
      </dgm:t>
    </dgm:pt>
    <dgm:pt modelId="{5406AAAD-C9B9-4013-8208-11A7751D56ED}" type="sibTrans" cxnId="{9ACC8AAD-9C6B-458B-8088-3D9808869CEA}">
      <dgm:prSet/>
      <dgm:spPr/>
      <dgm:t>
        <a:bodyPr/>
        <a:lstStyle/>
        <a:p>
          <a:endParaRPr lang="es-ES" sz="2400"/>
        </a:p>
      </dgm:t>
    </dgm:pt>
    <dgm:pt modelId="{C3DE2A82-7518-4D48-BABB-DD535712ABE6}">
      <dgm:prSet phldrT="[Texto]" custT="1"/>
      <dgm:spPr/>
      <dgm:t>
        <a:bodyPr/>
        <a:lstStyle/>
        <a:p>
          <a:r>
            <a:rPr lang="en-US" sz="1400" dirty="0"/>
            <a:t>Limpieza de Datos.</a:t>
          </a:r>
          <a:endParaRPr lang="es-ES" sz="1400" dirty="0"/>
        </a:p>
      </dgm:t>
    </dgm:pt>
    <dgm:pt modelId="{363B6882-C2CC-4CA7-8F6D-305B9DF864C8}" type="parTrans" cxnId="{315E9B21-1EB4-4C33-AE30-D25AA0A63770}">
      <dgm:prSet/>
      <dgm:spPr/>
      <dgm:t>
        <a:bodyPr/>
        <a:lstStyle/>
        <a:p>
          <a:endParaRPr lang="es-ES" sz="2400"/>
        </a:p>
      </dgm:t>
    </dgm:pt>
    <dgm:pt modelId="{50464262-175B-4C87-94CE-48D5FCCE3D98}" type="sibTrans" cxnId="{315E9B21-1EB4-4C33-AE30-D25AA0A63770}">
      <dgm:prSet/>
      <dgm:spPr/>
      <dgm:t>
        <a:bodyPr/>
        <a:lstStyle/>
        <a:p>
          <a:endParaRPr lang="es-ES" sz="2400"/>
        </a:p>
      </dgm:t>
    </dgm:pt>
    <dgm:pt modelId="{707EF725-FF0C-462D-83A6-ACB03C1BF326}">
      <dgm:prSet phldrT="[Texto]" custT="1"/>
      <dgm:spPr/>
      <dgm:t>
        <a:bodyPr/>
        <a:lstStyle/>
        <a:p>
          <a:r>
            <a:rPr lang="en-US" sz="1400" dirty="0"/>
            <a:t>Comunicación de los hallazgos a la compañía</a:t>
          </a:r>
          <a:endParaRPr lang="es-ES" sz="1400" dirty="0"/>
        </a:p>
      </dgm:t>
    </dgm:pt>
    <dgm:pt modelId="{E97395F4-2CCE-4284-A750-8D1D62BFE3AB}" type="parTrans" cxnId="{37804E34-D57C-4195-95E8-E4C6CF1C0EA3}">
      <dgm:prSet/>
      <dgm:spPr/>
      <dgm:t>
        <a:bodyPr/>
        <a:lstStyle/>
        <a:p>
          <a:endParaRPr lang="es-ES" sz="2400"/>
        </a:p>
      </dgm:t>
    </dgm:pt>
    <dgm:pt modelId="{57C62FC6-5ECC-4222-B9A1-DE3789511C77}" type="sibTrans" cxnId="{37804E34-D57C-4195-95E8-E4C6CF1C0EA3}">
      <dgm:prSet/>
      <dgm:spPr/>
      <dgm:t>
        <a:bodyPr/>
        <a:lstStyle/>
        <a:p>
          <a:endParaRPr lang="es-ES" sz="2400"/>
        </a:p>
      </dgm:t>
    </dgm:pt>
    <dgm:pt modelId="{80B2D138-955B-4766-92F4-D3ABFCEB3F67}">
      <dgm:prSet phldrT="[Texto]" custT="1"/>
      <dgm:spPr/>
      <dgm: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Engineer</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gm:t>
    </dgm:pt>
    <dgm:pt modelId="{C834987E-14A6-471A-AB08-AF8DCF9D0C52}" type="parTrans" cxnId="{188E6372-0BEB-4296-B12A-3680F56EB582}">
      <dgm:prSet/>
      <dgm:spPr/>
      <dgm:t>
        <a:bodyPr/>
        <a:lstStyle/>
        <a:p>
          <a:endParaRPr lang="es-ES" sz="2400"/>
        </a:p>
      </dgm:t>
    </dgm:pt>
    <dgm:pt modelId="{7841CECD-80B4-4C71-82AD-08C82A701E36}" type="sibTrans" cxnId="{188E6372-0BEB-4296-B12A-3680F56EB582}">
      <dgm:prSet/>
      <dgm:spPr/>
      <dgm:t>
        <a:bodyPr/>
        <a:lstStyle/>
        <a:p>
          <a:endParaRPr lang="es-ES" sz="2400"/>
        </a:p>
      </dgm:t>
    </dgm:pt>
    <dgm:pt modelId="{E22C78A3-3A5C-4FC4-8F0D-025D8A24DE42}">
      <dgm:prSet phldrT="[Texto]" custT="1"/>
      <dgm:spPr/>
      <dgm:t>
        <a:bodyPr/>
        <a:lstStyle/>
        <a:p>
          <a:pPr rtl="0" eaLnBrk="1" latinLnBrk="0"/>
          <a:r>
            <a:rPr lang="en-US" sz="1400" b="1" dirty="0">
              <a:highlight>
                <a:srgbClr val="C0C0C0"/>
              </a:highlight>
            </a:rPr>
            <a:t>CDO</a:t>
          </a:r>
          <a:endParaRPr lang="es-ES" sz="1400" b="1" dirty="0">
            <a:highlight>
              <a:srgbClr val="C0C0C0"/>
            </a:highlight>
          </a:endParaRPr>
        </a:p>
      </dgm:t>
    </dgm:pt>
    <dgm:pt modelId="{7C29886B-A8EE-467C-B876-E53A0F0ADD9E}" type="parTrans" cxnId="{DC0AFAE4-52D3-4767-B5C3-103626AA7399}">
      <dgm:prSet/>
      <dgm:spPr/>
      <dgm:t>
        <a:bodyPr/>
        <a:lstStyle/>
        <a:p>
          <a:endParaRPr lang="es-ES" sz="2400"/>
        </a:p>
      </dgm:t>
    </dgm:pt>
    <dgm:pt modelId="{2C6AB390-EE94-4F6F-AFAD-41BC95310581}" type="sibTrans" cxnId="{DC0AFAE4-52D3-4767-B5C3-103626AA7399}">
      <dgm:prSet/>
      <dgm:spPr/>
      <dgm:t>
        <a:bodyPr/>
        <a:lstStyle/>
        <a:p>
          <a:endParaRPr lang="es-ES" sz="2400"/>
        </a:p>
      </dgm:t>
    </dgm:pt>
    <dgm:pt modelId="{F7F359FF-C2AE-4A45-AFD4-30599607528A}">
      <dgm:prSet phldrT="[Texto]" custT="1"/>
      <dgm:spPr/>
      <dgm: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evOps</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gm:t>
    </dgm:pt>
    <dgm:pt modelId="{4A154643-F825-45A2-93A3-13D15B545F21}" type="parTrans" cxnId="{BA04DFA6-0645-4ED4-92A3-8C038550C35F}">
      <dgm:prSet/>
      <dgm:spPr/>
      <dgm:t>
        <a:bodyPr/>
        <a:lstStyle/>
        <a:p>
          <a:endParaRPr lang="es-ES" sz="2400"/>
        </a:p>
      </dgm:t>
    </dgm:pt>
    <dgm:pt modelId="{F04B678E-C291-44BB-B2CA-8B152A590140}" type="sibTrans" cxnId="{BA04DFA6-0645-4ED4-92A3-8C038550C35F}">
      <dgm:prSet/>
      <dgm:spPr/>
      <dgm:t>
        <a:bodyPr/>
        <a:lstStyle/>
        <a:p>
          <a:endParaRPr lang="es-ES" sz="2400"/>
        </a:p>
      </dgm:t>
    </dgm:pt>
    <dgm:pt modelId="{DB331857-7DA0-4D54-A8DB-6712FBE73277}">
      <dgm:prSet phldrT="[Texto]" custT="1"/>
      <dgm:spPr/>
      <dgm:t>
        <a:bodyPr/>
        <a:lstStyle/>
        <a:p>
          <a:r>
            <a:rPr lang="es-ES_tradnl" sz="1400" dirty="0"/>
            <a:t>Ciclo de vida de la ingeniería del SW.</a:t>
          </a:r>
          <a:endParaRPr lang="es-ES" sz="1400" dirty="0"/>
        </a:p>
      </dgm:t>
    </dgm:pt>
    <dgm:pt modelId="{818F5981-0E2D-461A-A0BF-376693B04896}" type="parTrans" cxnId="{26EBF72B-B3C5-4AF4-BEEC-2780895FDE43}">
      <dgm:prSet/>
      <dgm:spPr/>
      <dgm:t>
        <a:bodyPr/>
        <a:lstStyle/>
        <a:p>
          <a:endParaRPr lang="es-ES" sz="2400"/>
        </a:p>
      </dgm:t>
    </dgm:pt>
    <dgm:pt modelId="{B9EEC654-196C-49DF-8CD0-E0CFBC4AF2A4}" type="sibTrans" cxnId="{26EBF72B-B3C5-4AF4-BEEC-2780895FDE43}">
      <dgm:prSet/>
      <dgm:spPr/>
      <dgm:t>
        <a:bodyPr/>
        <a:lstStyle/>
        <a:p>
          <a:endParaRPr lang="es-ES" sz="2400"/>
        </a:p>
      </dgm:t>
    </dgm:pt>
    <dgm:pt modelId="{8C5423BC-930F-40F3-ACF3-767B709884F5}">
      <dgm:prSet phldrT="[Texto]" custT="1"/>
      <dgm:spPr/>
      <dgm:t>
        <a:bodyPr/>
        <a:lstStyle/>
        <a:p>
          <a:r>
            <a:rPr lang="es-ES_tradnl" sz="1400" dirty="0"/>
            <a:t>Construcción de los diferentes elementos como BBDD,  servicios/servidores, los algoritmos que se pondrán en producción.</a:t>
          </a:r>
          <a:endParaRPr lang="es-ES" sz="1400" dirty="0"/>
        </a:p>
      </dgm:t>
    </dgm:pt>
    <dgm:pt modelId="{47082B6D-3BC4-45CA-B170-9F04034496CD}" type="parTrans" cxnId="{C6B0A571-4937-42E3-A591-63B47FA6C1E5}">
      <dgm:prSet/>
      <dgm:spPr/>
      <dgm:t>
        <a:bodyPr/>
        <a:lstStyle/>
        <a:p>
          <a:endParaRPr lang="es-ES" sz="2400"/>
        </a:p>
      </dgm:t>
    </dgm:pt>
    <dgm:pt modelId="{CDCBFABC-6B5B-4A21-9F36-80F80A284D94}" type="sibTrans" cxnId="{C6B0A571-4937-42E3-A591-63B47FA6C1E5}">
      <dgm:prSet/>
      <dgm:spPr/>
      <dgm:t>
        <a:bodyPr/>
        <a:lstStyle/>
        <a:p>
          <a:endParaRPr lang="es-ES" sz="2400"/>
        </a:p>
      </dgm:t>
    </dgm:pt>
    <dgm:pt modelId="{589AC2AD-D287-4335-BCE8-FEC3FC8ADC11}">
      <dgm:prSet phldrT="[Texto]" custT="1"/>
      <dgm:spPr/>
      <dgm:t>
        <a:bodyPr/>
        <a:lstStyle/>
        <a:p>
          <a:r>
            <a:rPr lang="es-ES_tradnl" sz="1400" dirty="0"/>
            <a:t>Proporcionan datos para el posterior análisis.</a:t>
          </a:r>
          <a:endParaRPr lang="es-ES" sz="1400" dirty="0"/>
        </a:p>
      </dgm:t>
    </dgm:pt>
    <dgm:pt modelId="{ACBB2824-9D16-4CEF-82F0-19F4FE1FB897}" type="parTrans" cxnId="{C7D15581-EE55-4548-B8A8-F6611EF559F6}">
      <dgm:prSet/>
      <dgm:spPr/>
      <dgm:t>
        <a:bodyPr/>
        <a:lstStyle/>
        <a:p>
          <a:endParaRPr lang="es-ES" sz="2400"/>
        </a:p>
      </dgm:t>
    </dgm:pt>
    <dgm:pt modelId="{DB9E9F74-BF51-4744-ACAF-CD791D5DB5A7}" type="sibTrans" cxnId="{C7D15581-EE55-4548-B8A8-F6611EF559F6}">
      <dgm:prSet/>
      <dgm:spPr/>
      <dgm:t>
        <a:bodyPr/>
        <a:lstStyle/>
        <a:p>
          <a:endParaRPr lang="es-ES" sz="2400"/>
        </a:p>
      </dgm:t>
    </dgm:pt>
    <dgm:pt modelId="{B1F1E62A-D02E-4F36-B1B8-C0A7593D0545}">
      <dgm:prSet phldrT="[Texto]" custT="1"/>
      <dgm:spPr/>
      <dgm:t>
        <a:bodyPr/>
        <a:lstStyle/>
        <a:p>
          <a:r>
            <a:rPr lang="en-US" sz="1400" dirty="0"/>
            <a:t>Análisis de Datos</a:t>
          </a:r>
          <a:endParaRPr lang="es-ES" sz="1400" dirty="0"/>
        </a:p>
      </dgm:t>
    </dgm:pt>
    <dgm:pt modelId="{9071243A-4FDF-4925-9DED-75BBF2E632DA}" type="parTrans" cxnId="{D176A49E-86BB-4E85-B9BD-41DA630CAB43}">
      <dgm:prSet/>
      <dgm:spPr/>
      <dgm:t>
        <a:bodyPr/>
        <a:lstStyle/>
        <a:p>
          <a:endParaRPr lang="es-ES" sz="2400"/>
        </a:p>
      </dgm:t>
    </dgm:pt>
    <dgm:pt modelId="{DC89C1F9-C4F9-4D57-93C1-56CB1178340C}" type="sibTrans" cxnId="{D176A49E-86BB-4E85-B9BD-41DA630CAB43}">
      <dgm:prSet/>
      <dgm:spPr/>
      <dgm:t>
        <a:bodyPr/>
        <a:lstStyle/>
        <a:p>
          <a:endParaRPr lang="es-ES" sz="2400"/>
        </a:p>
      </dgm:t>
    </dgm:pt>
    <dgm:pt modelId="{04168473-8B27-4F3A-8659-E5ED5F264C2B}">
      <dgm:prSet phldrT="[Texto]" custT="1"/>
      <dgm:spPr/>
      <dgm:t>
        <a:bodyPr/>
        <a:lstStyle/>
        <a:p>
          <a:r>
            <a:rPr lang="es-ES" sz="1400" dirty="0"/>
            <a:t>Pilota las herramientas de Machine Learning</a:t>
          </a:r>
        </a:p>
      </dgm:t>
    </dgm:pt>
    <dgm:pt modelId="{44416BEA-9B7E-44EB-B1DB-F65093143AD6}" type="parTrans" cxnId="{66A4F4D2-0873-44A0-9C9C-78A5253405C1}">
      <dgm:prSet/>
      <dgm:spPr/>
      <dgm:t>
        <a:bodyPr/>
        <a:lstStyle/>
        <a:p>
          <a:endParaRPr lang="es-ES" sz="2400"/>
        </a:p>
      </dgm:t>
    </dgm:pt>
    <dgm:pt modelId="{89D12486-D494-48D7-820F-653E146E2B02}" type="sibTrans" cxnId="{66A4F4D2-0873-44A0-9C9C-78A5253405C1}">
      <dgm:prSet/>
      <dgm:spPr/>
      <dgm:t>
        <a:bodyPr/>
        <a:lstStyle/>
        <a:p>
          <a:endParaRPr lang="es-ES" sz="2400"/>
        </a:p>
      </dgm:t>
    </dgm:pt>
    <dgm:pt modelId="{C062DC26-B54B-4E24-B4CE-5DCBE3C88916}">
      <dgm:prSet phldrT="[Texto]" custT="1"/>
      <dgm:spPr/>
      <dgm:t>
        <a:bodyPr/>
        <a:lstStyle/>
        <a:p>
          <a:r>
            <a:rPr lang="es-ES_tradnl" sz="1400" dirty="0"/>
            <a:t>Es el profesional de más alto rango (al nivel de gestión de datos)</a:t>
          </a:r>
          <a:endParaRPr lang="es-ES" sz="1400" dirty="0"/>
        </a:p>
      </dgm:t>
    </dgm:pt>
    <dgm:pt modelId="{B601F983-691C-4F3F-AD96-E1FC4496A569}" type="parTrans" cxnId="{B992BE35-46AA-46E4-A956-52EECFF01E80}">
      <dgm:prSet/>
      <dgm:spPr/>
      <dgm:t>
        <a:bodyPr/>
        <a:lstStyle/>
        <a:p>
          <a:endParaRPr lang="es-ES" sz="2400"/>
        </a:p>
      </dgm:t>
    </dgm:pt>
    <dgm:pt modelId="{BE4E8A2F-3984-4FD8-AE1C-777630051B8F}" type="sibTrans" cxnId="{B992BE35-46AA-46E4-A956-52EECFF01E80}">
      <dgm:prSet/>
      <dgm:spPr/>
      <dgm:t>
        <a:bodyPr/>
        <a:lstStyle/>
        <a:p>
          <a:endParaRPr lang="es-ES" sz="2400"/>
        </a:p>
      </dgm:t>
    </dgm:pt>
    <dgm:pt modelId="{F250443F-ECF5-4DAB-BD99-77B8FD67ED1C}">
      <dgm:prSet phldrT="[Texto]" custT="1"/>
      <dgm:spPr/>
      <dgm:t>
        <a:bodyPr/>
        <a:lstStyle/>
        <a:p>
          <a:r>
            <a:rPr lang="es-ES_tradnl" sz="1400" dirty="0"/>
            <a:t>Suele reportar al CEO</a:t>
          </a:r>
          <a:endParaRPr lang="es-ES" sz="1400" dirty="0"/>
        </a:p>
      </dgm:t>
    </dgm:pt>
    <dgm:pt modelId="{F7167EEA-3FFA-47B2-A396-8683883BC6BF}" type="parTrans" cxnId="{6EC7E410-6666-4F9D-899F-ADE130283CA0}">
      <dgm:prSet/>
      <dgm:spPr/>
      <dgm:t>
        <a:bodyPr/>
        <a:lstStyle/>
        <a:p>
          <a:endParaRPr lang="es-ES" sz="2400"/>
        </a:p>
      </dgm:t>
    </dgm:pt>
    <dgm:pt modelId="{5C7AF3CD-804C-4510-ACDC-188CA67B930C}" type="sibTrans" cxnId="{6EC7E410-6666-4F9D-899F-ADE130283CA0}">
      <dgm:prSet/>
      <dgm:spPr/>
      <dgm:t>
        <a:bodyPr/>
        <a:lstStyle/>
        <a:p>
          <a:endParaRPr lang="es-ES" sz="2400"/>
        </a:p>
      </dgm:t>
    </dgm:pt>
    <dgm:pt modelId="{443C2C7A-F8B3-4D9B-AD82-B4B3DCF4B2B1}">
      <dgm:prSet phldrT="[Texto]" custT="1"/>
      <dgm:spPr/>
      <dgm:t>
        <a:bodyPr/>
        <a:lstStyle/>
        <a:p>
          <a:r>
            <a:rPr lang="es-ES_tradnl" sz="1400" dirty="0"/>
            <a:t>Integración y QA.</a:t>
          </a:r>
          <a:endParaRPr lang="es-ES" sz="1400" dirty="0"/>
        </a:p>
      </dgm:t>
    </dgm:pt>
    <dgm:pt modelId="{245058E4-68C4-44EF-856F-B157CD0E4EF1}" type="parTrans" cxnId="{6A2A944B-0913-40D3-8E16-79B74226834A}">
      <dgm:prSet/>
      <dgm:spPr/>
      <dgm:t>
        <a:bodyPr/>
        <a:lstStyle/>
        <a:p>
          <a:endParaRPr lang="es-ES" sz="2400"/>
        </a:p>
      </dgm:t>
    </dgm:pt>
    <dgm:pt modelId="{CB726509-BA2A-4EFE-B33A-08A18AB7F76B}" type="sibTrans" cxnId="{6A2A944B-0913-40D3-8E16-79B74226834A}">
      <dgm:prSet/>
      <dgm:spPr/>
      <dgm:t>
        <a:bodyPr/>
        <a:lstStyle/>
        <a:p>
          <a:endParaRPr lang="es-ES" sz="2400"/>
        </a:p>
      </dgm:t>
    </dgm:pt>
    <dgm:pt modelId="{6AF461DD-C179-491D-9609-38A65427982B}">
      <dgm:prSet phldrT="[Texto]" custT="1"/>
      <dgm:spPr/>
      <dgm:t>
        <a:bodyPr/>
        <a:lstStyle/>
        <a:p>
          <a:r>
            <a:rPr lang="es-ES_tradnl" sz="1400" dirty="0"/>
            <a:t>Administración y Sysconfig</a:t>
          </a:r>
          <a:endParaRPr lang="es-ES" sz="1400" dirty="0"/>
        </a:p>
      </dgm:t>
    </dgm:pt>
    <dgm:pt modelId="{25D862BE-F1E3-452A-8DAC-B226C71C72A3}" type="parTrans" cxnId="{2A2F484F-0184-4689-A4EC-8502C5BE95A7}">
      <dgm:prSet/>
      <dgm:spPr/>
      <dgm:t>
        <a:bodyPr/>
        <a:lstStyle/>
        <a:p>
          <a:endParaRPr lang="es-ES" sz="2400"/>
        </a:p>
      </dgm:t>
    </dgm:pt>
    <dgm:pt modelId="{81BDE875-320E-454C-9179-E01439362864}" type="sibTrans" cxnId="{2A2F484F-0184-4689-A4EC-8502C5BE95A7}">
      <dgm:prSet/>
      <dgm:spPr/>
      <dgm:t>
        <a:bodyPr/>
        <a:lstStyle/>
        <a:p>
          <a:endParaRPr lang="es-ES" sz="2400"/>
        </a:p>
      </dgm:t>
    </dgm:pt>
    <dgm:pt modelId="{CE167B27-3294-4E6B-BF02-A96D9719C575}">
      <dgm:prSet phldrT="[Texto]" custT="1"/>
      <dgm:spPr/>
      <dgm:t>
        <a:bodyPr/>
        <a:lstStyle/>
        <a:p>
          <a:pPr marL="0" lvl="0" indent="0" algn="ctr" defTabSz="622300" rtl="0" eaLnBrk="1" latinLnBrk="0">
            <a:lnSpc>
              <a:spcPct val="90000"/>
            </a:lnSpc>
            <a:spcBef>
              <a:spcPct val="0"/>
            </a:spcBef>
            <a:spcAft>
              <a:spcPct val="35000"/>
            </a:spcAft>
            <a:buNone/>
          </a:pPr>
          <a:r>
            <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Analyst</a:t>
          </a:r>
        </a:p>
      </dgm:t>
    </dgm:pt>
    <dgm:pt modelId="{24B40C38-8173-4502-9C35-4880440A5C69}" type="parTrans" cxnId="{76921DAE-887C-4141-85ED-155B07679EF7}">
      <dgm:prSet/>
      <dgm:spPr/>
      <dgm:t>
        <a:bodyPr/>
        <a:lstStyle/>
        <a:p>
          <a:endParaRPr lang="es-ES" sz="2400"/>
        </a:p>
      </dgm:t>
    </dgm:pt>
    <dgm:pt modelId="{8D3EC823-71FD-493B-924C-D408CE21AD7E}" type="sibTrans" cxnId="{76921DAE-887C-4141-85ED-155B07679EF7}">
      <dgm:prSet/>
      <dgm:spPr/>
      <dgm:t>
        <a:bodyPr/>
        <a:lstStyle/>
        <a:p>
          <a:endParaRPr lang="es-ES" sz="2400"/>
        </a:p>
      </dgm:t>
    </dgm:pt>
    <dgm:pt modelId="{83E03AFB-A9FB-4F1F-B5C9-11C6E41F1691}">
      <dgm:prSet phldrT="[Texto]" custT="1"/>
      <dgm:spPr/>
      <dgm:t>
        <a:bodyPr/>
        <a:lstStyle/>
        <a:p>
          <a:r>
            <a:rPr lang="es-ES" sz="1400" dirty="0"/>
            <a:t>Interpreta la información.</a:t>
          </a:r>
        </a:p>
      </dgm:t>
    </dgm:pt>
    <dgm:pt modelId="{3D4B1F1A-44D5-4FEF-8917-4BBC67904D05}" type="parTrans" cxnId="{17AA6EA6-3D6D-479A-9D91-102353BE032C}">
      <dgm:prSet/>
      <dgm:spPr/>
      <dgm:t>
        <a:bodyPr/>
        <a:lstStyle/>
        <a:p>
          <a:endParaRPr lang="es-ES" sz="2400"/>
        </a:p>
      </dgm:t>
    </dgm:pt>
    <dgm:pt modelId="{B95CE433-75B9-4FE6-9BE3-75A4B454EFDF}" type="sibTrans" cxnId="{17AA6EA6-3D6D-479A-9D91-102353BE032C}">
      <dgm:prSet/>
      <dgm:spPr/>
      <dgm:t>
        <a:bodyPr/>
        <a:lstStyle/>
        <a:p>
          <a:endParaRPr lang="es-ES" sz="2400"/>
        </a:p>
      </dgm:t>
    </dgm:pt>
    <dgm:pt modelId="{A84B5537-F98F-4B66-8EBA-CE9CB32623D8}">
      <dgm:prSet phldrT="[Texto]" custT="1"/>
      <dgm:spPr/>
      <dgm:t>
        <a:bodyPr/>
        <a:lstStyle/>
        <a:p>
          <a:r>
            <a:rPr lang="es-ES" sz="1400" dirty="0"/>
            <a:t>Conoce el negocio.</a:t>
          </a:r>
        </a:p>
      </dgm:t>
    </dgm:pt>
    <dgm:pt modelId="{0B2DA0F3-726C-4579-94F3-54F7D2D11C0C}" type="parTrans" cxnId="{01ABC75C-0F65-459C-8A9B-AD54E6B63E3F}">
      <dgm:prSet/>
      <dgm:spPr/>
      <dgm:t>
        <a:bodyPr/>
        <a:lstStyle/>
        <a:p>
          <a:endParaRPr lang="es-ES" sz="2400"/>
        </a:p>
      </dgm:t>
    </dgm:pt>
    <dgm:pt modelId="{348C24EA-1F31-4129-9532-AC94DF63D614}" type="sibTrans" cxnId="{01ABC75C-0F65-459C-8A9B-AD54E6B63E3F}">
      <dgm:prSet/>
      <dgm:spPr/>
      <dgm:t>
        <a:bodyPr/>
        <a:lstStyle/>
        <a:p>
          <a:endParaRPr lang="es-ES" sz="2400"/>
        </a:p>
      </dgm:t>
    </dgm:pt>
    <dgm:pt modelId="{61D91DFA-EFFF-4B9E-A1D6-EE70C52951AE}">
      <dgm:prSet phldrT="[Texto]" custT="1"/>
      <dgm:spPr/>
      <dgm:t>
        <a:bodyPr/>
        <a:lstStyle/>
        <a:p>
          <a:r>
            <a:rPr lang="es-ES" sz="1400" dirty="0"/>
            <a:t>Divulga la información a toda la organización.</a:t>
          </a:r>
        </a:p>
      </dgm:t>
    </dgm:pt>
    <dgm:pt modelId="{256FB08A-AB18-4B0F-A27A-3C44E09FE95E}" type="parTrans" cxnId="{A4A9E5C4-BF8B-4802-9D9B-9EE81FDE480B}">
      <dgm:prSet/>
      <dgm:spPr/>
      <dgm:t>
        <a:bodyPr/>
        <a:lstStyle/>
        <a:p>
          <a:endParaRPr lang="es-ES" sz="2400"/>
        </a:p>
      </dgm:t>
    </dgm:pt>
    <dgm:pt modelId="{B355AC38-7A02-4594-B212-732C3C8F386C}" type="sibTrans" cxnId="{A4A9E5C4-BF8B-4802-9D9B-9EE81FDE480B}">
      <dgm:prSet/>
      <dgm:spPr/>
      <dgm:t>
        <a:bodyPr/>
        <a:lstStyle/>
        <a:p>
          <a:endParaRPr lang="es-ES" sz="2400"/>
        </a:p>
      </dgm:t>
    </dgm:pt>
    <dgm:pt modelId="{B38CBC02-D4CF-40AD-9D70-4160DEDAE5E2}">
      <dgm:prSet custT="1"/>
      <dgm:spPr/>
      <dgm:t>
        <a:bodyPr/>
        <a:lstStyle/>
        <a:p>
          <a:pPr marL="0" lvl="0" indent="0" algn="ctr" defTabSz="622300" rtl="0" eaLnBrk="1" latinLnBrk="0">
            <a:lnSpc>
              <a:spcPct val="90000"/>
            </a:lnSpc>
            <a:spcBef>
              <a:spcPct val="0"/>
            </a:spcBef>
            <a:spcAft>
              <a:spcPct val="35000"/>
            </a:spcAft>
            <a:buNone/>
          </a:pPr>
          <a:r>
            <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MLOps</a:t>
          </a:r>
        </a:p>
      </dgm:t>
    </dgm:pt>
    <dgm:pt modelId="{39DCFAEA-9A3D-4BB3-B134-61FE3B4DD0F3}" type="parTrans" cxnId="{5C89A830-65FC-4701-BD7D-DEC20F8C9686}">
      <dgm:prSet/>
      <dgm:spPr/>
      <dgm:t>
        <a:bodyPr/>
        <a:lstStyle/>
        <a:p>
          <a:endParaRPr lang="es-ES" sz="2400"/>
        </a:p>
      </dgm:t>
    </dgm:pt>
    <dgm:pt modelId="{4E5C2A14-22CF-4679-B72D-70F06EA5F384}" type="sibTrans" cxnId="{5C89A830-65FC-4701-BD7D-DEC20F8C9686}">
      <dgm:prSet/>
      <dgm:spPr/>
      <dgm:t>
        <a:bodyPr/>
        <a:lstStyle/>
        <a:p>
          <a:endParaRPr lang="es-ES" sz="2400"/>
        </a:p>
      </dgm:t>
    </dgm:pt>
    <dgm:pt modelId="{B12543BC-164A-49A4-AFC7-AE899869BEEB}">
      <dgm:prSet custT="1"/>
      <dgm:spPr/>
      <dgm:t>
        <a:bodyPr/>
        <a:lstStyle/>
        <a:p>
          <a:r>
            <a:rPr lang="es-ES" sz="1400" dirty="0"/>
            <a:t>Aplica prácticas que automatizan y simplifican los flujos de trabajo</a:t>
          </a:r>
        </a:p>
      </dgm:t>
    </dgm:pt>
    <dgm:pt modelId="{C83343BE-F0C6-4571-9785-603E726B6C89}" type="parTrans" cxnId="{2457308B-2736-480C-B800-36F968179031}">
      <dgm:prSet/>
      <dgm:spPr/>
      <dgm:t>
        <a:bodyPr/>
        <a:lstStyle/>
        <a:p>
          <a:endParaRPr lang="es-ES" sz="2400"/>
        </a:p>
      </dgm:t>
    </dgm:pt>
    <dgm:pt modelId="{9EAF475D-5ACC-466A-8F9F-92548BDF0EF5}" type="sibTrans" cxnId="{2457308B-2736-480C-B800-36F968179031}">
      <dgm:prSet/>
      <dgm:spPr/>
      <dgm:t>
        <a:bodyPr/>
        <a:lstStyle/>
        <a:p>
          <a:endParaRPr lang="es-ES" sz="2400"/>
        </a:p>
      </dgm:t>
    </dgm:pt>
    <dgm:pt modelId="{75D45B88-80D1-42CA-9D25-2B091F8A28C0}">
      <dgm:prSet phldrT="[Texto]" custT="1"/>
      <dgm:spPr/>
      <dgm:t>
        <a:bodyPr/>
        <a:lstStyle/>
        <a:p>
          <a:r>
            <a:rPr lang="es-ES" sz="1400" dirty="0">
              <a:latin typeface="+mn-lt"/>
            </a:rPr>
            <a:t>Salarios [30 k€ y 60 K€</a:t>
          </a:r>
          <a:r>
            <a:rPr lang="es-ES" sz="1400" baseline="-25000" dirty="0">
              <a:latin typeface="+mn-lt"/>
            </a:rPr>
            <a:t>]</a:t>
          </a:r>
          <a:r>
            <a:rPr lang="es-ES" sz="1400" dirty="0">
              <a:latin typeface="+mn-lt"/>
            </a:rPr>
            <a:t>.</a:t>
          </a:r>
          <a:endParaRPr lang="es-ES" sz="1400" dirty="0"/>
        </a:p>
      </dgm:t>
    </dgm:pt>
    <dgm:pt modelId="{584AACB3-588D-4370-80D6-741D041EBC0C}" type="parTrans" cxnId="{B11EA7A2-CAEE-45F7-968E-1D4BA1841893}">
      <dgm:prSet/>
      <dgm:spPr/>
      <dgm:t>
        <a:bodyPr/>
        <a:lstStyle/>
        <a:p>
          <a:endParaRPr lang="es-ES" sz="2400"/>
        </a:p>
      </dgm:t>
    </dgm:pt>
    <dgm:pt modelId="{25F232E1-729C-4819-9A9F-0DB3D8BABDFA}" type="sibTrans" cxnId="{B11EA7A2-CAEE-45F7-968E-1D4BA1841893}">
      <dgm:prSet/>
      <dgm:spPr/>
      <dgm:t>
        <a:bodyPr/>
        <a:lstStyle/>
        <a:p>
          <a:endParaRPr lang="es-ES" sz="2400"/>
        </a:p>
      </dgm:t>
    </dgm:pt>
    <dgm:pt modelId="{762B92ED-7EB9-470B-ABD8-0505545A57D2}">
      <dgm:prSet phldrT="[Texto]" custT="1"/>
      <dgm:spPr/>
      <dgm:t>
        <a:bodyPr/>
        <a:lstStyle/>
        <a:p>
          <a:r>
            <a:rPr lang="es-ES" sz="1400" dirty="0">
              <a:latin typeface="+mn-lt"/>
            </a:rPr>
            <a:t>Salarios [45 k € y  60K €</a:t>
          </a:r>
          <a:r>
            <a:rPr lang="es-ES" sz="1400" baseline="-25000" dirty="0">
              <a:latin typeface="+mn-lt"/>
            </a:rPr>
            <a:t>]</a:t>
          </a:r>
          <a:r>
            <a:rPr lang="es-ES" sz="1400" dirty="0">
              <a:latin typeface="+mn-lt"/>
            </a:rPr>
            <a:t>.</a:t>
          </a:r>
          <a:endParaRPr lang="es-ES" sz="1400" dirty="0"/>
        </a:p>
      </dgm:t>
    </dgm:pt>
    <dgm:pt modelId="{C52C7D38-93DB-4F8A-A49E-CE9A421CCB03}" type="parTrans" cxnId="{28D9697D-CDE0-411D-98FC-2688D9771B7A}">
      <dgm:prSet/>
      <dgm:spPr/>
      <dgm:t>
        <a:bodyPr/>
        <a:lstStyle/>
        <a:p>
          <a:endParaRPr lang="es-ES" sz="2400"/>
        </a:p>
      </dgm:t>
    </dgm:pt>
    <dgm:pt modelId="{33507AC0-94B9-4A0B-BBAD-170967CFA7AF}" type="sibTrans" cxnId="{28D9697D-CDE0-411D-98FC-2688D9771B7A}">
      <dgm:prSet/>
      <dgm:spPr/>
      <dgm:t>
        <a:bodyPr/>
        <a:lstStyle/>
        <a:p>
          <a:endParaRPr lang="es-ES" sz="2400"/>
        </a:p>
      </dgm:t>
    </dgm:pt>
    <dgm:pt modelId="{CD57E64E-63F7-4BB6-A22F-FFE2450BECB4}">
      <dgm:prSet phldrT="[Texto]" custT="1"/>
      <dgm:spPr/>
      <dgm:t>
        <a:bodyPr/>
        <a:lstStyle/>
        <a:p>
          <a:r>
            <a:rPr lang="es-ES" sz="1400" dirty="0">
              <a:latin typeface="+mn-lt"/>
            </a:rPr>
            <a:t>Salario [60 k €</a:t>
          </a:r>
          <a:r>
            <a:rPr lang="es-ES" sz="1400" baseline="-25000" dirty="0">
              <a:latin typeface="+mn-lt"/>
            </a:rPr>
            <a:t>]</a:t>
          </a:r>
          <a:r>
            <a:rPr lang="es-ES" sz="1400" dirty="0">
              <a:latin typeface="+mn-lt"/>
            </a:rPr>
            <a:t>.</a:t>
          </a:r>
          <a:endParaRPr lang="es-ES" sz="1400" dirty="0"/>
        </a:p>
      </dgm:t>
    </dgm:pt>
    <dgm:pt modelId="{D2BE2AC7-22FD-45DF-B05A-EF4D8D7F27AA}" type="parTrans" cxnId="{A7D91E8F-59DF-44A7-8D33-5B87A937CA55}">
      <dgm:prSet/>
      <dgm:spPr/>
      <dgm:t>
        <a:bodyPr/>
        <a:lstStyle/>
        <a:p>
          <a:endParaRPr lang="es-ES" sz="2400"/>
        </a:p>
      </dgm:t>
    </dgm:pt>
    <dgm:pt modelId="{61174765-9787-4589-95A1-29534242DB45}" type="sibTrans" cxnId="{A7D91E8F-59DF-44A7-8D33-5B87A937CA55}">
      <dgm:prSet/>
      <dgm:spPr/>
      <dgm:t>
        <a:bodyPr/>
        <a:lstStyle/>
        <a:p>
          <a:endParaRPr lang="es-ES" sz="2400"/>
        </a:p>
      </dgm:t>
    </dgm:pt>
    <dgm:pt modelId="{2683EE02-0F61-4E43-BD6B-2BE1A238D8CF}">
      <dgm:prSet phldrT="[Texto]" custT="1"/>
      <dgm:spPr/>
      <dgm:t>
        <a:bodyPr/>
        <a:lstStyle/>
        <a:p>
          <a:r>
            <a:rPr lang="es-ES_tradnl" sz="1400" dirty="0"/>
            <a:t>Garantiza: Gobierno del Dato, Calidad del dato, normativa y regulaciones</a:t>
          </a:r>
          <a:endParaRPr lang="es-ES" sz="1400" dirty="0"/>
        </a:p>
      </dgm:t>
    </dgm:pt>
    <dgm:pt modelId="{90B45D50-5A31-490C-8D45-A4029E93E52E}" type="parTrans" cxnId="{4111DA9C-0F23-4754-B543-39630B1C9820}">
      <dgm:prSet/>
      <dgm:spPr/>
      <dgm:t>
        <a:bodyPr/>
        <a:lstStyle/>
        <a:p>
          <a:endParaRPr lang="es-ES" sz="2400"/>
        </a:p>
      </dgm:t>
    </dgm:pt>
    <dgm:pt modelId="{5D7CAB3A-776C-4E56-B768-1471FFD5147B}" type="sibTrans" cxnId="{4111DA9C-0F23-4754-B543-39630B1C9820}">
      <dgm:prSet/>
      <dgm:spPr/>
      <dgm:t>
        <a:bodyPr/>
        <a:lstStyle/>
        <a:p>
          <a:endParaRPr lang="es-ES" sz="2400"/>
        </a:p>
      </dgm:t>
    </dgm:pt>
    <dgm:pt modelId="{F40BCB64-20D5-48AF-BCA7-C386E552FABB}">
      <dgm:prSet phldrT="[Texto]" custT="1"/>
      <dgm:spPr/>
      <dgm:t>
        <a:bodyPr/>
        <a:lstStyle/>
        <a:p>
          <a:r>
            <a:rPr lang="es-ES_tradnl" sz="1400" dirty="0"/>
            <a:t>Define la Estrategia alrededor de los datos.</a:t>
          </a:r>
          <a:endParaRPr lang="es-ES" sz="1400" dirty="0"/>
        </a:p>
      </dgm:t>
    </dgm:pt>
    <dgm:pt modelId="{29484EF0-5FD9-4F05-A6C5-83B8D24BBE81}" type="parTrans" cxnId="{4FE8731C-894F-40CE-8F77-B1193DEF04AC}">
      <dgm:prSet/>
      <dgm:spPr/>
      <dgm:t>
        <a:bodyPr/>
        <a:lstStyle/>
        <a:p>
          <a:endParaRPr lang="es-ES" sz="2400"/>
        </a:p>
      </dgm:t>
    </dgm:pt>
    <dgm:pt modelId="{FD2092F1-09D7-4570-B40B-4FBEFCA2721B}" type="sibTrans" cxnId="{4FE8731C-894F-40CE-8F77-B1193DEF04AC}">
      <dgm:prSet/>
      <dgm:spPr/>
      <dgm:t>
        <a:bodyPr/>
        <a:lstStyle/>
        <a:p>
          <a:endParaRPr lang="es-ES" sz="2400"/>
        </a:p>
      </dgm:t>
    </dgm:pt>
    <dgm:pt modelId="{A92ECA6C-0E4E-4404-AF1D-D99E8C2AF5BA}">
      <dgm:prSet phldrT="[Texto]" custT="1"/>
      <dgm:spPr/>
      <dgm:t>
        <a:bodyPr/>
        <a:lstStyle/>
        <a:p>
          <a:r>
            <a:rPr lang="es-ES_tradnl" sz="1400" dirty="0"/>
            <a:t>Intenta convertir la información en ingresos o activos.</a:t>
          </a:r>
          <a:endParaRPr lang="es-ES" sz="1400" dirty="0"/>
        </a:p>
      </dgm:t>
    </dgm:pt>
    <dgm:pt modelId="{77620212-8C49-4D01-94BE-175E1E7C6E6B}" type="parTrans" cxnId="{BBA97337-C21F-4849-817F-FFEC31BB76F3}">
      <dgm:prSet/>
      <dgm:spPr/>
      <dgm:t>
        <a:bodyPr/>
        <a:lstStyle/>
        <a:p>
          <a:endParaRPr lang="es-ES" sz="2400"/>
        </a:p>
      </dgm:t>
    </dgm:pt>
    <dgm:pt modelId="{872E5A3A-6936-44D7-9FD3-0B58E0D4907D}" type="sibTrans" cxnId="{BBA97337-C21F-4849-817F-FFEC31BB76F3}">
      <dgm:prSet/>
      <dgm:spPr/>
      <dgm:t>
        <a:bodyPr/>
        <a:lstStyle/>
        <a:p>
          <a:endParaRPr lang="es-ES" sz="2400"/>
        </a:p>
      </dgm:t>
    </dgm:pt>
    <dgm:pt modelId="{76F019F5-68DF-4E20-B68A-75278099ECC0}">
      <dgm:prSet phldrT="[Texto]" custT="1"/>
      <dgm:spPr/>
      <dgm:t>
        <a:bodyPr/>
        <a:lstStyle/>
        <a:p>
          <a:r>
            <a:rPr lang="es-ES_tradnl" sz="1400" dirty="0"/>
            <a:t>Conocimiento de administración de sistemas y desarrollo software.</a:t>
          </a:r>
          <a:endParaRPr lang="es-ES" sz="1400" dirty="0"/>
        </a:p>
      </dgm:t>
    </dgm:pt>
    <dgm:pt modelId="{48EA1213-5018-4690-BE2B-AEFA42897EB1}" type="parTrans" cxnId="{43659396-219C-44BD-B44D-835AE379592E}">
      <dgm:prSet/>
      <dgm:spPr/>
      <dgm:t>
        <a:bodyPr/>
        <a:lstStyle/>
        <a:p>
          <a:endParaRPr lang="es-ES" sz="2400"/>
        </a:p>
      </dgm:t>
    </dgm:pt>
    <dgm:pt modelId="{E5CBBBC2-9ADE-4529-9157-A17FF7DE6B7B}" type="sibTrans" cxnId="{43659396-219C-44BD-B44D-835AE379592E}">
      <dgm:prSet/>
      <dgm:spPr/>
      <dgm:t>
        <a:bodyPr/>
        <a:lstStyle/>
        <a:p>
          <a:endParaRPr lang="es-ES" sz="2400"/>
        </a:p>
      </dgm:t>
    </dgm:pt>
    <dgm:pt modelId="{27575643-5E4E-4CA1-8E4A-CAFB30F30A35}">
      <dgm:prSet custT="1"/>
      <dgm:spPr/>
      <dgm:t>
        <a:bodyPr/>
        <a:lstStyle/>
        <a:p>
          <a:r>
            <a:rPr lang="es-ES" sz="1400" dirty="0"/>
            <a:t>Y las implementaciones de machine learning).</a:t>
          </a:r>
        </a:p>
      </dgm:t>
    </dgm:pt>
    <dgm:pt modelId="{621CC752-7187-4338-8AD2-364E7997FE1E}" type="parTrans" cxnId="{DB01DDA6-3925-4D2C-BFC4-5656A31DDCC8}">
      <dgm:prSet/>
      <dgm:spPr/>
      <dgm:t>
        <a:bodyPr/>
        <a:lstStyle/>
        <a:p>
          <a:endParaRPr lang="es-ES" sz="2400"/>
        </a:p>
      </dgm:t>
    </dgm:pt>
    <dgm:pt modelId="{AEFD78C4-6532-4FE2-B04D-8B3ECA536933}" type="sibTrans" cxnId="{DB01DDA6-3925-4D2C-BFC4-5656A31DDCC8}">
      <dgm:prSet/>
      <dgm:spPr/>
      <dgm:t>
        <a:bodyPr/>
        <a:lstStyle/>
        <a:p>
          <a:endParaRPr lang="es-ES" sz="2400"/>
        </a:p>
      </dgm:t>
    </dgm:pt>
    <dgm:pt modelId="{30E327A5-E1CA-4E1F-AA9C-87B9A963C650}">
      <dgm:prSet phldrT="[Texto]" custT="1"/>
      <dgm:spPr/>
      <dgm:t>
        <a:bodyPr/>
        <a:lstStyle/>
        <a:p>
          <a:r>
            <a:rPr lang="en-US" sz="1400" dirty="0"/>
            <a:t>Prototipado de Algorítmos</a:t>
          </a:r>
          <a:endParaRPr lang="es-ES" sz="1400" dirty="0"/>
        </a:p>
      </dgm:t>
    </dgm:pt>
    <dgm:pt modelId="{8ECCC7B5-AFE9-4D5C-9FC8-E247AC3C020D}" type="parTrans" cxnId="{A7375AD5-7D1A-45BC-A9E5-57ECF5781A29}">
      <dgm:prSet/>
      <dgm:spPr/>
      <dgm:t>
        <a:bodyPr/>
        <a:lstStyle/>
        <a:p>
          <a:endParaRPr lang="es-ES" sz="2400"/>
        </a:p>
      </dgm:t>
    </dgm:pt>
    <dgm:pt modelId="{2B876C7F-2FC2-49E7-9CD3-9CFD4CD988C2}" type="sibTrans" cxnId="{A7375AD5-7D1A-45BC-A9E5-57ECF5781A29}">
      <dgm:prSet/>
      <dgm:spPr/>
      <dgm:t>
        <a:bodyPr/>
        <a:lstStyle/>
        <a:p>
          <a:endParaRPr lang="es-ES" sz="2400"/>
        </a:p>
      </dgm:t>
    </dgm:pt>
    <dgm:pt modelId="{B8F78415-0D8C-4218-99E1-4FC096A702A1}" type="pres">
      <dgm:prSet presAssocID="{54A8543A-484F-4739-BA47-4290C63D4D3C}" presName="Name0" presStyleCnt="0">
        <dgm:presLayoutVars>
          <dgm:dir/>
          <dgm:animLvl val="lvl"/>
          <dgm:resizeHandles val="exact"/>
        </dgm:presLayoutVars>
      </dgm:prSet>
      <dgm:spPr/>
    </dgm:pt>
    <dgm:pt modelId="{36855CD8-71E6-40CC-B074-35D47A122420}" type="pres">
      <dgm:prSet presAssocID="{E22C78A3-3A5C-4FC4-8F0D-025D8A24DE42}" presName="composite" presStyleCnt="0"/>
      <dgm:spPr/>
    </dgm:pt>
    <dgm:pt modelId="{9DFD9D86-3B58-4F4D-B70C-3DEE158E8D08}" type="pres">
      <dgm:prSet presAssocID="{E22C78A3-3A5C-4FC4-8F0D-025D8A24DE42}" presName="parTx" presStyleLbl="alignNode1" presStyleIdx="0" presStyleCnt="7">
        <dgm:presLayoutVars>
          <dgm:chMax val="0"/>
          <dgm:chPref val="0"/>
          <dgm:bulletEnabled val="1"/>
        </dgm:presLayoutVars>
      </dgm:prSet>
      <dgm:spPr/>
    </dgm:pt>
    <dgm:pt modelId="{88AAA970-C5DF-4277-A87A-03F134E43434}" type="pres">
      <dgm:prSet presAssocID="{E22C78A3-3A5C-4FC4-8F0D-025D8A24DE42}" presName="desTx" presStyleLbl="alignAccFollowNode1" presStyleIdx="0" presStyleCnt="7">
        <dgm:presLayoutVars>
          <dgm:bulletEnabled val="1"/>
        </dgm:presLayoutVars>
      </dgm:prSet>
      <dgm:spPr/>
    </dgm:pt>
    <dgm:pt modelId="{F544E4AA-85BD-4DB3-B110-E637E66CAE2B}" type="pres">
      <dgm:prSet presAssocID="{2C6AB390-EE94-4F6F-AFAD-41BC95310581}" presName="space" presStyleCnt="0"/>
      <dgm:spPr/>
    </dgm:pt>
    <dgm:pt modelId="{728173F1-85D5-47D8-80B3-57E8E000880C}" type="pres">
      <dgm:prSet presAssocID="{DB1D5ADB-2D28-49E1-8FB8-A93847CB3644}" presName="composite" presStyleCnt="0"/>
      <dgm:spPr/>
    </dgm:pt>
    <dgm:pt modelId="{5CF332A6-EA93-4B2D-9004-F5C6CA8430B6}" type="pres">
      <dgm:prSet presAssocID="{DB1D5ADB-2D28-49E1-8FB8-A93847CB3644}" presName="parTx" presStyleLbl="alignNode1" presStyleIdx="1" presStyleCnt="7">
        <dgm:presLayoutVars>
          <dgm:chMax val="0"/>
          <dgm:chPref val="0"/>
          <dgm:bulletEnabled val="1"/>
        </dgm:presLayoutVars>
      </dgm:prSet>
      <dgm:spPr/>
    </dgm:pt>
    <dgm:pt modelId="{4C9AF939-4A83-405E-87F3-395E9BA6DB1D}" type="pres">
      <dgm:prSet presAssocID="{DB1D5ADB-2D28-49E1-8FB8-A93847CB3644}" presName="desTx" presStyleLbl="alignAccFollowNode1" presStyleIdx="1" presStyleCnt="7">
        <dgm:presLayoutVars>
          <dgm:bulletEnabled val="1"/>
        </dgm:presLayoutVars>
      </dgm:prSet>
      <dgm:spPr/>
    </dgm:pt>
    <dgm:pt modelId="{1CDE5481-B66D-44E7-84DB-B194E4EDF7EB}" type="pres">
      <dgm:prSet presAssocID="{CA51F13E-1789-4C25-B9C1-0C075F80E78D}" presName="space" presStyleCnt="0"/>
      <dgm:spPr/>
    </dgm:pt>
    <dgm:pt modelId="{5868707D-A5B5-43D5-928B-570C62DAF3F7}" type="pres">
      <dgm:prSet presAssocID="{E7B8F67C-1DEF-4D4E-BFF6-8A288DF5D0CC}" presName="composite" presStyleCnt="0"/>
      <dgm:spPr/>
    </dgm:pt>
    <dgm:pt modelId="{48F0D91E-8BDD-41DC-AA82-F91BCCFFFB13}" type="pres">
      <dgm:prSet presAssocID="{E7B8F67C-1DEF-4D4E-BFF6-8A288DF5D0CC}" presName="parTx" presStyleLbl="alignNode1" presStyleIdx="2" presStyleCnt="7">
        <dgm:presLayoutVars>
          <dgm:chMax val="0"/>
          <dgm:chPref val="0"/>
          <dgm:bulletEnabled val="1"/>
        </dgm:presLayoutVars>
      </dgm:prSet>
      <dgm:spPr/>
    </dgm:pt>
    <dgm:pt modelId="{08A6C346-7062-4CC2-9287-EC49FB1BF146}" type="pres">
      <dgm:prSet presAssocID="{E7B8F67C-1DEF-4D4E-BFF6-8A288DF5D0CC}" presName="desTx" presStyleLbl="alignAccFollowNode1" presStyleIdx="2" presStyleCnt="7">
        <dgm:presLayoutVars>
          <dgm:bulletEnabled val="1"/>
        </dgm:presLayoutVars>
      </dgm:prSet>
      <dgm:spPr/>
    </dgm:pt>
    <dgm:pt modelId="{ECE0D1C2-448F-4DF8-ADA2-1D7F10C41F0F}" type="pres">
      <dgm:prSet presAssocID="{5406AAAD-C9B9-4013-8208-11A7751D56ED}" presName="space" presStyleCnt="0"/>
      <dgm:spPr/>
    </dgm:pt>
    <dgm:pt modelId="{7629B2B7-3AC9-454A-9E64-9F861DF7C820}" type="pres">
      <dgm:prSet presAssocID="{80B2D138-955B-4766-92F4-D3ABFCEB3F67}" presName="composite" presStyleCnt="0"/>
      <dgm:spPr/>
    </dgm:pt>
    <dgm:pt modelId="{A3166CEF-2F74-4ACD-89B4-3647F378776B}" type="pres">
      <dgm:prSet presAssocID="{80B2D138-955B-4766-92F4-D3ABFCEB3F67}" presName="parTx" presStyleLbl="alignNode1" presStyleIdx="3" presStyleCnt="7">
        <dgm:presLayoutVars>
          <dgm:chMax val="0"/>
          <dgm:chPref val="0"/>
          <dgm:bulletEnabled val="1"/>
        </dgm:presLayoutVars>
      </dgm:prSet>
      <dgm:spPr/>
    </dgm:pt>
    <dgm:pt modelId="{A62149E3-325D-4763-AE82-AC51D31CB151}" type="pres">
      <dgm:prSet presAssocID="{80B2D138-955B-4766-92F4-D3ABFCEB3F67}" presName="desTx" presStyleLbl="alignAccFollowNode1" presStyleIdx="3" presStyleCnt="7">
        <dgm:presLayoutVars>
          <dgm:bulletEnabled val="1"/>
        </dgm:presLayoutVars>
      </dgm:prSet>
      <dgm:spPr/>
    </dgm:pt>
    <dgm:pt modelId="{48A16D29-B094-44D9-A305-A7255C8AA7BE}" type="pres">
      <dgm:prSet presAssocID="{7841CECD-80B4-4C71-82AD-08C82A701E36}" presName="space" presStyleCnt="0"/>
      <dgm:spPr/>
    </dgm:pt>
    <dgm:pt modelId="{4BCD9A95-FA71-420D-A028-021169EEEA11}" type="pres">
      <dgm:prSet presAssocID="{F7F359FF-C2AE-4A45-AFD4-30599607528A}" presName="composite" presStyleCnt="0"/>
      <dgm:spPr/>
    </dgm:pt>
    <dgm:pt modelId="{0EDA6B99-9ACD-4A9E-89FB-B4DCDFC7B891}" type="pres">
      <dgm:prSet presAssocID="{F7F359FF-C2AE-4A45-AFD4-30599607528A}" presName="parTx" presStyleLbl="alignNode1" presStyleIdx="4" presStyleCnt="7">
        <dgm:presLayoutVars>
          <dgm:chMax val="0"/>
          <dgm:chPref val="0"/>
          <dgm:bulletEnabled val="1"/>
        </dgm:presLayoutVars>
      </dgm:prSet>
      <dgm:spPr/>
    </dgm:pt>
    <dgm:pt modelId="{65AF5B0A-FB12-4427-859B-46E4A68719DC}" type="pres">
      <dgm:prSet presAssocID="{F7F359FF-C2AE-4A45-AFD4-30599607528A}" presName="desTx" presStyleLbl="alignAccFollowNode1" presStyleIdx="4" presStyleCnt="7">
        <dgm:presLayoutVars>
          <dgm:bulletEnabled val="1"/>
        </dgm:presLayoutVars>
      </dgm:prSet>
      <dgm:spPr/>
    </dgm:pt>
    <dgm:pt modelId="{2EC46986-0793-43BE-954C-C6507A817CB3}" type="pres">
      <dgm:prSet presAssocID="{F04B678E-C291-44BB-B2CA-8B152A590140}" presName="space" presStyleCnt="0"/>
      <dgm:spPr/>
    </dgm:pt>
    <dgm:pt modelId="{F6730B81-65ED-4EB7-BEBA-126212310CCC}" type="pres">
      <dgm:prSet presAssocID="{B38CBC02-D4CF-40AD-9D70-4160DEDAE5E2}" presName="composite" presStyleCnt="0"/>
      <dgm:spPr/>
    </dgm:pt>
    <dgm:pt modelId="{D3427A04-C27E-445B-8F2E-2B7B096F911A}" type="pres">
      <dgm:prSet presAssocID="{B38CBC02-D4CF-40AD-9D70-4160DEDAE5E2}" presName="parTx" presStyleLbl="alignNode1" presStyleIdx="5" presStyleCnt="7">
        <dgm:presLayoutVars>
          <dgm:chMax val="0"/>
          <dgm:chPref val="0"/>
          <dgm:bulletEnabled val="1"/>
        </dgm:presLayoutVars>
      </dgm:prSet>
      <dgm:spPr/>
    </dgm:pt>
    <dgm:pt modelId="{9A8E27E0-F12F-40E9-8D4B-15A6A5DC6F5A}" type="pres">
      <dgm:prSet presAssocID="{B38CBC02-D4CF-40AD-9D70-4160DEDAE5E2}" presName="desTx" presStyleLbl="alignAccFollowNode1" presStyleIdx="5" presStyleCnt="7">
        <dgm:presLayoutVars>
          <dgm:bulletEnabled val="1"/>
        </dgm:presLayoutVars>
      </dgm:prSet>
      <dgm:spPr/>
    </dgm:pt>
    <dgm:pt modelId="{E2742E62-E23F-43F4-859E-EFA48E76B1F9}" type="pres">
      <dgm:prSet presAssocID="{4E5C2A14-22CF-4679-B72D-70F06EA5F384}" presName="space" presStyleCnt="0"/>
      <dgm:spPr/>
    </dgm:pt>
    <dgm:pt modelId="{5599E471-5D69-4A40-BFAA-532CE175CDEB}" type="pres">
      <dgm:prSet presAssocID="{CE167B27-3294-4E6B-BF02-A96D9719C575}" presName="composite" presStyleCnt="0"/>
      <dgm:spPr/>
    </dgm:pt>
    <dgm:pt modelId="{A6563BC6-27B6-4738-B1F8-32244068267A}" type="pres">
      <dgm:prSet presAssocID="{CE167B27-3294-4E6B-BF02-A96D9719C575}" presName="parTx" presStyleLbl="alignNode1" presStyleIdx="6" presStyleCnt="7">
        <dgm:presLayoutVars>
          <dgm:chMax val="0"/>
          <dgm:chPref val="0"/>
          <dgm:bulletEnabled val="1"/>
        </dgm:presLayoutVars>
      </dgm:prSet>
      <dgm:spPr/>
    </dgm:pt>
    <dgm:pt modelId="{654A4501-353A-4E14-A805-75D530EB453D}" type="pres">
      <dgm:prSet presAssocID="{CE167B27-3294-4E6B-BF02-A96D9719C575}" presName="desTx" presStyleLbl="alignAccFollowNode1" presStyleIdx="6" presStyleCnt="7">
        <dgm:presLayoutVars>
          <dgm:bulletEnabled val="1"/>
        </dgm:presLayoutVars>
      </dgm:prSet>
      <dgm:spPr/>
    </dgm:pt>
  </dgm:ptLst>
  <dgm:cxnLst>
    <dgm:cxn modelId="{08C55908-A200-4E48-9627-B3F38C778DA4}" type="presOf" srcId="{CD57E64E-63F7-4BB6-A22F-FFE2450BECB4}" destId="{654A4501-353A-4E14-A805-75D530EB453D}" srcOrd="0" destOrd="3" presId="urn:microsoft.com/office/officeart/2005/8/layout/hList1"/>
    <dgm:cxn modelId="{14754509-17C8-4577-BA93-EAC24A94217E}" srcId="{DB1D5ADB-2D28-49E1-8FB8-A93847CB3644}" destId="{75F17E86-725B-4B34-BE24-E8C0726DD18C}" srcOrd="1" destOrd="0" parTransId="{11E30854-BC02-4701-91E8-925EEFA56C11}" sibTransId="{46F122C9-31C4-4178-B5B1-D69EB5C16937}"/>
    <dgm:cxn modelId="{ABD3D30D-F489-4F3E-B3C8-380EDCB9CECB}" type="presOf" srcId="{DB331857-7DA0-4D54-A8DB-6712FBE73277}" destId="{65AF5B0A-FB12-4427-859B-46E4A68719DC}" srcOrd="0" destOrd="0" presId="urn:microsoft.com/office/officeart/2005/8/layout/hList1"/>
    <dgm:cxn modelId="{5CFAE90D-0E72-4334-B9C1-1F1D80DFB627}" srcId="{54A8543A-484F-4739-BA47-4290C63D4D3C}" destId="{DB1D5ADB-2D28-49E1-8FB8-A93847CB3644}" srcOrd="1" destOrd="0" parTransId="{62575101-FA10-4C54-9A9F-CEEB03F4FBB5}" sibTransId="{CA51F13E-1789-4C25-B9C1-0C075F80E78D}"/>
    <dgm:cxn modelId="{6EC7E410-6666-4F9D-899F-ADE130283CA0}" srcId="{E22C78A3-3A5C-4FC4-8F0D-025D8A24DE42}" destId="{F250443F-ECF5-4DAB-BD99-77B8FD67ED1C}" srcOrd="1" destOrd="0" parTransId="{F7167EEA-3FFA-47B2-A396-8683883BC6BF}" sibTransId="{5C7AF3CD-804C-4510-ACDC-188CA67B930C}"/>
    <dgm:cxn modelId="{D218DE17-2986-4271-A00A-D1EBFCB157D2}" type="presOf" srcId="{A84B5537-F98F-4B66-8EBA-CE9CB32623D8}" destId="{654A4501-353A-4E14-A805-75D530EB453D}" srcOrd="0" destOrd="1" presId="urn:microsoft.com/office/officeart/2005/8/layout/hList1"/>
    <dgm:cxn modelId="{BA8D7619-525C-4EC0-84B0-898134BB37CE}" type="presOf" srcId="{80B2D138-955B-4766-92F4-D3ABFCEB3F67}" destId="{A3166CEF-2F74-4ACD-89B4-3647F378776B}" srcOrd="0" destOrd="0" presId="urn:microsoft.com/office/officeart/2005/8/layout/hList1"/>
    <dgm:cxn modelId="{4FE8731C-894F-40CE-8F77-B1193DEF04AC}" srcId="{E22C78A3-3A5C-4FC4-8F0D-025D8A24DE42}" destId="{F40BCB64-20D5-48AF-BCA7-C386E552FABB}" srcOrd="3" destOrd="0" parTransId="{29484EF0-5FD9-4F05-A6C5-83B8D24BBE81}" sibTransId="{FD2092F1-09D7-4570-B40B-4FBEFCA2721B}"/>
    <dgm:cxn modelId="{A10AC71D-0F35-4A28-8B30-D61680C7D90F}" type="presOf" srcId="{8C547D47-83AF-47E9-AE93-B76259E3AE58}" destId="{4C9AF939-4A83-405E-87F3-395E9BA6DB1D}" srcOrd="0" destOrd="0" presId="urn:microsoft.com/office/officeart/2005/8/layout/hList1"/>
    <dgm:cxn modelId="{315E9B21-1EB4-4C33-AE30-D25AA0A63770}" srcId="{E7B8F67C-1DEF-4D4E-BFF6-8A288DF5D0CC}" destId="{C3DE2A82-7518-4D48-BABB-DD535712ABE6}" srcOrd="1" destOrd="0" parTransId="{363B6882-C2CC-4CA7-8F6D-305B9DF864C8}" sibTransId="{50464262-175B-4C87-94CE-48D5FCCE3D98}"/>
    <dgm:cxn modelId="{26EBF72B-B3C5-4AF4-BEEC-2780895FDE43}" srcId="{F7F359FF-C2AE-4A45-AFD4-30599607528A}" destId="{DB331857-7DA0-4D54-A8DB-6712FBE73277}" srcOrd="0" destOrd="0" parTransId="{818F5981-0E2D-461A-A0BF-376693B04896}" sibTransId="{B9EEC654-196C-49DF-8CD0-E0CFBC4AF2A4}"/>
    <dgm:cxn modelId="{39E9702F-89D4-40E7-B4BB-E3882C3F37CF}" type="presOf" srcId="{C062DC26-B54B-4E24-B4CE-5DCBE3C88916}" destId="{88AAA970-C5DF-4277-A87A-03F134E43434}" srcOrd="0" destOrd="0" presId="urn:microsoft.com/office/officeart/2005/8/layout/hList1"/>
    <dgm:cxn modelId="{5C89A830-65FC-4701-BD7D-DEC20F8C9686}" srcId="{54A8543A-484F-4739-BA47-4290C63D4D3C}" destId="{B38CBC02-D4CF-40AD-9D70-4160DEDAE5E2}" srcOrd="5" destOrd="0" parTransId="{39DCFAEA-9A3D-4BB3-B134-61FE3B4DD0F3}" sibTransId="{4E5C2A14-22CF-4679-B72D-70F06EA5F384}"/>
    <dgm:cxn modelId="{992FA633-2375-4E37-8215-C297E548DC7D}" type="presOf" srcId="{6AF461DD-C179-491D-9609-38A65427982B}" destId="{65AF5B0A-FB12-4427-859B-46E4A68719DC}" srcOrd="0" destOrd="2" presId="urn:microsoft.com/office/officeart/2005/8/layout/hList1"/>
    <dgm:cxn modelId="{37804E34-D57C-4195-95E8-E4C6CF1C0EA3}" srcId="{E7B8F67C-1DEF-4D4E-BFF6-8A288DF5D0CC}" destId="{707EF725-FF0C-462D-83A6-ACB03C1BF326}" srcOrd="4" destOrd="0" parTransId="{E97395F4-2CCE-4284-A750-8D1D62BFE3AB}" sibTransId="{57C62FC6-5ECC-4222-B9A1-DE3789511C77}"/>
    <dgm:cxn modelId="{B992BE35-46AA-46E4-A956-52EECFF01E80}" srcId="{E22C78A3-3A5C-4FC4-8F0D-025D8A24DE42}" destId="{C062DC26-B54B-4E24-B4CE-5DCBE3C88916}" srcOrd="0" destOrd="0" parTransId="{B601F983-691C-4F3F-AD96-E1FC4496A569}" sibTransId="{BE4E8A2F-3984-4FD8-AE1C-777630051B8F}"/>
    <dgm:cxn modelId="{BBA97337-C21F-4849-817F-FFEC31BB76F3}" srcId="{E22C78A3-3A5C-4FC4-8F0D-025D8A24DE42}" destId="{A92ECA6C-0E4E-4404-AF1D-D99E8C2AF5BA}" srcOrd="4" destOrd="0" parTransId="{77620212-8C49-4D01-94BE-175E1E7C6E6B}" sibTransId="{872E5A3A-6936-44D7-9FD3-0B58E0D4907D}"/>
    <dgm:cxn modelId="{01ABC75C-0F65-459C-8A9B-AD54E6B63E3F}" srcId="{CE167B27-3294-4E6B-BF02-A96D9719C575}" destId="{A84B5537-F98F-4B66-8EBA-CE9CB32623D8}" srcOrd="1" destOrd="0" parTransId="{0B2DA0F3-726C-4579-94F3-54F7D2D11C0C}" sibTransId="{348C24EA-1F31-4129-9532-AC94DF63D614}"/>
    <dgm:cxn modelId="{4D9A855D-5C78-45FE-B78F-F40BE4FDB5DC}" type="presOf" srcId="{B12543BC-164A-49A4-AFC7-AE899869BEEB}" destId="{9A8E27E0-F12F-40E9-8D4B-15A6A5DC6F5A}" srcOrd="0" destOrd="0" presId="urn:microsoft.com/office/officeart/2005/8/layout/hList1"/>
    <dgm:cxn modelId="{4CBC7A43-5A35-45AF-87C7-7E2680C6CA17}" type="presOf" srcId="{CE167B27-3294-4E6B-BF02-A96D9719C575}" destId="{A6563BC6-27B6-4738-B1F8-32244068267A}" srcOrd="0" destOrd="0" presId="urn:microsoft.com/office/officeart/2005/8/layout/hList1"/>
    <dgm:cxn modelId="{6A2A944B-0913-40D3-8E16-79B74226834A}" srcId="{F7F359FF-C2AE-4A45-AFD4-30599607528A}" destId="{443C2C7A-F8B3-4D9B-AD82-B4B3DCF4B2B1}" srcOrd="1" destOrd="0" parTransId="{245058E4-68C4-44EF-856F-B157CD0E4EF1}" sibTransId="{CB726509-BA2A-4EFE-B33A-08A18AB7F76B}"/>
    <dgm:cxn modelId="{287C1E4D-FDBC-41CB-B00A-805FBDF1F55A}" type="presOf" srcId="{B1F1E62A-D02E-4F36-B1B8-C0A7593D0545}" destId="{08A6C346-7062-4CC2-9287-EC49FB1BF146}" srcOrd="0" destOrd="0" presId="urn:microsoft.com/office/officeart/2005/8/layout/hList1"/>
    <dgm:cxn modelId="{FC76C94D-C998-4196-8E5F-8A32F7BA92C6}" type="presOf" srcId="{A92ECA6C-0E4E-4404-AF1D-D99E8C2AF5BA}" destId="{88AAA970-C5DF-4277-A87A-03F134E43434}" srcOrd="0" destOrd="4" presId="urn:microsoft.com/office/officeart/2005/8/layout/hList1"/>
    <dgm:cxn modelId="{2A2F484F-0184-4689-A4EC-8502C5BE95A7}" srcId="{F7F359FF-C2AE-4A45-AFD4-30599607528A}" destId="{6AF461DD-C179-491D-9609-38A65427982B}" srcOrd="2" destOrd="0" parTransId="{25D862BE-F1E3-452A-8DAC-B226C71C72A3}" sibTransId="{81BDE875-320E-454C-9179-E01439362864}"/>
    <dgm:cxn modelId="{C6B0A571-4937-42E3-A591-63B47FA6C1E5}" srcId="{80B2D138-955B-4766-92F4-D3ABFCEB3F67}" destId="{8C5423BC-930F-40F3-ACF3-767B709884F5}" srcOrd="0" destOrd="0" parTransId="{47082B6D-3BC4-45CA-B170-9F04034496CD}" sibTransId="{CDCBFABC-6B5B-4A21-9F36-80F80A284D94}"/>
    <dgm:cxn modelId="{F6153E72-153C-4F26-BEC1-5BA00C020E63}" type="presOf" srcId="{B38CBC02-D4CF-40AD-9D70-4160DEDAE5E2}" destId="{D3427A04-C27E-445B-8F2E-2B7B096F911A}" srcOrd="0" destOrd="0" presId="urn:microsoft.com/office/officeart/2005/8/layout/hList1"/>
    <dgm:cxn modelId="{188E6372-0BEB-4296-B12A-3680F56EB582}" srcId="{54A8543A-484F-4739-BA47-4290C63D4D3C}" destId="{80B2D138-955B-4766-92F4-D3ABFCEB3F67}" srcOrd="3" destOrd="0" parTransId="{C834987E-14A6-471A-AB08-AF8DCF9D0C52}" sibTransId="{7841CECD-80B4-4C71-82AD-08C82A701E36}"/>
    <dgm:cxn modelId="{34DC4C75-F2F3-4FA6-8CB6-7280D29B2E7D}" type="presOf" srcId="{589AC2AD-D287-4335-BCE8-FEC3FC8ADC11}" destId="{A62149E3-325D-4763-AE82-AC51D31CB151}" srcOrd="0" destOrd="1" presId="urn:microsoft.com/office/officeart/2005/8/layout/hList1"/>
    <dgm:cxn modelId="{224BE378-0277-4B32-8001-C380D1D9913E}" type="presOf" srcId="{2683EE02-0F61-4E43-BD6B-2BE1A238D8CF}" destId="{88AAA970-C5DF-4277-A87A-03F134E43434}" srcOrd="0" destOrd="2" presId="urn:microsoft.com/office/officeart/2005/8/layout/hList1"/>
    <dgm:cxn modelId="{28D9697D-CDE0-411D-98FC-2688D9771B7A}" srcId="{80B2D138-955B-4766-92F4-D3ABFCEB3F67}" destId="{762B92ED-7EB9-470B-ABD8-0505545A57D2}" srcOrd="2" destOrd="0" parTransId="{C52C7D38-93DB-4F8A-A49E-CE9A421CCB03}" sibTransId="{33507AC0-94B9-4A0B-BBAD-170967CFA7AF}"/>
    <dgm:cxn modelId="{9BC9DA7E-BF6B-429A-AB88-F296E5B20B07}" type="presOf" srcId="{707EF725-FF0C-462D-83A6-ACB03C1BF326}" destId="{08A6C346-7062-4CC2-9287-EC49FB1BF146}" srcOrd="0" destOrd="4" presId="urn:microsoft.com/office/officeart/2005/8/layout/hList1"/>
    <dgm:cxn modelId="{DDFEC67F-EA99-4689-B42C-8D4EDFF83655}" type="presOf" srcId="{83E03AFB-A9FB-4F1F-B5C9-11C6E41F1691}" destId="{654A4501-353A-4E14-A805-75D530EB453D}" srcOrd="0" destOrd="0" presId="urn:microsoft.com/office/officeart/2005/8/layout/hList1"/>
    <dgm:cxn modelId="{C7D15581-EE55-4548-B8A8-F6611EF559F6}" srcId="{80B2D138-955B-4766-92F4-D3ABFCEB3F67}" destId="{589AC2AD-D287-4335-BCE8-FEC3FC8ADC11}" srcOrd="1" destOrd="0" parTransId="{ACBB2824-9D16-4CEF-82F0-19F4FE1FB897}" sibTransId="{DB9E9F74-BF51-4744-ACAF-CD791D5DB5A7}"/>
    <dgm:cxn modelId="{0B1A4689-909A-42C4-8096-C5B65E7E2851}" type="presOf" srcId="{61D91DFA-EFFF-4B9E-A1D6-EE70C52951AE}" destId="{654A4501-353A-4E14-A805-75D530EB453D}" srcOrd="0" destOrd="2" presId="urn:microsoft.com/office/officeart/2005/8/layout/hList1"/>
    <dgm:cxn modelId="{2457308B-2736-480C-B800-36F968179031}" srcId="{B38CBC02-D4CF-40AD-9D70-4160DEDAE5E2}" destId="{B12543BC-164A-49A4-AFC7-AE899869BEEB}" srcOrd="0" destOrd="0" parTransId="{C83343BE-F0C6-4571-9785-603E726B6C89}" sibTransId="{9EAF475D-5ACC-466A-8F9F-92548BDF0EF5}"/>
    <dgm:cxn modelId="{A7D91E8F-59DF-44A7-8D33-5B87A937CA55}" srcId="{CE167B27-3294-4E6B-BF02-A96D9719C575}" destId="{CD57E64E-63F7-4BB6-A22F-FFE2450BECB4}" srcOrd="3" destOrd="0" parTransId="{D2BE2AC7-22FD-45DF-B05A-EF4D8D7F27AA}" sibTransId="{61174765-9787-4589-95A1-29534242DB45}"/>
    <dgm:cxn modelId="{43659396-219C-44BD-B44D-835AE379592E}" srcId="{DB1D5ADB-2D28-49E1-8FB8-A93847CB3644}" destId="{76F019F5-68DF-4E20-B68A-75278099ECC0}" srcOrd="2" destOrd="0" parTransId="{48EA1213-5018-4690-BE2B-AEFA42897EB1}" sibTransId="{E5CBBBC2-9ADE-4529-9157-A17FF7DE6B7B}"/>
    <dgm:cxn modelId="{321B0697-0F5B-4C08-B3B1-D7B6457B4B87}" type="presOf" srcId="{8C5423BC-930F-40F3-ACF3-767B709884F5}" destId="{A62149E3-325D-4763-AE82-AC51D31CB151}" srcOrd="0" destOrd="0" presId="urn:microsoft.com/office/officeart/2005/8/layout/hList1"/>
    <dgm:cxn modelId="{1A3D6599-AF1F-4C19-AF15-AA967C7F81AE}" type="presOf" srcId="{E7B8F67C-1DEF-4D4E-BFF6-8A288DF5D0CC}" destId="{48F0D91E-8BDD-41DC-AA82-F91BCCFFFB13}" srcOrd="0" destOrd="0" presId="urn:microsoft.com/office/officeart/2005/8/layout/hList1"/>
    <dgm:cxn modelId="{E99E499C-32C2-40C2-8347-CEF27B7BD718}" type="presOf" srcId="{443C2C7A-F8B3-4D9B-AD82-B4B3DCF4B2B1}" destId="{65AF5B0A-FB12-4427-859B-46E4A68719DC}" srcOrd="0" destOrd="1" presId="urn:microsoft.com/office/officeart/2005/8/layout/hList1"/>
    <dgm:cxn modelId="{4111DA9C-0F23-4754-B543-39630B1C9820}" srcId="{E22C78A3-3A5C-4FC4-8F0D-025D8A24DE42}" destId="{2683EE02-0F61-4E43-BD6B-2BE1A238D8CF}" srcOrd="2" destOrd="0" parTransId="{90B45D50-5A31-490C-8D45-A4029E93E52E}" sibTransId="{5D7CAB3A-776C-4E56-B768-1471FFD5147B}"/>
    <dgm:cxn modelId="{D176A49E-86BB-4E85-B9BD-41DA630CAB43}" srcId="{E7B8F67C-1DEF-4D4E-BFF6-8A288DF5D0CC}" destId="{B1F1E62A-D02E-4F36-B1B8-C0A7593D0545}" srcOrd="0" destOrd="0" parTransId="{9071243A-4FDF-4925-9DED-75BBF2E632DA}" sibTransId="{DC89C1F9-C4F9-4D57-93C1-56CB1178340C}"/>
    <dgm:cxn modelId="{411981A1-C8C1-4C58-BF71-55A746B799CC}" type="presOf" srcId="{C3DE2A82-7518-4D48-BABB-DD535712ABE6}" destId="{08A6C346-7062-4CC2-9287-EC49FB1BF146}" srcOrd="0" destOrd="1" presId="urn:microsoft.com/office/officeart/2005/8/layout/hList1"/>
    <dgm:cxn modelId="{B11EA7A2-CAEE-45F7-968E-1D4BA1841893}" srcId="{E7B8F67C-1DEF-4D4E-BFF6-8A288DF5D0CC}" destId="{75D45B88-80D1-42CA-9D25-2B091F8A28C0}" srcOrd="5" destOrd="0" parTransId="{584AACB3-588D-4370-80D6-741D041EBC0C}" sibTransId="{25F232E1-729C-4819-9A9F-0DB3D8BABDFA}"/>
    <dgm:cxn modelId="{17AA6EA6-3D6D-479A-9D91-102353BE032C}" srcId="{CE167B27-3294-4E6B-BF02-A96D9719C575}" destId="{83E03AFB-A9FB-4F1F-B5C9-11C6E41F1691}" srcOrd="0" destOrd="0" parTransId="{3D4B1F1A-44D5-4FEF-8917-4BBC67904D05}" sibTransId="{B95CE433-75B9-4FE6-9BE3-75A4B454EFDF}"/>
    <dgm:cxn modelId="{DB01DDA6-3925-4D2C-BFC4-5656A31DDCC8}" srcId="{B38CBC02-D4CF-40AD-9D70-4160DEDAE5E2}" destId="{27575643-5E4E-4CA1-8E4A-CAFB30F30A35}" srcOrd="1" destOrd="0" parTransId="{621CC752-7187-4338-8AD2-364E7997FE1E}" sibTransId="{AEFD78C4-6532-4FE2-B04D-8B3ECA536933}"/>
    <dgm:cxn modelId="{BA04DFA6-0645-4ED4-92A3-8C038550C35F}" srcId="{54A8543A-484F-4739-BA47-4290C63D4D3C}" destId="{F7F359FF-C2AE-4A45-AFD4-30599607528A}" srcOrd="4" destOrd="0" parTransId="{4A154643-F825-45A2-93A3-13D15B545F21}" sibTransId="{F04B678E-C291-44BB-B2CA-8B152A590140}"/>
    <dgm:cxn modelId="{9ACC8AAD-9C6B-458B-8088-3D9808869CEA}" srcId="{54A8543A-484F-4739-BA47-4290C63D4D3C}" destId="{E7B8F67C-1DEF-4D4E-BFF6-8A288DF5D0CC}" srcOrd="2" destOrd="0" parTransId="{88E4BB1D-A70F-4DC4-8B3B-6A17E6F44D7F}" sibTransId="{5406AAAD-C9B9-4013-8208-11A7751D56ED}"/>
    <dgm:cxn modelId="{76921DAE-887C-4141-85ED-155B07679EF7}" srcId="{54A8543A-484F-4739-BA47-4290C63D4D3C}" destId="{CE167B27-3294-4E6B-BF02-A96D9719C575}" srcOrd="6" destOrd="0" parTransId="{24B40C38-8173-4502-9C35-4880440A5C69}" sibTransId="{8D3EC823-71FD-493B-924C-D408CE21AD7E}"/>
    <dgm:cxn modelId="{ED8B14B6-0CCD-406B-B85C-9CFE46D1D7CB}" type="presOf" srcId="{27575643-5E4E-4CA1-8E4A-CAFB30F30A35}" destId="{9A8E27E0-F12F-40E9-8D4B-15A6A5DC6F5A}" srcOrd="0" destOrd="1" presId="urn:microsoft.com/office/officeart/2005/8/layout/hList1"/>
    <dgm:cxn modelId="{EA6AB2B7-83A5-46DC-B696-0C4819FB9FBA}" type="presOf" srcId="{F250443F-ECF5-4DAB-BD99-77B8FD67ED1C}" destId="{88AAA970-C5DF-4277-A87A-03F134E43434}" srcOrd="0" destOrd="1" presId="urn:microsoft.com/office/officeart/2005/8/layout/hList1"/>
    <dgm:cxn modelId="{1D0C2DBE-2DC3-4D0A-990C-3088B28AFF07}" type="presOf" srcId="{75F17E86-725B-4B34-BE24-E8C0726DD18C}" destId="{4C9AF939-4A83-405E-87F3-395E9BA6DB1D}" srcOrd="0" destOrd="1" presId="urn:microsoft.com/office/officeart/2005/8/layout/hList1"/>
    <dgm:cxn modelId="{9C7174BF-CEDE-4825-893E-580A6276C6B6}" type="presOf" srcId="{75D45B88-80D1-42CA-9D25-2B091F8A28C0}" destId="{08A6C346-7062-4CC2-9287-EC49FB1BF146}" srcOrd="0" destOrd="5" presId="urn:microsoft.com/office/officeart/2005/8/layout/hList1"/>
    <dgm:cxn modelId="{BE44C1BF-1C2A-4DB4-A980-13B586F61B81}" type="presOf" srcId="{DB1D5ADB-2D28-49E1-8FB8-A93847CB3644}" destId="{5CF332A6-EA93-4B2D-9004-F5C6CA8430B6}" srcOrd="0" destOrd="0" presId="urn:microsoft.com/office/officeart/2005/8/layout/hList1"/>
    <dgm:cxn modelId="{A574ACC4-3F8F-42A1-AFAF-B22FFF591CCF}" type="presOf" srcId="{F7F359FF-C2AE-4A45-AFD4-30599607528A}" destId="{0EDA6B99-9ACD-4A9E-89FB-B4DCDFC7B891}" srcOrd="0" destOrd="0" presId="urn:microsoft.com/office/officeart/2005/8/layout/hList1"/>
    <dgm:cxn modelId="{8A4FCDC4-D2F7-4C76-96A6-64FB1C9CECE5}" type="presOf" srcId="{04168473-8B27-4F3A-8659-E5ED5F264C2B}" destId="{08A6C346-7062-4CC2-9287-EC49FB1BF146}" srcOrd="0" destOrd="3" presId="urn:microsoft.com/office/officeart/2005/8/layout/hList1"/>
    <dgm:cxn modelId="{A4A9E5C4-BF8B-4802-9D9B-9EE81FDE480B}" srcId="{CE167B27-3294-4E6B-BF02-A96D9719C575}" destId="{61D91DFA-EFFF-4B9E-A1D6-EE70C52951AE}" srcOrd="2" destOrd="0" parTransId="{256FB08A-AB18-4B0F-A27A-3C44E09FE95E}" sibTransId="{B355AC38-7A02-4594-B212-732C3C8F386C}"/>
    <dgm:cxn modelId="{00A077D2-C379-4BAE-A006-C09F7E0EEFAD}" type="presOf" srcId="{30E327A5-E1CA-4E1F-AA9C-87B9A963C650}" destId="{08A6C346-7062-4CC2-9287-EC49FB1BF146}" srcOrd="0" destOrd="2" presId="urn:microsoft.com/office/officeart/2005/8/layout/hList1"/>
    <dgm:cxn modelId="{66A4F4D2-0873-44A0-9C9C-78A5253405C1}" srcId="{E7B8F67C-1DEF-4D4E-BFF6-8A288DF5D0CC}" destId="{04168473-8B27-4F3A-8659-E5ED5F264C2B}" srcOrd="3" destOrd="0" parTransId="{44416BEA-9B7E-44EB-B1DB-F65093143AD6}" sibTransId="{89D12486-D494-48D7-820F-653E146E2B02}"/>
    <dgm:cxn modelId="{A7375AD5-7D1A-45BC-A9E5-57ECF5781A29}" srcId="{E7B8F67C-1DEF-4D4E-BFF6-8A288DF5D0CC}" destId="{30E327A5-E1CA-4E1F-AA9C-87B9A963C650}" srcOrd="2" destOrd="0" parTransId="{8ECCC7B5-AFE9-4D5C-9FC8-E247AC3C020D}" sibTransId="{2B876C7F-2FC2-49E7-9CD3-9CFD4CD988C2}"/>
    <dgm:cxn modelId="{2E05B4D5-0B70-4442-8798-AE1616F5803F}" type="presOf" srcId="{762B92ED-7EB9-470B-ABD8-0505545A57D2}" destId="{A62149E3-325D-4763-AE82-AC51D31CB151}" srcOrd="0" destOrd="2" presId="urn:microsoft.com/office/officeart/2005/8/layout/hList1"/>
    <dgm:cxn modelId="{DC0AFAE4-52D3-4767-B5C3-103626AA7399}" srcId="{54A8543A-484F-4739-BA47-4290C63D4D3C}" destId="{E22C78A3-3A5C-4FC4-8F0D-025D8A24DE42}" srcOrd="0" destOrd="0" parTransId="{7C29886B-A8EE-467C-B876-E53A0F0ADD9E}" sibTransId="{2C6AB390-EE94-4F6F-AFAD-41BC95310581}"/>
    <dgm:cxn modelId="{F627E9E7-D000-4B14-935C-936C59756D78}" type="presOf" srcId="{54A8543A-484F-4739-BA47-4290C63D4D3C}" destId="{B8F78415-0D8C-4218-99E1-4FC096A702A1}" srcOrd="0" destOrd="0" presId="urn:microsoft.com/office/officeart/2005/8/layout/hList1"/>
    <dgm:cxn modelId="{CE8B8EEE-9F18-4EF0-A601-E7B961FE62E2}" type="presOf" srcId="{76F019F5-68DF-4E20-B68A-75278099ECC0}" destId="{4C9AF939-4A83-405E-87F3-395E9BA6DB1D}" srcOrd="0" destOrd="2" presId="urn:microsoft.com/office/officeart/2005/8/layout/hList1"/>
    <dgm:cxn modelId="{A9F9E3F8-C610-4CDA-80AB-D29B2B47E383}" srcId="{DB1D5ADB-2D28-49E1-8FB8-A93847CB3644}" destId="{8C547D47-83AF-47E9-AE93-B76259E3AE58}" srcOrd="0" destOrd="0" parTransId="{DF7AD876-186A-40C8-880C-72B1F7284737}" sibTransId="{86A85AAD-2C8E-448E-876F-3E4C45FF477C}"/>
    <dgm:cxn modelId="{6D9D82FF-C75D-4014-9D58-0770DCED1254}" type="presOf" srcId="{F40BCB64-20D5-48AF-BCA7-C386E552FABB}" destId="{88AAA970-C5DF-4277-A87A-03F134E43434}" srcOrd="0" destOrd="3" presId="urn:microsoft.com/office/officeart/2005/8/layout/hList1"/>
    <dgm:cxn modelId="{FC8788FF-3475-4F02-B221-1A92D0039AB4}" type="presOf" srcId="{E22C78A3-3A5C-4FC4-8F0D-025D8A24DE42}" destId="{9DFD9D86-3B58-4F4D-B70C-3DEE158E8D08}" srcOrd="0" destOrd="0" presId="urn:microsoft.com/office/officeart/2005/8/layout/hList1"/>
    <dgm:cxn modelId="{7155AD65-C151-4265-986F-5ED3BACFCF79}" type="presParOf" srcId="{B8F78415-0D8C-4218-99E1-4FC096A702A1}" destId="{36855CD8-71E6-40CC-B074-35D47A122420}" srcOrd="0" destOrd="0" presId="urn:microsoft.com/office/officeart/2005/8/layout/hList1"/>
    <dgm:cxn modelId="{B7345F6A-DD5F-4593-9687-E69AA23A759C}" type="presParOf" srcId="{36855CD8-71E6-40CC-B074-35D47A122420}" destId="{9DFD9D86-3B58-4F4D-B70C-3DEE158E8D08}" srcOrd="0" destOrd="0" presId="urn:microsoft.com/office/officeart/2005/8/layout/hList1"/>
    <dgm:cxn modelId="{88CD8602-F8B8-425F-AA48-E245A6790607}" type="presParOf" srcId="{36855CD8-71E6-40CC-B074-35D47A122420}" destId="{88AAA970-C5DF-4277-A87A-03F134E43434}" srcOrd="1" destOrd="0" presId="urn:microsoft.com/office/officeart/2005/8/layout/hList1"/>
    <dgm:cxn modelId="{F5523508-4D3D-434A-BD52-599A96EE0AA5}" type="presParOf" srcId="{B8F78415-0D8C-4218-99E1-4FC096A702A1}" destId="{F544E4AA-85BD-4DB3-B110-E637E66CAE2B}" srcOrd="1" destOrd="0" presId="urn:microsoft.com/office/officeart/2005/8/layout/hList1"/>
    <dgm:cxn modelId="{93C19EC3-B715-4BE9-ABA2-B39F0F7EE65C}" type="presParOf" srcId="{B8F78415-0D8C-4218-99E1-4FC096A702A1}" destId="{728173F1-85D5-47D8-80B3-57E8E000880C}" srcOrd="2" destOrd="0" presId="urn:microsoft.com/office/officeart/2005/8/layout/hList1"/>
    <dgm:cxn modelId="{F5C77997-EB64-446B-9DA7-9C32A88B0E70}" type="presParOf" srcId="{728173F1-85D5-47D8-80B3-57E8E000880C}" destId="{5CF332A6-EA93-4B2D-9004-F5C6CA8430B6}" srcOrd="0" destOrd="0" presId="urn:microsoft.com/office/officeart/2005/8/layout/hList1"/>
    <dgm:cxn modelId="{EDCCD818-9D91-4FD5-B880-6A7B68A4F1DC}" type="presParOf" srcId="{728173F1-85D5-47D8-80B3-57E8E000880C}" destId="{4C9AF939-4A83-405E-87F3-395E9BA6DB1D}" srcOrd="1" destOrd="0" presId="urn:microsoft.com/office/officeart/2005/8/layout/hList1"/>
    <dgm:cxn modelId="{D09F4B7B-1C3E-408C-90FD-84B507544C2F}" type="presParOf" srcId="{B8F78415-0D8C-4218-99E1-4FC096A702A1}" destId="{1CDE5481-B66D-44E7-84DB-B194E4EDF7EB}" srcOrd="3" destOrd="0" presId="urn:microsoft.com/office/officeart/2005/8/layout/hList1"/>
    <dgm:cxn modelId="{35B946D4-D858-4A80-9782-BEF4770216F9}" type="presParOf" srcId="{B8F78415-0D8C-4218-99E1-4FC096A702A1}" destId="{5868707D-A5B5-43D5-928B-570C62DAF3F7}" srcOrd="4" destOrd="0" presId="urn:microsoft.com/office/officeart/2005/8/layout/hList1"/>
    <dgm:cxn modelId="{1B221C5F-8A9E-4718-B846-739C664B6AF2}" type="presParOf" srcId="{5868707D-A5B5-43D5-928B-570C62DAF3F7}" destId="{48F0D91E-8BDD-41DC-AA82-F91BCCFFFB13}" srcOrd="0" destOrd="0" presId="urn:microsoft.com/office/officeart/2005/8/layout/hList1"/>
    <dgm:cxn modelId="{3618D87D-7D93-4D02-B5E4-8117A5A121C3}" type="presParOf" srcId="{5868707D-A5B5-43D5-928B-570C62DAF3F7}" destId="{08A6C346-7062-4CC2-9287-EC49FB1BF146}" srcOrd="1" destOrd="0" presId="urn:microsoft.com/office/officeart/2005/8/layout/hList1"/>
    <dgm:cxn modelId="{D1690239-3015-4B97-AAAE-F0B06C0E0703}" type="presParOf" srcId="{B8F78415-0D8C-4218-99E1-4FC096A702A1}" destId="{ECE0D1C2-448F-4DF8-ADA2-1D7F10C41F0F}" srcOrd="5" destOrd="0" presId="urn:microsoft.com/office/officeart/2005/8/layout/hList1"/>
    <dgm:cxn modelId="{0B806DD5-AC16-4950-A113-FAE5C6CEBECE}" type="presParOf" srcId="{B8F78415-0D8C-4218-99E1-4FC096A702A1}" destId="{7629B2B7-3AC9-454A-9E64-9F861DF7C820}" srcOrd="6" destOrd="0" presId="urn:microsoft.com/office/officeart/2005/8/layout/hList1"/>
    <dgm:cxn modelId="{25F057E8-E688-4D05-A736-7A5622C010AF}" type="presParOf" srcId="{7629B2B7-3AC9-454A-9E64-9F861DF7C820}" destId="{A3166CEF-2F74-4ACD-89B4-3647F378776B}" srcOrd="0" destOrd="0" presId="urn:microsoft.com/office/officeart/2005/8/layout/hList1"/>
    <dgm:cxn modelId="{28B73910-E0AB-4F50-928F-82A304B55BA5}" type="presParOf" srcId="{7629B2B7-3AC9-454A-9E64-9F861DF7C820}" destId="{A62149E3-325D-4763-AE82-AC51D31CB151}" srcOrd="1" destOrd="0" presId="urn:microsoft.com/office/officeart/2005/8/layout/hList1"/>
    <dgm:cxn modelId="{710F0142-1F99-478B-BDFB-0922C05A233C}" type="presParOf" srcId="{B8F78415-0D8C-4218-99E1-4FC096A702A1}" destId="{48A16D29-B094-44D9-A305-A7255C8AA7BE}" srcOrd="7" destOrd="0" presId="urn:microsoft.com/office/officeart/2005/8/layout/hList1"/>
    <dgm:cxn modelId="{AC6E33AA-CFD8-41E1-937B-64F520EE57B2}" type="presParOf" srcId="{B8F78415-0D8C-4218-99E1-4FC096A702A1}" destId="{4BCD9A95-FA71-420D-A028-021169EEEA11}" srcOrd="8" destOrd="0" presId="urn:microsoft.com/office/officeart/2005/8/layout/hList1"/>
    <dgm:cxn modelId="{09EBFA63-1AC8-4C72-B4F8-16B610283FAA}" type="presParOf" srcId="{4BCD9A95-FA71-420D-A028-021169EEEA11}" destId="{0EDA6B99-9ACD-4A9E-89FB-B4DCDFC7B891}" srcOrd="0" destOrd="0" presId="urn:microsoft.com/office/officeart/2005/8/layout/hList1"/>
    <dgm:cxn modelId="{B6FC51DB-026F-47A8-B9B2-6CE5E049ADCD}" type="presParOf" srcId="{4BCD9A95-FA71-420D-A028-021169EEEA11}" destId="{65AF5B0A-FB12-4427-859B-46E4A68719DC}" srcOrd="1" destOrd="0" presId="urn:microsoft.com/office/officeart/2005/8/layout/hList1"/>
    <dgm:cxn modelId="{7B095AD7-9F43-4326-8C77-AE0DAAF23D37}" type="presParOf" srcId="{B8F78415-0D8C-4218-99E1-4FC096A702A1}" destId="{2EC46986-0793-43BE-954C-C6507A817CB3}" srcOrd="9" destOrd="0" presId="urn:microsoft.com/office/officeart/2005/8/layout/hList1"/>
    <dgm:cxn modelId="{8829E4B8-83F6-432C-92E1-C6E1DB7B060C}" type="presParOf" srcId="{B8F78415-0D8C-4218-99E1-4FC096A702A1}" destId="{F6730B81-65ED-4EB7-BEBA-126212310CCC}" srcOrd="10" destOrd="0" presId="urn:microsoft.com/office/officeart/2005/8/layout/hList1"/>
    <dgm:cxn modelId="{78E7B04B-20D2-40FF-8F1D-FD3FD90C4754}" type="presParOf" srcId="{F6730B81-65ED-4EB7-BEBA-126212310CCC}" destId="{D3427A04-C27E-445B-8F2E-2B7B096F911A}" srcOrd="0" destOrd="0" presId="urn:microsoft.com/office/officeart/2005/8/layout/hList1"/>
    <dgm:cxn modelId="{85B51514-6B93-470A-8220-DE37D7C1FA4A}" type="presParOf" srcId="{F6730B81-65ED-4EB7-BEBA-126212310CCC}" destId="{9A8E27E0-F12F-40E9-8D4B-15A6A5DC6F5A}" srcOrd="1" destOrd="0" presId="urn:microsoft.com/office/officeart/2005/8/layout/hList1"/>
    <dgm:cxn modelId="{5A271438-4259-42BA-8250-E6A699F18B0E}" type="presParOf" srcId="{B8F78415-0D8C-4218-99E1-4FC096A702A1}" destId="{E2742E62-E23F-43F4-859E-EFA48E76B1F9}" srcOrd="11" destOrd="0" presId="urn:microsoft.com/office/officeart/2005/8/layout/hList1"/>
    <dgm:cxn modelId="{0E575AE1-AD60-4E70-A79D-39CC88EEE14C}" type="presParOf" srcId="{B8F78415-0D8C-4218-99E1-4FC096A702A1}" destId="{5599E471-5D69-4A40-BFAA-532CE175CDEB}" srcOrd="12" destOrd="0" presId="urn:microsoft.com/office/officeart/2005/8/layout/hList1"/>
    <dgm:cxn modelId="{5555F85E-BC11-4AF6-833E-33036C5B587B}" type="presParOf" srcId="{5599E471-5D69-4A40-BFAA-532CE175CDEB}" destId="{A6563BC6-27B6-4738-B1F8-32244068267A}" srcOrd="0" destOrd="0" presId="urn:microsoft.com/office/officeart/2005/8/layout/hList1"/>
    <dgm:cxn modelId="{6B26F184-495B-4013-84F8-FB4198CAAB2D}" type="presParOf" srcId="{5599E471-5D69-4A40-BFAA-532CE175CDEB}" destId="{654A4501-353A-4E14-A805-75D530EB453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273B7BD0-EB1D-4AC3-B0C6-633ED0A9DFDB}"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s-ES"/>
        </a:p>
      </dgm:t>
    </dgm:pt>
    <dgm:pt modelId="{FF5786B7-8CC4-40CC-8CE5-50D3CE0283DD}">
      <dgm:prSet phldrT="[Texto]"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specialista en E-Commerce. </a:t>
          </a:r>
        </a:p>
      </dgm:t>
    </dgm:pt>
    <dgm:pt modelId="{CDADD620-4EEA-4036-A477-03F32DF1FAE5}" type="parTrans" cxnId="{CAEAC772-63DB-4239-9470-9A2EB4D3C282}">
      <dgm:prSet/>
      <dgm:spPr/>
      <dgm:t>
        <a:bodyPr/>
        <a:lstStyle/>
        <a:p>
          <a:endParaRPr lang="es-ES" sz="1400">
            <a:latin typeface="+mn-lt"/>
          </a:endParaRPr>
        </a:p>
      </dgm:t>
    </dgm:pt>
    <dgm:pt modelId="{9777A823-96E0-4844-85CD-523A63C50DCF}" type="sibTrans" cxnId="{CAEAC772-63DB-4239-9470-9A2EB4D3C282}">
      <dgm:prSet/>
      <dgm:spPr/>
      <dgm:t>
        <a:bodyPr/>
        <a:lstStyle/>
        <a:p>
          <a:endParaRPr lang="es-ES" sz="1400">
            <a:latin typeface="+mn-lt"/>
          </a:endParaRPr>
        </a:p>
      </dgm:t>
    </dgm:pt>
    <dgm:pt modelId="{138B8019-060C-400D-B3BE-5792697571F6}">
      <dgm:prSet custT="1"/>
      <dgm:spPr/>
      <dgm:t>
        <a:bodyPr/>
        <a:lstStyle/>
        <a:p>
          <a:pPr marL="57150" lvl="1" indent="0" algn="l" defTabSz="466725">
            <a:lnSpc>
              <a:spcPct val="90000"/>
            </a:lnSpc>
            <a:spcBef>
              <a:spcPct val="0"/>
            </a:spcBef>
            <a:spcAft>
              <a:spcPct val="15000"/>
            </a:spcAft>
          </a:pPr>
          <a:r>
            <a:rPr lang="es-ES" sz="1400" kern="1200" dirty="0">
              <a:latin typeface="+mn-lt"/>
            </a:rPr>
            <a:t>Un  junior gana entre 20.000 y 30.000 euros al año en España</a:t>
          </a:r>
        </a:p>
      </dgm:t>
    </dgm:pt>
    <dgm:pt modelId="{2784305B-0880-4954-BE6A-B5E0846BC878}" type="parTrans" cxnId="{ACB0CAC8-3003-4748-BD19-63A1C653A366}">
      <dgm:prSet/>
      <dgm:spPr/>
      <dgm:t>
        <a:bodyPr/>
        <a:lstStyle/>
        <a:p>
          <a:endParaRPr lang="es-ES" sz="1400">
            <a:latin typeface="+mn-lt"/>
          </a:endParaRPr>
        </a:p>
      </dgm:t>
    </dgm:pt>
    <dgm:pt modelId="{BFBE42BD-0A5D-4884-BE2E-CA492D2FF5AE}" type="sibTrans" cxnId="{ACB0CAC8-3003-4748-BD19-63A1C653A366}">
      <dgm:prSet/>
      <dgm:spPr/>
      <dgm:t>
        <a:bodyPr/>
        <a:lstStyle/>
        <a:p>
          <a:endParaRPr lang="es-ES" sz="1400">
            <a:latin typeface="+mn-lt"/>
          </a:endParaRPr>
        </a:p>
      </dgm:t>
    </dgm:pt>
    <dgm:pt modelId="{95230522-EF5F-46E8-A7BF-A451E673BCAB}">
      <dgm:prSet custT="1"/>
      <dgm:spPr/>
      <dgm:t>
        <a:bodyPr/>
        <a:lstStyle/>
        <a:p>
          <a:pPr marL="57150" lvl="1" indent="0" algn="l" defTabSz="466725">
            <a:lnSpc>
              <a:spcPct val="90000"/>
            </a:lnSpc>
            <a:spcBef>
              <a:spcPct val="0"/>
            </a:spcBef>
            <a:spcAft>
              <a:spcPct val="15000"/>
            </a:spcAft>
          </a:pPr>
          <a:r>
            <a:rPr lang="es-ES" sz="1400" kern="1200" dirty="0">
              <a:latin typeface="+mn-lt"/>
            </a:rPr>
            <a:t>Un senior puede ganar hasta 40.000 ó 60.000 euros brutos anuales.</a:t>
          </a:r>
        </a:p>
      </dgm:t>
    </dgm:pt>
    <dgm:pt modelId="{51A1AD37-FD79-492F-B408-21B04FFEAE7C}" type="parTrans" cxnId="{AB22E471-FC98-4A69-80E0-B831A7DF5BCC}">
      <dgm:prSet/>
      <dgm:spPr/>
      <dgm:t>
        <a:bodyPr/>
        <a:lstStyle/>
        <a:p>
          <a:endParaRPr lang="es-ES" sz="1400">
            <a:latin typeface="+mn-lt"/>
          </a:endParaRPr>
        </a:p>
      </dgm:t>
    </dgm:pt>
    <dgm:pt modelId="{DFC883E1-62A0-4939-A651-95478DB93600}" type="sibTrans" cxnId="{AB22E471-FC98-4A69-80E0-B831A7DF5BCC}">
      <dgm:prSet/>
      <dgm:spPr/>
      <dgm:t>
        <a:bodyPr/>
        <a:lstStyle/>
        <a:p>
          <a:endParaRPr lang="es-ES" sz="1400">
            <a:latin typeface="+mn-lt"/>
          </a:endParaRPr>
        </a:p>
      </dgm:t>
    </dgm:pt>
    <dgm:pt modelId="{2CC641E4-133D-4907-B525-8E257741CF78}">
      <dgm:prSet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Analista web. </a:t>
          </a:r>
        </a:p>
      </dgm:t>
    </dgm:pt>
    <dgm:pt modelId="{EDEFB515-B840-450E-816D-E9CA609C903F}" type="parTrans" cxnId="{2C1FFCEE-E314-4649-B369-B2BC6DF8556C}">
      <dgm:prSet/>
      <dgm:spPr/>
      <dgm:t>
        <a:bodyPr/>
        <a:lstStyle/>
        <a:p>
          <a:endParaRPr lang="es-ES" sz="1400">
            <a:latin typeface="+mn-lt"/>
          </a:endParaRPr>
        </a:p>
      </dgm:t>
    </dgm:pt>
    <dgm:pt modelId="{4FCD1368-B8E5-4DED-B450-BF3AB3A817D3}" type="sibTrans" cxnId="{2C1FFCEE-E314-4649-B369-B2BC6DF8556C}">
      <dgm:prSet/>
      <dgm:spPr/>
      <dgm:t>
        <a:bodyPr/>
        <a:lstStyle/>
        <a:p>
          <a:endParaRPr lang="es-ES" sz="1400">
            <a:latin typeface="+mn-lt"/>
          </a:endParaRPr>
        </a:p>
      </dgm:t>
    </dgm:pt>
    <dgm:pt modelId="{314F66A8-5B63-413C-BBD7-D62E3F79262D}">
      <dgm:prSet custT="1"/>
      <dgm:spPr/>
      <dgm:t>
        <a:bodyPr/>
        <a:lstStyle/>
        <a:p>
          <a:pPr marL="57150" lvl="1" indent="0" algn="l" defTabSz="466725">
            <a:lnSpc>
              <a:spcPct val="90000"/>
            </a:lnSpc>
            <a:spcBef>
              <a:spcPct val="0"/>
            </a:spcBef>
            <a:spcAft>
              <a:spcPct val="15000"/>
            </a:spcAft>
          </a:pPr>
          <a:r>
            <a:rPr lang="es-ES" sz="1400" kern="1200" dirty="0">
              <a:latin typeface="+mn-lt"/>
            </a:rPr>
            <a:t>Senior entre 45.000 a 68.000 euros anuales.</a:t>
          </a:r>
        </a:p>
      </dgm:t>
    </dgm:pt>
    <dgm:pt modelId="{49704984-2C81-474F-B86F-D370023FA60B}" type="parTrans" cxnId="{98FDD359-0CC5-4C6D-B0F5-2DABFA315432}">
      <dgm:prSet/>
      <dgm:spPr/>
      <dgm:t>
        <a:bodyPr/>
        <a:lstStyle/>
        <a:p>
          <a:endParaRPr lang="es-ES" sz="1400">
            <a:latin typeface="+mn-lt"/>
          </a:endParaRPr>
        </a:p>
      </dgm:t>
    </dgm:pt>
    <dgm:pt modelId="{C8BCAD21-D502-47CA-A304-AE4BA8402E4B}" type="sibTrans" cxnId="{98FDD359-0CC5-4C6D-B0F5-2DABFA315432}">
      <dgm:prSet/>
      <dgm:spPr/>
      <dgm:t>
        <a:bodyPr/>
        <a:lstStyle/>
        <a:p>
          <a:endParaRPr lang="es-ES" sz="1400">
            <a:latin typeface="+mn-lt"/>
          </a:endParaRPr>
        </a:p>
      </dgm:t>
    </dgm:pt>
    <dgm:pt modelId="{8950D0FC-C11F-4108-A1C9-2E454A2DFCF8}">
      <dgm:prSet custT="1"/>
      <dgm:spPr/>
      <dgm:t>
        <a:bodyPr/>
        <a:lstStyle/>
        <a:p>
          <a:r>
            <a:rPr lang="es-ES" sz="1400" b="1" dirty="0">
              <a:highlight>
                <a:srgbClr val="000000"/>
              </a:highlight>
              <a:latin typeface="+mn-lt"/>
            </a:rPr>
            <a:t>Arquitecto nube. </a:t>
          </a:r>
        </a:p>
      </dgm:t>
    </dgm:pt>
    <dgm:pt modelId="{A9634FB7-403E-4D10-87EE-6158FFB7FD64}" type="parTrans" cxnId="{363A199E-BF05-4FB3-BA16-23B54C1F119F}">
      <dgm:prSet/>
      <dgm:spPr/>
      <dgm:t>
        <a:bodyPr/>
        <a:lstStyle/>
        <a:p>
          <a:endParaRPr lang="es-ES" sz="1400">
            <a:latin typeface="+mn-lt"/>
          </a:endParaRPr>
        </a:p>
      </dgm:t>
    </dgm:pt>
    <dgm:pt modelId="{EADD634E-C4E4-4700-A458-E0B6835CD2F6}" type="sibTrans" cxnId="{363A199E-BF05-4FB3-BA16-23B54C1F119F}">
      <dgm:prSet/>
      <dgm:spPr/>
      <dgm:t>
        <a:bodyPr/>
        <a:lstStyle/>
        <a:p>
          <a:endParaRPr lang="es-ES" sz="1400">
            <a:latin typeface="+mn-lt"/>
          </a:endParaRPr>
        </a:p>
      </dgm:t>
    </dgm:pt>
    <dgm:pt modelId="{B33E7E4B-984D-4FB7-A6DE-BB84DCBD739E}">
      <dgm:prSet custT="1"/>
      <dgm:spPr/>
      <dgm:t>
        <a:bodyPr/>
        <a:lstStyle/>
        <a:p>
          <a:r>
            <a:rPr lang="es-ES" sz="1400" dirty="0">
              <a:latin typeface="+mn-lt"/>
            </a:rPr>
            <a:t>El promedio es de 50.000 € brutos al año</a:t>
          </a:r>
        </a:p>
      </dgm:t>
    </dgm:pt>
    <dgm:pt modelId="{5483104B-1F25-44A7-812F-DA63B81D344F}" type="parTrans" cxnId="{38D68AC3-21F0-4686-AA56-592CA6CCC24E}">
      <dgm:prSet/>
      <dgm:spPr/>
      <dgm:t>
        <a:bodyPr/>
        <a:lstStyle/>
        <a:p>
          <a:endParaRPr lang="es-ES" sz="1400">
            <a:latin typeface="+mn-lt"/>
          </a:endParaRPr>
        </a:p>
      </dgm:t>
    </dgm:pt>
    <dgm:pt modelId="{0A384500-C0E6-460B-B16F-5C8036DF8E88}" type="sibTrans" cxnId="{38D68AC3-21F0-4686-AA56-592CA6CCC24E}">
      <dgm:prSet/>
      <dgm:spPr/>
      <dgm:t>
        <a:bodyPr/>
        <a:lstStyle/>
        <a:p>
          <a:endParaRPr lang="es-ES" sz="1400">
            <a:latin typeface="+mn-lt"/>
          </a:endParaRPr>
        </a:p>
      </dgm:t>
    </dgm:pt>
    <dgm:pt modelId="{1EAC87C3-9AAF-45DE-BA64-50AA304C7FB4}">
      <dgm:prSet custT="1"/>
      <dgm:spPr/>
      <dgm:t>
        <a:bodyPr/>
        <a:lstStyle/>
        <a:p>
          <a:r>
            <a:rPr lang="es-ES" sz="1400" dirty="0">
              <a:latin typeface="+mn-lt"/>
            </a:rPr>
            <a:t>… pudiendo llegar a los 70 mil euros al año.</a:t>
          </a:r>
        </a:p>
      </dgm:t>
    </dgm:pt>
    <dgm:pt modelId="{B227E3A3-D61E-4AD9-B1E9-CFEE9F831FD8}" type="parTrans" cxnId="{45B27538-D27E-4869-9BAC-FBBE20F8A3C8}">
      <dgm:prSet/>
      <dgm:spPr/>
      <dgm:t>
        <a:bodyPr/>
        <a:lstStyle/>
        <a:p>
          <a:endParaRPr lang="es-ES" sz="1400">
            <a:latin typeface="+mn-lt"/>
          </a:endParaRPr>
        </a:p>
      </dgm:t>
    </dgm:pt>
    <dgm:pt modelId="{97E87CB6-9777-4BDD-9A09-07CC619EB9AE}" type="sibTrans" cxnId="{45B27538-D27E-4869-9BAC-FBBE20F8A3C8}">
      <dgm:prSet/>
      <dgm:spPr/>
      <dgm:t>
        <a:bodyPr/>
        <a:lstStyle/>
        <a:p>
          <a:endParaRPr lang="es-ES" sz="1400">
            <a:latin typeface="+mn-lt"/>
          </a:endParaRPr>
        </a:p>
      </dgm:t>
    </dgm:pt>
    <dgm:pt modelId="{741A40D0-0C26-4EA8-A896-55C7E8E2B037}">
      <dgm:prSet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specialista en ciberseguridad. </a:t>
          </a:r>
        </a:p>
      </dgm:t>
    </dgm:pt>
    <dgm:pt modelId="{5C673930-1CCD-4758-8283-AF587C4AC078}" type="parTrans" cxnId="{CE6AA673-94F1-4433-916E-30BA7E34054B}">
      <dgm:prSet/>
      <dgm:spPr/>
      <dgm:t>
        <a:bodyPr/>
        <a:lstStyle/>
        <a:p>
          <a:endParaRPr lang="es-ES" sz="1400">
            <a:latin typeface="+mn-lt"/>
          </a:endParaRPr>
        </a:p>
      </dgm:t>
    </dgm:pt>
    <dgm:pt modelId="{AC246F95-490E-4279-A136-13647D64DDA7}" type="sibTrans" cxnId="{CE6AA673-94F1-4433-916E-30BA7E34054B}">
      <dgm:prSet/>
      <dgm:spPr/>
      <dgm:t>
        <a:bodyPr/>
        <a:lstStyle/>
        <a:p>
          <a:endParaRPr lang="es-ES" sz="1400">
            <a:latin typeface="+mn-lt"/>
          </a:endParaRPr>
        </a:p>
      </dgm:t>
    </dgm:pt>
    <dgm:pt modelId="{10E3BDD4-B82A-401E-ADB5-98F1CBF13F14}">
      <dgm:prSet custT="1"/>
      <dgm:spPr/>
      <dgm:t>
        <a:bodyPr/>
        <a:lstStyle/>
        <a:p>
          <a:pPr marL="57150" lvl="1" indent="0" algn="l" defTabSz="466725">
            <a:lnSpc>
              <a:spcPct val="90000"/>
            </a:lnSpc>
            <a:spcBef>
              <a:spcPct val="0"/>
            </a:spcBef>
            <a:spcAft>
              <a:spcPct val="15000"/>
            </a:spcAft>
          </a:pPr>
          <a:r>
            <a:rPr lang="es-ES" sz="1400" kern="1200" dirty="0">
              <a:latin typeface="+mn-lt"/>
            </a:rPr>
            <a:t>El sueldo medio está entre 30.000 y los 60.000 € brutos anuales.</a:t>
          </a:r>
        </a:p>
      </dgm:t>
    </dgm:pt>
    <dgm:pt modelId="{869A181F-2D83-41D5-800C-55AE531DA828}" type="parTrans" cxnId="{8C65A871-EEAD-43D9-AC7B-EA294E4CAB98}">
      <dgm:prSet/>
      <dgm:spPr/>
      <dgm:t>
        <a:bodyPr/>
        <a:lstStyle/>
        <a:p>
          <a:endParaRPr lang="es-ES" sz="1400">
            <a:latin typeface="+mn-lt"/>
          </a:endParaRPr>
        </a:p>
      </dgm:t>
    </dgm:pt>
    <dgm:pt modelId="{FDBC8794-FA00-4716-91B3-764D5C392D97}" type="sibTrans" cxnId="{8C65A871-EEAD-43D9-AC7B-EA294E4CAB98}">
      <dgm:prSet/>
      <dgm:spPr/>
      <dgm:t>
        <a:bodyPr/>
        <a:lstStyle/>
        <a:p>
          <a:endParaRPr lang="es-ES" sz="1400">
            <a:latin typeface="+mn-lt"/>
          </a:endParaRPr>
        </a:p>
      </dgm:t>
    </dgm:pt>
    <dgm:pt modelId="{71E660BD-F6D1-4BE3-BAFB-BFA1403BA219}">
      <dgm:prSet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Abogado de protección de datos y privacidad. </a:t>
          </a:r>
        </a:p>
      </dgm:t>
    </dgm:pt>
    <dgm:pt modelId="{04A03D9B-DDF3-415E-9D1C-131C50F43089}" type="parTrans" cxnId="{8DD1C72D-F444-412B-A72A-A1620CB9C9C1}">
      <dgm:prSet/>
      <dgm:spPr/>
      <dgm:t>
        <a:bodyPr/>
        <a:lstStyle/>
        <a:p>
          <a:endParaRPr lang="es-ES" sz="1400">
            <a:latin typeface="+mn-lt"/>
          </a:endParaRPr>
        </a:p>
      </dgm:t>
    </dgm:pt>
    <dgm:pt modelId="{B7AE1990-FBF9-49DC-BC5A-8A2D7E9B2445}" type="sibTrans" cxnId="{8DD1C72D-F444-412B-A72A-A1620CB9C9C1}">
      <dgm:prSet/>
      <dgm:spPr/>
      <dgm:t>
        <a:bodyPr/>
        <a:lstStyle/>
        <a:p>
          <a:endParaRPr lang="es-ES" sz="1400">
            <a:latin typeface="+mn-lt"/>
          </a:endParaRPr>
        </a:p>
      </dgm:t>
    </dgm:pt>
    <dgm:pt modelId="{6BA1BACD-7667-49CB-984E-DB9001F053D3}">
      <dgm:prSet custT="1"/>
      <dgm:spPr/>
      <dgm:t>
        <a:bodyPr/>
        <a:lstStyle/>
        <a:p>
          <a:pPr marL="57150" lvl="1" indent="0" algn="l" defTabSz="466725">
            <a:lnSpc>
              <a:spcPct val="90000"/>
            </a:lnSpc>
            <a:spcBef>
              <a:spcPct val="0"/>
            </a:spcBef>
            <a:spcAft>
              <a:spcPct val="15000"/>
            </a:spcAft>
          </a:pPr>
          <a:r>
            <a:rPr lang="es-ES" sz="1400" kern="1200" dirty="0">
              <a:latin typeface="+mn-lt"/>
            </a:rPr>
            <a:t>El sueldo medio es de 50.000 euros al año (varía según la experiencia, la empresa y su ubicación).</a:t>
          </a:r>
        </a:p>
      </dgm:t>
    </dgm:pt>
    <dgm:pt modelId="{BF867641-97C7-4CBB-8F39-D4A806FACCE6}" type="parTrans" cxnId="{B9DA9A72-F3BF-4D42-AB10-03D30F62CCF1}">
      <dgm:prSet/>
      <dgm:spPr/>
      <dgm:t>
        <a:bodyPr/>
        <a:lstStyle/>
        <a:p>
          <a:endParaRPr lang="es-ES" sz="1400">
            <a:latin typeface="+mn-lt"/>
          </a:endParaRPr>
        </a:p>
      </dgm:t>
    </dgm:pt>
    <dgm:pt modelId="{88B0207A-54EA-483F-8CF2-20F25FA9E841}" type="sibTrans" cxnId="{B9DA9A72-F3BF-4D42-AB10-03D30F62CCF1}">
      <dgm:prSet/>
      <dgm:spPr/>
      <dgm:t>
        <a:bodyPr/>
        <a:lstStyle/>
        <a:p>
          <a:endParaRPr lang="es-ES" sz="1400">
            <a:latin typeface="+mn-lt"/>
          </a:endParaRPr>
        </a:p>
      </dgm:t>
    </dgm:pt>
    <dgm:pt modelId="{5093673D-0A58-49E4-803C-35FAC90807CE}">
      <dgm:prSet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xperto en UX/UI. </a:t>
          </a:r>
        </a:p>
      </dgm:t>
    </dgm:pt>
    <dgm:pt modelId="{237CD8F4-ED84-4B9D-8ACC-305468D576FB}" type="parTrans" cxnId="{0CF8E3E7-6D68-4B7E-ABB8-79C0C363D296}">
      <dgm:prSet/>
      <dgm:spPr/>
      <dgm:t>
        <a:bodyPr/>
        <a:lstStyle/>
        <a:p>
          <a:endParaRPr lang="es-ES" sz="1400">
            <a:latin typeface="+mn-lt"/>
          </a:endParaRPr>
        </a:p>
      </dgm:t>
    </dgm:pt>
    <dgm:pt modelId="{4A6D6E0A-B8C1-4F1B-B414-743401EA08C0}" type="sibTrans" cxnId="{0CF8E3E7-6D68-4B7E-ABB8-79C0C363D296}">
      <dgm:prSet/>
      <dgm:spPr/>
      <dgm:t>
        <a:bodyPr/>
        <a:lstStyle/>
        <a:p>
          <a:endParaRPr lang="es-ES" sz="1400">
            <a:latin typeface="+mn-lt"/>
          </a:endParaRPr>
        </a:p>
      </dgm:t>
    </dgm:pt>
    <dgm:pt modelId="{0297031F-B175-4041-9DD5-2ACFFD74F750}">
      <dgm:prSet custT="1"/>
      <dgm:spPr/>
      <dgm:t>
        <a:bodyPr/>
        <a:lstStyle/>
        <a:p>
          <a:pPr marL="57150" lvl="1" indent="0" algn="l" defTabSz="466725">
            <a:lnSpc>
              <a:spcPct val="90000"/>
            </a:lnSpc>
            <a:spcBef>
              <a:spcPct val="0"/>
            </a:spcBef>
            <a:spcAft>
              <a:spcPct val="15000"/>
            </a:spcAft>
          </a:pPr>
          <a:r>
            <a:rPr lang="es-ES" sz="1400" kern="1200" dirty="0">
              <a:latin typeface="+mn-lt"/>
            </a:rPr>
            <a:t>El sueldo varía entre los 18.000 € y los 40.000 € brutos anuales.</a:t>
          </a:r>
        </a:p>
      </dgm:t>
    </dgm:pt>
    <dgm:pt modelId="{91938BE0-6A77-4E2B-92E9-CD69625C16FC}" type="parTrans" cxnId="{5974C357-F93A-49A5-990C-47C69FB06C85}">
      <dgm:prSet/>
      <dgm:spPr/>
      <dgm:t>
        <a:bodyPr/>
        <a:lstStyle/>
        <a:p>
          <a:endParaRPr lang="es-ES" sz="1400">
            <a:latin typeface="+mn-lt"/>
          </a:endParaRPr>
        </a:p>
      </dgm:t>
    </dgm:pt>
    <dgm:pt modelId="{493ED0D2-5B08-4018-B08D-545955533AD1}" type="sibTrans" cxnId="{5974C357-F93A-49A5-990C-47C69FB06C85}">
      <dgm:prSet/>
      <dgm:spPr/>
      <dgm:t>
        <a:bodyPr/>
        <a:lstStyle/>
        <a:p>
          <a:endParaRPr lang="es-ES" sz="1400">
            <a:latin typeface="+mn-lt"/>
          </a:endParaRPr>
        </a:p>
      </dgm:t>
    </dgm:pt>
    <dgm:pt modelId="{7F582340-9096-4EC4-B408-3AD1DB5608A1}">
      <dgm:prSet custT="1"/>
      <dgm:spPr/>
      <dgm: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Marketing digital. </a:t>
          </a:r>
        </a:p>
      </dgm:t>
    </dgm:pt>
    <dgm:pt modelId="{C77CBF1A-2E49-491F-8286-ABDAB64A6AC7}" type="parTrans" cxnId="{56A89B11-3D71-4A6E-BEC9-2ABB66457AD9}">
      <dgm:prSet/>
      <dgm:spPr/>
      <dgm:t>
        <a:bodyPr/>
        <a:lstStyle/>
        <a:p>
          <a:endParaRPr lang="es-ES" sz="1400">
            <a:latin typeface="+mn-lt"/>
          </a:endParaRPr>
        </a:p>
      </dgm:t>
    </dgm:pt>
    <dgm:pt modelId="{EDBA3953-E576-4C55-BB6F-AC43A2258CE0}" type="sibTrans" cxnId="{56A89B11-3D71-4A6E-BEC9-2ABB66457AD9}">
      <dgm:prSet/>
      <dgm:spPr/>
      <dgm:t>
        <a:bodyPr/>
        <a:lstStyle/>
        <a:p>
          <a:endParaRPr lang="es-ES" sz="1400">
            <a:latin typeface="+mn-lt"/>
          </a:endParaRPr>
        </a:p>
      </dgm:t>
    </dgm:pt>
    <dgm:pt modelId="{AFC566FB-D404-4234-9FFE-BF294915126D}">
      <dgm:prSet custT="1"/>
      <dgm:spPr/>
      <dgm:t>
        <a:bodyPr/>
        <a:lstStyle/>
        <a:p>
          <a:pPr marL="57150" lvl="1" indent="0" algn="l" defTabSz="466725">
            <a:lnSpc>
              <a:spcPct val="90000"/>
            </a:lnSpc>
            <a:spcBef>
              <a:spcPct val="0"/>
            </a:spcBef>
            <a:spcAft>
              <a:spcPct val="15000"/>
            </a:spcAft>
          </a:pPr>
          <a:r>
            <a:rPr lang="es-ES" sz="1400" kern="1200" dirty="0">
              <a:latin typeface="+mn-lt"/>
            </a:rPr>
            <a:t>Los junior comienzan con unos 21.000 euros al año</a:t>
          </a:r>
        </a:p>
      </dgm:t>
    </dgm:pt>
    <dgm:pt modelId="{D8284F1B-A5DC-4E18-A7C5-FD7F8AB47C85}" type="parTrans" cxnId="{96CF3B2E-3FAA-4E55-A9D6-4849626C806E}">
      <dgm:prSet/>
      <dgm:spPr/>
      <dgm:t>
        <a:bodyPr/>
        <a:lstStyle/>
        <a:p>
          <a:endParaRPr lang="es-ES" sz="1400">
            <a:latin typeface="+mn-lt"/>
          </a:endParaRPr>
        </a:p>
      </dgm:t>
    </dgm:pt>
    <dgm:pt modelId="{3B70F62B-B6BC-4029-8213-50035E705A89}" type="sibTrans" cxnId="{96CF3B2E-3FAA-4E55-A9D6-4849626C806E}">
      <dgm:prSet/>
      <dgm:spPr/>
      <dgm:t>
        <a:bodyPr/>
        <a:lstStyle/>
        <a:p>
          <a:endParaRPr lang="es-ES" sz="1400">
            <a:latin typeface="+mn-lt"/>
          </a:endParaRPr>
        </a:p>
      </dgm:t>
    </dgm:pt>
    <dgm:pt modelId="{BDCA029D-F153-4D4C-97CE-671E929BD4B3}">
      <dgm:prSet custT="1"/>
      <dgm:spPr/>
      <dgm:t>
        <a:bodyPr/>
        <a:lstStyle/>
        <a:p>
          <a:pPr marL="57150" lvl="1" indent="0" algn="l" defTabSz="466725">
            <a:lnSpc>
              <a:spcPct val="90000"/>
            </a:lnSpc>
            <a:spcBef>
              <a:spcPct val="0"/>
            </a:spcBef>
            <a:spcAft>
              <a:spcPct val="15000"/>
            </a:spcAft>
          </a:pPr>
          <a:r>
            <a:rPr lang="es-ES" sz="1400" kern="1200" dirty="0">
              <a:latin typeface="+mn-lt"/>
            </a:rPr>
            <a:t>Los senior pueden llegar a ganar hasta 60.000 euros brutos al año.</a:t>
          </a:r>
        </a:p>
      </dgm:t>
    </dgm:pt>
    <dgm:pt modelId="{ABB7B6C9-543C-4538-948F-D256714DAB55}" type="parTrans" cxnId="{7D421CA2-E81A-4D7D-8454-4EFA631E66E2}">
      <dgm:prSet/>
      <dgm:spPr/>
      <dgm:t>
        <a:bodyPr/>
        <a:lstStyle/>
        <a:p>
          <a:endParaRPr lang="es-ES" sz="1400">
            <a:latin typeface="+mn-lt"/>
          </a:endParaRPr>
        </a:p>
      </dgm:t>
    </dgm:pt>
    <dgm:pt modelId="{89F8C8CB-94FB-4B9D-9A4B-E76DE412767D}" type="sibTrans" cxnId="{7D421CA2-E81A-4D7D-8454-4EFA631E66E2}">
      <dgm:prSet/>
      <dgm:spPr/>
      <dgm:t>
        <a:bodyPr/>
        <a:lstStyle/>
        <a:p>
          <a:endParaRPr lang="es-ES" sz="1400">
            <a:latin typeface="+mn-lt"/>
          </a:endParaRPr>
        </a:p>
      </dgm:t>
    </dgm:pt>
    <dgm:pt modelId="{F42AA056-FB87-4FB6-BB82-48A26AA21B56}">
      <dgm:prSet custT="1"/>
      <dgm:spPr/>
      <dgm:t>
        <a:bodyPr/>
        <a:lstStyle/>
        <a:p>
          <a:pPr marL="57150" lvl="1" indent="0" algn="l" defTabSz="466725">
            <a:lnSpc>
              <a:spcPct val="90000"/>
            </a:lnSpc>
            <a:spcBef>
              <a:spcPct val="0"/>
            </a:spcBef>
            <a:spcAft>
              <a:spcPct val="15000"/>
            </a:spcAft>
          </a:pPr>
          <a:r>
            <a:rPr lang="es-ES" sz="1400" kern="1200" dirty="0">
              <a:latin typeface="+mn-lt"/>
            </a:rPr>
            <a:t>Se puede llegar a 66.000 €.</a:t>
          </a:r>
        </a:p>
      </dgm:t>
    </dgm:pt>
    <dgm:pt modelId="{349102EE-87DF-4073-9190-9364B9EB39F3}" type="sibTrans" cxnId="{204F9296-D121-4F54-9F6B-E3FBAAA29F92}">
      <dgm:prSet/>
      <dgm:spPr/>
      <dgm:t>
        <a:bodyPr/>
        <a:lstStyle/>
        <a:p>
          <a:endParaRPr lang="es-ES" sz="1400">
            <a:latin typeface="+mn-lt"/>
          </a:endParaRPr>
        </a:p>
      </dgm:t>
    </dgm:pt>
    <dgm:pt modelId="{D147B3A5-A1EC-4F1C-9B97-DE7312AEE400}" type="parTrans" cxnId="{204F9296-D121-4F54-9F6B-E3FBAAA29F92}">
      <dgm:prSet/>
      <dgm:spPr/>
      <dgm:t>
        <a:bodyPr/>
        <a:lstStyle/>
        <a:p>
          <a:endParaRPr lang="es-ES" sz="1400">
            <a:latin typeface="+mn-lt"/>
          </a:endParaRPr>
        </a:p>
      </dgm:t>
    </dgm:pt>
    <dgm:pt modelId="{721795DD-DFEA-4C4B-BFAD-6E934BD4AFFC}" type="pres">
      <dgm:prSet presAssocID="{273B7BD0-EB1D-4AC3-B0C6-633ED0A9DFDB}" presName="diagram" presStyleCnt="0">
        <dgm:presLayoutVars>
          <dgm:dir/>
          <dgm:resizeHandles val="exact"/>
        </dgm:presLayoutVars>
      </dgm:prSet>
      <dgm:spPr/>
    </dgm:pt>
    <dgm:pt modelId="{1C57D565-62D8-4962-B998-A100CBD1B650}" type="pres">
      <dgm:prSet presAssocID="{8950D0FC-C11F-4108-A1C9-2E454A2DFCF8}" presName="node" presStyleLbl="node1" presStyleIdx="0" presStyleCnt="7">
        <dgm:presLayoutVars>
          <dgm:bulletEnabled val="1"/>
        </dgm:presLayoutVars>
      </dgm:prSet>
      <dgm:spPr/>
    </dgm:pt>
    <dgm:pt modelId="{4B2C4D27-5571-4CBB-A692-68AC3DB81211}" type="pres">
      <dgm:prSet presAssocID="{EADD634E-C4E4-4700-A458-E0B6835CD2F6}" presName="sibTrans" presStyleCnt="0"/>
      <dgm:spPr/>
    </dgm:pt>
    <dgm:pt modelId="{11E80F8B-A729-4781-9FA1-FC886E80FE41}" type="pres">
      <dgm:prSet presAssocID="{5093673D-0A58-49E4-803C-35FAC90807CE}" presName="node" presStyleLbl="node1" presStyleIdx="1" presStyleCnt="7">
        <dgm:presLayoutVars>
          <dgm:bulletEnabled val="1"/>
        </dgm:presLayoutVars>
      </dgm:prSet>
      <dgm:spPr/>
    </dgm:pt>
    <dgm:pt modelId="{103CA5EC-C8B6-4930-9ABB-FBF800DA2A34}" type="pres">
      <dgm:prSet presAssocID="{4A6D6E0A-B8C1-4F1B-B414-743401EA08C0}" presName="sibTrans" presStyleCnt="0"/>
      <dgm:spPr/>
    </dgm:pt>
    <dgm:pt modelId="{3D1B181F-BEB7-4F84-904A-8A482067196A}" type="pres">
      <dgm:prSet presAssocID="{2CC641E4-133D-4907-B525-8E257741CF78}" presName="node" presStyleLbl="node1" presStyleIdx="2" presStyleCnt="7">
        <dgm:presLayoutVars>
          <dgm:bulletEnabled val="1"/>
        </dgm:presLayoutVars>
      </dgm:prSet>
      <dgm:spPr/>
    </dgm:pt>
    <dgm:pt modelId="{66AFAF21-F314-42D7-93CB-6931B30EBB88}" type="pres">
      <dgm:prSet presAssocID="{4FCD1368-B8E5-4DED-B450-BF3AB3A817D3}" presName="sibTrans" presStyleCnt="0"/>
      <dgm:spPr/>
    </dgm:pt>
    <dgm:pt modelId="{5B99E946-B54F-4A34-B4DC-8EF46017DB00}" type="pres">
      <dgm:prSet presAssocID="{741A40D0-0C26-4EA8-A896-55C7E8E2B037}" presName="node" presStyleLbl="node1" presStyleIdx="3" presStyleCnt="7">
        <dgm:presLayoutVars>
          <dgm:bulletEnabled val="1"/>
        </dgm:presLayoutVars>
      </dgm:prSet>
      <dgm:spPr/>
    </dgm:pt>
    <dgm:pt modelId="{31DC7DDD-0CAD-40C6-AF3F-0675054793B3}" type="pres">
      <dgm:prSet presAssocID="{AC246F95-490E-4279-A136-13647D64DDA7}" presName="sibTrans" presStyleCnt="0"/>
      <dgm:spPr/>
    </dgm:pt>
    <dgm:pt modelId="{832A5838-82DC-4572-B069-96EE720716BB}" type="pres">
      <dgm:prSet presAssocID="{7F582340-9096-4EC4-B408-3AD1DB5608A1}" presName="node" presStyleLbl="node1" presStyleIdx="4" presStyleCnt="7">
        <dgm:presLayoutVars>
          <dgm:bulletEnabled val="1"/>
        </dgm:presLayoutVars>
      </dgm:prSet>
      <dgm:spPr/>
    </dgm:pt>
    <dgm:pt modelId="{39AF410A-3349-49E4-8BE1-6EEEFB2BDD98}" type="pres">
      <dgm:prSet presAssocID="{EDBA3953-E576-4C55-BB6F-AC43A2258CE0}" presName="sibTrans" presStyleCnt="0"/>
      <dgm:spPr/>
    </dgm:pt>
    <dgm:pt modelId="{6397233C-C0BB-4098-83EC-D635DD303656}" type="pres">
      <dgm:prSet presAssocID="{FF5786B7-8CC4-40CC-8CE5-50D3CE0283DD}" presName="node" presStyleLbl="node1" presStyleIdx="5" presStyleCnt="7">
        <dgm:presLayoutVars>
          <dgm:bulletEnabled val="1"/>
        </dgm:presLayoutVars>
      </dgm:prSet>
      <dgm:spPr/>
    </dgm:pt>
    <dgm:pt modelId="{1EA8D1A1-8470-44F1-912E-948616878D97}" type="pres">
      <dgm:prSet presAssocID="{9777A823-96E0-4844-85CD-523A63C50DCF}" presName="sibTrans" presStyleCnt="0"/>
      <dgm:spPr/>
    </dgm:pt>
    <dgm:pt modelId="{42A45468-6734-4E10-983D-87AD7A415011}" type="pres">
      <dgm:prSet presAssocID="{71E660BD-F6D1-4BE3-BAFB-BFA1403BA219}" presName="node" presStyleLbl="node1" presStyleIdx="6" presStyleCnt="7">
        <dgm:presLayoutVars>
          <dgm:bulletEnabled val="1"/>
        </dgm:presLayoutVars>
      </dgm:prSet>
      <dgm:spPr/>
    </dgm:pt>
  </dgm:ptLst>
  <dgm:cxnLst>
    <dgm:cxn modelId="{56A89B11-3D71-4A6E-BEC9-2ABB66457AD9}" srcId="{273B7BD0-EB1D-4AC3-B0C6-633ED0A9DFDB}" destId="{7F582340-9096-4EC4-B408-3AD1DB5608A1}" srcOrd="4" destOrd="0" parTransId="{C77CBF1A-2E49-491F-8286-ABDAB64A6AC7}" sibTransId="{EDBA3953-E576-4C55-BB6F-AC43A2258CE0}"/>
    <dgm:cxn modelId="{38232E1C-ECC0-48C1-A425-FE8AFF2A4974}" type="presOf" srcId="{FF5786B7-8CC4-40CC-8CE5-50D3CE0283DD}" destId="{6397233C-C0BB-4098-83EC-D635DD303656}" srcOrd="0" destOrd="0" presId="urn:microsoft.com/office/officeart/2005/8/layout/default"/>
    <dgm:cxn modelId="{8DD1C72D-F444-412B-A72A-A1620CB9C9C1}" srcId="{273B7BD0-EB1D-4AC3-B0C6-633ED0A9DFDB}" destId="{71E660BD-F6D1-4BE3-BAFB-BFA1403BA219}" srcOrd="6" destOrd="0" parTransId="{04A03D9B-DDF3-415E-9D1C-131C50F43089}" sibTransId="{B7AE1990-FBF9-49DC-BC5A-8A2D7E9B2445}"/>
    <dgm:cxn modelId="{96CF3B2E-3FAA-4E55-A9D6-4849626C806E}" srcId="{7F582340-9096-4EC4-B408-3AD1DB5608A1}" destId="{AFC566FB-D404-4234-9FFE-BF294915126D}" srcOrd="0" destOrd="0" parTransId="{D8284F1B-A5DC-4E18-A7C5-FD7F8AB47C85}" sibTransId="{3B70F62B-B6BC-4029-8213-50035E705A89}"/>
    <dgm:cxn modelId="{E12CEB36-417E-44F5-B9A9-B155CD93D1E5}" type="presOf" srcId="{1EAC87C3-9AAF-45DE-BA64-50AA304C7FB4}" destId="{1C57D565-62D8-4962-B998-A100CBD1B650}" srcOrd="0" destOrd="2" presId="urn:microsoft.com/office/officeart/2005/8/layout/default"/>
    <dgm:cxn modelId="{45B27538-D27E-4869-9BAC-FBBE20F8A3C8}" srcId="{8950D0FC-C11F-4108-A1C9-2E454A2DFCF8}" destId="{1EAC87C3-9AAF-45DE-BA64-50AA304C7FB4}" srcOrd="1" destOrd="0" parTransId="{B227E3A3-D61E-4AD9-B1E9-CFEE9F831FD8}" sibTransId="{97E87CB6-9777-4BDD-9A09-07CC619EB9AE}"/>
    <dgm:cxn modelId="{D1FF9066-72B6-4765-9721-1C819AA87756}" type="presOf" srcId="{0297031F-B175-4041-9DD5-2ACFFD74F750}" destId="{11E80F8B-A729-4781-9FA1-FC886E80FE41}" srcOrd="0" destOrd="1" presId="urn:microsoft.com/office/officeart/2005/8/layout/default"/>
    <dgm:cxn modelId="{1C7D934A-96A2-48E9-AE21-AF42FBA5051B}" type="presOf" srcId="{8950D0FC-C11F-4108-A1C9-2E454A2DFCF8}" destId="{1C57D565-62D8-4962-B998-A100CBD1B650}" srcOrd="0" destOrd="0" presId="urn:microsoft.com/office/officeart/2005/8/layout/default"/>
    <dgm:cxn modelId="{D009B64F-0F84-4D14-989E-C424CD045FA6}" type="presOf" srcId="{AFC566FB-D404-4234-9FFE-BF294915126D}" destId="{832A5838-82DC-4572-B069-96EE720716BB}" srcOrd="0" destOrd="1" presId="urn:microsoft.com/office/officeart/2005/8/layout/default"/>
    <dgm:cxn modelId="{8C65A871-EEAD-43D9-AC7B-EA294E4CAB98}" srcId="{741A40D0-0C26-4EA8-A896-55C7E8E2B037}" destId="{10E3BDD4-B82A-401E-ADB5-98F1CBF13F14}" srcOrd="0" destOrd="0" parTransId="{869A181F-2D83-41D5-800C-55AE531DA828}" sibTransId="{FDBC8794-FA00-4716-91B3-764D5C392D97}"/>
    <dgm:cxn modelId="{AB22E471-FC98-4A69-80E0-B831A7DF5BCC}" srcId="{FF5786B7-8CC4-40CC-8CE5-50D3CE0283DD}" destId="{95230522-EF5F-46E8-A7BF-A451E673BCAB}" srcOrd="1" destOrd="0" parTransId="{51A1AD37-FD79-492F-B408-21B04FFEAE7C}" sibTransId="{DFC883E1-62A0-4939-A651-95478DB93600}"/>
    <dgm:cxn modelId="{B9DA9A72-F3BF-4D42-AB10-03D30F62CCF1}" srcId="{71E660BD-F6D1-4BE3-BAFB-BFA1403BA219}" destId="{6BA1BACD-7667-49CB-984E-DB9001F053D3}" srcOrd="0" destOrd="0" parTransId="{BF867641-97C7-4CBB-8F39-D4A806FACCE6}" sibTransId="{88B0207A-54EA-483F-8CF2-20F25FA9E841}"/>
    <dgm:cxn modelId="{CAEAC772-63DB-4239-9470-9A2EB4D3C282}" srcId="{273B7BD0-EB1D-4AC3-B0C6-633ED0A9DFDB}" destId="{FF5786B7-8CC4-40CC-8CE5-50D3CE0283DD}" srcOrd="5" destOrd="0" parTransId="{CDADD620-4EEA-4036-A477-03F32DF1FAE5}" sibTransId="{9777A823-96E0-4844-85CD-523A63C50DCF}"/>
    <dgm:cxn modelId="{CE6AA673-94F1-4433-916E-30BA7E34054B}" srcId="{273B7BD0-EB1D-4AC3-B0C6-633ED0A9DFDB}" destId="{741A40D0-0C26-4EA8-A896-55C7E8E2B037}" srcOrd="3" destOrd="0" parTransId="{5C673930-1CCD-4758-8283-AF587C4AC078}" sibTransId="{AC246F95-490E-4279-A136-13647D64DDA7}"/>
    <dgm:cxn modelId="{704BC073-64EC-4A78-8B1A-3B3A52B94229}" type="presOf" srcId="{71E660BD-F6D1-4BE3-BAFB-BFA1403BA219}" destId="{42A45468-6734-4E10-983D-87AD7A415011}" srcOrd="0" destOrd="0" presId="urn:microsoft.com/office/officeart/2005/8/layout/default"/>
    <dgm:cxn modelId="{EA021374-14C3-4BE7-904C-AB85A7C04A5E}" type="presOf" srcId="{10E3BDD4-B82A-401E-ADB5-98F1CBF13F14}" destId="{5B99E946-B54F-4A34-B4DC-8EF46017DB00}" srcOrd="0" destOrd="1" presId="urn:microsoft.com/office/officeart/2005/8/layout/default"/>
    <dgm:cxn modelId="{E612AF56-3D30-41BA-96C8-D0D3C119E93D}" type="presOf" srcId="{273B7BD0-EB1D-4AC3-B0C6-633ED0A9DFDB}" destId="{721795DD-DFEA-4C4B-BFAD-6E934BD4AFFC}" srcOrd="0" destOrd="0" presId="urn:microsoft.com/office/officeart/2005/8/layout/default"/>
    <dgm:cxn modelId="{5974C357-F93A-49A5-990C-47C69FB06C85}" srcId="{5093673D-0A58-49E4-803C-35FAC90807CE}" destId="{0297031F-B175-4041-9DD5-2ACFFD74F750}" srcOrd="0" destOrd="0" parTransId="{91938BE0-6A77-4E2B-92E9-CD69625C16FC}" sibTransId="{493ED0D2-5B08-4018-B08D-545955533AD1}"/>
    <dgm:cxn modelId="{98FDD359-0CC5-4C6D-B0F5-2DABFA315432}" srcId="{2CC641E4-133D-4907-B525-8E257741CF78}" destId="{314F66A8-5B63-413C-BBD7-D62E3F79262D}" srcOrd="0" destOrd="0" parTransId="{49704984-2C81-474F-B86F-D370023FA60B}" sibTransId="{C8BCAD21-D502-47CA-A304-AE4BA8402E4B}"/>
    <dgm:cxn modelId="{54834A91-C2A7-41E6-BA34-3A3423DB29BD}" type="presOf" srcId="{138B8019-060C-400D-B3BE-5792697571F6}" destId="{6397233C-C0BB-4098-83EC-D635DD303656}" srcOrd="0" destOrd="1" presId="urn:microsoft.com/office/officeart/2005/8/layout/default"/>
    <dgm:cxn modelId="{0DCBD691-0A8A-4FD8-A730-FD49B6339BE7}" type="presOf" srcId="{741A40D0-0C26-4EA8-A896-55C7E8E2B037}" destId="{5B99E946-B54F-4A34-B4DC-8EF46017DB00}" srcOrd="0" destOrd="0" presId="urn:microsoft.com/office/officeart/2005/8/layout/default"/>
    <dgm:cxn modelId="{204F9296-D121-4F54-9F6B-E3FBAAA29F92}" srcId="{741A40D0-0C26-4EA8-A896-55C7E8E2B037}" destId="{F42AA056-FB87-4FB6-BB82-48A26AA21B56}" srcOrd="1" destOrd="0" parTransId="{D147B3A5-A1EC-4F1C-9B97-DE7312AEE400}" sibTransId="{349102EE-87DF-4073-9190-9364B9EB39F3}"/>
    <dgm:cxn modelId="{7FFE0F9D-34DE-47D3-ABE1-3054100BFBD3}" type="presOf" srcId="{314F66A8-5B63-413C-BBD7-D62E3F79262D}" destId="{3D1B181F-BEB7-4F84-904A-8A482067196A}" srcOrd="0" destOrd="1" presId="urn:microsoft.com/office/officeart/2005/8/layout/default"/>
    <dgm:cxn modelId="{363A199E-BF05-4FB3-BA16-23B54C1F119F}" srcId="{273B7BD0-EB1D-4AC3-B0C6-633ED0A9DFDB}" destId="{8950D0FC-C11F-4108-A1C9-2E454A2DFCF8}" srcOrd="0" destOrd="0" parTransId="{A9634FB7-403E-4D10-87EE-6158FFB7FD64}" sibTransId="{EADD634E-C4E4-4700-A458-E0B6835CD2F6}"/>
    <dgm:cxn modelId="{7D421CA2-E81A-4D7D-8454-4EFA631E66E2}" srcId="{7F582340-9096-4EC4-B408-3AD1DB5608A1}" destId="{BDCA029D-F153-4D4C-97CE-671E929BD4B3}" srcOrd="1" destOrd="0" parTransId="{ABB7B6C9-543C-4538-948F-D256714DAB55}" sibTransId="{89F8C8CB-94FB-4B9D-9A4B-E76DE412767D}"/>
    <dgm:cxn modelId="{1DE8E6A7-D3E1-4AD3-BF0F-55F42A9E3522}" type="presOf" srcId="{5093673D-0A58-49E4-803C-35FAC90807CE}" destId="{11E80F8B-A729-4781-9FA1-FC886E80FE41}" srcOrd="0" destOrd="0" presId="urn:microsoft.com/office/officeart/2005/8/layout/default"/>
    <dgm:cxn modelId="{22E543AE-1CA6-4C79-B73E-C4EDB72628A3}" type="presOf" srcId="{B33E7E4B-984D-4FB7-A6DE-BB84DCBD739E}" destId="{1C57D565-62D8-4962-B998-A100CBD1B650}" srcOrd="0" destOrd="1" presId="urn:microsoft.com/office/officeart/2005/8/layout/default"/>
    <dgm:cxn modelId="{D69D69B7-4B8A-468A-B3AE-9B56A2A8B3CA}" type="presOf" srcId="{6BA1BACD-7667-49CB-984E-DB9001F053D3}" destId="{42A45468-6734-4E10-983D-87AD7A415011}" srcOrd="0" destOrd="1" presId="urn:microsoft.com/office/officeart/2005/8/layout/default"/>
    <dgm:cxn modelId="{38D68AC3-21F0-4686-AA56-592CA6CCC24E}" srcId="{8950D0FC-C11F-4108-A1C9-2E454A2DFCF8}" destId="{B33E7E4B-984D-4FB7-A6DE-BB84DCBD739E}" srcOrd="0" destOrd="0" parTransId="{5483104B-1F25-44A7-812F-DA63B81D344F}" sibTransId="{0A384500-C0E6-460B-B16F-5C8036DF8E88}"/>
    <dgm:cxn modelId="{ACB0CAC8-3003-4748-BD19-63A1C653A366}" srcId="{FF5786B7-8CC4-40CC-8CE5-50D3CE0283DD}" destId="{138B8019-060C-400D-B3BE-5792697571F6}" srcOrd="0" destOrd="0" parTransId="{2784305B-0880-4954-BE6A-B5E0846BC878}" sibTransId="{BFBE42BD-0A5D-4884-BE2E-CA492D2FF5AE}"/>
    <dgm:cxn modelId="{0CF8E3E7-6D68-4B7E-ABB8-79C0C363D296}" srcId="{273B7BD0-EB1D-4AC3-B0C6-633ED0A9DFDB}" destId="{5093673D-0A58-49E4-803C-35FAC90807CE}" srcOrd="1" destOrd="0" parTransId="{237CD8F4-ED84-4B9D-8ACC-305468D576FB}" sibTransId="{4A6D6E0A-B8C1-4F1B-B414-743401EA08C0}"/>
    <dgm:cxn modelId="{D1FF80EB-7391-41F5-ACEF-DECED3C81E58}" type="presOf" srcId="{95230522-EF5F-46E8-A7BF-A451E673BCAB}" destId="{6397233C-C0BB-4098-83EC-D635DD303656}" srcOrd="0" destOrd="2" presId="urn:microsoft.com/office/officeart/2005/8/layout/default"/>
    <dgm:cxn modelId="{2C1FFCEE-E314-4649-B369-B2BC6DF8556C}" srcId="{273B7BD0-EB1D-4AC3-B0C6-633ED0A9DFDB}" destId="{2CC641E4-133D-4907-B525-8E257741CF78}" srcOrd="2" destOrd="0" parTransId="{EDEFB515-B840-450E-816D-E9CA609C903F}" sibTransId="{4FCD1368-B8E5-4DED-B450-BF3AB3A817D3}"/>
    <dgm:cxn modelId="{0D176EF0-43F4-4AB1-A91E-DAAA4BA30036}" type="presOf" srcId="{2CC641E4-133D-4907-B525-8E257741CF78}" destId="{3D1B181F-BEB7-4F84-904A-8A482067196A}" srcOrd="0" destOrd="0" presId="urn:microsoft.com/office/officeart/2005/8/layout/default"/>
    <dgm:cxn modelId="{2A2E87F0-E7F0-4665-BFEE-9D2EAA67D1A3}" type="presOf" srcId="{7F582340-9096-4EC4-B408-3AD1DB5608A1}" destId="{832A5838-82DC-4572-B069-96EE720716BB}" srcOrd="0" destOrd="0" presId="urn:microsoft.com/office/officeart/2005/8/layout/default"/>
    <dgm:cxn modelId="{43B323FD-5DD3-4EF1-B3F1-A34B2E79F8FC}" type="presOf" srcId="{F42AA056-FB87-4FB6-BB82-48A26AA21B56}" destId="{5B99E946-B54F-4A34-B4DC-8EF46017DB00}" srcOrd="0" destOrd="2" presId="urn:microsoft.com/office/officeart/2005/8/layout/default"/>
    <dgm:cxn modelId="{F07D2CFF-504A-4BA3-8AC7-FCCFD6274C07}" type="presOf" srcId="{BDCA029D-F153-4D4C-97CE-671E929BD4B3}" destId="{832A5838-82DC-4572-B069-96EE720716BB}" srcOrd="0" destOrd="2" presId="urn:microsoft.com/office/officeart/2005/8/layout/default"/>
    <dgm:cxn modelId="{17602DBF-9A16-436A-B3FC-6E09928D6E7F}" type="presParOf" srcId="{721795DD-DFEA-4C4B-BFAD-6E934BD4AFFC}" destId="{1C57D565-62D8-4962-B998-A100CBD1B650}" srcOrd="0" destOrd="0" presId="urn:microsoft.com/office/officeart/2005/8/layout/default"/>
    <dgm:cxn modelId="{89B7B246-5DE6-4E31-A8BC-3B465387BDF5}" type="presParOf" srcId="{721795DD-DFEA-4C4B-BFAD-6E934BD4AFFC}" destId="{4B2C4D27-5571-4CBB-A692-68AC3DB81211}" srcOrd="1" destOrd="0" presId="urn:microsoft.com/office/officeart/2005/8/layout/default"/>
    <dgm:cxn modelId="{8F8213C0-8BF3-413C-AC0B-BCFBBB970226}" type="presParOf" srcId="{721795DD-DFEA-4C4B-BFAD-6E934BD4AFFC}" destId="{11E80F8B-A729-4781-9FA1-FC886E80FE41}" srcOrd="2" destOrd="0" presId="urn:microsoft.com/office/officeart/2005/8/layout/default"/>
    <dgm:cxn modelId="{9DD1A8CF-3876-43A8-9CB3-A1A710EBF63F}" type="presParOf" srcId="{721795DD-DFEA-4C4B-BFAD-6E934BD4AFFC}" destId="{103CA5EC-C8B6-4930-9ABB-FBF800DA2A34}" srcOrd="3" destOrd="0" presId="urn:microsoft.com/office/officeart/2005/8/layout/default"/>
    <dgm:cxn modelId="{DDD9D3B0-D74A-4FBF-9AA6-10EEDC0B9826}" type="presParOf" srcId="{721795DD-DFEA-4C4B-BFAD-6E934BD4AFFC}" destId="{3D1B181F-BEB7-4F84-904A-8A482067196A}" srcOrd="4" destOrd="0" presId="urn:microsoft.com/office/officeart/2005/8/layout/default"/>
    <dgm:cxn modelId="{532AA9B9-0BCD-48E8-987F-4D59597D8634}" type="presParOf" srcId="{721795DD-DFEA-4C4B-BFAD-6E934BD4AFFC}" destId="{66AFAF21-F314-42D7-93CB-6931B30EBB88}" srcOrd="5" destOrd="0" presId="urn:microsoft.com/office/officeart/2005/8/layout/default"/>
    <dgm:cxn modelId="{37DB4C79-36DB-4FF1-89D4-6E61B448C8E0}" type="presParOf" srcId="{721795DD-DFEA-4C4B-BFAD-6E934BD4AFFC}" destId="{5B99E946-B54F-4A34-B4DC-8EF46017DB00}" srcOrd="6" destOrd="0" presId="urn:microsoft.com/office/officeart/2005/8/layout/default"/>
    <dgm:cxn modelId="{B01B1229-C246-43AA-9E56-717C419E239A}" type="presParOf" srcId="{721795DD-DFEA-4C4B-BFAD-6E934BD4AFFC}" destId="{31DC7DDD-0CAD-40C6-AF3F-0675054793B3}" srcOrd="7" destOrd="0" presId="urn:microsoft.com/office/officeart/2005/8/layout/default"/>
    <dgm:cxn modelId="{42487751-A8E2-4A4D-A0ED-F485811ED4B5}" type="presParOf" srcId="{721795DD-DFEA-4C4B-BFAD-6E934BD4AFFC}" destId="{832A5838-82DC-4572-B069-96EE720716BB}" srcOrd="8" destOrd="0" presId="urn:microsoft.com/office/officeart/2005/8/layout/default"/>
    <dgm:cxn modelId="{EFE55A02-5007-464B-847E-E84840CAC892}" type="presParOf" srcId="{721795DD-DFEA-4C4B-BFAD-6E934BD4AFFC}" destId="{39AF410A-3349-49E4-8BE1-6EEEFB2BDD98}" srcOrd="9" destOrd="0" presId="urn:microsoft.com/office/officeart/2005/8/layout/default"/>
    <dgm:cxn modelId="{6EB65D5C-CC24-4CC4-99DA-76C2077029EC}" type="presParOf" srcId="{721795DD-DFEA-4C4B-BFAD-6E934BD4AFFC}" destId="{6397233C-C0BB-4098-83EC-D635DD303656}" srcOrd="10" destOrd="0" presId="urn:microsoft.com/office/officeart/2005/8/layout/default"/>
    <dgm:cxn modelId="{7538C91F-FC62-4DFD-807C-B8982DA8FEB7}" type="presParOf" srcId="{721795DD-DFEA-4C4B-BFAD-6E934BD4AFFC}" destId="{1EA8D1A1-8470-44F1-912E-948616878D97}" srcOrd="11" destOrd="0" presId="urn:microsoft.com/office/officeart/2005/8/layout/default"/>
    <dgm:cxn modelId="{C091AB19-7402-4F28-A50E-8309DAA9E088}" type="presParOf" srcId="{721795DD-DFEA-4C4B-BFAD-6E934BD4AFFC}" destId="{42A45468-6734-4E10-983D-87AD7A415011}"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ABF2B94E-2644-44F8-A44F-06ED5D519923}" type="doc">
      <dgm:prSet loTypeId="urn:microsoft.com/office/officeart/2005/8/layout/venn3" loCatId="relationship" qsTypeId="urn:microsoft.com/office/officeart/2005/8/quickstyle/simple1" qsCatId="simple" csTypeId="urn:microsoft.com/office/officeart/2005/8/colors/accent1_5" csCatId="accent1" phldr="1"/>
      <dgm:spPr/>
      <dgm:t>
        <a:bodyPr/>
        <a:lstStyle/>
        <a:p>
          <a:endParaRPr lang="es-ES"/>
        </a:p>
      </dgm:t>
    </dgm:pt>
    <dgm:pt modelId="{2234B55B-33C0-43A7-9AA5-43303603AD6F}">
      <dgm:prSet phldrT="[Texto]" custT="1"/>
      <dgm:spPr/>
      <dgm:t>
        <a:bodyPr/>
        <a:lstStyle/>
        <a:p>
          <a:r>
            <a:rPr lang="es-ES" sz="2800" dirty="0"/>
            <a:t>Casi todo de lo que se puede hacer ahora con las nuevas tecnologías, antes ya se podía …</a:t>
          </a:r>
        </a:p>
      </dgm:t>
    </dgm:pt>
    <dgm:pt modelId="{1CFF716F-185D-4BB1-A448-58E78165D093}" type="parTrans" cxnId="{7EFA335C-82AA-40E4-8A0D-5CD22092D07E}">
      <dgm:prSet/>
      <dgm:spPr/>
      <dgm:t>
        <a:bodyPr/>
        <a:lstStyle/>
        <a:p>
          <a:endParaRPr lang="es-ES" sz="2800">
            <a:solidFill>
              <a:schemeClr val="bg1"/>
            </a:solidFill>
          </a:endParaRPr>
        </a:p>
      </dgm:t>
    </dgm:pt>
    <dgm:pt modelId="{531B1F91-3475-48CD-82DF-75CEEE5623A6}" type="sibTrans" cxnId="{7EFA335C-82AA-40E4-8A0D-5CD22092D07E}">
      <dgm:prSet/>
      <dgm:spPr/>
      <dgm:t>
        <a:bodyPr/>
        <a:lstStyle/>
        <a:p>
          <a:endParaRPr lang="es-ES" sz="2800">
            <a:solidFill>
              <a:schemeClr val="bg1"/>
            </a:solidFill>
          </a:endParaRPr>
        </a:p>
      </dgm:t>
    </dgm:pt>
    <dgm:pt modelId="{452A44BC-8D1A-40A4-8BC4-6A5E22BFE11E}">
      <dgm:prSet phldrT="[Texto]" custT="1"/>
      <dgm:spPr/>
      <dgm:t>
        <a:bodyPr/>
        <a:lstStyle/>
        <a:p>
          <a:r>
            <a:rPr lang="es-ES" sz="2800" dirty="0"/>
            <a:t>… pero ahora se puede hacer más económico, más y mejor…</a:t>
          </a:r>
        </a:p>
      </dgm:t>
    </dgm:pt>
    <dgm:pt modelId="{5F4A9E5C-0C91-4000-B6CE-8296DC747D74}" type="parTrans" cxnId="{290EB8A3-1DEB-48B5-8561-A4AF3C70493F}">
      <dgm:prSet/>
      <dgm:spPr/>
      <dgm:t>
        <a:bodyPr/>
        <a:lstStyle/>
        <a:p>
          <a:endParaRPr lang="es-ES" sz="2800">
            <a:solidFill>
              <a:schemeClr val="bg1"/>
            </a:solidFill>
          </a:endParaRPr>
        </a:p>
      </dgm:t>
    </dgm:pt>
    <dgm:pt modelId="{941BFE53-82F7-4212-A9A6-4A7DA044A105}" type="sibTrans" cxnId="{290EB8A3-1DEB-48B5-8561-A4AF3C70493F}">
      <dgm:prSet/>
      <dgm:spPr/>
      <dgm:t>
        <a:bodyPr/>
        <a:lstStyle/>
        <a:p>
          <a:endParaRPr lang="es-ES" sz="2800">
            <a:solidFill>
              <a:schemeClr val="bg1"/>
            </a:solidFill>
          </a:endParaRPr>
        </a:p>
      </dgm:t>
    </dgm:pt>
    <dgm:pt modelId="{5D45B83A-4C89-452B-A6EE-4C3331991B74}">
      <dgm:prSet phldrT="[Texto]" custT="1"/>
      <dgm:spPr/>
      <dgm:t>
        <a:bodyPr/>
        <a:lstStyle/>
        <a:p>
          <a:r>
            <a:rPr lang="es-ES" sz="2800" dirty="0"/>
            <a:t>La tecnología no es la panacea</a:t>
          </a:r>
        </a:p>
      </dgm:t>
    </dgm:pt>
    <dgm:pt modelId="{F4A7B69F-29D3-4571-84AB-B784BD1ACF3D}" type="parTrans" cxnId="{1AD87C76-31B6-40E7-B24D-E7D64D59096E}">
      <dgm:prSet/>
      <dgm:spPr/>
      <dgm:t>
        <a:bodyPr/>
        <a:lstStyle/>
        <a:p>
          <a:endParaRPr lang="es-ES" sz="2800">
            <a:solidFill>
              <a:schemeClr val="bg1"/>
            </a:solidFill>
          </a:endParaRPr>
        </a:p>
      </dgm:t>
    </dgm:pt>
    <dgm:pt modelId="{0343B2DC-BC2C-4CDF-8AB8-A3A53A8F446B}" type="sibTrans" cxnId="{1AD87C76-31B6-40E7-B24D-E7D64D59096E}">
      <dgm:prSet/>
      <dgm:spPr/>
      <dgm:t>
        <a:bodyPr/>
        <a:lstStyle/>
        <a:p>
          <a:endParaRPr lang="es-ES" sz="2800">
            <a:solidFill>
              <a:schemeClr val="bg1"/>
            </a:solidFill>
          </a:endParaRPr>
        </a:p>
      </dgm:t>
    </dgm:pt>
    <dgm:pt modelId="{7BBC3A47-7E73-4EFD-AD98-935D4D574F17}" type="pres">
      <dgm:prSet presAssocID="{ABF2B94E-2644-44F8-A44F-06ED5D519923}" presName="Name0" presStyleCnt="0">
        <dgm:presLayoutVars>
          <dgm:dir/>
          <dgm:resizeHandles val="exact"/>
        </dgm:presLayoutVars>
      </dgm:prSet>
      <dgm:spPr/>
    </dgm:pt>
    <dgm:pt modelId="{446CBC1E-3262-4820-9EB4-044CEAC8BB6F}" type="pres">
      <dgm:prSet presAssocID="{2234B55B-33C0-43A7-9AA5-43303603AD6F}" presName="Name5" presStyleLbl="vennNode1" presStyleIdx="0" presStyleCnt="3">
        <dgm:presLayoutVars>
          <dgm:bulletEnabled val="1"/>
        </dgm:presLayoutVars>
      </dgm:prSet>
      <dgm:spPr/>
    </dgm:pt>
    <dgm:pt modelId="{C067AF9F-38ED-42F6-A5FE-AC76B585956A}" type="pres">
      <dgm:prSet presAssocID="{531B1F91-3475-48CD-82DF-75CEEE5623A6}" presName="space" presStyleCnt="0"/>
      <dgm:spPr/>
    </dgm:pt>
    <dgm:pt modelId="{657BD7E7-4136-44ED-A01F-8F6CB8C96399}" type="pres">
      <dgm:prSet presAssocID="{452A44BC-8D1A-40A4-8BC4-6A5E22BFE11E}" presName="Name5" presStyleLbl="vennNode1" presStyleIdx="1" presStyleCnt="3">
        <dgm:presLayoutVars>
          <dgm:bulletEnabled val="1"/>
        </dgm:presLayoutVars>
      </dgm:prSet>
      <dgm:spPr/>
    </dgm:pt>
    <dgm:pt modelId="{56EB2B30-E765-4914-8EB0-11D304A34761}" type="pres">
      <dgm:prSet presAssocID="{941BFE53-82F7-4212-A9A6-4A7DA044A105}" presName="space" presStyleCnt="0"/>
      <dgm:spPr/>
    </dgm:pt>
    <dgm:pt modelId="{BD6A5BC0-51BF-4EE7-B4F3-7E78E94D874C}" type="pres">
      <dgm:prSet presAssocID="{5D45B83A-4C89-452B-A6EE-4C3331991B74}" presName="Name5" presStyleLbl="vennNode1" presStyleIdx="2" presStyleCnt="3">
        <dgm:presLayoutVars>
          <dgm:bulletEnabled val="1"/>
        </dgm:presLayoutVars>
      </dgm:prSet>
      <dgm:spPr/>
    </dgm:pt>
  </dgm:ptLst>
  <dgm:cxnLst>
    <dgm:cxn modelId="{D45E843F-1EDF-480B-A082-7AE3A9BACEDF}" type="presOf" srcId="{452A44BC-8D1A-40A4-8BC4-6A5E22BFE11E}" destId="{657BD7E7-4136-44ED-A01F-8F6CB8C96399}" srcOrd="0" destOrd="0" presId="urn:microsoft.com/office/officeart/2005/8/layout/venn3"/>
    <dgm:cxn modelId="{7EFA335C-82AA-40E4-8A0D-5CD22092D07E}" srcId="{ABF2B94E-2644-44F8-A44F-06ED5D519923}" destId="{2234B55B-33C0-43A7-9AA5-43303603AD6F}" srcOrd="0" destOrd="0" parTransId="{1CFF716F-185D-4BB1-A448-58E78165D093}" sibTransId="{531B1F91-3475-48CD-82DF-75CEEE5623A6}"/>
    <dgm:cxn modelId="{1AD87C76-31B6-40E7-B24D-E7D64D59096E}" srcId="{ABF2B94E-2644-44F8-A44F-06ED5D519923}" destId="{5D45B83A-4C89-452B-A6EE-4C3331991B74}" srcOrd="2" destOrd="0" parTransId="{F4A7B69F-29D3-4571-84AB-B784BD1ACF3D}" sibTransId="{0343B2DC-BC2C-4CDF-8AB8-A3A53A8F446B}"/>
    <dgm:cxn modelId="{40E19A8D-075D-4285-8426-3840C78A567A}" type="presOf" srcId="{5D45B83A-4C89-452B-A6EE-4C3331991B74}" destId="{BD6A5BC0-51BF-4EE7-B4F3-7E78E94D874C}" srcOrd="0" destOrd="0" presId="urn:microsoft.com/office/officeart/2005/8/layout/venn3"/>
    <dgm:cxn modelId="{290EB8A3-1DEB-48B5-8561-A4AF3C70493F}" srcId="{ABF2B94E-2644-44F8-A44F-06ED5D519923}" destId="{452A44BC-8D1A-40A4-8BC4-6A5E22BFE11E}" srcOrd="1" destOrd="0" parTransId="{5F4A9E5C-0C91-4000-B6CE-8296DC747D74}" sibTransId="{941BFE53-82F7-4212-A9A6-4A7DA044A105}"/>
    <dgm:cxn modelId="{F7D831BF-13E8-49FE-9A98-DF708511D52C}" type="presOf" srcId="{ABF2B94E-2644-44F8-A44F-06ED5D519923}" destId="{7BBC3A47-7E73-4EFD-AD98-935D4D574F17}" srcOrd="0" destOrd="0" presId="urn:microsoft.com/office/officeart/2005/8/layout/venn3"/>
    <dgm:cxn modelId="{4AAEA2FA-983B-49EA-8AC2-35F53ED08CFB}" type="presOf" srcId="{2234B55B-33C0-43A7-9AA5-43303603AD6F}" destId="{446CBC1E-3262-4820-9EB4-044CEAC8BB6F}" srcOrd="0" destOrd="0" presId="urn:microsoft.com/office/officeart/2005/8/layout/venn3"/>
    <dgm:cxn modelId="{7F7062E8-A40A-4416-AFB0-9A803D04B944}" type="presParOf" srcId="{7BBC3A47-7E73-4EFD-AD98-935D4D574F17}" destId="{446CBC1E-3262-4820-9EB4-044CEAC8BB6F}" srcOrd="0" destOrd="0" presId="urn:microsoft.com/office/officeart/2005/8/layout/venn3"/>
    <dgm:cxn modelId="{E64DA7CA-D42B-44FB-ADEF-02BA35906412}" type="presParOf" srcId="{7BBC3A47-7E73-4EFD-AD98-935D4D574F17}" destId="{C067AF9F-38ED-42F6-A5FE-AC76B585956A}" srcOrd="1" destOrd="0" presId="urn:microsoft.com/office/officeart/2005/8/layout/venn3"/>
    <dgm:cxn modelId="{B87DB7C4-2DF5-47F8-9A05-BC1216233181}" type="presParOf" srcId="{7BBC3A47-7E73-4EFD-AD98-935D4D574F17}" destId="{657BD7E7-4136-44ED-A01F-8F6CB8C96399}" srcOrd="2" destOrd="0" presId="urn:microsoft.com/office/officeart/2005/8/layout/venn3"/>
    <dgm:cxn modelId="{2BEA39AD-D193-4A1B-B592-4D75484F9E0D}" type="presParOf" srcId="{7BBC3A47-7E73-4EFD-AD98-935D4D574F17}" destId="{56EB2B30-E765-4914-8EB0-11D304A34761}" srcOrd="3" destOrd="0" presId="urn:microsoft.com/office/officeart/2005/8/layout/venn3"/>
    <dgm:cxn modelId="{AE8C08DD-68AD-4921-842C-52B1FD949E42}" type="presParOf" srcId="{7BBC3A47-7E73-4EFD-AD98-935D4D574F17}" destId="{BD6A5BC0-51BF-4EE7-B4F3-7E78E94D874C}" srcOrd="4"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D1E26C1A-3D3C-4474-9F92-8E1535582BE7}" type="doc">
      <dgm:prSet loTypeId="urn:microsoft.com/office/officeart/2005/8/layout/lProcess2" loCatId="list" qsTypeId="urn:microsoft.com/office/officeart/2005/8/quickstyle/simple1" qsCatId="simple" csTypeId="urn:microsoft.com/office/officeart/2005/8/colors/accent0_1" csCatId="mainScheme" phldr="1"/>
      <dgm:spPr/>
      <dgm:t>
        <a:bodyPr/>
        <a:lstStyle/>
        <a:p>
          <a:endParaRPr lang="es-ES"/>
        </a:p>
      </dgm:t>
    </dgm:pt>
    <dgm:pt modelId="{DD7D0DEB-628D-4638-90E0-A90765E4D475}">
      <dgm:prSet phldrT="[Texto]"/>
      <dgm:spPr/>
      <dgm:t>
        <a:bodyPr/>
        <a:lstStyle/>
        <a:p>
          <a:r>
            <a:rPr lang="es-ES" b="1" dirty="0"/>
            <a:t>2022</a:t>
          </a:r>
          <a:endParaRPr lang="es-ES" dirty="0"/>
        </a:p>
      </dgm:t>
    </dgm:pt>
    <dgm:pt modelId="{BA0F3D42-503A-4150-A5E0-23694796CEE6}" type="parTrans" cxnId="{6E23841D-C4C6-4372-B7CF-F0A91127263F}">
      <dgm:prSet/>
      <dgm:spPr/>
      <dgm:t>
        <a:bodyPr/>
        <a:lstStyle/>
        <a:p>
          <a:endParaRPr lang="es-ES"/>
        </a:p>
      </dgm:t>
    </dgm:pt>
    <dgm:pt modelId="{3006F240-1F7C-4D14-946B-D33A17F3E34C}" type="sibTrans" cxnId="{6E23841D-C4C6-4372-B7CF-F0A91127263F}">
      <dgm:prSet/>
      <dgm:spPr/>
      <dgm:t>
        <a:bodyPr/>
        <a:lstStyle/>
        <a:p>
          <a:endParaRPr lang="es-ES"/>
        </a:p>
      </dgm:t>
    </dgm:pt>
    <dgm:pt modelId="{846403EC-94DC-4A63-9DAA-9928F43663D4}">
      <dgm:prSet/>
      <dgm:spPr/>
      <dgm:t>
        <a:bodyPr/>
        <a:lstStyle/>
        <a:p>
          <a:r>
            <a:rPr lang="es-ES" b="1" dirty="0"/>
            <a:t>Valor absoluto:</a:t>
          </a:r>
          <a:endParaRPr lang="es-ES" dirty="0"/>
        </a:p>
      </dgm:t>
    </dgm:pt>
    <dgm:pt modelId="{FF2BFC4F-3357-4504-A77C-27E0E18C465E}" type="parTrans" cxnId="{3889A567-BF55-4329-B9F0-03EDA7CFBF58}">
      <dgm:prSet/>
      <dgm:spPr/>
      <dgm:t>
        <a:bodyPr/>
        <a:lstStyle/>
        <a:p>
          <a:endParaRPr lang="es-ES"/>
        </a:p>
      </dgm:t>
    </dgm:pt>
    <dgm:pt modelId="{33E6A026-32B9-4637-B74E-9C61B354EA30}" type="sibTrans" cxnId="{3889A567-BF55-4329-B9F0-03EDA7CFBF58}">
      <dgm:prSet/>
      <dgm:spPr/>
      <dgm:t>
        <a:bodyPr/>
        <a:lstStyle/>
        <a:p>
          <a:endParaRPr lang="es-ES"/>
        </a:p>
      </dgm:t>
    </dgm:pt>
    <dgm:pt modelId="{8C5F43A0-43CD-4A17-AA31-A442BF492F3E}">
      <dgm:prSet/>
      <dgm:spPr/>
      <dgm:t>
        <a:bodyPr/>
        <a:lstStyle/>
        <a:p>
          <a:r>
            <a:rPr lang="es-ES" b="1" dirty="0"/>
            <a:t>Porcentaje:</a:t>
          </a:r>
          <a:endParaRPr lang="es-ES" dirty="0"/>
        </a:p>
      </dgm:t>
    </dgm:pt>
    <dgm:pt modelId="{6557514E-F85E-455D-A0E5-BA90A91D3C64}" type="parTrans" cxnId="{3F04F2EA-8EFE-406B-8416-2B1EDECE7EE2}">
      <dgm:prSet/>
      <dgm:spPr/>
      <dgm:t>
        <a:bodyPr/>
        <a:lstStyle/>
        <a:p>
          <a:endParaRPr lang="es-ES"/>
        </a:p>
      </dgm:t>
    </dgm:pt>
    <dgm:pt modelId="{1108EEA2-8DCD-408A-B4E4-777F09C296DF}" type="sibTrans" cxnId="{3F04F2EA-8EFE-406B-8416-2B1EDECE7EE2}">
      <dgm:prSet/>
      <dgm:spPr/>
      <dgm:t>
        <a:bodyPr/>
        <a:lstStyle/>
        <a:p>
          <a:endParaRPr lang="es-ES"/>
        </a:p>
      </dgm:t>
    </dgm:pt>
    <dgm:pt modelId="{2F952F23-449D-4BBE-9D99-5EF442D0D3AC}">
      <dgm:prSet/>
      <dgm:spPr/>
      <dgm:t>
        <a:bodyPr/>
        <a:lstStyle/>
        <a:p>
          <a:r>
            <a:rPr lang="es-ES" b="1" dirty="0"/>
            <a:t>2023</a:t>
          </a:r>
          <a:endParaRPr lang="es-ES" dirty="0"/>
        </a:p>
      </dgm:t>
    </dgm:pt>
    <dgm:pt modelId="{9F4602B8-7137-4F44-B39E-5EF06EEB9EB9}" type="parTrans" cxnId="{2988ABDF-0D1A-48D7-9EF2-DDD30470DF42}">
      <dgm:prSet/>
      <dgm:spPr/>
      <dgm:t>
        <a:bodyPr/>
        <a:lstStyle/>
        <a:p>
          <a:endParaRPr lang="es-ES"/>
        </a:p>
      </dgm:t>
    </dgm:pt>
    <dgm:pt modelId="{8FAC1046-7F18-4CF2-8BD5-9CEAE0F9DA23}" type="sibTrans" cxnId="{2988ABDF-0D1A-48D7-9EF2-DDD30470DF42}">
      <dgm:prSet/>
      <dgm:spPr/>
      <dgm:t>
        <a:bodyPr/>
        <a:lstStyle/>
        <a:p>
          <a:endParaRPr lang="es-ES"/>
        </a:p>
      </dgm:t>
    </dgm:pt>
    <dgm:pt modelId="{15EA9675-380C-470D-B5FF-7F8685518962}">
      <dgm:prSet/>
      <dgm:spPr/>
      <dgm:t>
        <a:bodyPr/>
        <a:lstStyle/>
        <a:p>
          <a:r>
            <a:rPr lang="es-ES" b="1" dirty="0"/>
            <a:t>Valor absoluto:</a:t>
          </a:r>
          <a:endParaRPr lang="es-ES" dirty="0"/>
        </a:p>
      </dgm:t>
    </dgm:pt>
    <dgm:pt modelId="{3FCF6F85-EA0F-477C-9D1A-5F2DF7FA1F23}" type="parTrans" cxnId="{2B444439-ABA7-4860-888D-1DA0618A3B68}">
      <dgm:prSet/>
      <dgm:spPr/>
      <dgm:t>
        <a:bodyPr/>
        <a:lstStyle/>
        <a:p>
          <a:endParaRPr lang="es-ES"/>
        </a:p>
      </dgm:t>
    </dgm:pt>
    <dgm:pt modelId="{58B9182B-2E82-4EBE-A71A-7E874C842F20}" type="sibTrans" cxnId="{2B444439-ABA7-4860-888D-1DA0618A3B68}">
      <dgm:prSet/>
      <dgm:spPr/>
      <dgm:t>
        <a:bodyPr/>
        <a:lstStyle/>
        <a:p>
          <a:endParaRPr lang="es-ES"/>
        </a:p>
      </dgm:t>
    </dgm:pt>
    <dgm:pt modelId="{F620A4E0-B6F7-4B7F-ABB3-CC8F39C8D526}">
      <dgm:prSet/>
      <dgm:spPr/>
      <dgm:t>
        <a:bodyPr/>
        <a:lstStyle/>
        <a:p>
          <a:r>
            <a:rPr lang="es-ES" b="1" dirty="0"/>
            <a:t>Porcentaje:</a:t>
          </a:r>
          <a:endParaRPr lang="es-ES" dirty="0"/>
        </a:p>
      </dgm:t>
    </dgm:pt>
    <dgm:pt modelId="{224F52CE-7EE3-48CA-B5FB-9B3A15B7E76A}" type="parTrans" cxnId="{11C926E6-6F57-4AAB-9CDA-5C988637803E}">
      <dgm:prSet/>
      <dgm:spPr/>
      <dgm:t>
        <a:bodyPr/>
        <a:lstStyle/>
        <a:p>
          <a:endParaRPr lang="es-ES"/>
        </a:p>
      </dgm:t>
    </dgm:pt>
    <dgm:pt modelId="{3482DCA0-0741-4AF4-9395-1F6E03779672}" type="sibTrans" cxnId="{11C926E6-6F57-4AAB-9CDA-5C988637803E}">
      <dgm:prSet/>
      <dgm:spPr/>
      <dgm:t>
        <a:bodyPr/>
        <a:lstStyle/>
        <a:p>
          <a:endParaRPr lang="es-ES"/>
        </a:p>
      </dgm:t>
    </dgm:pt>
    <dgm:pt modelId="{9BADBC55-07F0-4872-8203-0CB457025B6F}">
      <dgm:prSet/>
      <dgm:spPr/>
      <dgm:t>
        <a:bodyPr/>
        <a:lstStyle/>
        <a:p>
          <a:r>
            <a:rPr lang="es-ES" b="1" dirty="0"/>
            <a:t>2024</a:t>
          </a:r>
          <a:endParaRPr lang="es-ES" dirty="0"/>
        </a:p>
      </dgm:t>
    </dgm:pt>
    <dgm:pt modelId="{BD97CB87-1910-4DF3-A943-6FEF15588C4E}" type="parTrans" cxnId="{D4D2514F-A212-4C6B-80BD-A2D6CC29B8C5}">
      <dgm:prSet/>
      <dgm:spPr/>
      <dgm:t>
        <a:bodyPr/>
        <a:lstStyle/>
        <a:p>
          <a:endParaRPr lang="es-ES"/>
        </a:p>
      </dgm:t>
    </dgm:pt>
    <dgm:pt modelId="{020E8137-6AE8-46AC-B558-2D399902BC56}" type="sibTrans" cxnId="{D4D2514F-A212-4C6B-80BD-A2D6CC29B8C5}">
      <dgm:prSet/>
      <dgm:spPr/>
      <dgm:t>
        <a:bodyPr/>
        <a:lstStyle/>
        <a:p>
          <a:endParaRPr lang="es-ES"/>
        </a:p>
      </dgm:t>
    </dgm:pt>
    <dgm:pt modelId="{825C63EF-9490-4350-8CED-5E9B762B91C2}">
      <dgm:prSet/>
      <dgm:spPr/>
      <dgm:t>
        <a:bodyPr/>
        <a:lstStyle/>
        <a:p>
          <a:r>
            <a:rPr lang="es-ES" b="1" dirty="0"/>
            <a:t>Valor absoluto:</a:t>
          </a:r>
          <a:endParaRPr lang="es-ES" dirty="0"/>
        </a:p>
      </dgm:t>
    </dgm:pt>
    <dgm:pt modelId="{988B4206-58BF-4F81-94F4-8B70D948CF56}" type="parTrans" cxnId="{FC75EF3E-6388-4CF6-AF7C-90AD417D9FB8}">
      <dgm:prSet/>
      <dgm:spPr/>
      <dgm:t>
        <a:bodyPr/>
        <a:lstStyle/>
        <a:p>
          <a:endParaRPr lang="es-ES"/>
        </a:p>
      </dgm:t>
    </dgm:pt>
    <dgm:pt modelId="{197B080A-ECDD-4935-9245-5B6537A39865}" type="sibTrans" cxnId="{FC75EF3E-6388-4CF6-AF7C-90AD417D9FB8}">
      <dgm:prSet/>
      <dgm:spPr/>
      <dgm:t>
        <a:bodyPr/>
        <a:lstStyle/>
        <a:p>
          <a:endParaRPr lang="es-ES"/>
        </a:p>
      </dgm:t>
    </dgm:pt>
    <dgm:pt modelId="{0ED35768-4A3C-45AC-B556-E47DA1392227}">
      <dgm:prSet/>
      <dgm:spPr/>
      <dgm:t>
        <a:bodyPr/>
        <a:lstStyle/>
        <a:p>
          <a:r>
            <a:rPr lang="es-ES" b="1" dirty="0"/>
            <a:t>Porcentaje:</a:t>
          </a:r>
          <a:endParaRPr lang="es-ES" dirty="0"/>
        </a:p>
      </dgm:t>
    </dgm:pt>
    <dgm:pt modelId="{E3E548ED-DED2-4723-9D15-8A9E9555F727}" type="parTrans" cxnId="{EE129232-90DB-441B-8207-5C44862D9090}">
      <dgm:prSet/>
      <dgm:spPr/>
      <dgm:t>
        <a:bodyPr/>
        <a:lstStyle/>
        <a:p>
          <a:endParaRPr lang="es-ES"/>
        </a:p>
      </dgm:t>
    </dgm:pt>
    <dgm:pt modelId="{0213BE61-5773-4BC6-8EAE-A131E1EC5918}" type="sibTrans" cxnId="{EE129232-90DB-441B-8207-5C44862D9090}">
      <dgm:prSet/>
      <dgm:spPr/>
      <dgm:t>
        <a:bodyPr/>
        <a:lstStyle/>
        <a:p>
          <a:endParaRPr lang="es-ES"/>
        </a:p>
      </dgm:t>
    </dgm:pt>
    <dgm:pt modelId="{86E97F3D-829F-49A1-B941-16CB54350EBC}">
      <dgm:prSet/>
      <dgm:spPr/>
      <dgm:t>
        <a:bodyPr/>
        <a:lstStyle/>
        <a:p>
          <a:r>
            <a:rPr lang="es-ES" dirty="0"/>
            <a:t>Alrededor de </a:t>
          </a:r>
          <a:r>
            <a:rPr lang="es-ES" b="1" dirty="0"/>
            <a:t>50.000 millones de euros</a:t>
          </a:r>
          <a:endParaRPr lang="es-ES" dirty="0"/>
        </a:p>
      </dgm:t>
    </dgm:pt>
    <dgm:pt modelId="{524E00E2-8623-4E03-9EA1-C3038095682B}" type="parTrans" cxnId="{C5F9C4E1-2199-4915-AC95-DBCE4BD38DAE}">
      <dgm:prSet/>
      <dgm:spPr/>
      <dgm:t>
        <a:bodyPr/>
        <a:lstStyle/>
        <a:p>
          <a:endParaRPr lang="es-ES"/>
        </a:p>
      </dgm:t>
    </dgm:pt>
    <dgm:pt modelId="{343171DB-05A0-4880-9B38-E8CE6C5890C0}" type="sibTrans" cxnId="{C5F9C4E1-2199-4915-AC95-DBCE4BD38DAE}">
      <dgm:prSet/>
      <dgm:spPr/>
      <dgm:t>
        <a:bodyPr/>
        <a:lstStyle/>
        <a:p>
          <a:endParaRPr lang="es-ES"/>
        </a:p>
      </dgm:t>
    </dgm:pt>
    <dgm:pt modelId="{A9368A09-FDCE-4958-9E34-AF3F91B2915C}">
      <dgm:prSet/>
      <dgm:spPr/>
      <dgm:t>
        <a:bodyPr/>
        <a:lstStyle/>
        <a:p>
          <a:r>
            <a:rPr lang="es-ES" dirty="0"/>
            <a:t>Aprox. el </a:t>
          </a:r>
          <a:r>
            <a:rPr lang="es-ES" b="1" dirty="0"/>
            <a:t>5% </a:t>
          </a:r>
          <a:r>
            <a:rPr lang="es-ES" dirty="0"/>
            <a:t>del PIB</a:t>
          </a:r>
        </a:p>
      </dgm:t>
    </dgm:pt>
    <dgm:pt modelId="{9DF99095-A95F-40A8-BC11-DAECA66E67EE}" type="parTrans" cxnId="{F601CB1B-DD13-48E7-A2BE-96A65B6E35F8}">
      <dgm:prSet/>
      <dgm:spPr/>
      <dgm:t>
        <a:bodyPr/>
        <a:lstStyle/>
        <a:p>
          <a:endParaRPr lang="es-ES"/>
        </a:p>
      </dgm:t>
    </dgm:pt>
    <dgm:pt modelId="{132BD1B8-DB72-47BE-BA36-B92477C29EB7}" type="sibTrans" cxnId="{F601CB1B-DD13-48E7-A2BE-96A65B6E35F8}">
      <dgm:prSet/>
      <dgm:spPr/>
      <dgm:t>
        <a:bodyPr/>
        <a:lstStyle/>
        <a:p>
          <a:endParaRPr lang="es-ES"/>
        </a:p>
      </dgm:t>
    </dgm:pt>
    <dgm:pt modelId="{AB7E2D45-B817-4C76-9C56-B21349960877}">
      <dgm:prSet/>
      <dgm:spPr/>
      <dgm:t>
        <a:bodyPr/>
        <a:lstStyle/>
        <a:p>
          <a:r>
            <a:rPr lang="es-ES" dirty="0"/>
            <a:t>Cerca de </a:t>
          </a:r>
          <a:r>
            <a:rPr lang="es-ES" b="1" dirty="0"/>
            <a:t>53.500 millones de euros</a:t>
          </a:r>
          <a:r>
            <a:rPr lang="es-ES" dirty="0"/>
            <a:t> en 2023, aumento del </a:t>
          </a:r>
          <a:r>
            <a:rPr lang="es-ES" b="1" dirty="0"/>
            <a:t>3,4%</a:t>
          </a:r>
          <a:r>
            <a:rPr lang="es-ES" dirty="0"/>
            <a:t> respecto a 2022</a:t>
          </a:r>
        </a:p>
      </dgm:t>
    </dgm:pt>
    <dgm:pt modelId="{DC415946-81ED-4E9A-9DA2-894D502820AE}" type="parTrans" cxnId="{9D837FC2-E6C8-4820-8AE5-A5E60CB28393}">
      <dgm:prSet/>
      <dgm:spPr/>
      <dgm:t>
        <a:bodyPr/>
        <a:lstStyle/>
        <a:p>
          <a:endParaRPr lang="es-ES"/>
        </a:p>
      </dgm:t>
    </dgm:pt>
    <dgm:pt modelId="{45BCCC3D-BFA6-47D1-AA85-72933A9A4453}" type="sibTrans" cxnId="{9D837FC2-E6C8-4820-8AE5-A5E60CB28393}">
      <dgm:prSet/>
      <dgm:spPr/>
      <dgm:t>
        <a:bodyPr/>
        <a:lstStyle/>
        <a:p>
          <a:endParaRPr lang="es-ES"/>
        </a:p>
      </dgm:t>
    </dgm:pt>
    <dgm:pt modelId="{536202C8-8849-47B0-9574-03BD1B6741CA}">
      <dgm:prSet/>
      <dgm:spPr/>
      <dgm:t>
        <a:bodyPr/>
        <a:lstStyle/>
        <a:p>
          <a:r>
            <a:rPr lang="es-ES" dirty="0"/>
            <a:t>Alrededor del </a:t>
          </a:r>
          <a:r>
            <a:rPr lang="es-ES" b="1" dirty="0"/>
            <a:t>5,2%</a:t>
          </a:r>
          <a:r>
            <a:rPr lang="es-ES" dirty="0"/>
            <a:t> del PIB español</a:t>
          </a:r>
        </a:p>
      </dgm:t>
    </dgm:pt>
    <dgm:pt modelId="{897E270F-8233-4583-AE32-BF55CB9DECB4}" type="parTrans" cxnId="{9E0BBB4E-006D-4E02-AAF8-E00F19BBB93E}">
      <dgm:prSet/>
      <dgm:spPr/>
      <dgm:t>
        <a:bodyPr/>
        <a:lstStyle/>
        <a:p>
          <a:endParaRPr lang="es-ES"/>
        </a:p>
      </dgm:t>
    </dgm:pt>
    <dgm:pt modelId="{B1296F5C-449B-43AC-8069-048CE8F0D984}" type="sibTrans" cxnId="{9E0BBB4E-006D-4E02-AAF8-E00F19BBB93E}">
      <dgm:prSet/>
      <dgm:spPr/>
      <dgm:t>
        <a:bodyPr/>
        <a:lstStyle/>
        <a:p>
          <a:endParaRPr lang="es-ES"/>
        </a:p>
      </dgm:t>
    </dgm:pt>
    <dgm:pt modelId="{81A6E40E-8B69-4128-B417-20D9FD5E67FB}">
      <dgm:prSet/>
      <dgm:spPr/>
      <dgm:t>
        <a:bodyPr/>
        <a:lstStyle/>
        <a:p>
          <a:r>
            <a:rPr lang="es-ES" dirty="0"/>
            <a:t>Se estima que llegará a los </a:t>
          </a:r>
          <a:r>
            <a:rPr lang="es-ES" b="1" dirty="0"/>
            <a:t>59.400 millones de euros</a:t>
          </a:r>
          <a:r>
            <a:rPr lang="es-ES" dirty="0"/>
            <a:t>, aumento del </a:t>
          </a:r>
          <a:r>
            <a:rPr lang="es-ES" b="1" dirty="0"/>
            <a:t>10,8%</a:t>
          </a:r>
          <a:r>
            <a:rPr lang="es-ES" dirty="0"/>
            <a:t> respecto a 2023</a:t>
          </a:r>
        </a:p>
      </dgm:t>
    </dgm:pt>
    <dgm:pt modelId="{F42B5384-1714-4AB8-933A-2FAB79165853}" type="parTrans" cxnId="{D80A5178-4DA0-483F-8D8C-8EDC54D48C63}">
      <dgm:prSet/>
      <dgm:spPr/>
      <dgm:t>
        <a:bodyPr/>
        <a:lstStyle/>
        <a:p>
          <a:endParaRPr lang="es-ES"/>
        </a:p>
      </dgm:t>
    </dgm:pt>
    <dgm:pt modelId="{A1923BD1-914B-4C06-852A-6CB94B0F5B7D}" type="sibTrans" cxnId="{D80A5178-4DA0-483F-8D8C-8EDC54D48C63}">
      <dgm:prSet/>
      <dgm:spPr/>
      <dgm:t>
        <a:bodyPr/>
        <a:lstStyle/>
        <a:p>
          <a:endParaRPr lang="es-ES"/>
        </a:p>
      </dgm:t>
    </dgm:pt>
    <dgm:pt modelId="{701BD1C5-2930-4D02-A3E9-F49FC85EB5B2}">
      <dgm:prSet/>
      <dgm:spPr/>
      <dgm:t>
        <a:bodyPr/>
        <a:lstStyle/>
        <a:p>
          <a:r>
            <a:rPr lang="es-ES" dirty="0">
              <a:highlight>
                <a:srgbClr val="D1EF1D"/>
              </a:highlight>
            </a:rPr>
            <a:t>Cerca </a:t>
          </a:r>
          <a:r>
            <a:rPr lang="es-ES" b="1" dirty="0">
              <a:highlight>
                <a:srgbClr val="D1EF1D"/>
              </a:highlight>
            </a:rPr>
            <a:t>5,7%</a:t>
          </a:r>
          <a:r>
            <a:rPr lang="es-ES" dirty="0">
              <a:highlight>
                <a:srgbClr val="D1EF1D"/>
              </a:highlight>
            </a:rPr>
            <a:t> del PIB español</a:t>
          </a:r>
        </a:p>
      </dgm:t>
    </dgm:pt>
    <dgm:pt modelId="{B61E60CE-BBA7-4562-AFE2-2717E51E0A8B}" type="parTrans" cxnId="{FC27482E-A368-4C5A-BBAF-C10815667306}">
      <dgm:prSet/>
      <dgm:spPr/>
      <dgm:t>
        <a:bodyPr/>
        <a:lstStyle/>
        <a:p>
          <a:endParaRPr lang="es-ES"/>
        </a:p>
      </dgm:t>
    </dgm:pt>
    <dgm:pt modelId="{03D99852-AA5D-44E9-BD08-AE4C0F572C63}" type="sibTrans" cxnId="{FC27482E-A368-4C5A-BBAF-C10815667306}">
      <dgm:prSet/>
      <dgm:spPr/>
      <dgm:t>
        <a:bodyPr/>
        <a:lstStyle/>
        <a:p>
          <a:endParaRPr lang="es-ES"/>
        </a:p>
      </dgm:t>
    </dgm:pt>
    <dgm:pt modelId="{4F97E417-9F96-42C4-82BA-14DDEA2CED4C}" type="pres">
      <dgm:prSet presAssocID="{D1E26C1A-3D3C-4474-9F92-8E1535582BE7}" presName="theList" presStyleCnt="0">
        <dgm:presLayoutVars>
          <dgm:dir/>
          <dgm:animLvl val="lvl"/>
          <dgm:resizeHandles val="exact"/>
        </dgm:presLayoutVars>
      </dgm:prSet>
      <dgm:spPr/>
    </dgm:pt>
    <dgm:pt modelId="{90249D6F-A863-4D29-9FF9-F8B4FA5309CD}" type="pres">
      <dgm:prSet presAssocID="{DD7D0DEB-628D-4638-90E0-A90765E4D475}" presName="compNode" presStyleCnt="0"/>
      <dgm:spPr/>
    </dgm:pt>
    <dgm:pt modelId="{B1D11896-13E1-4D3F-AB9C-6E92074695A9}" type="pres">
      <dgm:prSet presAssocID="{DD7D0DEB-628D-4638-90E0-A90765E4D475}" presName="aNode" presStyleLbl="bgShp" presStyleIdx="0" presStyleCnt="3"/>
      <dgm:spPr/>
    </dgm:pt>
    <dgm:pt modelId="{DB0FA1AC-DE9F-413C-8CC4-DF4221716230}" type="pres">
      <dgm:prSet presAssocID="{DD7D0DEB-628D-4638-90E0-A90765E4D475}" presName="textNode" presStyleLbl="bgShp" presStyleIdx="0" presStyleCnt="3"/>
      <dgm:spPr/>
    </dgm:pt>
    <dgm:pt modelId="{FE011B9A-BCF6-43EF-9069-1A16CAA784C6}" type="pres">
      <dgm:prSet presAssocID="{DD7D0DEB-628D-4638-90E0-A90765E4D475}" presName="compChildNode" presStyleCnt="0"/>
      <dgm:spPr/>
    </dgm:pt>
    <dgm:pt modelId="{39F5F2F8-A8A2-43AE-A692-F2F237EC0253}" type="pres">
      <dgm:prSet presAssocID="{DD7D0DEB-628D-4638-90E0-A90765E4D475}" presName="theInnerList" presStyleCnt="0"/>
      <dgm:spPr/>
    </dgm:pt>
    <dgm:pt modelId="{B18C2530-2678-454D-8757-73A88DB98DB1}" type="pres">
      <dgm:prSet presAssocID="{846403EC-94DC-4A63-9DAA-9928F43663D4}" presName="childNode" presStyleLbl="node1" presStyleIdx="0" presStyleCnt="6">
        <dgm:presLayoutVars>
          <dgm:bulletEnabled val="1"/>
        </dgm:presLayoutVars>
      </dgm:prSet>
      <dgm:spPr/>
    </dgm:pt>
    <dgm:pt modelId="{D19B5CA3-5BD7-4F82-8922-E3B4D8727B8E}" type="pres">
      <dgm:prSet presAssocID="{846403EC-94DC-4A63-9DAA-9928F43663D4}" presName="aSpace2" presStyleCnt="0"/>
      <dgm:spPr/>
    </dgm:pt>
    <dgm:pt modelId="{D2CC13AC-628C-4415-A0DA-3885598D3253}" type="pres">
      <dgm:prSet presAssocID="{8C5F43A0-43CD-4A17-AA31-A442BF492F3E}" presName="childNode" presStyleLbl="node1" presStyleIdx="1" presStyleCnt="6">
        <dgm:presLayoutVars>
          <dgm:bulletEnabled val="1"/>
        </dgm:presLayoutVars>
      </dgm:prSet>
      <dgm:spPr/>
    </dgm:pt>
    <dgm:pt modelId="{898560BC-969F-4139-8464-CA70CA83E1AB}" type="pres">
      <dgm:prSet presAssocID="{DD7D0DEB-628D-4638-90E0-A90765E4D475}" presName="aSpace" presStyleCnt="0"/>
      <dgm:spPr/>
    </dgm:pt>
    <dgm:pt modelId="{565E0481-A251-4920-9480-C47CE4AFE451}" type="pres">
      <dgm:prSet presAssocID="{2F952F23-449D-4BBE-9D99-5EF442D0D3AC}" presName="compNode" presStyleCnt="0"/>
      <dgm:spPr/>
    </dgm:pt>
    <dgm:pt modelId="{0BFFD14E-E1B8-4CAA-8F24-9B69F7960DBB}" type="pres">
      <dgm:prSet presAssocID="{2F952F23-449D-4BBE-9D99-5EF442D0D3AC}" presName="aNode" presStyleLbl="bgShp" presStyleIdx="1" presStyleCnt="3"/>
      <dgm:spPr/>
    </dgm:pt>
    <dgm:pt modelId="{482AA52D-ABF3-4910-B254-53268761BD62}" type="pres">
      <dgm:prSet presAssocID="{2F952F23-449D-4BBE-9D99-5EF442D0D3AC}" presName="textNode" presStyleLbl="bgShp" presStyleIdx="1" presStyleCnt="3"/>
      <dgm:spPr/>
    </dgm:pt>
    <dgm:pt modelId="{E83CF551-F2C6-418C-A669-96C36B05BB63}" type="pres">
      <dgm:prSet presAssocID="{2F952F23-449D-4BBE-9D99-5EF442D0D3AC}" presName="compChildNode" presStyleCnt="0"/>
      <dgm:spPr/>
    </dgm:pt>
    <dgm:pt modelId="{06AB7FF0-E409-4E75-AA63-BBE643D83D46}" type="pres">
      <dgm:prSet presAssocID="{2F952F23-449D-4BBE-9D99-5EF442D0D3AC}" presName="theInnerList" presStyleCnt="0"/>
      <dgm:spPr/>
    </dgm:pt>
    <dgm:pt modelId="{7A85E91D-32B0-485F-BD37-7336503968FD}" type="pres">
      <dgm:prSet presAssocID="{15EA9675-380C-470D-B5FF-7F8685518962}" presName="childNode" presStyleLbl="node1" presStyleIdx="2" presStyleCnt="6">
        <dgm:presLayoutVars>
          <dgm:bulletEnabled val="1"/>
        </dgm:presLayoutVars>
      </dgm:prSet>
      <dgm:spPr/>
    </dgm:pt>
    <dgm:pt modelId="{34A78177-D14A-4707-AA2B-F32898F48B62}" type="pres">
      <dgm:prSet presAssocID="{15EA9675-380C-470D-B5FF-7F8685518962}" presName="aSpace2" presStyleCnt="0"/>
      <dgm:spPr/>
    </dgm:pt>
    <dgm:pt modelId="{E0AD95A0-F91A-4FF9-BF53-C5B7DAF32444}" type="pres">
      <dgm:prSet presAssocID="{F620A4E0-B6F7-4B7F-ABB3-CC8F39C8D526}" presName="childNode" presStyleLbl="node1" presStyleIdx="3" presStyleCnt="6">
        <dgm:presLayoutVars>
          <dgm:bulletEnabled val="1"/>
        </dgm:presLayoutVars>
      </dgm:prSet>
      <dgm:spPr/>
    </dgm:pt>
    <dgm:pt modelId="{C7F0D2D1-6C6B-400F-B56A-CD1A143BAA92}" type="pres">
      <dgm:prSet presAssocID="{2F952F23-449D-4BBE-9D99-5EF442D0D3AC}" presName="aSpace" presStyleCnt="0"/>
      <dgm:spPr/>
    </dgm:pt>
    <dgm:pt modelId="{9CFEFB84-5E4A-460E-BC95-D72B342E7159}" type="pres">
      <dgm:prSet presAssocID="{9BADBC55-07F0-4872-8203-0CB457025B6F}" presName="compNode" presStyleCnt="0"/>
      <dgm:spPr/>
    </dgm:pt>
    <dgm:pt modelId="{2D6CCED8-D218-4885-AEA5-28F4A2B8DD65}" type="pres">
      <dgm:prSet presAssocID="{9BADBC55-07F0-4872-8203-0CB457025B6F}" presName="aNode" presStyleLbl="bgShp" presStyleIdx="2" presStyleCnt="3"/>
      <dgm:spPr/>
    </dgm:pt>
    <dgm:pt modelId="{E71490FE-A634-4DFE-8BD5-C366F4FDE352}" type="pres">
      <dgm:prSet presAssocID="{9BADBC55-07F0-4872-8203-0CB457025B6F}" presName="textNode" presStyleLbl="bgShp" presStyleIdx="2" presStyleCnt="3"/>
      <dgm:spPr/>
    </dgm:pt>
    <dgm:pt modelId="{A63B0303-18C4-4081-A942-3641D6C0BC38}" type="pres">
      <dgm:prSet presAssocID="{9BADBC55-07F0-4872-8203-0CB457025B6F}" presName="compChildNode" presStyleCnt="0"/>
      <dgm:spPr/>
    </dgm:pt>
    <dgm:pt modelId="{FA43CB8C-FF3E-400B-A01B-D723BEC830A8}" type="pres">
      <dgm:prSet presAssocID="{9BADBC55-07F0-4872-8203-0CB457025B6F}" presName="theInnerList" presStyleCnt="0"/>
      <dgm:spPr/>
    </dgm:pt>
    <dgm:pt modelId="{5C3BEE31-977F-42D2-814A-FE9AD2DF6E56}" type="pres">
      <dgm:prSet presAssocID="{825C63EF-9490-4350-8CED-5E9B762B91C2}" presName="childNode" presStyleLbl="node1" presStyleIdx="4" presStyleCnt="6">
        <dgm:presLayoutVars>
          <dgm:bulletEnabled val="1"/>
        </dgm:presLayoutVars>
      </dgm:prSet>
      <dgm:spPr/>
    </dgm:pt>
    <dgm:pt modelId="{6DDE1DB6-526C-4B07-B8AD-969C16D22EFB}" type="pres">
      <dgm:prSet presAssocID="{825C63EF-9490-4350-8CED-5E9B762B91C2}" presName="aSpace2" presStyleCnt="0"/>
      <dgm:spPr/>
    </dgm:pt>
    <dgm:pt modelId="{94F65CBD-40C9-4B4F-90D1-7CC3F0DBB6EF}" type="pres">
      <dgm:prSet presAssocID="{0ED35768-4A3C-45AC-B556-E47DA1392227}" presName="childNode" presStyleLbl="node1" presStyleIdx="5" presStyleCnt="6">
        <dgm:presLayoutVars>
          <dgm:bulletEnabled val="1"/>
        </dgm:presLayoutVars>
      </dgm:prSet>
      <dgm:spPr/>
    </dgm:pt>
  </dgm:ptLst>
  <dgm:cxnLst>
    <dgm:cxn modelId="{334AC61A-E08B-462A-A3AC-9B6AC95B89A9}" type="presOf" srcId="{536202C8-8849-47B0-9574-03BD1B6741CA}" destId="{E0AD95A0-F91A-4FF9-BF53-C5B7DAF32444}" srcOrd="0" destOrd="1" presId="urn:microsoft.com/office/officeart/2005/8/layout/lProcess2"/>
    <dgm:cxn modelId="{F601CB1B-DD13-48E7-A2BE-96A65B6E35F8}" srcId="{8C5F43A0-43CD-4A17-AA31-A442BF492F3E}" destId="{A9368A09-FDCE-4958-9E34-AF3F91B2915C}" srcOrd="0" destOrd="0" parTransId="{9DF99095-A95F-40A8-BC11-DAECA66E67EE}" sibTransId="{132BD1B8-DB72-47BE-BA36-B92477C29EB7}"/>
    <dgm:cxn modelId="{6E23841D-C4C6-4372-B7CF-F0A91127263F}" srcId="{D1E26C1A-3D3C-4474-9F92-8E1535582BE7}" destId="{DD7D0DEB-628D-4638-90E0-A90765E4D475}" srcOrd="0" destOrd="0" parTransId="{BA0F3D42-503A-4150-A5E0-23694796CEE6}" sibTransId="{3006F240-1F7C-4D14-946B-D33A17F3E34C}"/>
    <dgm:cxn modelId="{B6044F27-5523-4F76-9DCA-77F964D635C5}" type="presOf" srcId="{9BADBC55-07F0-4872-8203-0CB457025B6F}" destId="{2D6CCED8-D218-4885-AEA5-28F4A2B8DD65}" srcOrd="0" destOrd="0" presId="urn:microsoft.com/office/officeart/2005/8/layout/lProcess2"/>
    <dgm:cxn modelId="{202CAD2C-590F-4A31-A62A-41887020A2EB}" type="presOf" srcId="{846403EC-94DC-4A63-9DAA-9928F43663D4}" destId="{B18C2530-2678-454D-8757-73A88DB98DB1}" srcOrd="0" destOrd="0" presId="urn:microsoft.com/office/officeart/2005/8/layout/lProcess2"/>
    <dgm:cxn modelId="{FC27482E-A368-4C5A-BBAF-C10815667306}" srcId="{0ED35768-4A3C-45AC-B556-E47DA1392227}" destId="{701BD1C5-2930-4D02-A3E9-F49FC85EB5B2}" srcOrd="0" destOrd="0" parTransId="{B61E60CE-BBA7-4562-AFE2-2717E51E0A8B}" sibTransId="{03D99852-AA5D-44E9-BD08-AE4C0F572C63}"/>
    <dgm:cxn modelId="{EE129232-90DB-441B-8207-5C44862D9090}" srcId="{9BADBC55-07F0-4872-8203-0CB457025B6F}" destId="{0ED35768-4A3C-45AC-B556-E47DA1392227}" srcOrd="1" destOrd="0" parTransId="{E3E548ED-DED2-4723-9D15-8A9E9555F727}" sibTransId="{0213BE61-5773-4BC6-8EAE-A131E1EC5918}"/>
    <dgm:cxn modelId="{FA270535-115D-4117-88DC-5CC2790DD815}" type="presOf" srcId="{F620A4E0-B6F7-4B7F-ABB3-CC8F39C8D526}" destId="{E0AD95A0-F91A-4FF9-BF53-C5B7DAF32444}" srcOrd="0" destOrd="0" presId="urn:microsoft.com/office/officeart/2005/8/layout/lProcess2"/>
    <dgm:cxn modelId="{2B444439-ABA7-4860-888D-1DA0618A3B68}" srcId="{2F952F23-449D-4BBE-9D99-5EF442D0D3AC}" destId="{15EA9675-380C-470D-B5FF-7F8685518962}" srcOrd="0" destOrd="0" parTransId="{3FCF6F85-EA0F-477C-9D1A-5F2DF7FA1F23}" sibTransId="{58B9182B-2E82-4EBE-A71A-7E874C842F20}"/>
    <dgm:cxn modelId="{FC75EF3E-6388-4CF6-AF7C-90AD417D9FB8}" srcId="{9BADBC55-07F0-4872-8203-0CB457025B6F}" destId="{825C63EF-9490-4350-8CED-5E9B762B91C2}" srcOrd="0" destOrd="0" parTransId="{988B4206-58BF-4F81-94F4-8B70D948CF56}" sibTransId="{197B080A-ECDD-4935-9245-5B6537A39865}"/>
    <dgm:cxn modelId="{36BFEE5C-F507-400D-A27A-C7A2C465A4A9}" type="presOf" srcId="{701BD1C5-2930-4D02-A3E9-F49FC85EB5B2}" destId="{94F65CBD-40C9-4B4F-90D1-7CC3F0DBB6EF}" srcOrd="0" destOrd="1" presId="urn:microsoft.com/office/officeart/2005/8/layout/lProcess2"/>
    <dgm:cxn modelId="{3889A567-BF55-4329-B9F0-03EDA7CFBF58}" srcId="{DD7D0DEB-628D-4638-90E0-A90765E4D475}" destId="{846403EC-94DC-4A63-9DAA-9928F43663D4}" srcOrd="0" destOrd="0" parTransId="{FF2BFC4F-3357-4504-A77C-27E0E18C465E}" sibTransId="{33E6A026-32B9-4637-B74E-9C61B354EA30}"/>
    <dgm:cxn modelId="{9B077448-388E-49DD-A473-1053B9CC504C}" type="presOf" srcId="{81A6E40E-8B69-4128-B417-20D9FD5E67FB}" destId="{5C3BEE31-977F-42D2-814A-FE9AD2DF6E56}" srcOrd="0" destOrd="1" presId="urn:microsoft.com/office/officeart/2005/8/layout/lProcess2"/>
    <dgm:cxn modelId="{9E0BBB4E-006D-4E02-AAF8-E00F19BBB93E}" srcId="{F620A4E0-B6F7-4B7F-ABB3-CC8F39C8D526}" destId="{536202C8-8849-47B0-9574-03BD1B6741CA}" srcOrd="0" destOrd="0" parTransId="{897E270F-8233-4583-AE32-BF55CB9DECB4}" sibTransId="{B1296F5C-449B-43AC-8069-048CE8F0D984}"/>
    <dgm:cxn modelId="{93BCF54E-829F-4219-82F2-C49C881A586D}" type="presOf" srcId="{2F952F23-449D-4BBE-9D99-5EF442D0D3AC}" destId="{482AA52D-ABF3-4910-B254-53268761BD62}" srcOrd="1" destOrd="0" presId="urn:microsoft.com/office/officeart/2005/8/layout/lProcess2"/>
    <dgm:cxn modelId="{D4D2514F-A212-4C6B-80BD-A2D6CC29B8C5}" srcId="{D1E26C1A-3D3C-4474-9F92-8E1535582BE7}" destId="{9BADBC55-07F0-4872-8203-0CB457025B6F}" srcOrd="2" destOrd="0" parTransId="{BD97CB87-1910-4DF3-A943-6FEF15588C4E}" sibTransId="{020E8137-6AE8-46AC-B558-2D399902BC56}"/>
    <dgm:cxn modelId="{A2384D75-931A-4DE3-8156-42A387DC0279}" type="presOf" srcId="{15EA9675-380C-470D-B5FF-7F8685518962}" destId="{7A85E91D-32B0-485F-BD37-7336503968FD}" srcOrd="0" destOrd="0" presId="urn:microsoft.com/office/officeart/2005/8/layout/lProcess2"/>
    <dgm:cxn modelId="{6E72AF55-5EE1-467B-AFD3-2371750F8FF2}" type="presOf" srcId="{825C63EF-9490-4350-8CED-5E9B762B91C2}" destId="{5C3BEE31-977F-42D2-814A-FE9AD2DF6E56}" srcOrd="0" destOrd="0" presId="urn:microsoft.com/office/officeart/2005/8/layout/lProcess2"/>
    <dgm:cxn modelId="{D9C49477-4BE9-4E17-8175-41BB9F557F52}" type="presOf" srcId="{9BADBC55-07F0-4872-8203-0CB457025B6F}" destId="{E71490FE-A634-4DFE-8BD5-C366F4FDE352}" srcOrd="1" destOrd="0" presId="urn:microsoft.com/office/officeart/2005/8/layout/lProcess2"/>
    <dgm:cxn modelId="{D80A5178-4DA0-483F-8D8C-8EDC54D48C63}" srcId="{825C63EF-9490-4350-8CED-5E9B762B91C2}" destId="{81A6E40E-8B69-4128-B417-20D9FD5E67FB}" srcOrd="0" destOrd="0" parTransId="{F42B5384-1714-4AB8-933A-2FAB79165853}" sibTransId="{A1923BD1-914B-4C06-852A-6CB94B0F5B7D}"/>
    <dgm:cxn modelId="{5C06F07B-2A66-4029-9444-FF59D4801A43}" type="presOf" srcId="{86E97F3D-829F-49A1-B941-16CB54350EBC}" destId="{B18C2530-2678-454D-8757-73A88DB98DB1}" srcOrd="0" destOrd="1" presId="urn:microsoft.com/office/officeart/2005/8/layout/lProcess2"/>
    <dgm:cxn modelId="{5CC7197E-5B8B-4804-A519-AC84A7427CE7}" type="presOf" srcId="{A9368A09-FDCE-4958-9E34-AF3F91B2915C}" destId="{D2CC13AC-628C-4415-A0DA-3885598D3253}" srcOrd="0" destOrd="1" presId="urn:microsoft.com/office/officeart/2005/8/layout/lProcess2"/>
    <dgm:cxn modelId="{5FBA1784-ACAB-4C0C-9015-BA38F41C5113}" type="presOf" srcId="{2F952F23-449D-4BBE-9D99-5EF442D0D3AC}" destId="{0BFFD14E-E1B8-4CAA-8F24-9B69F7960DBB}" srcOrd="0" destOrd="0" presId="urn:microsoft.com/office/officeart/2005/8/layout/lProcess2"/>
    <dgm:cxn modelId="{8DF74DAF-FBC0-4F4A-8A99-F7505281684E}" type="presOf" srcId="{D1E26C1A-3D3C-4474-9F92-8E1535582BE7}" destId="{4F97E417-9F96-42C4-82BA-14DDEA2CED4C}" srcOrd="0" destOrd="0" presId="urn:microsoft.com/office/officeart/2005/8/layout/lProcess2"/>
    <dgm:cxn modelId="{017F2FB4-7F8D-4E38-8C35-6A09925AF956}" type="presOf" srcId="{AB7E2D45-B817-4C76-9C56-B21349960877}" destId="{7A85E91D-32B0-485F-BD37-7336503968FD}" srcOrd="0" destOrd="1" presId="urn:microsoft.com/office/officeart/2005/8/layout/lProcess2"/>
    <dgm:cxn modelId="{CF1B3FB6-8141-4FA7-A9FE-2A559EE03D2B}" type="presOf" srcId="{DD7D0DEB-628D-4638-90E0-A90765E4D475}" destId="{DB0FA1AC-DE9F-413C-8CC4-DF4221716230}" srcOrd="1" destOrd="0" presId="urn:microsoft.com/office/officeart/2005/8/layout/lProcess2"/>
    <dgm:cxn modelId="{9D837FC2-E6C8-4820-8AE5-A5E60CB28393}" srcId="{15EA9675-380C-470D-B5FF-7F8685518962}" destId="{AB7E2D45-B817-4C76-9C56-B21349960877}" srcOrd="0" destOrd="0" parTransId="{DC415946-81ED-4E9A-9DA2-894D502820AE}" sibTransId="{45BCCC3D-BFA6-47D1-AA85-72933A9A4453}"/>
    <dgm:cxn modelId="{7C38CFDB-644C-4FA5-84EB-D10F6B3DED5E}" type="presOf" srcId="{DD7D0DEB-628D-4638-90E0-A90765E4D475}" destId="{B1D11896-13E1-4D3F-AB9C-6E92074695A9}" srcOrd="0" destOrd="0" presId="urn:microsoft.com/office/officeart/2005/8/layout/lProcess2"/>
    <dgm:cxn modelId="{2988ABDF-0D1A-48D7-9EF2-DDD30470DF42}" srcId="{D1E26C1A-3D3C-4474-9F92-8E1535582BE7}" destId="{2F952F23-449D-4BBE-9D99-5EF442D0D3AC}" srcOrd="1" destOrd="0" parTransId="{9F4602B8-7137-4F44-B39E-5EF06EEB9EB9}" sibTransId="{8FAC1046-7F18-4CF2-8BD5-9CEAE0F9DA23}"/>
    <dgm:cxn modelId="{C5F9C4E1-2199-4915-AC95-DBCE4BD38DAE}" srcId="{846403EC-94DC-4A63-9DAA-9928F43663D4}" destId="{86E97F3D-829F-49A1-B941-16CB54350EBC}" srcOrd="0" destOrd="0" parTransId="{524E00E2-8623-4E03-9EA1-C3038095682B}" sibTransId="{343171DB-05A0-4880-9B38-E8CE6C5890C0}"/>
    <dgm:cxn modelId="{11C926E6-6F57-4AAB-9CDA-5C988637803E}" srcId="{2F952F23-449D-4BBE-9D99-5EF442D0D3AC}" destId="{F620A4E0-B6F7-4B7F-ABB3-CC8F39C8D526}" srcOrd="1" destOrd="0" parTransId="{224F52CE-7EE3-48CA-B5FB-9B3A15B7E76A}" sibTransId="{3482DCA0-0741-4AF4-9395-1F6E03779672}"/>
    <dgm:cxn modelId="{3F04F2EA-8EFE-406B-8416-2B1EDECE7EE2}" srcId="{DD7D0DEB-628D-4638-90E0-A90765E4D475}" destId="{8C5F43A0-43CD-4A17-AA31-A442BF492F3E}" srcOrd="1" destOrd="0" parTransId="{6557514E-F85E-455D-A0E5-BA90A91D3C64}" sibTransId="{1108EEA2-8DCD-408A-B4E4-777F09C296DF}"/>
    <dgm:cxn modelId="{7F0F46F3-541E-4808-997A-A372B3AC1F24}" type="presOf" srcId="{0ED35768-4A3C-45AC-B556-E47DA1392227}" destId="{94F65CBD-40C9-4B4F-90D1-7CC3F0DBB6EF}" srcOrd="0" destOrd="0" presId="urn:microsoft.com/office/officeart/2005/8/layout/lProcess2"/>
    <dgm:cxn modelId="{670448F4-AA4A-4290-88C1-D838AD1997EA}" type="presOf" srcId="{8C5F43A0-43CD-4A17-AA31-A442BF492F3E}" destId="{D2CC13AC-628C-4415-A0DA-3885598D3253}" srcOrd="0" destOrd="0" presId="urn:microsoft.com/office/officeart/2005/8/layout/lProcess2"/>
    <dgm:cxn modelId="{4AF6893C-429C-4026-B4F3-9A494B8C2D77}" type="presParOf" srcId="{4F97E417-9F96-42C4-82BA-14DDEA2CED4C}" destId="{90249D6F-A863-4D29-9FF9-F8B4FA5309CD}" srcOrd="0" destOrd="0" presId="urn:microsoft.com/office/officeart/2005/8/layout/lProcess2"/>
    <dgm:cxn modelId="{6EB30F20-87F8-4B26-AC14-C3A2D53AE44D}" type="presParOf" srcId="{90249D6F-A863-4D29-9FF9-F8B4FA5309CD}" destId="{B1D11896-13E1-4D3F-AB9C-6E92074695A9}" srcOrd="0" destOrd="0" presId="urn:microsoft.com/office/officeart/2005/8/layout/lProcess2"/>
    <dgm:cxn modelId="{A1B48DB1-E8C1-423F-AC78-EF450A45450F}" type="presParOf" srcId="{90249D6F-A863-4D29-9FF9-F8B4FA5309CD}" destId="{DB0FA1AC-DE9F-413C-8CC4-DF4221716230}" srcOrd="1" destOrd="0" presId="urn:microsoft.com/office/officeart/2005/8/layout/lProcess2"/>
    <dgm:cxn modelId="{C93678DE-C292-4976-92F4-C960086F81F4}" type="presParOf" srcId="{90249D6F-A863-4D29-9FF9-F8B4FA5309CD}" destId="{FE011B9A-BCF6-43EF-9069-1A16CAA784C6}" srcOrd="2" destOrd="0" presId="urn:microsoft.com/office/officeart/2005/8/layout/lProcess2"/>
    <dgm:cxn modelId="{AB3CE1D4-2815-43E4-9F84-894378172EE9}" type="presParOf" srcId="{FE011B9A-BCF6-43EF-9069-1A16CAA784C6}" destId="{39F5F2F8-A8A2-43AE-A692-F2F237EC0253}" srcOrd="0" destOrd="0" presId="urn:microsoft.com/office/officeart/2005/8/layout/lProcess2"/>
    <dgm:cxn modelId="{28089B95-D33E-4E5C-8DBD-8591B6C870B3}" type="presParOf" srcId="{39F5F2F8-A8A2-43AE-A692-F2F237EC0253}" destId="{B18C2530-2678-454D-8757-73A88DB98DB1}" srcOrd="0" destOrd="0" presId="urn:microsoft.com/office/officeart/2005/8/layout/lProcess2"/>
    <dgm:cxn modelId="{22DC8605-F066-4078-99FD-B6F5A0E1CC12}" type="presParOf" srcId="{39F5F2F8-A8A2-43AE-A692-F2F237EC0253}" destId="{D19B5CA3-5BD7-4F82-8922-E3B4D8727B8E}" srcOrd="1" destOrd="0" presId="urn:microsoft.com/office/officeart/2005/8/layout/lProcess2"/>
    <dgm:cxn modelId="{4FFEAD83-CCDC-4146-AD66-968AE3185C87}" type="presParOf" srcId="{39F5F2F8-A8A2-43AE-A692-F2F237EC0253}" destId="{D2CC13AC-628C-4415-A0DA-3885598D3253}" srcOrd="2" destOrd="0" presId="urn:microsoft.com/office/officeart/2005/8/layout/lProcess2"/>
    <dgm:cxn modelId="{6FA187BA-1DA9-43E8-975C-1C22461EB0A5}" type="presParOf" srcId="{4F97E417-9F96-42C4-82BA-14DDEA2CED4C}" destId="{898560BC-969F-4139-8464-CA70CA83E1AB}" srcOrd="1" destOrd="0" presId="urn:microsoft.com/office/officeart/2005/8/layout/lProcess2"/>
    <dgm:cxn modelId="{1A839B27-4F61-4171-920B-FCB5CE9397AD}" type="presParOf" srcId="{4F97E417-9F96-42C4-82BA-14DDEA2CED4C}" destId="{565E0481-A251-4920-9480-C47CE4AFE451}" srcOrd="2" destOrd="0" presId="urn:microsoft.com/office/officeart/2005/8/layout/lProcess2"/>
    <dgm:cxn modelId="{902DEB64-B1CE-4FC2-9EFB-8BCBD48CCF8B}" type="presParOf" srcId="{565E0481-A251-4920-9480-C47CE4AFE451}" destId="{0BFFD14E-E1B8-4CAA-8F24-9B69F7960DBB}" srcOrd="0" destOrd="0" presId="urn:microsoft.com/office/officeart/2005/8/layout/lProcess2"/>
    <dgm:cxn modelId="{31415646-F35B-411E-AFEF-553CEDCCAE4F}" type="presParOf" srcId="{565E0481-A251-4920-9480-C47CE4AFE451}" destId="{482AA52D-ABF3-4910-B254-53268761BD62}" srcOrd="1" destOrd="0" presId="urn:microsoft.com/office/officeart/2005/8/layout/lProcess2"/>
    <dgm:cxn modelId="{5A701620-F10C-4B92-AB42-FF47DFAB7DBE}" type="presParOf" srcId="{565E0481-A251-4920-9480-C47CE4AFE451}" destId="{E83CF551-F2C6-418C-A669-96C36B05BB63}" srcOrd="2" destOrd="0" presId="urn:microsoft.com/office/officeart/2005/8/layout/lProcess2"/>
    <dgm:cxn modelId="{4C474109-1039-45D0-B43D-DD159F753FC2}" type="presParOf" srcId="{E83CF551-F2C6-418C-A669-96C36B05BB63}" destId="{06AB7FF0-E409-4E75-AA63-BBE643D83D46}" srcOrd="0" destOrd="0" presId="urn:microsoft.com/office/officeart/2005/8/layout/lProcess2"/>
    <dgm:cxn modelId="{05CAADD6-80C1-4CAF-A7BA-A5E699A6F1B0}" type="presParOf" srcId="{06AB7FF0-E409-4E75-AA63-BBE643D83D46}" destId="{7A85E91D-32B0-485F-BD37-7336503968FD}" srcOrd="0" destOrd="0" presId="urn:microsoft.com/office/officeart/2005/8/layout/lProcess2"/>
    <dgm:cxn modelId="{E7C54AEB-A9D9-426D-AC01-6B53AD07CCDC}" type="presParOf" srcId="{06AB7FF0-E409-4E75-AA63-BBE643D83D46}" destId="{34A78177-D14A-4707-AA2B-F32898F48B62}" srcOrd="1" destOrd="0" presId="urn:microsoft.com/office/officeart/2005/8/layout/lProcess2"/>
    <dgm:cxn modelId="{24570B1C-80B6-4142-A3BA-D27F179010E3}" type="presParOf" srcId="{06AB7FF0-E409-4E75-AA63-BBE643D83D46}" destId="{E0AD95A0-F91A-4FF9-BF53-C5B7DAF32444}" srcOrd="2" destOrd="0" presId="urn:microsoft.com/office/officeart/2005/8/layout/lProcess2"/>
    <dgm:cxn modelId="{9708623F-616D-4C53-A407-414E2C362CFE}" type="presParOf" srcId="{4F97E417-9F96-42C4-82BA-14DDEA2CED4C}" destId="{C7F0D2D1-6C6B-400F-B56A-CD1A143BAA92}" srcOrd="3" destOrd="0" presId="urn:microsoft.com/office/officeart/2005/8/layout/lProcess2"/>
    <dgm:cxn modelId="{95410752-5A28-44B4-BC1B-75B7A9097F0E}" type="presParOf" srcId="{4F97E417-9F96-42C4-82BA-14DDEA2CED4C}" destId="{9CFEFB84-5E4A-460E-BC95-D72B342E7159}" srcOrd="4" destOrd="0" presId="urn:microsoft.com/office/officeart/2005/8/layout/lProcess2"/>
    <dgm:cxn modelId="{5242B607-3BAB-4D78-A4F3-11EB910D6E11}" type="presParOf" srcId="{9CFEFB84-5E4A-460E-BC95-D72B342E7159}" destId="{2D6CCED8-D218-4885-AEA5-28F4A2B8DD65}" srcOrd="0" destOrd="0" presId="urn:microsoft.com/office/officeart/2005/8/layout/lProcess2"/>
    <dgm:cxn modelId="{9CFC1984-B238-4A7D-AA8C-CCEB1963D3F1}" type="presParOf" srcId="{9CFEFB84-5E4A-460E-BC95-D72B342E7159}" destId="{E71490FE-A634-4DFE-8BD5-C366F4FDE352}" srcOrd="1" destOrd="0" presId="urn:microsoft.com/office/officeart/2005/8/layout/lProcess2"/>
    <dgm:cxn modelId="{E92656DB-F23E-4093-B815-7425389527B8}" type="presParOf" srcId="{9CFEFB84-5E4A-460E-BC95-D72B342E7159}" destId="{A63B0303-18C4-4081-A942-3641D6C0BC38}" srcOrd="2" destOrd="0" presId="urn:microsoft.com/office/officeart/2005/8/layout/lProcess2"/>
    <dgm:cxn modelId="{F18825F0-4E8E-447E-B621-364EEE8A7C14}" type="presParOf" srcId="{A63B0303-18C4-4081-A942-3641D6C0BC38}" destId="{FA43CB8C-FF3E-400B-A01B-D723BEC830A8}" srcOrd="0" destOrd="0" presId="urn:microsoft.com/office/officeart/2005/8/layout/lProcess2"/>
    <dgm:cxn modelId="{6C0F5040-8DB8-413D-832B-E6ABDFD7DAFE}" type="presParOf" srcId="{FA43CB8C-FF3E-400B-A01B-D723BEC830A8}" destId="{5C3BEE31-977F-42D2-814A-FE9AD2DF6E56}" srcOrd="0" destOrd="0" presId="urn:microsoft.com/office/officeart/2005/8/layout/lProcess2"/>
    <dgm:cxn modelId="{EE0DD451-300E-41A0-A663-2B4A330C9FE7}" type="presParOf" srcId="{FA43CB8C-FF3E-400B-A01B-D723BEC830A8}" destId="{6DDE1DB6-526C-4B07-B8AD-969C16D22EFB}" srcOrd="1" destOrd="0" presId="urn:microsoft.com/office/officeart/2005/8/layout/lProcess2"/>
    <dgm:cxn modelId="{B02D80E6-BAAD-4A0F-A3D6-8CFD34E6C5DA}" type="presParOf" srcId="{FA43CB8C-FF3E-400B-A01B-D723BEC830A8}" destId="{94F65CBD-40C9-4B4F-90D1-7CC3F0DBB6EF}"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776F26BB-45F7-477F-A38F-48AB84CFA1C3}"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52BC865B-F226-43D9-A77C-404557F4F265}">
      <dgm:prSet custT="1"/>
      <dgm:spPr/>
      <dgm:t>
        <a:bodyPr/>
        <a:lstStyle/>
        <a:p>
          <a:r>
            <a:rPr lang="es-ES" sz="2400" b="1" dirty="0">
              <a:solidFill>
                <a:schemeClr val="tx1"/>
              </a:solidFill>
              <a:highlight>
                <a:srgbClr val="D1EF1D"/>
              </a:highlight>
            </a:rPr>
            <a:t>“el 80%-90% de las empresas sabe que tiene que invertir en transformación digital pero solo el 42% lo hace”</a:t>
          </a:r>
        </a:p>
      </dgm:t>
    </dgm:pt>
    <dgm:pt modelId="{4EB5818E-49EC-40BC-9458-C33246E99098}" type="parTrans" cxnId="{DC25AE1F-A4D9-42AC-96E5-7F2F8A1D06C1}">
      <dgm:prSet/>
      <dgm:spPr/>
      <dgm:t>
        <a:bodyPr/>
        <a:lstStyle/>
        <a:p>
          <a:endParaRPr lang="es-ES"/>
        </a:p>
      </dgm:t>
    </dgm:pt>
    <dgm:pt modelId="{831C799C-3400-48FE-A3DF-340B75C4E634}" type="sibTrans" cxnId="{DC25AE1F-A4D9-42AC-96E5-7F2F8A1D06C1}">
      <dgm:prSet/>
      <dgm:spPr/>
      <dgm:t>
        <a:bodyPr/>
        <a:lstStyle/>
        <a:p>
          <a:endParaRPr lang="es-ES"/>
        </a:p>
      </dgm:t>
    </dgm:pt>
    <dgm:pt modelId="{BAF331BB-3178-49AF-B55B-4E941BF06D3D}">
      <dgm:prSet custT="1"/>
      <dgm:spPr/>
      <dgm:t>
        <a:bodyPr/>
        <a:lstStyle/>
        <a:p>
          <a:r>
            <a:rPr lang="es-ES" sz="2400" dirty="0"/>
            <a:t>Telecomunicaciones: Entre el 18% y el 20% del gasto</a:t>
          </a:r>
        </a:p>
      </dgm:t>
    </dgm:pt>
    <dgm:pt modelId="{9BA8CC31-508A-497E-B22A-A4AE9FD2D6CA}" type="parTrans" cxnId="{2326D739-6902-4968-882B-22EE5B7B6EDA}">
      <dgm:prSet/>
      <dgm:spPr/>
      <dgm:t>
        <a:bodyPr/>
        <a:lstStyle/>
        <a:p>
          <a:endParaRPr lang="es-ES"/>
        </a:p>
      </dgm:t>
    </dgm:pt>
    <dgm:pt modelId="{E7831D35-2E6D-46E7-8E62-49781AD91BE8}" type="sibTrans" cxnId="{2326D739-6902-4968-882B-22EE5B7B6EDA}">
      <dgm:prSet/>
      <dgm:spPr/>
      <dgm:t>
        <a:bodyPr/>
        <a:lstStyle/>
        <a:p>
          <a:endParaRPr lang="es-ES"/>
        </a:p>
      </dgm:t>
    </dgm:pt>
    <dgm:pt modelId="{853D9727-3FD0-4094-8D2C-4E16DADD37A6}">
      <dgm:prSet custT="1"/>
      <dgm:spPr/>
      <dgm:t>
        <a:bodyPr/>
        <a:lstStyle/>
        <a:p>
          <a:r>
            <a:rPr lang="es-ES" sz="2400" dirty="0"/>
            <a:t>Finanzas: Entre el 15% y el 17% del gasto</a:t>
          </a:r>
        </a:p>
      </dgm:t>
    </dgm:pt>
    <dgm:pt modelId="{ED1BED10-0B4E-4DDE-BFC7-6AB49A87BB44}" type="parTrans" cxnId="{E37FB72B-83C8-42E6-90F2-9BD008EDCE16}">
      <dgm:prSet/>
      <dgm:spPr/>
      <dgm:t>
        <a:bodyPr/>
        <a:lstStyle/>
        <a:p>
          <a:endParaRPr lang="es-ES"/>
        </a:p>
      </dgm:t>
    </dgm:pt>
    <dgm:pt modelId="{FC3E0793-9B82-47D5-B3CE-517C471BD69E}" type="sibTrans" cxnId="{E37FB72B-83C8-42E6-90F2-9BD008EDCE16}">
      <dgm:prSet/>
      <dgm:spPr/>
      <dgm:t>
        <a:bodyPr/>
        <a:lstStyle/>
        <a:p>
          <a:endParaRPr lang="es-ES"/>
        </a:p>
      </dgm:t>
    </dgm:pt>
    <dgm:pt modelId="{CD0C7CCF-CE6C-429D-AA34-78BFE80A9E99}">
      <dgm:prSet custT="1"/>
      <dgm:spPr/>
      <dgm:t>
        <a:bodyPr/>
        <a:lstStyle/>
        <a:p>
          <a:r>
            <a:rPr lang="es-ES" sz="2400" dirty="0"/>
            <a:t>Industria: Entre el 12% y el 14% del gasto total</a:t>
          </a:r>
        </a:p>
      </dgm:t>
    </dgm:pt>
    <dgm:pt modelId="{53822DC7-0BFC-486E-9F9C-1D654CCE4DF0}" type="parTrans" cxnId="{A8BE2724-C6F5-4857-B0A5-56C302790DC9}">
      <dgm:prSet/>
      <dgm:spPr/>
      <dgm:t>
        <a:bodyPr/>
        <a:lstStyle/>
        <a:p>
          <a:endParaRPr lang="es-ES"/>
        </a:p>
      </dgm:t>
    </dgm:pt>
    <dgm:pt modelId="{192AC9BB-8EEA-4912-B290-AA534561A57C}" type="sibTrans" cxnId="{A8BE2724-C6F5-4857-B0A5-56C302790DC9}">
      <dgm:prSet/>
      <dgm:spPr/>
      <dgm:t>
        <a:bodyPr/>
        <a:lstStyle/>
        <a:p>
          <a:endParaRPr lang="es-ES"/>
        </a:p>
      </dgm:t>
    </dgm:pt>
    <dgm:pt modelId="{8CC059E0-139C-4A63-B6F9-E59692CE0C7C}" type="pres">
      <dgm:prSet presAssocID="{776F26BB-45F7-477F-A38F-48AB84CFA1C3}" presName="linear" presStyleCnt="0">
        <dgm:presLayoutVars>
          <dgm:animLvl val="lvl"/>
          <dgm:resizeHandles val="exact"/>
        </dgm:presLayoutVars>
      </dgm:prSet>
      <dgm:spPr/>
    </dgm:pt>
    <dgm:pt modelId="{99E48389-856A-4284-813B-BD0874473335}" type="pres">
      <dgm:prSet presAssocID="{52BC865B-F226-43D9-A77C-404557F4F265}" presName="parentText" presStyleLbl="node1" presStyleIdx="0" presStyleCnt="1">
        <dgm:presLayoutVars>
          <dgm:chMax val="0"/>
          <dgm:bulletEnabled val="1"/>
        </dgm:presLayoutVars>
      </dgm:prSet>
      <dgm:spPr/>
    </dgm:pt>
    <dgm:pt modelId="{522B4071-E7BD-444D-8207-3CD914CC09F7}" type="pres">
      <dgm:prSet presAssocID="{52BC865B-F226-43D9-A77C-404557F4F265}" presName="childText" presStyleLbl="revTx" presStyleIdx="0" presStyleCnt="1">
        <dgm:presLayoutVars>
          <dgm:bulletEnabled val="1"/>
        </dgm:presLayoutVars>
      </dgm:prSet>
      <dgm:spPr/>
    </dgm:pt>
  </dgm:ptLst>
  <dgm:cxnLst>
    <dgm:cxn modelId="{DC25AE1F-A4D9-42AC-96E5-7F2F8A1D06C1}" srcId="{776F26BB-45F7-477F-A38F-48AB84CFA1C3}" destId="{52BC865B-F226-43D9-A77C-404557F4F265}" srcOrd="0" destOrd="0" parTransId="{4EB5818E-49EC-40BC-9458-C33246E99098}" sibTransId="{831C799C-3400-48FE-A3DF-340B75C4E634}"/>
    <dgm:cxn modelId="{A8BE2724-C6F5-4857-B0A5-56C302790DC9}" srcId="{52BC865B-F226-43D9-A77C-404557F4F265}" destId="{CD0C7CCF-CE6C-429D-AA34-78BFE80A9E99}" srcOrd="2" destOrd="0" parTransId="{53822DC7-0BFC-486E-9F9C-1D654CCE4DF0}" sibTransId="{192AC9BB-8EEA-4912-B290-AA534561A57C}"/>
    <dgm:cxn modelId="{E37FB72B-83C8-42E6-90F2-9BD008EDCE16}" srcId="{52BC865B-F226-43D9-A77C-404557F4F265}" destId="{853D9727-3FD0-4094-8D2C-4E16DADD37A6}" srcOrd="1" destOrd="0" parTransId="{ED1BED10-0B4E-4DDE-BFC7-6AB49A87BB44}" sibTransId="{FC3E0793-9B82-47D5-B3CE-517C471BD69E}"/>
    <dgm:cxn modelId="{2326D739-6902-4968-882B-22EE5B7B6EDA}" srcId="{52BC865B-F226-43D9-A77C-404557F4F265}" destId="{BAF331BB-3178-49AF-B55B-4E941BF06D3D}" srcOrd="0" destOrd="0" parTransId="{9BA8CC31-508A-497E-B22A-A4AE9FD2D6CA}" sibTransId="{E7831D35-2E6D-46E7-8E62-49781AD91BE8}"/>
    <dgm:cxn modelId="{45C78171-D166-4B5D-B37A-B8183D62F588}" type="presOf" srcId="{776F26BB-45F7-477F-A38F-48AB84CFA1C3}" destId="{8CC059E0-139C-4A63-B6F9-E59692CE0C7C}" srcOrd="0" destOrd="0" presId="urn:microsoft.com/office/officeart/2005/8/layout/vList2"/>
    <dgm:cxn modelId="{43F31CA2-8604-4985-A54E-BD75EEC36886}" type="presOf" srcId="{52BC865B-F226-43D9-A77C-404557F4F265}" destId="{99E48389-856A-4284-813B-BD0874473335}" srcOrd="0" destOrd="0" presId="urn:microsoft.com/office/officeart/2005/8/layout/vList2"/>
    <dgm:cxn modelId="{C66B8EB2-B41A-47C9-A310-7CAD226918D7}" type="presOf" srcId="{CD0C7CCF-CE6C-429D-AA34-78BFE80A9E99}" destId="{522B4071-E7BD-444D-8207-3CD914CC09F7}" srcOrd="0" destOrd="2" presId="urn:microsoft.com/office/officeart/2005/8/layout/vList2"/>
    <dgm:cxn modelId="{05540BB8-724B-4EC0-8869-677B9665D22A}" type="presOf" srcId="{BAF331BB-3178-49AF-B55B-4E941BF06D3D}" destId="{522B4071-E7BD-444D-8207-3CD914CC09F7}" srcOrd="0" destOrd="0" presId="urn:microsoft.com/office/officeart/2005/8/layout/vList2"/>
    <dgm:cxn modelId="{0100D6F8-CF48-4E92-9BCC-FC4DF0F5DDE9}" type="presOf" srcId="{853D9727-3FD0-4094-8D2C-4E16DADD37A6}" destId="{522B4071-E7BD-444D-8207-3CD914CC09F7}" srcOrd="0" destOrd="1" presId="urn:microsoft.com/office/officeart/2005/8/layout/vList2"/>
    <dgm:cxn modelId="{E0A7FC9D-9F3A-4BFE-A9C1-B83326B19C25}" type="presParOf" srcId="{8CC059E0-139C-4A63-B6F9-E59692CE0C7C}" destId="{99E48389-856A-4284-813B-BD0874473335}" srcOrd="0" destOrd="0" presId="urn:microsoft.com/office/officeart/2005/8/layout/vList2"/>
    <dgm:cxn modelId="{3A6F5A66-4C77-4011-9FFF-0C19B77EA790}" type="presParOf" srcId="{8CC059E0-139C-4A63-B6F9-E59692CE0C7C}" destId="{522B4071-E7BD-444D-8207-3CD914CC09F7}"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7B84A724-7984-4589-AC0F-8F548CB07D98}" type="doc">
      <dgm:prSet loTypeId="urn:microsoft.com/office/officeart/2005/8/layout/lProcess2" loCatId="list" qsTypeId="urn:microsoft.com/office/officeart/2005/8/quickstyle/simple3" qsCatId="simple" csTypeId="urn:microsoft.com/office/officeart/2005/8/colors/accent1_1" csCatId="accent1" phldr="1"/>
      <dgm:spPr/>
      <dgm:t>
        <a:bodyPr/>
        <a:lstStyle/>
        <a:p>
          <a:endParaRPr lang="es-ES"/>
        </a:p>
      </dgm:t>
    </dgm:pt>
    <dgm:pt modelId="{453D947B-95EA-49F2-80C2-2E917C3BF369}">
      <dgm:prSet phldrT="[Texto]"/>
      <dgm:spPr/>
      <dgm:t>
        <a:bodyPr/>
        <a:lstStyle/>
        <a:p>
          <a:r>
            <a:rPr lang="es-ES" dirty="0"/>
            <a:t>La necesidad de estos profesionales se duplicará entre 2024 y 2026 (hasta las 100.000 personas).</a:t>
          </a:r>
        </a:p>
      </dgm:t>
    </dgm:pt>
    <dgm:pt modelId="{DC57DE64-06C0-4CF3-BE2C-8766F29DDA29}" type="parTrans" cxnId="{4EA72C90-8965-4BE1-8A48-564D5EA084B8}">
      <dgm:prSet/>
      <dgm:spPr/>
      <dgm:t>
        <a:bodyPr/>
        <a:lstStyle/>
        <a:p>
          <a:endParaRPr lang="es-ES"/>
        </a:p>
      </dgm:t>
    </dgm:pt>
    <dgm:pt modelId="{36817595-396B-4D1D-BF35-AC6EF74D21E1}" type="sibTrans" cxnId="{4EA72C90-8965-4BE1-8A48-564D5EA084B8}">
      <dgm:prSet/>
      <dgm:spPr/>
      <dgm:t>
        <a:bodyPr/>
        <a:lstStyle/>
        <a:p>
          <a:endParaRPr lang="es-ES"/>
        </a:p>
      </dgm:t>
    </dgm:pt>
    <dgm:pt modelId="{220196A4-41E7-434D-A653-04306BF2E036}">
      <dgm:prSet custT="1"/>
      <dgm:spPr/>
      <dgm:t>
        <a:bodyPr/>
        <a:lstStyle/>
        <a:p>
          <a:r>
            <a:rPr lang="es-ES" sz="2400" dirty="0">
              <a:highlight>
                <a:srgbClr val="D1EF1D"/>
              </a:highlight>
            </a:rPr>
            <a:t>Salarios</a:t>
          </a:r>
          <a:r>
            <a:rPr lang="es-ES" sz="2400" dirty="0"/>
            <a:t> para un profesional IA:</a:t>
          </a:r>
        </a:p>
      </dgm:t>
    </dgm:pt>
    <dgm:pt modelId="{E088309B-CFF5-49C5-A0CB-C23A487FAAD9}" type="parTrans" cxnId="{B5AC2F6F-6FD0-406C-810A-4D8086E998F5}">
      <dgm:prSet/>
      <dgm:spPr/>
      <dgm:t>
        <a:bodyPr/>
        <a:lstStyle/>
        <a:p>
          <a:endParaRPr lang="es-ES"/>
        </a:p>
      </dgm:t>
    </dgm:pt>
    <dgm:pt modelId="{3D244A2D-7200-4CB7-BEF1-CF81F78935BB}" type="sibTrans" cxnId="{B5AC2F6F-6FD0-406C-810A-4D8086E998F5}">
      <dgm:prSet/>
      <dgm:spPr/>
      <dgm:t>
        <a:bodyPr/>
        <a:lstStyle/>
        <a:p>
          <a:endParaRPr lang="es-ES"/>
        </a:p>
      </dgm:t>
    </dgm:pt>
    <dgm:pt modelId="{CB0DF5B9-99B7-4F00-9683-02EA452B4FED}">
      <dgm:prSet/>
      <dgm:spPr/>
      <dgm:t>
        <a:bodyPr/>
        <a:lstStyle/>
        <a:p>
          <a:r>
            <a:rPr lang="es-ES" dirty="0"/>
            <a:t>A los </a:t>
          </a:r>
          <a:r>
            <a:rPr lang="es-ES" dirty="0">
              <a:highlight>
                <a:srgbClr val="D1EF1D"/>
              </a:highlight>
            </a:rPr>
            <a:t>tres años</a:t>
          </a:r>
          <a:r>
            <a:rPr lang="es-ES" dirty="0"/>
            <a:t>, el salario medio anual para un profesional senior, está en unos </a:t>
          </a:r>
          <a:r>
            <a:rPr lang="es-ES" dirty="0">
              <a:highlight>
                <a:srgbClr val="D1EF1D"/>
              </a:highlight>
            </a:rPr>
            <a:t>60,000 €</a:t>
          </a:r>
        </a:p>
      </dgm:t>
    </dgm:pt>
    <dgm:pt modelId="{C5BBD512-DD3C-44EC-9FCF-3AC37B0932F8}" type="parTrans" cxnId="{827CB6F3-7BE8-4915-85BF-8C80CB374284}">
      <dgm:prSet/>
      <dgm:spPr/>
      <dgm:t>
        <a:bodyPr/>
        <a:lstStyle/>
        <a:p>
          <a:endParaRPr lang="es-ES"/>
        </a:p>
      </dgm:t>
    </dgm:pt>
    <dgm:pt modelId="{C0896449-3194-4C88-ADF7-A255F9D01301}" type="sibTrans" cxnId="{827CB6F3-7BE8-4915-85BF-8C80CB374284}">
      <dgm:prSet/>
      <dgm:spPr/>
      <dgm:t>
        <a:bodyPr/>
        <a:lstStyle/>
        <a:p>
          <a:endParaRPr lang="es-ES"/>
        </a:p>
      </dgm:t>
    </dgm:pt>
    <dgm:pt modelId="{55A4CE57-229F-42F2-9E2D-CEC750528E98}">
      <dgm:prSet/>
      <dgm:spPr/>
      <dgm:t>
        <a:bodyPr/>
        <a:lstStyle/>
        <a:p>
          <a:r>
            <a:rPr lang="es-ES" dirty="0"/>
            <a:t>En España habrá un déficit de 50.000 a 70.000 profesionales de inteligencia artificial (IA) entre 2024 y 2026.</a:t>
          </a:r>
        </a:p>
      </dgm:t>
    </dgm:pt>
    <dgm:pt modelId="{31BCA9A2-F24B-4117-8DAA-C9AEF7A143E9}" type="parTrans" cxnId="{3CAC5557-8ABA-4087-A4F3-D69B0B9BD8AD}">
      <dgm:prSet/>
      <dgm:spPr/>
      <dgm:t>
        <a:bodyPr/>
        <a:lstStyle/>
        <a:p>
          <a:endParaRPr lang="es-ES"/>
        </a:p>
      </dgm:t>
    </dgm:pt>
    <dgm:pt modelId="{B7704DA3-6786-46A2-9B02-B119CEB490E7}" type="sibTrans" cxnId="{3CAC5557-8ABA-4087-A4F3-D69B0B9BD8AD}">
      <dgm:prSet/>
      <dgm:spPr/>
      <dgm:t>
        <a:bodyPr/>
        <a:lstStyle/>
        <a:p>
          <a:endParaRPr lang="es-ES"/>
        </a:p>
      </dgm:t>
    </dgm:pt>
    <dgm:pt modelId="{2716B6BD-3FC8-4CCD-B990-F694AB6AC261}">
      <dgm:prSet/>
      <dgm:spPr/>
      <dgm:t>
        <a:bodyPr/>
        <a:lstStyle/>
        <a:p>
          <a:r>
            <a:rPr lang="es-ES" dirty="0"/>
            <a:t>A los </a:t>
          </a:r>
          <a:r>
            <a:rPr lang="es-ES" dirty="0">
              <a:highlight>
                <a:srgbClr val="D1EF1D"/>
              </a:highlight>
            </a:rPr>
            <a:t>cinco años</a:t>
          </a:r>
          <a:r>
            <a:rPr lang="es-ES" dirty="0"/>
            <a:t> en unos  </a:t>
          </a:r>
          <a:r>
            <a:rPr lang="es-ES" dirty="0">
              <a:highlight>
                <a:srgbClr val="D1EF1D"/>
              </a:highlight>
            </a:rPr>
            <a:t>100,000 euros.</a:t>
          </a:r>
        </a:p>
      </dgm:t>
    </dgm:pt>
    <dgm:pt modelId="{7CA10889-BD8E-4467-9E9D-C6D6BB80AF7D}" type="parTrans" cxnId="{9AA9683F-D141-4AE8-89E2-72CE10DCB02A}">
      <dgm:prSet/>
      <dgm:spPr/>
      <dgm:t>
        <a:bodyPr/>
        <a:lstStyle/>
        <a:p>
          <a:endParaRPr lang="es-ES"/>
        </a:p>
      </dgm:t>
    </dgm:pt>
    <dgm:pt modelId="{8A1016EC-9065-4D6A-ABC0-720B44C8B9E1}" type="sibTrans" cxnId="{9AA9683F-D141-4AE8-89E2-72CE10DCB02A}">
      <dgm:prSet/>
      <dgm:spPr/>
      <dgm:t>
        <a:bodyPr/>
        <a:lstStyle/>
        <a:p>
          <a:endParaRPr lang="es-ES"/>
        </a:p>
      </dgm:t>
    </dgm:pt>
    <dgm:pt modelId="{DE0F0A2E-022E-4B10-87FE-5DFAC66C1BAF}">
      <dgm:prSet custT="1"/>
      <dgm:spPr/>
      <dgm:t>
        <a:bodyPr/>
        <a:lstStyle/>
        <a:p>
          <a:r>
            <a:rPr lang="es-ES" sz="2400" dirty="0"/>
            <a:t>Déficit de profesionales</a:t>
          </a:r>
        </a:p>
      </dgm:t>
    </dgm:pt>
    <dgm:pt modelId="{0291FC9F-BF60-4614-9BB0-14EF86E7E526}" type="parTrans" cxnId="{1535A6CF-E5D1-44F3-9C60-0F39A9096823}">
      <dgm:prSet/>
      <dgm:spPr/>
      <dgm:t>
        <a:bodyPr/>
        <a:lstStyle/>
        <a:p>
          <a:endParaRPr lang="es-ES"/>
        </a:p>
      </dgm:t>
    </dgm:pt>
    <dgm:pt modelId="{F68A1EB1-8800-4CEF-9737-0C9AB7FF5D42}" type="sibTrans" cxnId="{1535A6CF-E5D1-44F3-9C60-0F39A9096823}">
      <dgm:prSet/>
      <dgm:spPr/>
      <dgm:t>
        <a:bodyPr/>
        <a:lstStyle/>
        <a:p>
          <a:endParaRPr lang="es-ES"/>
        </a:p>
      </dgm:t>
    </dgm:pt>
    <dgm:pt modelId="{8725AF6A-0A75-4352-8D24-F5307BAB6293}" type="pres">
      <dgm:prSet presAssocID="{7B84A724-7984-4589-AC0F-8F548CB07D98}" presName="theList" presStyleCnt="0">
        <dgm:presLayoutVars>
          <dgm:dir/>
          <dgm:animLvl val="lvl"/>
          <dgm:resizeHandles val="exact"/>
        </dgm:presLayoutVars>
      </dgm:prSet>
      <dgm:spPr/>
    </dgm:pt>
    <dgm:pt modelId="{6D83FC09-2296-4CDD-9F8F-D0891D29366E}" type="pres">
      <dgm:prSet presAssocID="{220196A4-41E7-434D-A653-04306BF2E036}" presName="compNode" presStyleCnt="0"/>
      <dgm:spPr/>
    </dgm:pt>
    <dgm:pt modelId="{62EE733A-6624-49EE-8511-11AE26A16117}" type="pres">
      <dgm:prSet presAssocID="{220196A4-41E7-434D-A653-04306BF2E036}" presName="aNode" presStyleLbl="bgShp" presStyleIdx="0" presStyleCnt="2"/>
      <dgm:spPr/>
    </dgm:pt>
    <dgm:pt modelId="{8A035F15-366E-4457-941A-F9CE7EF824E0}" type="pres">
      <dgm:prSet presAssocID="{220196A4-41E7-434D-A653-04306BF2E036}" presName="textNode" presStyleLbl="bgShp" presStyleIdx="0" presStyleCnt="2"/>
      <dgm:spPr/>
    </dgm:pt>
    <dgm:pt modelId="{0C2B5FD1-7358-4551-92F1-7A78A71FBDDC}" type="pres">
      <dgm:prSet presAssocID="{220196A4-41E7-434D-A653-04306BF2E036}" presName="compChildNode" presStyleCnt="0"/>
      <dgm:spPr/>
    </dgm:pt>
    <dgm:pt modelId="{3AF2C1A6-8AAC-4CF6-AD52-F3FB817EBDFD}" type="pres">
      <dgm:prSet presAssocID="{220196A4-41E7-434D-A653-04306BF2E036}" presName="theInnerList" presStyleCnt="0"/>
      <dgm:spPr/>
    </dgm:pt>
    <dgm:pt modelId="{6FB8D4FD-DF68-4DFB-A19E-B43EBF213D14}" type="pres">
      <dgm:prSet presAssocID="{CB0DF5B9-99B7-4F00-9683-02EA452B4FED}" presName="childNode" presStyleLbl="node1" presStyleIdx="0" presStyleCnt="4">
        <dgm:presLayoutVars>
          <dgm:bulletEnabled val="1"/>
        </dgm:presLayoutVars>
      </dgm:prSet>
      <dgm:spPr/>
    </dgm:pt>
    <dgm:pt modelId="{106055C7-71CD-4277-BF71-57049BAFA67E}" type="pres">
      <dgm:prSet presAssocID="{CB0DF5B9-99B7-4F00-9683-02EA452B4FED}" presName="aSpace2" presStyleCnt="0"/>
      <dgm:spPr/>
    </dgm:pt>
    <dgm:pt modelId="{BC86B1BE-C090-4DC8-96E6-E277EA6C1F7D}" type="pres">
      <dgm:prSet presAssocID="{2716B6BD-3FC8-4CCD-B990-F694AB6AC261}" presName="childNode" presStyleLbl="node1" presStyleIdx="1" presStyleCnt="4">
        <dgm:presLayoutVars>
          <dgm:bulletEnabled val="1"/>
        </dgm:presLayoutVars>
      </dgm:prSet>
      <dgm:spPr/>
    </dgm:pt>
    <dgm:pt modelId="{D05B7C04-E6F6-4ED9-ADD6-BFC84E367EB8}" type="pres">
      <dgm:prSet presAssocID="{220196A4-41E7-434D-A653-04306BF2E036}" presName="aSpace" presStyleCnt="0"/>
      <dgm:spPr/>
    </dgm:pt>
    <dgm:pt modelId="{9DB0484C-46F1-438A-AB25-79EE0E21792E}" type="pres">
      <dgm:prSet presAssocID="{DE0F0A2E-022E-4B10-87FE-5DFAC66C1BAF}" presName="compNode" presStyleCnt="0"/>
      <dgm:spPr/>
    </dgm:pt>
    <dgm:pt modelId="{66E01CB5-B400-4510-B0D7-5BAEE305FDC0}" type="pres">
      <dgm:prSet presAssocID="{DE0F0A2E-022E-4B10-87FE-5DFAC66C1BAF}" presName="aNode" presStyleLbl="bgShp" presStyleIdx="1" presStyleCnt="2"/>
      <dgm:spPr/>
    </dgm:pt>
    <dgm:pt modelId="{66F2BA52-DC89-4105-9CAC-1622D2D3CC59}" type="pres">
      <dgm:prSet presAssocID="{DE0F0A2E-022E-4B10-87FE-5DFAC66C1BAF}" presName="textNode" presStyleLbl="bgShp" presStyleIdx="1" presStyleCnt="2"/>
      <dgm:spPr/>
    </dgm:pt>
    <dgm:pt modelId="{C5EDC5F7-A243-436C-A967-65D6C9A7CBF1}" type="pres">
      <dgm:prSet presAssocID="{DE0F0A2E-022E-4B10-87FE-5DFAC66C1BAF}" presName="compChildNode" presStyleCnt="0"/>
      <dgm:spPr/>
    </dgm:pt>
    <dgm:pt modelId="{6EF29FD9-8095-4CFE-9A04-DB1FB5E1808D}" type="pres">
      <dgm:prSet presAssocID="{DE0F0A2E-022E-4B10-87FE-5DFAC66C1BAF}" presName="theInnerList" presStyleCnt="0"/>
      <dgm:spPr/>
    </dgm:pt>
    <dgm:pt modelId="{5F4D32DD-EE33-45E4-B40E-0732264CF5BB}" type="pres">
      <dgm:prSet presAssocID="{55A4CE57-229F-42F2-9E2D-CEC750528E98}" presName="childNode" presStyleLbl="node1" presStyleIdx="2" presStyleCnt="4">
        <dgm:presLayoutVars>
          <dgm:bulletEnabled val="1"/>
        </dgm:presLayoutVars>
      </dgm:prSet>
      <dgm:spPr/>
    </dgm:pt>
    <dgm:pt modelId="{85A8709B-8887-471C-A378-AAD52402A6F4}" type="pres">
      <dgm:prSet presAssocID="{55A4CE57-229F-42F2-9E2D-CEC750528E98}" presName="aSpace2" presStyleCnt="0"/>
      <dgm:spPr/>
    </dgm:pt>
    <dgm:pt modelId="{2B4F9105-D607-4490-8125-6B8DDFBAD4C5}" type="pres">
      <dgm:prSet presAssocID="{453D947B-95EA-49F2-80C2-2E917C3BF369}" presName="childNode" presStyleLbl="node1" presStyleIdx="3" presStyleCnt="4">
        <dgm:presLayoutVars>
          <dgm:bulletEnabled val="1"/>
        </dgm:presLayoutVars>
      </dgm:prSet>
      <dgm:spPr/>
    </dgm:pt>
  </dgm:ptLst>
  <dgm:cxnLst>
    <dgm:cxn modelId="{75695C31-3393-42AD-8DAC-5000AE474BCA}" type="presOf" srcId="{DE0F0A2E-022E-4B10-87FE-5DFAC66C1BAF}" destId="{66E01CB5-B400-4510-B0D7-5BAEE305FDC0}" srcOrd="0" destOrd="0" presId="urn:microsoft.com/office/officeart/2005/8/layout/lProcess2"/>
    <dgm:cxn modelId="{9AA9683F-D141-4AE8-89E2-72CE10DCB02A}" srcId="{220196A4-41E7-434D-A653-04306BF2E036}" destId="{2716B6BD-3FC8-4CCD-B990-F694AB6AC261}" srcOrd="1" destOrd="0" parTransId="{7CA10889-BD8E-4467-9E9D-C6D6BB80AF7D}" sibTransId="{8A1016EC-9065-4D6A-ABC0-720B44C8B9E1}"/>
    <dgm:cxn modelId="{4E038F44-9365-472B-A080-7985282F336A}" type="presOf" srcId="{DE0F0A2E-022E-4B10-87FE-5DFAC66C1BAF}" destId="{66F2BA52-DC89-4105-9CAC-1622D2D3CC59}" srcOrd="1" destOrd="0" presId="urn:microsoft.com/office/officeart/2005/8/layout/lProcess2"/>
    <dgm:cxn modelId="{B5AC2F6F-6FD0-406C-810A-4D8086E998F5}" srcId="{7B84A724-7984-4589-AC0F-8F548CB07D98}" destId="{220196A4-41E7-434D-A653-04306BF2E036}" srcOrd="0" destOrd="0" parTransId="{E088309B-CFF5-49C5-A0CB-C23A487FAAD9}" sibTransId="{3D244A2D-7200-4CB7-BEF1-CF81F78935BB}"/>
    <dgm:cxn modelId="{3CAC5557-8ABA-4087-A4F3-D69B0B9BD8AD}" srcId="{DE0F0A2E-022E-4B10-87FE-5DFAC66C1BAF}" destId="{55A4CE57-229F-42F2-9E2D-CEC750528E98}" srcOrd="0" destOrd="0" parTransId="{31BCA9A2-F24B-4117-8DAA-C9AEF7A143E9}" sibTransId="{B7704DA3-6786-46A2-9B02-B119CEB490E7}"/>
    <dgm:cxn modelId="{4EA72C90-8965-4BE1-8A48-564D5EA084B8}" srcId="{DE0F0A2E-022E-4B10-87FE-5DFAC66C1BAF}" destId="{453D947B-95EA-49F2-80C2-2E917C3BF369}" srcOrd="1" destOrd="0" parTransId="{DC57DE64-06C0-4CF3-BE2C-8766F29DDA29}" sibTransId="{36817595-396B-4D1D-BF35-AC6EF74D21E1}"/>
    <dgm:cxn modelId="{3AEA6EA3-19C0-4490-9EBB-553540FC3FEA}" type="presOf" srcId="{220196A4-41E7-434D-A653-04306BF2E036}" destId="{62EE733A-6624-49EE-8511-11AE26A16117}" srcOrd="0" destOrd="0" presId="urn:microsoft.com/office/officeart/2005/8/layout/lProcess2"/>
    <dgm:cxn modelId="{EB6B52BA-8D62-42DB-A0D3-F492A421DBE2}" type="presOf" srcId="{55A4CE57-229F-42F2-9E2D-CEC750528E98}" destId="{5F4D32DD-EE33-45E4-B40E-0732264CF5BB}" srcOrd="0" destOrd="0" presId="urn:microsoft.com/office/officeart/2005/8/layout/lProcess2"/>
    <dgm:cxn modelId="{E65E85BF-FFEF-498D-A9F6-E26E50E63DCD}" type="presOf" srcId="{2716B6BD-3FC8-4CCD-B990-F694AB6AC261}" destId="{BC86B1BE-C090-4DC8-96E6-E277EA6C1F7D}" srcOrd="0" destOrd="0" presId="urn:microsoft.com/office/officeart/2005/8/layout/lProcess2"/>
    <dgm:cxn modelId="{1535A6CF-E5D1-44F3-9C60-0F39A9096823}" srcId="{7B84A724-7984-4589-AC0F-8F548CB07D98}" destId="{DE0F0A2E-022E-4B10-87FE-5DFAC66C1BAF}" srcOrd="1" destOrd="0" parTransId="{0291FC9F-BF60-4614-9BB0-14EF86E7E526}" sibTransId="{F68A1EB1-8800-4CEF-9737-0C9AB7FF5D42}"/>
    <dgm:cxn modelId="{3621D0D4-9AAF-406D-97DA-81C78954BCEE}" type="presOf" srcId="{453D947B-95EA-49F2-80C2-2E917C3BF369}" destId="{2B4F9105-D607-4490-8125-6B8DDFBAD4C5}" srcOrd="0" destOrd="0" presId="urn:microsoft.com/office/officeart/2005/8/layout/lProcess2"/>
    <dgm:cxn modelId="{D84318D5-718D-47D8-B0F5-AA2128EB7EE0}" type="presOf" srcId="{220196A4-41E7-434D-A653-04306BF2E036}" destId="{8A035F15-366E-4457-941A-F9CE7EF824E0}" srcOrd="1" destOrd="0" presId="urn:microsoft.com/office/officeart/2005/8/layout/lProcess2"/>
    <dgm:cxn modelId="{ED65FADC-729C-44EF-97E2-1D7CB062EA67}" type="presOf" srcId="{CB0DF5B9-99B7-4F00-9683-02EA452B4FED}" destId="{6FB8D4FD-DF68-4DFB-A19E-B43EBF213D14}" srcOrd="0" destOrd="0" presId="urn:microsoft.com/office/officeart/2005/8/layout/lProcess2"/>
    <dgm:cxn modelId="{7E0640E3-F0F8-4FD6-93B8-454A5D80DF7B}" type="presOf" srcId="{7B84A724-7984-4589-AC0F-8F548CB07D98}" destId="{8725AF6A-0A75-4352-8D24-F5307BAB6293}" srcOrd="0" destOrd="0" presId="urn:microsoft.com/office/officeart/2005/8/layout/lProcess2"/>
    <dgm:cxn modelId="{827CB6F3-7BE8-4915-85BF-8C80CB374284}" srcId="{220196A4-41E7-434D-A653-04306BF2E036}" destId="{CB0DF5B9-99B7-4F00-9683-02EA452B4FED}" srcOrd="0" destOrd="0" parTransId="{C5BBD512-DD3C-44EC-9FCF-3AC37B0932F8}" sibTransId="{C0896449-3194-4C88-ADF7-A255F9D01301}"/>
    <dgm:cxn modelId="{31F34E8F-A3E8-4D5D-BD91-431F5A8D0F67}" type="presParOf" srcId="{8725AF6A-0A75-4352-8D24-F5307BAB6293}" destId="{6D83FC09-2296-4CDD-9F8F-D0891D29366E}" srcOrd="0" destOrd="0" presId="urn:microsoft.com/office/officeart/2005/8/layout/lProcess2"/>
    <dgm:cxn modelId="{7AB9737C-7F38-4481-9AC2-9477E19388FF}" type="presParOf" srcId="{6D83FC09-2296-4CDD-9F8F-D0891D29366E}" destId="{62EE733A-6624-49EE-8511-11AE26A16117}" srcOrd="0" destOrd="0" presId="urn:microsoft.com/office/officeart/2005/8/layout/lProcess2"/>
    <dgm:cxn modelId="{0A1A7E61-4089-4BA9-851C-9C861B7F8F4C}" type="presParOf" srcId="{6D83FC09-2296-4CDD-9F8F-D0891D29366E}" destId="{8A035F15-366E-4457-941A-F9CE7EF824E0}" srcOrd="1" destOrd="0" presId="urn:microsoft.com/office/officeart/2005/8/layout/lProcess2"/>
    <dgm:cxn modelId="{F6C63DF6-CEC5-44B8-B027-791116C32CD6}" type="presParOf" srcId="{6D83FC09-2296-4CDD-9F8F-D0891D29366E}" destId="{0C2B5FD1-7358-4551-92F1-7A78A71FBDDC}" srcOrd="2" destOrd="0" presId="urn:microsoft.com/office/officeart/2005/8/layout/lProcess2"/>
    <dgm:cxn modelId="{7C3C73C8-0932-483D-9557-8C9BE2C5015F}" type="presParOf" srcId="{0C2B5FD1-7358-4551-92F1-7A78A71FBDDC}" destId="{3AF2C1A6-8AAC-4CF6-AD52-F3FB817EBDFD}" srcOrd="0" destOrd="0" presId="urn:microsoft.com/office/officeart/2005/8/layout/lProcess2"/>
    <dgm:cxn modelId="{66E4C1D4-84BD-471C-B69D-0718CBFED758}" type="presParOf" srcId="{3AF2C1A6-8AAC-4CF6-AD52-F3FB817EBDFD}" destId="{6FB8D4FD-DF68-4DFB-A19E-B43EBF213D14}" srcOrd="0" destOrd="0" presId="urn:microsoft.com/office/officeart/2005/8/layout/lProcess2"/>
    <dgm:cxn modelId="{14E47ED5-8E52-433E-8E1B-1654E609CA23}" type="presParOf" srcId="{3AF2C1A6-8AAC-4CF6-AD52-F3FB817EBDFD}" destId="{106055C7-71CD-4277-BF71-57049BAFA67E}" srcOrd="1" destOrd="0" presId="urn:microsoft.com/office/officeart/2005/8/layout/lProcess2"/>
    <dgm:cxn modelId="{16AC11A2-20E4-4824-A6C6-A10F01F8E2D4}" type="presParOf" srcId="{3AF2C1A6-8AAC-4CF6-AD52-F3FB817EBDFD}" destId="{BC86B1BE-C090-4DC8-96E6-E277EA6C1F7D}" srcOrd="2" destOrd="0" presId="urn:microsoft.com/office/officeart/2005/8/layout/lProcess2"/>
    <dgm:cxn modelId="{D45C14A9-7651-46EF-8D3F-23A31032C280}" type="presParOf" srcId="{8725AF6A-0A75-4352-8D24-F5307BAB6293}" destId="{D05B7C04-E6F6-4ED9-ADD6-BFC84E367EB8}" srcOrd="1" destOrd="0" presId="urn:microsoft.com/office/officeart/2005/8/layout/lProcess2"/>
    <dgm:cxn modelId="{4690508F-EF6B-46E8-AFD3-FEF6073BE882}" type="presParOf" srcId="{8725AF6A-0A75-4352-8D24-F5307BAB6293}" destId="{9DB0484C-46F1-438A-AB25-79EE0E21792E}" srcOrd="2" destOrd="0" presId="urn:microsoft.com/office/officeart/2005/8/layout/lProcess2"/>
    <dgm:cxn modelId="{0F419284-BF39-4452-9341-11EFEA4E686E}" type="presParOf" srcId="{9DB0484C-46F1-438A-AB25-79EE0E21792E}" destId="{66E01CB5-B400-4510-B0D7-5BAEE305FDC0}" srcOrd="0" destOrd="0" presId="urn:microsoft.com/office/officeart/2005/8/layout/lProcess2"/>
    <dgm:cxn modelId="{2575368C-BEDE-408C-92E4-B1035DBB14FC}" type="presParOf" srcId="{9DB0484C-46F1-438A-AB25-79EE0E21792E}" destId="{66F2BA52-DC89-4105-9CAC-1622D2D3CC59}" srcOrd="1" destOrd="0" presId="urn:microsoft.com/office/officeart/2005/8/layout/lProcess2"/>
    <dgm:cxn modelId="{9C4657A3-0626-4B4B-8570-DEDAFB45A842}" type="presParOf" srcId="{9DB0484C-46F1-438A-AB25-79EE0E21792E}" destId="{C5EDC5F7-A243-436C-A967-65D6C9A7CBF1}" srcOrd="2" destOrd="0" presId="urn:microsoft.com/office/officeart/2005/8/layout/lProcess2"/>
    <dgm:cxn modelId="{C005B873-B58E-4D08-9E17-480750AD32CE}" type="presParOf" srcId="{C5EDC5F7-A243-436C-A967-65D6C9A7CBF1}" destId="{6EF29FD9-8095-4CFE-9A04-DB1FB5E1808D}" srcOrd="0" destOrd="0" presId="urn:microsoft.com/office/officeart/2005/8/layout/lProcess2"/>
    <dgm:cxn modelId="{066F1037-5371-4636-9363-AA59F9684840}" type="presParOf" srcId="{6EF29FD9-8095-4CFE-9A04-DB1FB5E1808D}" destId="{5F4D32DD-EE33-45E4-B40E-0732264CF5BB}" srcOrd="0" destOrd="0" presId="urn:microsoft.com/office/officeart/2005/8/layout/lProcess2"/>
    <dgm:cxn modelId="{08E616B7-8949-4814-9D65-ECEB15AA17B8}" type="presParOf" srcId="{6EF29FD9-8095-4CFE-9A04-DB1FB5E1808D}" destId="{85A8709B-8887-471C-A378-AAD52402A6F4}" srcOrd="1" destOrd="0" presId="urn:microsoft.com/office/officeart/2005/8/layout/lProcess2"/>
    <dgm:cxn modelId="{353DDA8D-F502-4504-947F-56A668359647}" type="presParOf" srcId="{6EF29FD9-8095-4CFE-9A04-DB1FB5E1808D}" destId="{2B4F9105-D607-4490-8125-6B8DDFBAD4C5}"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59BC2A14-7A3B-41E0-9CD9-309631C4C3D7}" type="doc">
      <dgm:prSet loTypeId="urn:microsoft.com/office/officeart/2005/8/layout/bProcess3" loCatId="process" qsTypeId="urn:microsoft.com/office/officeart/2005/8/quickstyle/simple1" qsCatId="simple" csTypeId="urn:microsoft.com/office/officeart/2005/8/colors/accent1_4" csCatId="accent1" phldr="1"/>
      <dgm:spPr/>
      <dgm:t>
        <a:bodyPr/>
        <a:lstStyle/>
        <a:p>
          <a:endParaRPr lang="es-ES"/>
        </a:p>
      </dgm:t>
    </dgm:pt>
    <dgm:pt modelId="{9AD87B76-7EF2-4493-8F93-1493F8203D69}">
      <dgm:prSet phldrT="[Texto]"/>
      <dgm:spPr/>
      <dgm:t>
        <a:bodyPr/>
        <a:lstStyle/>
        <a:p>
          <a:r>
            <a:rPr lang="es-ES" dirty="0"/>
            <a:t>Ten casos de uso preparados. Se vende el caso de uso no la tecnología</a:t>
          </a:r>
        </a:p>
      </dgm:t>
    </dgm:pt>
    <dgm:pt modelId="{B491899B-A922-4787-A9DA-9C086CF0D996}" type="parTrans" cxnId="{3E90BE6F-AD5D-4FC4-95C4-93F6C35FA7BC}">
      <dgm:prSet/>
      <dgm:spPr/>
      <dgm:t>
        <a:bodyPr/>
        <a:lstStyle/>
        <a:p>
          <a:endParaRPr lang="es-ES"/>
        </a:p>
      </dgm:t>
    </dgm:pt>
    <dgm:pt modelId="{60AD5386-8690-477C-B0D3-01A6DD67F382}" type="sibTrans" cxnId="{3E90BE6F-AD5D-4FC4-95C4-93F6C35FA7BC}">
      <dgm:prSet/>
      <dgm:spPr/>
      <dgm:t>
        <a:bodyPr/>
        <a:lstStyle/>
        <a:p>
          <a:endParaRPr lang="es-ES" dirty="0"/>
        </a:p>
      </dgm:t>
    </dgm:pt>
    <dgm:pt modelId="{E6F09A43-8DF7-4EE3-B442-73B7A8EFF6B9}">
      <dgm:prSet phldrT="[Texto]"/>
      <dgm:spPr/>
      <dgm:t>
        <a:bodyPr/>
        <a:lstStyle/>
        <a:p>
          <a:r>
            <a:rPr lang="es-ES" dirty="0"/>
            <a:t>Adáptalos a la empresa a la que vayas a ir analizando tendencias de mercado. </a:t>
          </a:r>
        </a:p>
      </dgm:t>
    </dgm:pt>
    <dgm:pt modelId="{AB8E369D-E5E0-419C-8744-D19D9BE23A50}" type="parTrans" cxnId="{640B814A-E25E-40C2-BA6A-F52D5832D34B}">
      <dgm:prSet/>
      <dgm:spPr/>
      <dgm:t>
        <a:bodyPr/>
        <a:lstStyle/>
        <a:p>
          <a:endParaRPr lang="es-ES"/>
        </a:p>
      </dgm:t>
    </dgm:pt>
    <dgm:pt modelId="{ED9E59B3-A37A-46D5-AD26-DBBEB7D34502}" type="sibTrans" cxnId="{640B814A-E25E-40C2-BA6A-F52D5832D34B}">
      <dgm:prSet/>
      <dgm:spPr/>
      <dgm:t>
        <a:bodyPr/>
        <a:lstStyle/>
        <a:p>
          <a:endParaRPr lang="es-ES" dirty="0"/>
        </a:p>
      </dgm:t>
    </dgm:pt>
    <dgm:pt modelId="{C3752C7C-D589-4C41-AFD5-73BB07E016B8}">
      <dgm:prSet phldrT="[Texto]"/>
      <dgm:spPr/>
      <dgm:t>
        <a:bodyPr/>
        <a:lstStyle/>
        <a:p>
          <a:r>
            <a:rPr lang="es-ES" dirty="0"/>
            <a:t>Oferta en PPT</a:t>
          </a:r>
        </a:p>
      </dgm:t>
    </dgm:pt>
    <dgm:pt modelId="{38315695-A25A-4F5B-AF9E-202B9AFF23BB}" type="parTrans" cxnId="{E2811667-40CE-473E-9845-57775A15230E}">
      <dgm:prSet/>
      <dgm:spPr/>
      <dgm:t>
        <a:bodyPr/>
        <a:lstStyle/>
        <a:p>
          <a:endParaRPr lang="es-ES"/>
        </a:p>
      </dgm:t>
    </dgm:pt>
    <dgm:pt modelId="{763FD501-31BD-48FF-8786-D8C0710B83A2}" type="sibTrans" cxnId="{E2811667-40CE-473E-9845-57775A15230E}">
      <dgm:prSet/>
      <dgm:spPr/>
      <dgm:t>
        <a:bodyPr/>
        <a:lstStyle/>
        <a:p>
          <a:endParaRPr lang="es-ES"/>
        </a:p>
      </dgm:t>
    </dgm:pt>
    <dgm:pt modelId="{C62B54E0-845B-4CE1-9EDD-85D479174F24}">
      <dgm:prSet phldrT="[Texto]"/>
      <dgm:spPr/>
      <dgm:t>
        <a:bodyPr/>
        <a:lstStyle/>
        <a:p>
          <a:r>
            <a:rPr lang="es-ES" dirty="0"/>
            <a:t>Es bueno saber del negocio al que te vas a dirigir</a:t>
          </a:r>
        </a:p>
      </dgm:t>
    </dgm:pt>
    <dgm:pt modelId="{F2EBF349-6049-462E-BE46-C7A039821BC3}" type="parTrans" cxnId="{180F3CC7-1737-4480-9201-EFE001E2A499}">
      <dgm:prSet/>
      <dgm:spPr/>
      <dgm:t>
        <a:bodyPr/>
        <a:lstStyle/>
        <a:p>
          <a:endParaRPr lang="es-ES"/>
        </a:p>
      </dgm:t>
    </dgm:pt>
    <dgm:pt modelId="{8B65D80E-3DF3-4D90-B2C2-4B0E02F8B374}" type="sibTrans" cxnId="{180F3CC7-1737-4480-9201-EFE001E2A499}">
      <dgm:prSet/>
      <dgm:spPr/>
      <dgm:t>
        <a:bodyPr/>
        <a:lstStyle/>
        <a:p>
          <a:endParaRPr lang="es-ES" dirty="0"/>
        </a:p>
      </dgm:t>
    </dgm:pt>
    <dgm:pt modelId="{7A8EDECC-ACDE-4DE5-BB0C-CBEEB32C03BA}">
      <dgm:prSet phldrT="[Texto]"/>
      <dgm:spPr/>
      <dgm:t>
        <a:bodyPr/>
        <a:lstStyle/>
        <a:p>
          <a:r>
            <a:rPr lang="es-ES" dirty="0"/>
            <a:t>Quién son los Stakeholders?</a:t>
          </a:r>
        </a:p>
      </dgm:t>
    </dgm:pt>
    <dgm:pt modelId="{4D719CB9-0A90-41BB-8381-1D9F985BC3A4}" type="parTrans" cxnId="{F534E848-069D-4933-BA9A-22C070EE92B8}">
      <dgm:prSet/>
      <dgm:spPr/>
      <dgm:t>
        <a:bodyPr/>
        <a:lstStyle/>
        <a:p>
          <a:endParaRPr lang="es-ES"/>
        </a:p>
      </dgm:t>
    </dgm:pt>
    <dgm:pt modelId="{BC357244-5A08-4F12-ACE6-6243A9C63241}" type="sibTrans" cxnId="{F534E848-069D-4933-BA9A-22C070EE92B8}">
      <dgm:prSet/>
      <dgm:spPr/>
      <dgm:t>
        <a:bodyPr/>
        <a:lstStyle/>
        <a:p>
          <a:endParaRPr lang="es-ES" dirty="0"/>
        </a:p>
      </dgm:t>
    </dgm:pt>
    <dgm:pt modelId="{EE09E050-BA0A-45B7-B598-4AA5C243D7BA}">
      <dgm:prSet/>
      <dgm:spPr>
        <a:solidFill>
          <a:srgbClr val="FF0000"/>
        </a:solidFill>
      </dgm:spPr>
      <dgm:t>
        <a:bodyPr/>
        <a:lstStyle/>
        <a:p>
          <a:r>
            <a:rPr lang="es-ES" dirty="0"/>
            <a:t>El CIO no suele ser impulsor: CEO, CMO, CBO sí.</a:t>
          </a:r>
        </a:p>
      </dgm:t>
    </dgm:pt>
    <dgm:pt modelId="{200CEABB-1903-4C66-81E9-212269F613CB}" type="parTrans" cxnId="{E61492BA-4C4A-473E-9DB5-0A8D5B5F0097}">
      <dgm:prSet/>
      <dgm:spPr/>
      <dgm:t>
        <a:bodyPr/>
        <a:lstStyle/>
        <a:p>
          <a:endParaRPr lang="es-ES"/>
        </a:p>
      </dgm:t>
    </dgm:pt>
    <dgm:pt modelId="{4BB6C258-8E75-4987-9E1C-A694EBB58688}" type="sibTrans" cxnId="{E61492BA-4C4A-473E-9DB5-0A8D5B5F0097}">
      <dgm:prSet/>
      <dgm:spPr/>
      <dgm:t>
        <a:bodyPr/>
        <a:lstStyle/>
        <a:p>
          <a:endParaRPr lang="es-ES" dirty="0"/>
        </a:p>
      </dgm:t>
    </dgm:pt>
    <dgm:pt modelId="{11A10944-F4C6-4641-AFA3-576ECCDC1A9F}">
      <dgm:prSet phldrT="[Texto]"/>
      <dgm:spPr>
        <a:solidFill>
          <a:srgbClr val="FF0000"/>
        </a:solidFill>
      </dgm:spPr>
      <dgm:t>
        <a:bodyPr/>
        <a:lstStyle/>
        <a:p>
          <a:r>
            <a:rPr lang="es-ES" dirty="0"/>
            <a:t>Cuidado con los términos corrompidos:</a:t>
          </a:r>
        </a:p>
      </dgm:t>
    </dgm:pt>
    <dgm:pt modelId="{9DA165C8-F43E-48FA-8E9E-3B86D18D86F5}" type="parTrans" cxnId="{9A37CDCE-DE97-4F86-8713-DA8896B28BE5}">
      <dgm:prSet/>
      <dgm:spPr/>
      <dgm:t>
        <a:bodyPr/>
        <a:lstStyle/>
        <a:p>
          <a:endParaRPr lang="es-ES"/>
        </a:p>
      </dgm:t>
    </dgm:pt>
    <dgm:pt modelId="{727BE9ED-E41C-4060-BFAF-8570C3ADCCD2}" type="sibTrans" cxnId="{9A37CDCE-DE97-4F86-8713-DA8896B28BE5}">
      <dgm:prSet/>
      <dgm:spPr/>
      <dgm:t>
        <a:bodyPr/>
        <a:lstStyle/>
        <a:p>
          <a:endParaRPr lang="es-ES" dirty="0"/>
        </a:p>
      </dgm:t>
    </dgm:pt>
    <dgm:pt modelId="{C0057ABF-82EF-4BF1-B0C6-6FDA6E923B05}">
      <dgm:prSet phldrT="[Texto]"/>
      <dgm:spPr/>
      <dgm:t>
        <a:bodyPr/>
        <a:lstStyle/>
        <a:p>
          <a:r>
            <a:rPr lang="es-ES" dirty="0"/>
            <a:t>Se empieza con un workshop.</a:t>
          </a:r>
        </a:p>
      </dgm:t>
    </dgm:pt>
    <dgm:pt modelId="{C4EA164D-D344-43BA-9799-36AD1780A470}" type="parTrans" cxnId="{A905970E-2412-4FDE-8C86-B7899DF013FE}">
      <dgm:prSet/>
      <dgm:spPr/>
      <dgm:t>
        <a:bodyPr/>
        <a:lstStyle/>
        <a:p>
          <a:endParaRPr lang="es-ES"/>
        </a:p>
      </dgm:t>
    </dgm:pt>
    <dgm:pt modelId="{6798C176-B357-4B2E-948A-C53DEEBF8229}" type="sibTrans" cxnId="{A905970E-2412-4FDE-8C86-B7899DF013FE}">
      <dgm:prSet/>
      <dgm:spPr/>
      <dgm:t>
        <a:bodyPr/>
        <a:lstStyle/>
        <a:p>
          <a:endParaRPr lang="es-ES" dirty="0"/>
        </a:p>
      </dgm:t>
    </dgm:pt>
    <dgm:pt modelId="{59685693-A558-4AAD-8559-A3888694E515}">
      <dgm:prSet phldrT="[Texto]"/>
      <dgm:spPr/>
      <dgm:t>
        <a:bodyPr/>
        <a:lstStyle/>
        <a:p>
          <a:r>
            <a:rPr lang="es-ES" dirty="0"/>
            <a:t>Usa con profusión:</a:t>
          </a:r>
        </a:p>
      </dgm:t>
    </dgm:pt>
    <dgm:pt modelId="{1BCE18C3-8F2F-43E0-95B6-83C21AECFCDA}" type="parTrans" cxnId="{5DAA0D18-6CB2-48E7-8345-EA08C6AF6B22}">
      <dgm:prSet/>
      <dgm:spPr/>
      <dgm:t>
        <a:bodyPr/>
        <a:lstStyle/>
        <a:p>
          <a:endParaRPr lang="es-ES"/>
        </a:p>
      </dgm:t>
    </dgm:pt>
    <dgm:pt modelId="{26D81DA4-DF02-494F-B8AC-914676E0A8FB}" type="sibTrans" cxnId="{5DAA0D18-6CB2-48E7-8345-EA08C6AF6B22}">
      <dgm:prSet/>
      <dgm:spPr/>
      <dgm:t>
        <a:bodyPr/>
        <a:lstStyle/>
        <a:p>
          <a:endParaRPr lang="es-ES" dirty="0"/>
        </a:p>
      </dgm:t>
    </dgm:pt>
    <dgm:pt modelId="{7A457C88-5127-4C63-956F-2CE6B8929358}">
      <dgm:prSet phldrT="[Texto]"/>
      <dgm:spPr/>
      <dgm:t>
        <a:bodyPr/>
        <a:lstStyle/>
        <a:p>
          <a:r>
            <a:rPr lang="es-ES" dirty="0"/>
            <a:t>El lenguaje de la empresa + Beneficios cualitativos + ROI.</a:t>
          </a:r>
        </a:p>
      </dgm:t>
    </dgm:pt>
    <dgm:pt modelId="{0206C8B8-EBBF-4FF2-A376-9C9E60DACCA5}" type="parTrans" cxnId="{4CE0736F-2F25-4F23-A00D-9A41F85AE2B4}">
      <dgm:prSet/>
      <dgm:spPr/>
      <dgm:t>
        <a:bodyPr/>
        <a:lstStyle/>
        <a:p>
          <a:endParaRPr lang="es-ES"/>
        </a:p>
      </dgm:t>
    </dgm:pt>
    <dgm:pt modelId="{9CA8EDA7-B0EA-4D52-8C79-E03209D4FAFC}" type="sibTrans" cxnId="{4CE0736F-2F25-4F23-A00D-9A41F85AE2B4}">
      <dgm:prSet/>
      <dgm:spPr/>
      <dgm:t>
        <a:bodyPr/>
        <a:lstStyle/>
        <a:p>
          <a:endParaRPr lang="es-ES"/>
        </a:p>
      </dgm:t>
    </dgm:pt>
    <dgm:pt modelId="{CB0207E5-DB3C-444B-BBA7-83353CC5B030}">
      <dgm:prSet phldrT="[Texto]"/>
      <dgm:spPr>
        <a:solidFill>
          <a:srgbClr val="FF0000"/>
        </a:solidFill>
      </dgm:spPr>
      <dgm:t>
        <a:bodyPr/>
        <a:lstStyle/>
        <a:p>
          <a:r>
            <a:rPr lang="es-ES" dirty="0"/>
            <a:t>Big Data // Imágenes sí – Texto no // Tiempo real</a:t>
          </a:r>
        </a:p>
      </dgm:t>
    </dgm:pt>
    <dgm:pt modelId="{21C240C5-C0DA-48D5-9180-30B75E3E1875}" type="parTrans" cxnId="{31AD3DA3-8D3E-49C4-B0FA-4FEC1DDB9440}">
      <dgm:prSet/>
      <dgm:spPr/>
      <dgm:t>
        <a:bodyPr/>
        <a:lstStyle/>
        <a:p>
          <a:endParaRPr lang="es-ES"/>
        </a:p>
      </dgm:t>
    </dgm:pt>
    <dgm:pt modelId="{4171307E-9E44-43C5-AB1A-5A2829A2AE9E}" type="sibTrans" cxnId="{31AD3DA3-8D3E-49C4-B0FA-4FEC1DDB9440}">
      <dgm:prSet/>
      <dgm:spPr/>
      <dgm:t>
        <a:bodyPr/>
        <a:lstStyle/>
        <a:p>
          <a:endParaRPr lang="es-ES"/>
        </a:p>
      </dgm:t>
    </dgm:pt>
    <dgm:pt modelId="{BC5F57F9-35AF-419A-BAAF-97D545628ED6}">
      <dgm:prSet phldrT="[Texto]"/>
      <dgm:spPr/>
      <dgm:t>
        <a:bodyPr/>
        <a:lstStyle/>
        <a:p>
          <a:r>
            <a:rPr lang="es-ES" dirty="0"/>
            <a:t>Qué les importa?</a:t>
          </a:r>
        </a:p>
      </dgm:t>
    </dgm:pt>
    <dgm:pt modelId="{E9407739-AD33-4550-A8B1-2837B7C73722}" type="parTrans" cxnId="{922A3E66-606A-4367-83CA-27A297901EC9}">
      <dgm:prSet/>
      <dgm:spPr/>
      <dgm:t>
        <a:bodyPr/>
        <a:lstStyle/>
        <a:p>
          <a:endParaRPr lang="es-ES"/>
        </a:p>
      </dgm:t>
    </dgm:pt>
    <dgm:pt modelId="{49937B4E-D50C-4CED-8A0E-5919D7DD0915}" type="sibTrans" cxnId="{922A3E66-606A-4367-83CA-27A297901EC9}">
      <dgm:prSet/>
      <dgm:spPr/>
      <dgm:t>
        <a:bodyPr/>
        <a:lstStyle/>
        <a:p>
          <a:endParaRPr lang="es-ES"/>
        </a:p>
      </dgm:t>
    </dgm:pt>
    <dgm:pt modelId="{6794DF0E-E8D2-4E51-A731-AA11E0D63B89}">
      <dgm:prSet phldrT="[Texto]"/>
      <dgm:spPr/>
      <dgm:t>
        <a:bodyPr/>
        <a:lstStyle/>
        <a:p>
          <a:r>
            <a:rPr lang="es-ES" dirty="0"/>
            <a:t>Personal y profesional</a:t>
          </a:r>
        </a:p>
      </dgm:t>
    </dgm:pt>
    <dgm:pt modelId="{51B5E802-751A-4ACF-9A5A-B0975149B9C0}" type="parTrans" cxnId="{FB13FDEF-8A92-4094-9C64-59BF523D8CE4}">
      <dgm:prSet/>
      <dgm:spPr/>
      <dgm:t>
        <a:bodyPr/>
        <a:lstStyle/>
        <a:p>
          <a:endParaRPr lang="es-ES"/>
        </a:p>
      </dgm:t>
    </dgm:pt>
    <dgm:pt modelId="{2D16EA10-B921-4F9A-867E-004E6C757289}" type="sibTrans" cxnId="{FB13FDEF-8A92-4094-9C64-59BF523D8CE4}">
      <dgm:prSet/>
      <dgm:spPr/>
      <dgm:t>
        <a:bodyPr/>
        <a:lstStyle/>
        <a:p>
          <a:endParaRPr lang="es-ES"/>
        </a:p>
      </dgm:t>
    </dgm:pt>
    <dgm:pt modelId="{87713605-D733-45CF-88CB-E0BA06507068}">
      <dgm:prSet phldrT="[Texto]"/>
      <dgm:spPr/>
      <dgm:t>
        <a:bodyPr/>
        <a:lstStyle/>
        <a:p>
          <a:r>
            <a:rPr lang="es-ES" dirty="0"/>
            <a:t>Resumen ejecutivo</a:t>
          </a:r>
        </a:p>
      </dgm:t>
    </dgm:pt>
    <dgm:pt modelId="{F51F2CFB-9DD0-4105-939F-9BB7F9C1A9FC}" type="parTrans" cxnId="{B6713C6D-1279-4044-90B9-A288109E07EC}">
      <dgm:prSet/>
      <dgm:spPr/>
      <dgm:t>
        <a:bodyPr/>
        <a:lstStyle/>
        <a:p>
          <a:endParaRPr lang="es-ES"/>
        </a:p>
      </dgm:t>
    </dgm:pt>
    <dgm:pt modelId="{95DAFBBD-D415-46AC-9DD9-6C9A6556EB07}" type="sibTrans" cxnId="{B6713C6D-1279-4044-90B9-A288109E07EC}">
      <dgm:prSet/>
      <dgm:spPr/>
      <dgm:t>
        <a:bodyPr/>
        <a:lstStyle/>
        <a:p>
          <a:endParaRPr lang="es-ES"/>
        </a:p>
      </dgm:t>
    </dgm:pt>
    <dgm:pt modelId="{FE3CCE95-FF2E-4584-8C00-7F4BD780EE20}">
      <dgm:prSet phldrT="[Texto]"/>
      <dgm:spPr/>
      <dgm:t>
        <a:bodyPr/>
        <a:lstStyle/>
        <a:p>
          <a:r>
            <a:rPr lang="es-ES" dirty="0"/>
            <a:t>Business case</a:t>
          </a:r>
        </a:p>
      </dgm:t>
    </dgm:pt>
    <dgm:pt modelId="{9317A644-9527-42AB-B871-C215403EC463}" type="parTrans" cxnId="{8C92DC35-8918-4AE3-89A7-7D38897E9DDC}">
      <dgm:prSet/>
      <dgm:spPr/>
      <dgm:t>
        <a:bodyPr/>
        <a:lstStyle/>
        <a:p>
          <a:endParaRPr lang="es-ES"/>
        </a:p>
      </dgm:t>
    </dgm:pt>
    <dgm:pt modelId="{08DBEDC7-DEA8-49E8-BFC1-4FBE20A37F75}" type="sibTrans" cxnId="{8C92DC35-8918-4AE3-89A7-7D38897E9DDC}">
      <dgm:prSet/>
      <dgm:spPr/>
      <dgm:t>
        <a:bodyPr/>
        <a:lstStyle/>
        <a:p>
          <a:endParaRPr lang="es-ES"/>
        </a:p>
      </dgm:t>
    </dgm:pt>
    <dgm:pt modelId="{4F3C1D42-8577-4463-9B70-0C3F63560FAD}">
      <dgm:prSet phldrT="[Texto]"/>
      <dgm:spPr>
        <a:solidFill>
          <a:srgbClr val="FF0000"/>
        </a:solidFill>
      </dgm:spPr>
      <dgm:t>
        <a:bodyPr/>
        <a:lstStyle/>
        <a:p>
          <a:r>
            <a:rPr lang="es-ES" dirty="0"/>
            <a:t>Oferta NO</a:t>
          </a:r>
        </a:p>
      </dgm:t>
    </dgm:pt>
    <dgm:pt modelId="{B9C0FCBC-91C1-4880-AB30-820BE78D0AD2}" type="parTrans" cxnId="{277124EB-A6A9-4914-ACC3-127A91064D40}">
      <dgm:prSet/>
      <dgm:spPr/>
      <dgm:t>
        <a:bodyPr/>
        <a:lstStyle/>
        <a:p>
          <a:endParaRPr lang="es-ES"/>
        </a:p>
      </dgm:t>
    </dgm:pt>
    <dgm:pt modelId="{196D50EA-8285-4ACD-8B60-23FDF82EEA90}" type="sibTrans" cxnId="{277124EB-A6A9-4914-ACC3-127A91064D40}">
      <dgm:prSet/>
      <dgm:spPr/>
      <dgm:t>
        <a:bodyPr/>
        <a:lstStyle/>
        <a:p>
          <a:endParaRPr lang="es-ES" dirty="0"/>
        </a:p>
      </dgm:t>
    </dgm:pt>
    <dgm:pt modelId="{DB8926B9-92FB-4BEB-9282-4D4D6F336073}">
      <dgm:prSet phldrT="[Texto]"/>
      <dgm:spPr>
        <a:solidFill>
          <a:srgbClr val="FF0000"/>
        </a:solidFill>
      </dgm:spPr>
      <dgm:t>
        <a:bodyPr/>
        <a:lstStyle/>
        <a:p>
          <a:r>
            <a:rPr lang="es-ES" dirty="0"/>
            <a:t>En Word</a:t>
          </a:r>
        </a:p>
      </dgm:t>
    </dgm:pt>
    <dgm:pt modelId="{2BEDDF4B-4E9E-49CF-9256-A64AD7CD4AA2}" type="parTrans" cxnId="{F4739AA8-BA54-4C73-BA77-7C1519C8592C}">
      <dgm:prSet/>
      <dgm:spPr/>
      <dgm:t>
        <a:bodyPr/>
        <a:lstStyle/>
        <a:p>
          <a:endParaRPr lang="es-ES"/>
        </a:p>
      </dgm:t>
    </dgm:pt>
    <dgm:pt modelId="{D290E4F6-AF07-46C2-B6A4-B12D0576211E}" type="sibTrans" cxnId="{F4739AA8-BA54-4C73-BA77-7C1519C8592C}">
      <dgm:prSet/>
      <dgm:spPr/>
      <dgm:t>
        <a:bodyPr/>
        <a:lstStyle/>
        <a:p>
          <a:endParaRPr lang="es-ES"/>
        </a:p>
      </dgm:t>
    </dgm:pt>
    <dgm:pt modelId="{B04A260F-5401-41B6-B4D4-003EFA5F5ED0}" type="pres">
      <dgm:prSet presAssocID="{59BC2A14-7A3B-41E0-9CD9-309631C4C3D7}" presName="Name0" presStyleCnt="0">
        <dgm:presLayoutVars>
          <dgm:dir/>
          <dgm:resizeHandles val="exact"/>
        </dgm:presLayoutVars>
      </dgm:prSet>
      <dgm:spPr/>
    </dgm:pt>
    <dgm:pt modelId="{E4032B44-48B1-48FC-8AD5-C9E0AE5573B8}" type="pres">
      <dgm:prSet presAssocID="{C62B54E0-845B-4CE1-9EDD-85D479174F24}" presName="node" presStyleLbl="node1" presStyleIdx="0" presStyleCnt="10">
        <dgm:presLayoutVars>
          <dgm:bulletEnabled val="1"/>
        </dgm:presLayoutVars>
      </dgm:prSet>
      <dgm:spPr/>
    </dgm:pt>
    <dgm:pt modelId="{227A037A-05AE-4F39-95B0-2F1D44F6D2F5}" type="pres">
      <dgm:prSet presAssocID="{8B65D80E-3DF3-4D90-B2C2-4B0E02F8B374}" presName="sibTrans" presStyleLbl="sibTrans1D1" presStyleIdx="0" presStyleCnt="9"/>
      <dgm:spPr/>
    </dgm:pt>
    <dgm:pt modelId="{6DE3C7E1-B81A-4D3F-8A47-47F1703897ED}" type="pres">
      <dgm:prSet presAssocID="{8B65D80E-3DF3-4D90-B2C2-4B0E02F8B374}" presName="connectorText" presStyleLbl="sibTrans1D1" presStyleIdx="0" presStyleCnt="9"/>
      <dgm:spPr/>
    </dgm:pt>
    <dgm:pt modelId="{85D0F322-4B8E-4D40-99C3-42C56C89A79A}" type="pres">
      <dgm:prSet presAssocID="{EE09E050-BA0A-45B7-B598-4AA5C243D7BA}" presName="node" presStyleLbl="node1" presStyleIdx="1" presStyleCnt="10">
        <dgm:presLayoutVars>
          <dgm:bulletEnabled val="1"/>
        </dgm:presLayoutVars>
      </dgm:prSet>
      <dgm:spPr/>
    </dgm:pt>
    <dgm:pt modelId="{EFF857D2-613D-4A04-849C-2E76B40C4A96}" type="pres">
      <dgm:prSet presAssocID="{4BB6C258-8E75-4987-9E1C-A694EBB58688}" presName="sibTrans" presStyleLbl="sibTrans1D1" presStyleIdx="1" presStyleCnt="9"/>
      <dgm:spPr/>
    </dgm:pt>
    <dgm:pt modelId="{3A009A74-D0B7-4D72-8A50-E2E9F1645422}" type="pres">
      <dgm:prSet presAssocID="{4BB6C258-8E75-4987-9E1C-A694EBB58688}" presName="connectorText" presStyleLbl="sibTrans1D1" presStyleIdx="1" presStyleCnt="9"/>
      <dgm:spPr/>
    </dgm:pt>
    <dgm:pt modelId="{A9415965-3C02-4597-A11F-E653DBDB8230}" type="pres">
      <dgm:prSet presAssocID="{C0057ABF-82EF-4BF1-B0C6-6FDA6E923B05}" presName="node" presStyleLbl="node1" presStyleIdx="2" presStyleCnt="10">
        <dgm:presLayoutVars>
          <dgm:bulletEnabled val="1"/>
        </dgm:presLayoutVars>
      </dgm:prSet>
      <dgm:spPr/>
    </dgm:pt>
    <dgm:pt modelId="{B1C0465E-0F58-4C50-83D9-DB3A796039E2}" type="pres">
      <dgm:prSet presAssocID="{6798C176-B357-4B2E-948A-C53DEEBF8229}" presName="sibTrans" presStyleLbl="sibTrans1D1" presStyleIdx="2" presStyleCnt="9"/>
      <dgm:spPr/>
    </dgm:pt>
    <dgm:pt modelId="{7892ABDA-869D-45AC-A8A8-7FA989F742EB}" type="pres">
      <dgm:prSet presAssocID="{6798C176-B357-4B2E-948A-C53DEEBF8229}" presName="connectorText" presStyleLbl="sibTrans1D1" presStyleIdx="2" presStyleCnt="9"/>
      <dgm:spPr/>
    </dgm:pt>
    <dgm:pt modelId="{9521EBD2-7B45-40E0-83EC-62010C70C1F7}" type="pres">
      <dgm:prSet presAssocID="{9AD87B76-7EF2-4493-8F93-1493F8203D69}" presName="node" presStyleLbl="node1" presStyleIdx="3" presStyleCnt="10">
        <dgm:presLayoutVars>
          <dgm:bulletEnabled val="1"/>
        </dgm:presLayoutVars>
      </dgm:prSet>
      <dgm:spPr/>
    </dgm:pt>
    <dgm:pt modelId="{61B837B5-FEB8-4853-BA70-D6C08EDE0490}" type="pres">
      <dgm:prSet presAssocID="{60AD5386-8690-477C-B0D3-01A6DD67F382}" presName="sibTrans" presStyleLbl="sibTrans1D1" presStyleIdx="3" presStyleCnt="9"/>
      <dgm:spPr/>
    </dgm:pt>
    <dgm:pt modelId="{3CDD458F-CF8E-489D-94E8-8132AD3D1C9F}" type="pres">
      <dgm:prSet presAssocID="{60AD5386-8690-477C-B0D3-01A6DD67F382}" presName="connectorText" presStyleLbl="sibTrans1D1" presStyleIdx="3" presStyleCnt="9"/>
      <dgm:spPr/>
    </dgm:pt>
    <dgm:pt modelId="{EE477123-BC6F-425F-B1ED-EACAC4DA60BE}" type="pres">
      <dgm:prSet presAssocID="{E6F09A43-8DF7-4EE3-B442-73B7A8EFF6B9}" presName="node" presStyleLbl="node1" presStyleIdx="4" presStyleCnt="10">
        <dgm:presLayoutVars>
          <dgm:bulletEnabled val="1"/>
        </dgm:presLayoutVars>
      </dgm:prSet>
      <dgm:spPr/>
    </dgm:pt>
    <dgm:pt modelId="{2212AFF4-C865-4DE4-9FD1-55514943248A}" type="pres">
      <dgm:prSet presAssocID="{ED9E59B3-A37A-46D5-AD26-DBBEB7D34502}" presName="sibTrans" presStyleLbl="sibTrans1D1" presStyleIdx="4" presStyleCnt="9"/>
      <dgm:spPr/>
    </dgm:pt>
    <dgm:pt modelId="{7C84E0B1-1343-4FE3-A12C-533A3EC48A41}" type="pres">
      <dgm:prSet presAssocID="{ED9E59B3-A37A-46D5-AD26-DBBEB7D34502}" presName="connectorText" presStyleLbl="sibTrans1D1" presStyleIdx="4" presStyleCnt="9"/>
      <dgm:spPr/>
    </dgm:pt>
    <dgm:pt modelId="{A0870514-D9ED-452C-BAD4-379F3E67C872}" type="pres">
      <dgm:prSet presAssocID="{11A10944-F4C6-4641-AFA3-576ECCDC1A9F}" presName="node" presStyleLbl="node1" presStyleIdx="5" presStyleCnt="10">
        <dgm:presLayoutVars>
          <dgm:bulletEnabled val="1"/>
        </dgm:presLayoutVars>
      </dgm:prSet>
      <dgm:spPr/>
    </dgm:pt>
    <dgm:pt modelId="{CCD37D93-8A80-4D69-89ED-6AE1400D0EAF}" type="pres">
      <dgm:prSet presAssocID="{727BE9ED-E41C-4060-BFAF-8570C3ADCCD2}" presName="sibTrans" presStyleLbl="sibTrans1D1" presStyleIdx="5" presStyleCnt="9"/>
      <dgm:spPr/>
    </dgm:pt>
    <dgm:pt modelId="{53EF0E16-06CE-48D1-8597-A9EC1C77D300}" type="pres">
      <dgm:prSet presAssocID="{727BE9ED-E41C-4060-BFAF-8570C3ADCCD2}" presName="connectorText" presStyleLbl="sibTrans1D1" presStyleIdx="5" presStyleCnt="9"/>
      <dgm:spPr/>
    </dgm:pt>
    <dgm:pt modelId="{D00F742A-0204-44CB-BB05-5D1F336D731C}" type="pres">
      <dgm:prSet presAssocID="{59685693-A558-4AAD-8559-A3888694E515}" presName="node" presStyleLbl="node1" presStyleIdx="6" presStyleCnt="10">
        <dgm:presLayoutVars>
          <dgm:bulletEnabled val="1"/>
        </dgm:presLayoutVars>
      </dgm:prSet>
      <dgm:spPr/>
    </dgm:pt>
    <dgm:pt modelId="{4AF6089B-20BE-43B8-9698-8092418E5E54}" type="pres">
      <dgm:prSet presAssocID="{26D81DA4-DF02-494F-B8AC-914676E0A8FB}" presName="sibTrans" presStyleLbl="sibTrans1D1" presStyleIdx="6" presStyleCnt="9"/>
      <dgm:spPr/>
    </dgm:pt>
    <dgm:pt modelId="{3F2310AD-AD90-4271-A01A-B45CC51DF0BE}" type="pres">
      <dgm:prSet presAssocID="{26D81DA4-DF02-494F-B8AC-914676E0A8FB}" presName="connectorText" presStyleLbl="sibTrans1D1" presStyleIdx="6" presStyleCnt="9"/>
      <dgm:spPr/>
    </dgm:pt>
    <dgm:pt modelId="{8C0B46BC-2442-4BFA-9E72-32A2C315D71C}" type="pres">
      <dgm:prSet presAssocID="{7A8EDECC-ACDE-4DE5-BB0C-CBEEB32C03BA}" presName="node" presStyleLbl="node1" presStyleIdx="7" presStyleCnt="10">
        <dgm:presLayoutVars>
          <dgm:bulletEnabled val="1"/>
        </dgm:presLayoutVars>
      </dgm:prSet>
      <dgm:spPr/>
    </dgm:pt>
    <dgm:pt modelId="{4DED3E03-20A9-4E45-89A8-8F2E51CCEF2F}" type="pres">
      <dgm:prSet presAssocID="{BC357244-5A08-4F12-ACE6-6243A9C63241}" presName="sibTrans" presStyleLbl="sibTrans1D1" presStyleIdx="7" presStyleCnt="9"/>
      <dgm:spPr/>
    </dgm:pt>
    <dgm:pt modelId="{172D7635-E929-4B3C-94E1-C73DD9EEB85E}" type="pres">
      <dgm:prSet presAssocID="{BC357244-5A08-4F12-ACE6-6243A9C63241}" presName="connectorText" presStyleLbl="sibTrans1D1" presStyleIdx="7" presStyleCnt="9"/>
      <dgm:spPr/>
    </dgm:pt>
    <dgm:pt modelId="{704144BB-0908-4197-9AE0-F8191268F822}" type="pres">
      <dgm:prSet presAssocID="{4F3C1D42-8577-4463-9B70-0C3F63560FAD}" presName="node" presStyleLbl="node1" presStyleIdx="8" presStyleCnt="10">
        <dgm:presLayoutVars>
          <dgm:bulletEnabled val="1"/>
        </dgm:presLayoutVars>
      </dgm:prSet>
      <dgm:spPr/>
    </dgm:pt>
    <dgm:pt modelId="{72FA0C6A-5B26-45A4-9D45-146DC68C54D3}" type="pres">
      <dgm:prSet presAssocID="{196D50EA-8285-4ACD-8B60-23FDF82EEA90}" presName="sibTrans" presStyleLbl="sibTrans1D1" presStyleIdx="8" presStyleCnt="9"/>
      <dgm:spPr/>
    </dgm:pt>
    <dgm:pt modelId="{B8209622-39E5-410F-87FC-69108196A19D}" type="pres">
      <dgm:prSet presAssocID="{196D50EA-8285-4ACD-8B60-23FDF82EEA90}" presName="connectorText" presStyleLbl="sibTrans1D1" presStyleIdx="8" presStyleCnt="9"/>
      <dgm:spPr/>
    </dgm:pt>
    <dgm:pt modelId="{AB1E5B25-DFCD-447C-BD41-F391A29F2829}" type="pres">
      <dgm:prSet presAssocID="{C3752C7C-D589-4C41-AFD5-73BB07E016B8}" presName="node" presStyleLbl="node1" presStyleIdx="9" presStyleCnt="10">
        <dgm:presLayoutVars>
          <dgm:bulletEnabled val="1"/>
        </dgm:presLayoutVars>
      </dgm:prSet>
      <dgm:spPr/>
    </dgm:pt>
  </dgm:ptLst>
  <dgm:cxnLst>
    <dgm:cxn modelId="{21E0E20B-1B96-41AD-99BB-E6F54B0956D8}" type="presOf" srcId="{E6F09A43-8DF7-4EE3-B442-73B7A8EFF6B9}" destId="{EE477123-BC6F-425F-B1ED-EACAC4DA60BE}" srcOrd="0" destOrd="0" presId="urn:microsoft.com/office/officeart/2005/8/layout/bProcess3"/>
    <dgm:cxn modelId="{A905970E-2412-4FDE-8C86-B7899DF013FE}" srcId="{59BC2A14-7A3B-41E0-9CD9-309631C4C3D7}" destId="{C0057ABF-82EF-4BF1-B0C6-6FDA6E923B05}" srcOrd="2" destOrd="0" parTransId="{C4EA164D-D344-43BA-9799-36AD1780A470}" sibTransId="{6798C176-B357-4B2E-948A-C53DEEBF8229}"/>
    <dgm:cxn modelId="{4537D214-0EBE-4D92-BF1F-1BE0EDAECC17}" type="presOf" srcId="{ED9E59B3-A37A-46D5-AD26-DBBEB7D34502}" destId="{2212AFF4-C865-4DE4-9FD1-55514943248A}" srcOrd="0" destOrd="0" presId="urn:microsoft.com/office/officeart/2005/8/layout/bProcess3"/>
    <dgm:cxn modelId="{644BFF17-C008-49B5-921D-E014363E74A0}" type="presOf" srcId="{196D50EA-8285-4ACD-8B60-23FDF82EEA90}" destId="{72FA0C6A-5B26-45A4-9D45-146DC68C54D3}" srcOrd="0" destOrd="0" presId="urn:microsoft.com/office/officeart/2005/8/layout/bProcess3"/>
    <dgm:cxn modelId="{5DAA0D18-6CB2-48E7-8345-EA08C6AF6B22}" srcId="{59BC2A14-7A3B-41E0-9CD9-309631C4C3D7}" destId="{59685693-A558-4AAD-8559-A3888694E515}" srcOrd="6" destOrd="0" parTransId="{1BCE18C3-8F2F-43E0-95B6-83C21AECFCDA}" sibTransId="{26D81DA4-DF02-494F-B8AC-914676E0A8FB}"/>
    <dgm:cxn modelId="{D4E7DD1B-6F81-4A5F-8B48-3A1738500CBC}" type="presOf" srcId="{6794DF0E-E8D2-4E51-A731-AA11E0D63B89}" destId="{8C0B46BC-2442-4BFA-9E72-32A2C315D71C}" srcOrd="0" destOrd="2" presId="urn:microsoft.com/office/officeart/2005/8/layout/bProcess3"/>
    <dgm:cxn modelId="{7896A421-5987-4FE6-B65A-C0C15BCA68D5}" type="presOf" srcId="{60AD5386-8690-477C-B0D3-01A6DD67F382}" destId="{61B837B5-FEB8-4853-BA70-D6C08EDE0490}" srcOrd="0" destOrd="0" presId="urn:microsoft.com/office/officeart/2005/8/layout/bProcess3"/>
    <dgm:cxn modelId="{4060362C-7B8F-42B4-B966-4C86EE1453AA}" type="presOf" srcId="{7A8EDECC-ACDE-4DE5-BB0C-CBEEB32C03BA}" destId="{8C0B46BC-2442-4BFA-9E72-32A2C315D71C}" srcOrd="0" destOrd="0" presId="urn:microsoft.com/office/officeart/2005/8/layout/bProcess3"/>
    <dgm:cxn modelId="{B215602C-3395-4CA3-846F-8476BA0086F8}" type="presOf" srcId="{26D81DA4-DF02-494F-B8AC-914676E0A8FB}" destId="{4AF6089B-20BE-43B8-9698-8092418E5E54}" srcOrd="0" destOrd="0" presId="urn:microsoft.com/office/officeart/2005/8/layout/bProcess3"/>
    <dgm:cxn modelId="{BC08A12C-2885-4FDC-8A00-D5E9F3075F58}" type="presOf" srcId="{9AD87B76-7EF2-4493-8F93-1493F8203D69}" destId="{9521EBD2-7B45-40E0-83EC-62010C70C1F7}" srcOrd="0" destOrd="0" presId="urn:microsoft.com/office/officeart/2005/8/layout/bProcess3"/>
    <dgm:cxn modelId="{8C92DC35-8918-4AE3-89A7-7D38897E9DDC}" srcId="{C3752C7C-D589-4C41-AFD5-73BB07E016B8}" destId="{FE3CCE95-FF2E-4584-8C00-7F4BD780EE20}" srcOrd="1" destOrd="0" parTransId="{9317A644-9527-42AB-B871-C215403EC463}" sibTransId="{08DBEDC7-DEA8-49E8-BFC1-4FBE20A37F75}"/>
    <dgm:cxn modelId="{19BD9536-B62D-4946-A963-3D21EAAF9F4C}" type="presOf" srcId="{196D50EA-8285-4ACD-8B60-23FDF82EEA90}" destId="{B8209622-39E5-410F-87FC-69108196A19D}" srcOrd="1" destOrd="0" presId="urn:microsoft.com/office/officeart/2005/8/layout/bProcess3"/>
    <dgm:cxn modelId="{0A01423B-BEFA-49D4-B3FE-54C0837429D4}" type="presOf" srcId="{DB8926B9-92FB-4BEB-9282-4D4D6F336073}" destId="{704144BB-0908-4197-9AE0-F8191268F822}" srcOrd="0" destOrd="1" presId="urn:microsoft.com/office/officeart/2005/8/layout/bProcess3"/>
    <dgm:cxn modelId="{BFF5275E-FFD5-4728-B035-174757B2BF41}" type="presOf" srcId="{8B65D80E-3DF3-4D90-B2C2-4B0E02F8B374}" destId="{227A037A-05AE-4F39-95B0-2F1D44F6D2F5}" srcOrd="0" destOrd="0" presId="urn:microsoft.com/office/officeart/2005/8/layout/bProcess3"/>
    <dgm:cxn modelId="{1E72695E-11A8-4F54-B45B-2E83FC2D19C4}" type="presOf" srcId="{BC357244-5A08-4F12-ACE6-6243A9C63241}" destId="{172D7635-E929-4B3C-94E1-C73DD9EEB85E}" srcOrd="1" destOrd="0" presId="urn:microsoft.com/office/officeart/2005/8/layout/bProcess3"/>
    <dgm:cxn modelId="{D7C1865E-171F-45B5-AF47-F270AE1222BB}" type="presOf" srcId="{8B65D80E-3DF3-4D90-B2C2-4B0E02F8B374}" destId="{6DE3C7E1-B81A-4D3F-8A47-47F1703897ED}" srcOrd="1" destOrd="0" presId="urn:microsoft.com/office/officeart/2005/8/layout/bProcess3"/>
    <dgm:cxn modelId="{D4F33D62-7DFA-4C70-8A43-D4DE9B0E307E}" type="presOf" srcId="{BC357244-5A08-4F12-ACE6-6243A9C63241}" destId="{4DED3E03-20A9-4E45-89A8-8F2E51CCEF2F}" srcOrd="0" destOrd="0" presId="urn:microsoft.com/office/officeart/2005/8/layout/bProcess3"/>
    <dgm:cxn modelId="{922A3E66-606A-4367-83CA-27A297901EC9}" srcId="{7A8EDECC-ACDE-4DE5-BB0C-CBEEB32C03BA}" destId="{BC5F57F9-35AF-419A-BAAF-97D545628ED6}" srcOrd="0" destOrd="0" parTransId="{E9407739-AD33-4550-A8B1-2837B7C73722}" sibTransId="{49937B4E-D50C-4CED-8A0E-5919D7DD0915}"/>
    <dgm:cxn modelId="{E2811667-40CE-473E-9845-57775A15230E}" srcId="{59BC2A14-7A3B-41E0-9CD9-309631C4C3D7}" destId="{C3752C7C-D589-4C41-AFD5-73BB07E016B8}" srcOrd="9" destOrd="0" parTransId="{38315695-A25A-4F5B-AF9E-202B9AFF23BB}" sibTransId="{763FD501-31BD-48FF-8786-D8C0710B83A2}"/>
    <dgm:cxn modelId="{F534E848-069D-4933-BA9A-22C070EE92B8}" srcId="{59BC2A14-7A3B-41E0-9CD9-309631C4C3D7}" destId="{7A8EDECC-ACDE-4DE5-BB0C-CBEEB32C03BA}" srcOrd="7" destOrd="0" parTransId="{4D719CB9-0A90-41BB-8381-1D9F985BC3A4}" sibTransId="{BC357244-5A08-4F12-ACE6-6243A9C63241}"/>
    <dgm:cxn modelId="{26862649-F1B5-48E6-8D2D-0035C8CB6F6A}" type="presOf" srcId="{59BC2A14-7A3B-41E0-9CD9-309631C4C3D7}" destId="{B04A260F-5401-41B6-B4D4-003EFA5F5ED0}" srcOrd="0" destOrd="0" presId="urn:microsoft.com/office/officeart/2005/8/layout/bProcess3"/>
    <dgm:cxn modelId="{640B814A-E25E-40C2-BA6A-F52D5832D34B}" srcId="{59BC2A14-7A3B-41E0-9CD9-309631C4C3D7}" destId="{E6F09A43-8DF7-4EE3-B442-73B7A8EFF6B9}" srcOrd="4" destOrd="0" parTransId="{AB8E369D-E5E0-419C-8744-D19D9BE23A50}" sibTransId="{ED9E59B3-A37A-46D5-AD26-DBBEB7D34502}"/>
    <dgm:cxn modelId="{B6713C6D-1279-4044-90B9-A288109E07EC}" srcId="{C3752C7C-D589-4C41-AFD5-73BB07E016B8}" destId="{87713605-D733-45CF-88CB-E0BA06507068}" srcOrd="0" destOrd="0" parTransId="{F51F2CFB-9DD0-4105-939F-9BB7F9C1A9FC}" sibTransId="{95DAFBBD-D415-46AC-9DD9-6C9A6556EB07}"/>
    <dgm:cxn modelId="{F8412C6F-8C1B-4E02-A2B2-F8BC66DA12B3}" type="presOf" srcId="{727BE9ED-E41C-4060-BFAF-8570C3ADCCD2}" destId="{CCD37D93-8A80-4D69-89ED-6AE1400D0EAF}" srcOrd="0" destOrd="0" presId="urn:microsoft.com/office/officeart/2005/8/layout/bProcess3"/>
    <dgm:cxn modelId="{4CE0736F-2F25-4F23-A00D-9A41F85AE2B4}" srcId="{59685693-A558-4AAD-8559-A3888694E515}" destId="{7A457C88-5127-4C63-956F-2CE6B8929358}" srcOrd="0" destOrd="0" parTransId="{0206C8B8-EBBF-4FF2-A376-9C9E60DACCA5}" sibTransId="{9CA8EDA7-B0EA-4D52-8C79-E03209D4FAFC}"/>
    <dgm:cxn modelId="{3E90BE6F-AD5D-4FC4-95C4-93F6C35FA7BC}" srcId="{59BC2A14-7A3B-41E0-9CD9-309631C4C3D7}" destId="{9AD87B76-7EF2-4493-8F93-1493F8203D69}" srcOrd="3" destOrd="0" parTransId="{B491899B-A922-4787-A9DA-9C086CF0D996}" sibTransId="{60AD5386-8690-477C-B0D3-01A6DD67F382}"/>
    <dgm:cxn modelId="{AD482059-811A-4B45-BFF2-F574702FD048}" type="presOf" srcId="{6798C176-B357-4B2E-948A-C53DEEBF8229}" destId="{B1C0465E-0F58-4C50-83D9-DB3A796039E2}" srcOrd="0" destOrd="0" presId="urn:microsoft.com/office/officeart/2005/8/layout/bProcess3"/>
    <dgm:cxn modelId="{05518695-7BB5-4B63-9A2D-A9592EE55093}" type="presOf" srcId="{C0057ABF-82EF-4BF1-B0C6-6FDA6E923B05}" destId="{A9415965-3C02-4597-A11F-E653DBDB8230}" srcOrd="0" destOrd="0" presId="urn:microsoft.com/office/officeart/2005/8/layout/bProcess3"/>
    <dgm:cxn modelId="{77D29C95-B713-4012-A840-BF6D0B4F8374}" type="presOf" srcId="{11A10944-F4C6-4641-AFA3-576ECCDC1A9F}" destId="{A0870514-D9ED-452C-BAD4-379F3E67C872}" srcOrd="0" destOrd="0" presId="urn:microsoft.com/office/officeart/2005/8/layout/bProcess3"/>
    <dgm:cxn modelId="{31AD3DA3-8D3E-49C4-B0FA-4FEC1DDB9440}" srcId="{11A10944-F4C6-4641-AFA3-576ECCDC1A9F}" destId="{CB0207E5-DB3C-444B-BBA7-83353CC5B030}" srcOrd="0" destOrd="0" parTransId="{21C240C5-C0DA-48D5-9180-30B75E3E1875}" sibTransId="{4171307E-9E44-43C5-AB1A-5A2829A2AE9E}"/>
    <dgm:cxn modelId="{F87058A4-80D4-4457-9381-22A46624094F}" type="presOf" srcId="{CB0207E5-DB3C-444B-BBA7-83353CC5B030}" destId="{A0870514-D9ED-452C-BAD4-379F3E67C872}" srcOrd="0" destOrd="1" presId="urn:microsoft.com/office/officeart/2005/8/layout/bProcess3"/>
    <dgm:cxn modelId="{F4739AA8-BA54-4C73-BA77-7C1519C8592C}" srcId="{4F3C1D42-8577-4463-9B70-0C3F63560FAD}" destId="{DB8926B9-92FB-4BEB-9282-4D4D6F336073}" srcOrd="0" destOrd="0" parTransId="{2BEDDF4B-4E9E-49CF-9256-A64AD7CD4AA2}" sibTransId="{D290E4F6-AF07-46C2-B6A4-B12D0576211E}"/>
    <dgm:cxn modelId="{2E3AA3B0-1E67-4089-8089-EF524384E149}" type="presOf" srcId="{C3752C7C-D589-4C41-AFD5-73BB07E016B8}" destId="{AB1E5B25-DFCD-447C-BD41-F391A29F2829}" srcOrd="0" destOrd="0" presId="urn:microsoft.com/office/officeart/2005/8/layout/bProcess3"/>
    <dgm:cxn modelId="{E61492BA-4C4A-473E-9DB5-0A8D5B5F0097}" srcId="{59BC2A14-7A3B-41E0-9CD9-309631C4C3D7}" destId="{EE09E050-BA0A-45B7-B598-4AA5C243D7BA}" srcOrd="1" destOrd="0" parTransId="{200CEABB-1903-4C66-81E9-212269F613CB}" sibTransId="{4BB6C258-8E75-4987-9E1C-A694EBB58688}"/>
    <dgm:cxn modelId="{2398EBBB-3B7A-42C2-985A-EFB85F204767}" type="presOf" srcId="{26D81DA4-DF02-494F-B8AC-914676E0A8FB}" destId="{3F2310AD-AD90-4271-A01A-B45CC51DF0BE}" srcOrd="1" destOrd="0" presId="urn:microsoft.com/office/officeart/2005/8/layout/bProcess3"/>
    <dgm:cxn modelId="{4CFCC0BC-DFA6-40E3-864B-37D225F690FD}" type="presOf" srcId="{EE09E050-BA0A-45B7-B598-4AA5C243D7BA}" destId="{85D0F322-4B8E-4D40-99C3-42C56C89A79A}" srcOrd="0" destOrd="0" presId="urn:microsoft.com/office/officeart/2005/8/layout/bProcess3"/>
    <dgm:cxn modelId="{180F3CC7-1737-4480-9201-EFE001E2A499}" srcId="{59BC2A14-7A3B-41E0-9CD9-309631C4C3D7}" destId="{C62B54E0-845B-4CE1-9EDD-85D479174F24}" srcOrd="0" destOrd="0" parTransId="{F2EBF349-6049-462E-BE46-C7A039821BC3}" sibTransId="{8B65D80E-3DF3-4D90-B2C2-4B0E02F8B374}"/>
    <dgm:cxn modelId="{7D109EC7-6015-4664-88BC-3927A3D224AC}" type="presOf" srcId="{727BE9ED-E41C-4060-BFAF-8570C3ADCCD2}" destId="{53EF0E16-06CE-48D1-8597-A9EC1C77D300}" srcOrd="1" destOrd="0" presId="urn:microsoft.com/office/officeart/2005/8/layout/bProcess3"/>
    <dgm:cxn modelId="{A168DFCC-889F-4C8A-A5EB-03542698F82D}" type="presOf" srcId="{87713605-D733-45CF-88CB-E0BA06507068}" destId="{AB1E5B25-DFCD-447C-BD41-F391A29F2829}" srcOrd="0" destOrd="1" presId="urn:microsoft.com/office/officeart/2005/8/layout/bProcess3"/>
    <dgm:cxn modelId="{9A37CDCE-DE97-4F86-8713-DA8896B28BE5}" srcId="{59BC2A14-7A3B-41E0-9CD9-309631C4C3D7}" destId="{11A10944-F4C6-4641-AFA3-576ECCDC1A9F}" srcOrd="5" destOrd="0" parTransId="{9DA165C8-F43E-48FA-8E9E-3B86D18D86F5}" sibTransId="{727BE9ED-E41C-4060-BFAF-8570C3ADCCD2}"/>
    <dgm:cxn modelId="{092502D0-555D-47A0-A6FF-E2125C263B2B}" type="presOf" srcId="{7A457C88-5127-4C63-956F-2CE6B8929358}" destId="{D00F742A-0204-44CB-BB05-5D1F336D731C}" srcOrd="0" destOrd="1" presId="urn:microsoft.com/office/officeart/2005/8/layout/bProcess3"/>
    <dgm:cxn modelId="{5797EBD1-8EAE-4EBA-B731-EB74091AB45B}" type="presOf" srcId="{59685693-A558-4AAD-8559-A3888694E515}" destId="{D00F742A-0204-44CB-BB05-5D1F336D731C}" srcOrd="0" destOrd="0" presId="urn:microsoft.com/office/officeart/2005/8/layout/bProcess3"/>
    <dgm:cxn modelId="{ECA757D4-8E8F-4EBB-9064-74E90CF70AF9}" type="presOf" srcId="{4BB6C258-8E75-4987-9E1C-A694EBB58688}" destId="{EFF857D2-613D-4A04-849C-2E76B40C4A96}" srcOrd="0" destOrd="0" presId="urn:microsoft.com/office/officeart/2005/8/layout/bProcess3"/>
    <dgm:cxn modelId="{702169DF-88DD-49E2-B76D-CAB95F7BDE3B}" type="presOf" srcId="{6798C176-B357-4B2E-948A-C53DEEBF8229}" destId="{7892ABDA-869D-45AC-A8A8-7FA989F742EB}" srcOrd="1" destOrd="0" presId="urn:microsoft.com/office/officeart/2005/8/layout/bProcess3"/>
    <dgm:cxn modelId="{DC6573E0-5AFD-437F-9739-6E7CED4760B8}" type="presOf" srcId="{4F3C1D42-8577-4463-9B70-0C3F63560FAD}" destId="{704144BB-0908-4197-9AE0-F8191268F822}" srcOrd="0" destOrd="0" presId="urn:microsoft.com/office/officeart/2005/8/layout/bProcess3"/>
    <dgm:cxn modelId="{FA7D06E3-2F80-445F-88D5-0197452C6BF1}" type="presOf" srcId="{C62B54E0-845B-4CE1-9EDD-85D479174F24}" destId="{E4032B44-48B1-48FC-8AD5-C9E0AE5573B8}" srcOrd="0" destOrd="0" presId="urn:microsoft.com/office/officeart/2005/8/layout/bProcess3"/>
    <dgm:cxn modelId="{93777CE6-3053-4323-88B9-437CBB2AD67F}" type="presOf" srcId="{BC5F57F9-35AF-419A-BAAF-97D545628ED6}" destId="{8C0B46BC-2442-4BFA-9E72-32A2C315D71C}" srcOrd="0" destOrd="1" presId="urn:microsoft.com/office/officeart/2005/8/layout/bProcess3"/>
    <dgm:cxn modelId="{277124EB-A6A9-4914-ACC3-127A91064D40}" srcId="{59BC2A14-7A3B-41E0-9CD9-309631C4C3D7}" destId="{4F3C1D42-8577-4463-9B70-0C3F63560FAD}" srcOrd="8" destOrd="0" parTransId="{B9C0FCBC-91C1-4880-AB30-820BE78D0AD2}" sibTransId="{196D50EA-8285-4ACD-8B60-23FDF82EEA90}"/>
    <dgm:cxn modelId="{FB13FDEF-8A92-4094-9C64-59BF523D8CE4}" srcId="{7A8EDECC-ACDE-4DE5-BB0C-CBEEB32C03BA}" destId="{6794DF0E-E8D2-4E51-A731-AA11E0D63B89}" srcOrd="1" destOrd="0" parTransId="{51B5E802-751A-4ACF-9A5A-B0975149B9C0}" sibTransId="{2D16EA10-B921-4F9A-867E-004E6C757289}"/>
    <dgm:cxn modelId="{C57FB9F0-B351-4DEE-A3E6-73A27861EA09}" type="presOf" srcId="{ED9E59B3-A37A-46D5-AD26-DBBEB7D34502}" destId="{7C84E0B1-1343-4FE3-A12C-533A3EC48A41}" srcOrd="1" destOrd="0" presId="urn:microsoft.com/office/officeart/2005/8/layout/bProcess3"/>
    <dgm:cxn modelId="{F44AFAF7-7F51-43CF-A60F-FD714C62226B}" type="presOf" srcId="{60AD5386-8690-477C-B0D3-01A6DD67F382}" destId="{3CDD458F-CF8E-489D-94E8-8132AD3D1C9F}" srcOrd="1" destOrd="0" presId="urn:microsoft.com/office/officeart/2005/8/layout/bProcess3"/>
    <dgm:cxn modelId="{F1F163FC-72A0-4F45-9A14-AE78A917B63D}" type="presOf" srcId="{FE3CCE95-FF2E-4584-8C00-7F4BD780EE20}" destId="{AB1E5B25-DFCD-447C-BD41-F391A29F2829}" srcOrd="0" destOrd="2" presId="urn:microsoft.com/office/officeart/2005/8/layout/bProcess3"/>
    <dgm:cxn modelId="{3BA1CFFE-5166-4393-B505-CBCDB04F7486}" type="presOf" srcId="{4BB6C258-8E75-4987-9E1C-A694EBB58688}" destId="{3A009A74-D0B7-4D72-8A50-E2E9F1645422}" srcOrd="1" destOrd="0" presId="urn:microsoft.com/office/officeart/2005/8/layout/bProcess3"/>
    <dgm:cxn modelId="{AF22C5C4-62DF-456E-8C33-B2ECFF3D885A}" type="presParOf" srcId="{B04A260F-5401-41B6-B4D4-003EFA5F5ED0}" destId="{E4032B44-48B1-48FC-8AD5-C9E0AE5573B8}" srcOrd="0" destOrd="0" presId="urn:microsoft.com/office/officeart/2005/8/layout/bProcess3"/>
    <dgm:cxn modelId="{BD005AAC-88F6-41DF-9264-9F3EC3A8B6E4}" type="presParOf" srcId="{B04A260F-5401-41B6-B4D4-003EFA5F5ED0}" destId="{227A037A-05AE-4F39-95B0-2F1D44F6D2F5}" srcOrd="1" destOrd="0" presId="urn:microsoft.com/office/officeart/2005/8/layout/bProcess3"/>
    <dgm:cxn modelId="{3C49521B-85B6-4940-9C70-03AD6390200D}" type="presParOf" srcId="{227A037A-05AE-4F39-95B0-2F1D44F6D2F5}" destId="{6DE3C7E1-B81A-4D3F-8A47-47F1703897ED}" srcOrd="0" destOrd="0" presId="urn:microsoft.com/office/officeart/2005/8/layout/bProcess3"/>
    <dgm:cxn modelId="{9727F4C1-ED0E-40C9-A751-5DAA4A29B0E8}" type="presParOf" srcId="{B04A260F-5401-41B6-B4D4-003EFA5F5ED0}" destId="{85D0F322-4B8E-4D40-99C3-42C56C89A79A}" srcOrd="2" destOrd="0" presId="urn:microsoft.com/office/officeart/2005/8/layout/bProcess3"/>
    <dgm:cxn modelId="{1CE635FD-88BD-47BB-8508-3AB6E5037BD8}" type="presParOf" srcId="{B04A260F-5401-41B6-B4D4-003EFA5F5ED0}" destId="{EFF857D2-613D-4A04-849C-2E76B40C4A96}" srcOrd="3" destOrd="0" presId="urn:microsoft.com/office/officeart/2005/8/layout/bProcess3"/>
    <dgm:cxn modelId="{1555FBB7-E4AF-499A-A897-DBD071F300C7}" type="presParOf" srcId="{EFF857D2-613D-4A04-849C-2E76B40C4A96}" destId="{3A009A74-D0B7-4D72-8A50-E2E9F1645422}" srcOrd="0" destOrd="0" presId="urn:microsoft.com/office/officeart/2005/8/layout/bProcess3"/>
    <dgm:cxn modelId="{63AA7F2E-DBBB-448E-AF51-446FE9F3430B}" type="presParOf" srcId="{B04A260F-5401-41B6-B4D4-003EFA5F5ED0}" destId="{A9415965-3C02-4597-A11F-E653DBDB8230}" srcOrd="4" destOrd="0" presId="urn:microsoft.com/office/officeart/2005/8/layout/bProcess3"/>
    <dgm:cxn modelId="{2C97D416-FA46-4F0D-B081-9746691D96E6}" type="presParOf" srcId="{B04A260F-5401-41B6-B4D4-003EFA5F5ED0}" destId="{B1C0465E-0F58-4C50-83D9-DB3A796039E2}" srcOrd="5" destOrd="0" presId="urn:microsoft.com/office/officeart/2005/8/layout/bProcess3"/>
    <dgm:cxn modelId="{92213EAC-4EE7-432B-B565-F2D14BBE99B1}" type="presParOf" srcId="{B1C0465E-0F58-4C50-83D9-DB3A796039E2}" destId="{7892ABDA-869D-45AC-A8A8-7FA989F742EB}" srcOrd="0" destOrd="0" presId="urn:microsoft.com/office/officeart/2005/8/layout/bProcess3"/>
    <dgm:cxn modelId="{A7CD1305-DF14-4001-B0AC-C4A03E699AAB}" type="presParOf" srcId="{B04A260F-5401-41B6-B4D4-003EFA5F5ED0}" destId="{9521EBD2-7B45-40E0-83EC-62010C70C1F7}" srcOrd="6" destOrd="0" presId="urn:microsoft.com/office/officeart/2005/8/layout/bProcess3"/>
    <dgm:cxn modelId="{2227934B-1705-464F-89C9-0E2EC8635B7B}" type="presParOf" srcId="{B04A260F-5401-41B6-B4D4-003EFA5F5ED0}" destId="{61B837B5-FEB8-4853-BA70-D6C08EDE0490}" srcOrd="7" destOrd="0" presId="urn:microsoft.com/office/officeart/2005/8/layout/bProcess3"/>
    <dgm:cxn modelId="{5DCF61AF-021C-4839-A854-EE9FA9DC00BF}" type="presParOf" srcId="{61B837B5-FEB8-4853-BA70-D6C08EDE0490}" destId="{3CDD458F-CF8E-489D-94E8-8132AD3D1C9F}" srcOrd="0" destOrd="0" presId="urn:microsoft.com/office/officeart/2005/8/layout/bProcess3"/>
    <dgm:cxn modelId="{3F977CBD-A736-449F-88F4-30655FEEB8A4}" type="presParOf" srcId="{B04A260F-5401-41B6-B4D4-003EFA5F5ED0}" destId="{EE477123-BC6F-425F-B1ED-EACAC4DA60BE}" srcOrd="8" destOrd="0" presId="urn:microsoft.com/office/officeart/2005/8/layout/bProcess3"/>
    <dgm:cxn modelId="{39BE8267-95E9-40BF-AECA-C996AAE67E4D}" type="presParOf" srcId="{B04A260F-5401-41B6-B4D4-003EFA5F5ED0}" destId="{2212AFF4-C865-4DE4-9FD1-55514943248A}" srcOrd="9" destOrd="0" presId="urn:microsoft.com/office/officeart/2005/8/layout/bProcess3"/>
    <dgm:cxn modelId="{FFD85283-22BA-4D5A-BF6E-5A8B5F2DCD14}" type="presParOf" srcId="{2212AFF4-C865-4DE4-9FD1-55514943248A}" destId="{7C84E0B1-1343-4FE3-A12C-533A3EC48A41}" srcOrd="0" destOrd="0" presId="urn:microsoft.com/office/officeart/2005/8/layout/bProcess3"/>
    <dgm:cxn modelId="{2074A0BF-8CBE-468D-ABBF-3BD42C6CBE7C}" type="presParOf" srcId="{B04A260F-5401-41B6-B4D4-003EFA5F5ED0}" destId="{A0870514-D9ED-452C-BAD4-379F3E67C872}" srcOrd="10" destOrd="0" presId="urn:microsoft.com/office/officeart/2005/8/layout/bProcess3"/>
    <dgm:cxn modelId="{0A5AC854-66C7-412C-8082-35A3919C9F71}" type="presParOf" srcId="{B04A260F-5401-41B6-B4D4-003EFA5F5ED0}" destId="{CCD37D93-8A80-4D69-89ED-6AE1400D0EAF}" srcOrd="11" destOrd="0" presId="urn:microsoft.com/office/officeart/2005/8/layout/bProcess3"/>
    <dgm:cxn modelId="{8B310974-FDD7-42CB-B78E-3FF92F43AAC7}" type="presParOf" srcId="{CCD37D93-8A80-4D69-89ED-6AE1400D0EAF}" destId="{53EF0E16-06CE-48D1-8597-A9EC1C77D300}" srcOrd="0" destOrd="0" presId="urn:microsoft.com/office/officeart/2005/8/layout/bProcess3"/>
    <dgm:cxn modelId="{5DF9C26A-E427-4C20-83E5-6EDA8E68A97C}" type="presParOf" srcId="{B04A260F-5401-41B6-B4D4-003EFA5F5ED0}" destId="{D00F742A-0204-44CB-BB05-5D1F336D731C}" srcOrd="12" destOrd="0" presId="urn:microsoft.com/office/officeart/2005/8/layout/bProcess3"/>
    <dgm:cxn modelId="{A775D9CD-440C-4F17-9C53-EE93FB901577}" type="presParOf" srcId="{B04A260F-5401-41B6-B4D4-003EFA5F5ED0}" destId="{4AF6089B-20BE-43B8-9698-8092418E5E54}" srcOrd="13" destOrd="0" presId="urn:microsoft.com/office/officeart/2005/8/layout/bProcess3"/>
    <dgm:cxn modelId="{5E77E1E0-88F8-4945-8E22-DA25F544D2A3}" type="presParOf" srcId="{4AF6089B-20BE-43B8-9698-8092418E5E54}" destId="{3F2310AD-AD90-4271-A01A-B45CC51DF0BE}" srcOrd="0" destOrd="0" presId="urn:microsoft.com/office/officeart/2005/8/layout/bProcess3"/>
    <dgm:cxn modelId="{9F4456D9-186C-43A6-8914-A9B657B14D50}" type="presParOf" srcId="{B04A260F-5401-41B6-B4D4-003EFA5F5ED0}" destId="{8C0B46BC-2442-4BFA-9E72-32A2C315D71C}" srcOrd="14" destOrd="0" presId="urn:microsoft.com/office/officeart/2005/8/layout/bProcess3"/>
    <dgm:cxn modelId="{85E47728-F4F0-4634-BCFD-B813A31C0429}" type="presParOf" srcId="{B04A260F-5401-41B6-B4D4-003EFA5F5ED0}" destId="{4DED3E03-20A9-4E45-89A8-8F2E51CCEF2F}" srcOrd="15" destOrd="0" presId="urn:microsoft.com/office/officeart/2005/8/layout/bProcess3"/>
    <dgm:cxn modelId="{AE7D6405-3D62-42EC-A5D3-C8E22BF4EE7C}" type="presParOf" srcId="{4DED3E03-20A9-4E45-89A8-8F2E51CCEF2F}" destId="{172D7635-E929-4B3C-94E1-C73DD9EEB85E}" srcOrd="0" destOrd="0" presId="urn:microsoft.com/office/officeart/2005/8/layout/bProcess3"/>
    <dgm:cxn modelId="{7D389F03-31C0-4159-95D3-93ACDFC9A3F5}" type="presParOf" srcId="{B04A260F-5401-41B6-B4D4-003EFA5F5ED0}" destId="{704144BB-0908-4197-9AE0-F8191268F822}" srcOrd="16" destOrd="0" presId="urn:microsoft.com/office/officeart/2005/8/layout/bProcess3"/>
    <dgm:cxn modelId="{EF5D6468-4039-45F2-9508-1666D5E0FE4B}" type="presParOf" srcId="{B04A260F-5401-41B6-B4D4-003EFA5F5ED0}" destId="{72FA0C6A-5B26-45A4-9D45-146DC68C54D3}" srcOrd="17" destOrd="0" presId="urn:microsoft.com/office/officeart/2005/8/layout/bProcess3"/>
    <dgm:cxn modelId="{77302D10-3FAC-4779-9774-225C1CC9D342}" type="presParOf" srcId="{72FA0C6A-5B26-45A4-9D45-146DC68C54D3}" destId="{B8209622-39E5-410F-87FC-69108196A19D}" srcOrd="0" destOrd="0" presId="urn:microsoft.com/office/officeart/2005/8/layout/bProcess3"/>
    <dgm:cxn modelId="{46987EF9-4A3B-4433-8307-2F4033B43049}" type="presParOf" srcId="{B04A260F-5401-41B6-B4D4-003EFA5F5ED0}" destId="{AB1E5B25-DFCD-447C-BD41-F391A29F2829}" srcOrd="18"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7E33FFB1-A849-461E-BD21-5BC0CF512A01}"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s-ES"/>
        </a:p>
      </dgm:t>
    </dgm:pt>
    <dgm:pt modelId="{D8C89B92-CC91-4A31-B38D-D82E64DEBE95}">
      <dgm:prSet phldrT="[Texto]"/>
      <dgm:spPr/>
      <dgm:t>
        <a:bodyPr/>
        <a:lstStyle/>
        <a:p>
          <a:r>
            <a:rPr lang="es-ES" dirty="0"/>
            <a:t>Pregúntate y observa</a:t>
          </a:r>
        </a:p>
      </dgm:t>
    </dgm:pt>
    <dgm:pt modelId="{0B17638C-4992-4C25-8EE4-F2F4133F026D}" type="parTrans" cxnId="{D19AF6AF-804B-40DE-919C-467F6E282212}">
      <dgm:prSet/>
      <dgm:spPr/>
      <dgm:t>
        <a:bodyPr/>
        <a:lstStyle/>
        <a:p>
          <a:endParaRPr lang="es-ES"/>
        </a:p>
      </dgm:t>
    </dgm:pt>
    <dgm:pt modelId="{808C6106-D852-4E57-BCA5-2E9B19454B7A}" type="sibTrans" cxnId="{D19AF6AF-804B-40DE-919C-467F6E282212}">
      <dgm:prSet/>
      <dgm:spPr/>
      <dgm:t>
        <a:bodyPr/>
        <a:lstStyle/>
        <a:p>
          <a:endParaRPr lang="es-ES"/>
        </a:p>
      </dgm:t>
    </dgm:pt>
    <dgm:pt modelId="{AC5A6833-3099-4EFC-92EF-F36A2FEB916E}">
      <dgm:prSet/>
      <dgm:spPr/>
      <dgm:t>
        <a:bodyPr/>
        <a:lstStyle/>
        <a:p>
          <a:r>
            <a:rPr lang="es-ES" dirty="0"/>
            <a:t>Tienen dinero?</a:t>
          </a:r>
        </a:p>
      </dgm:t>
    </dgm:pt>
    <dgm:pt modelId="{1AF3681C-3456-41F7-B165-60FCAC4FE71B}" type="parTrans" cxnId="{F32820E0-44B6-4135-8D41-6C4F4D94AB53}">
      <dgm:prSet/>
      <dgm:spPr/>
      <dgm:t>
        <a:bodyPr/>
        <a:lstStyle/>
        <a:p>
          <a:endParaRPr lang="es-ES"/>
        </a:p>
      </dgm:t>
    </dgm:pt>
    <dgm:pt modelId="{A8CF2080-0E92-4D0E-8396-8D7C1FB4373B}" type="sibTrans" cxnId="{F32820E0-44B6-4135-8D41-6C4F4D94AB53}">
      <dgm:prSet/>
      <dgm:spPr/>
      <dgm:t>
        <a:bodyPr/>
        <a:lstStyle/>
        <a:p>
          <a:endParaRPr lang="es-ES"/>
        </a:p>
      </dgm:t>
    </dgm:pt>
    <dgm:pt modelId="{E43EF23A-3200-4E18-BBE6-02C37F78C73E}">
      <dgm:prSet/>
      <dgm:spPr/>
      <dgm:t>
        <a:bodyPr/>
        <a:lstStyle/>
        <a:p>
          <a:r>
            <a:rPr lang="es-ES" dirty="0"/>
            <a:t>Funciona la química?</a:t>
          </a:r>
        </a:p>
      </dgm:t>
    </dgm:pt>
    <dgm:pt modelId="{6B37F50B-DE1F-4D51-B99D-1AAAAF4B1981}" type="parTrans" cxnId="{F3285F60-A62C-45ED-AE47-57408C41CEF9}">
      <dgm:prSet/>
      <dgm:spPr/>
      <dgm:t>
        <a:bodyPr/>
        <a:lstStyle/>
        <a:p>
          <a:endParaRPr lang="es-ES"/>
        </a:p>
      </dgm:t>
    </dgm:pt>
    <dgm:pt modelId="{5B2C12B7-AACA-4BE2-9D61-C981104CE249}" type="sibTrans" cxnId="{F3285F60-A62C-45ED-AE47-57408C41CEF9}">
      <dgm:prSet/>
      <dgm:spPr/>
      <dgm:t>
        <a:bodyPr/>
        <a:lstStyle/>
        <a:p>
          <a:endParaRPr lang="es-ES"/>
        </a:p>
      </dgm:t>
    </dgm:pt>
    <dgm:pt modelId="{1C1E9C5C-9DA5-4E7B-91FD-991D3FDF872B}">
      <dgm:prSet/>
      <dgm:spPr/>
      <dgm:t>
        <a:bodyPr/>
        <a:lstStyle/>
        <a:p>
          <a:r>
            <a:rPr lang="es-ES" dirty="0"/>
            <a:t>Os entendéis?</a:t>
          </a:r>
        </a:p>
      </dgm:t>
    </dgm:pt>
    <dgm:pt modelId="{6D277EE7-6BD4-4B17-816A-57BBBA3E81B3}" type="parTrans" cxnId="{07827F37-0684-4348-B985-810ECFD333B5}">
      <dgm:prSet/>
      <dgm:spPr/>
      <dgm:t>
        <a:bodyPr/>
        <a:lstStyle/>
        <a:p>
          <a:endParaRPr lang="es-ES"/>
        </a:p>
      </dgm:t>
    </dgm:pt>
    <dgm:pt modelId="{2F1EDC9A-E255-4CE7-A0DC-0137AF795F89}" type="sibTrans" cxnId="{07827F37-0684-4348-B985-810ECFD333B5}">
      <dgm:prSet/>
      <dgm:spPr/>
      <dgm:t>
        <a:bodyPr/>
        <a:lstStyle/>
        <a:p>
          <a:endParaRPr lang="es-ES"/>
        </a:p>
      </dgm:t>
    </dgm:pt>
    <dgm:pt modelId="{198CBF54-F213-469D-BA31-2A5036F67910}">
      <dgm:prSet/>
      <dgm:spPr/>
      <dgm:t>
        <a:bodyPr/>
        <a:lstStyle/>
        <a:p>
          <a:r>
            <a:rPr lang="es-ES" b="1" dirty="0">
              <a:solidFill>
                <a:schemeClr val="bg1"/>
              </a:solidFill>
            </a:rPr>
            <a:t>Te dicen:</a:t>
          </a:r>
        </a:p>
      </dgm:t>
    </dgm:pt>
    <dgm:pt modelId="{2204C083-0998-4060-B503-B41048A11786}" type="parTrans" cxnId="{E99A2880-ACAD-4A5F-8FE1-AFAA6928F675}">
      <dgm:prSet/>
      <dgm:spPr/>
      <dgm:t>
        <a:bodyPr/>
        <a:lstStyle/>
        <a:p>
          <a:endParaRPr lang="es-ES"/>
        </a:p>
      </dgm:t>
    </dgm:pt>
    <dgm:pt modelId="{73ACB0F2-2A89-4A11-A26C-B004C2239F2D}" type="sibTrans" cxnId="{E99A2880-ACAD-4A5F-8FE1-AFAA6928F675}">
      <dgm:prSet/>
      <dgm:spPr/>
      <dgm:t>
        <a:bodyPr/>
        <a:lstStyle/>
        <a:p>
          <a:endParaRPr lang="es-ES"/>
        </a:p>
      </dgm:t>
    </dgm:pt>
    <dgm:pt modelId="{34B41CE4-8231-4FA2-B498-9AC96D50AEFF}">
      <dgm:prSet/>
      <dgm:spPr/>
      <dgm:t>
        <a:bodyPr/>
        <a:lstStyle/>
        <a:p>
          <a:r>
            <a:rPr lang="es-ES" dirty="0"/>
            <a:t>Es muy urgente.</a:t>
          </a:r>
        </a:p>
      </dgm:t>
    </dgm:pt>
    <dgm:pt modelId="{BE5ACA1C-1B19-45FD-8452-77F321509670}" type="parTrans" cxnId="{1CADA44B-9FF5-42CE-8ED2-628C27723528}">
      <dgm:prSet/>
      <dgm:spPr/>
      <dgm:t>
        <a:bodyPr/>
        <a:lstStyle/>
        <a:p>
          <a:endParaRPr lang="es-ES"/>
        </a:p>
      </dgm:t>
    </dgm:pt>
    <dgm:pt modelId="{DEA5F32C-AAD6-45E1-9BBC-88D13C57DBDB}" type="sibTrans" cxnId="{1CADA44B-9FF5-42CE-8ED2-628C27723528}">
      <dgm:prSet/>
      <dgm:spPr/>
      <dgm:t>
        <a:bodyPr/>
        <a:lstStyle/>
        <a:p>
          <a:endParaRPr lang="es-ES"/>
        </a:p>
      </dgm:t>
    </dgm:pt>
    <dgm:pt modelId="{974D928A-DD77-4628-9357-C3B844D49A8D}">
      <dgm:prSet/>
      <dgm:spPr/>
      <dgm:t>
        <a:bodyPr/>
        <a:lstStyle/>
        <a:p>
          <a:r>
            <a:rPr lang="es-ES" dirty="0"/>
            <a:t>Apuesta en el primer proyecto y ganarás en los siguientes.</a:t>
          </a:r>
        </a:p>
      </dgm:t>
    </dgm:pt>
    <dgm:pt modelId="{CF99834D-972B-459D-9403-1D14AAEACDB1}" type="parTrans" cxnId="{A175D97D-5369-44BC-86F8-F6573F30D3E6}">
      <dgm:prSet/>
      <dgm:spPr/>
      <dgm:t>
        <a:bodyPr/>
        <a:lstStyle/>
        <a:p>
          <a:endParaRPr lang="es-ES"/>
        </a:p>
      </dgm:t>
    </dgm:pt>
    <dgm:pt modelId="{6EDD73C5-01E2-4E35-8C89-D1FF4555BD54}" type="sibTrans" cxnId="{A175D97D-5369-44BC-86F8-F6573F30D3E6}">
      <dgm:prSet/>
      <dgm:spPr/>
      <dgm:t>
        <a:bodyPr/>
        <a:lstStyle/>
        <a:p>
          <a:endParaRPr lang="es-ES"/>
        </a:p>
      </dgm:t>
    </dgm:pt>
    <dgm:pt modelId="{8C608587-A64B-4630-958A-80DE262FE034}">
      <dgm:prSet/>
      <dgm:spPr/>
      <dgm:t>
        <a:bodyPr/>
        <a:lstStyle/>
        <a:p>
          <a:r>
            <a:rPr lang="es-ES" dirty="0">
              <a:solidFill>
                <a:schemeClr val="bg1"/>
              </a:solidFill>
            </a:rPr>
            <a:t>Te están usando para aprender?</a:t>
          </a:r>
        </a:p>
      </dgm:t>
    </dgm:pt>
    <dgm:pt modelId="{6AA479AA-6C4D-4394-B3B2-DFFFEAAD4CBF}" type="parTrans" cxnId="{BF1C2D16-56FD-444E-838E-3011DDAF1DEA}">
      <dgm:prSet/>
      <dgm:spPr/>
      <dgm:t>
        <a:bodyPr/>
        <a:lstStyle/>
        <a:p>
          <a:endParaRPr lang="es-ES"/>
        </a:p>
      </dgm:t>
    </dgm:pt>
    <dgm:pt modelId="{7480F5D6-2E6C-485F-B14B-DC7A2684E403}" type="sibTrans" cxnId="{BF1C2D16-56FD-444E-838E-3011DDAF1DEA}">
      <dgm:prSet/>
      <dgm:spPr/>
      <dgm:t>
        <a:bodyPr/>
        <a:lstStyle/>
        <a:p>
          <a:endParaRPr lang="es-ES"/>
        </a:p>
      </dgm:t>
    </dgm:pt>
    <dgm:pt modelId="{4B5C256C-E8C9-439B-857C-266E9276672A}" type="pres">
      <dgm:prSet presAssocID="{7E33FFB1-A849-461E-BD21-5BC0CF512A01}" presName="linear" presStyleCnt="0">
        <dgm:presLayoutVars>
          <dgm:dir/>
          <dgm:animLvl val="lvl"/>
          <dgm:resizeHandles val="exact"/>
        </dgm:presLayoutVars>
      </dgm:prSet>
      <dgm:spPr/>
    </dgm:pt>
    <dgm:pt modelId="{33373901-135C-4734-918E-CE305C1E769C}" type="pres">
      <dgm:prSet presAssocID="{D8C89B92-CC91-4A31-B38D-D82E64DEBE95}" presName="parentLin" presStyleCnt="0"/>
      <dgm:spPr/>
    </dgm:pt>
    <dgm:pt modelId="{94FA5762-08AD-48E1-B13C-A7AE63A49514}" type="pres">
      <dgm:prSet presAssocID="{D8C89B92-CC91-4A31-B38D-D82E64DEBE95}" presName="parentLeftMargin" presStyleLbl="node1" presStyleIdx="0" presStyleCnt="6"/>
      <dgm:spPr/>
    </dgm:pt>
    <dgm:pt modelId="{AA81AC47-F138-4560-BB5B-CCE9F4A7E16B}" type="pres">
      <dgm:prSet presAssocID="{D8C89B92-CC91-4A31-B38D-D82E64DEBE95}" presName="parentText" presStyleLbl="node1" presStyleIdx="0" presStyleCnt="6">
        <dgm:presLayoutVars>
          <dgm:chMax val="0"/>
          <dgm:bulletEnabled val="1"/>
        </dgm:presLayoutVars>
      </dgm:prSet>
      <dgm:spPr/>
    </dgm:pt>
    <dgm:pt modelId="{76A87BCF-D044-445D-B2D9-AFE589AE8DB0}" type="pres">
      <dgm:prSet presAssocID="{D8C89B92-CC91-4A31-B38D-D82E64DEBE95}" presName="negativeSpace" presStyleCnt="0"/>
      <dgm:spPr/>
    </dgm:pt>
    <dgm:pt modelId="{AB40BDC9-94CA-4445-9076-25D935A333B2}" type="pres">
      <dgm:prSet presAssocID="{D8C89B92-CC91-4A31-B38D-D82E64DEBE95}" presName="childText" presStyleLbl="conFgAcc1" presStyleIdx="0" presStyleCnt="6">
        <dgm:presLayoutVars>
          <dgm:bulletEnabled val="1"/>
        </dgm:presLayoutVars>
      </dgm:prSet>
      <dgm:spPr/>
    </dgm:pt>
    <dgm:pt modelId="{41C61169-CE6A-4CE9-B56E-DB4B7C91409F}" type="pres">
      <dgm:prSet presAssocID="{808C6106-D852-4E57-BCA5-2E9B19454B7A}" presName="spaceBetweenRectangles" presStyleCnt="0"/>
      <dgm:spPr/>
    </dgm:pt>
    <dgm:pt modelId="{7F8D1BE5-BD0A-48C6-8377-2E68F1A08ADA}" type="pres">
      <dgm:prSet presAssocID="{AC5A6833-3099-4EFC-92EF-F36A2FEB916E}" presName="parentLin" presStyleCnt="0"/>
      <dgm:spPr/>
    </dgm:pt>
    <dgm:pt modelId="{346C247A-3BA9-4645-BCF5-46BAE77FCE88}" type="pres">
      <dgm:prSet presAssocID="{AC5A6833-3099-4EFC-92EF-F36A2FEB916E}" presName="parentLeftMargin" presStyleLbl="node1" presStyleIdx="0" presStyleCnt="6"/>
      <dgm:spPr/>
    </dgm:pt>
    <dgm:pt modelId="{9990C9C8-B140-4BEE-BF88-C4327A84EA38}" type="pres">
      <dgm:prSet presAssocID="{AC5A6833-3099-4EFC-92EF-F36A2FEB916E}" presName="parentText" presStyleLbl="node1" presStyleIdx="1" presStyleCnt="6">
        <dgm:presLayoutVars>
          <dgm:chMax val="0"/>
          <dgm:bulletEnabled val="1"/>
        </dgm:presLayoutVars>
      </dgm:prSet>
      <dgm:spPr/>
    </dgm:pt>
    <dgm:pt modelId="{1796DF4D-9BE2-403B-9F1C-4962AB8F43F0}" type="pres">
      <dgm:prSet presAssocID="{AC5A6833-3099-4EFC-92EF-F36A2FEB916E}" presName="negativeSpace" presStyleCnt="0"/>
      <dgm:spPr/>
    </dgm:pt>
    <dgm:pt modelId="{8A7325DF-A645-4358-8DE9-E637ACFB9635}" type="pres">
      <dgm:prSet presAssocID="{AC5A6833-3099-4EFC-92EF-F36A2FEB916E}" presName="childText" presStyleLbl="conFgAcc1" presStyleIdx="1" presStyleCnt="6">
        <dgm:presLayoutVars>
          <dgm:bulletEnabled val="1"/>
        </dgm:presLayoutVars>
      </dgm:prSet>
      <dgm:spPr/>
    </dgm:pt>
    <dgm:pt modelId="{C247D3E9-4404-4BAD-8034-BB81BDCAF832}" type="pres">
      <dgm:prSet presAssocID="{A8CF2080-0E92-4D0E-8396-8D7C1FB4373B}" presName="spaceBetweenRectangles" presStyleCnt="0"/>
      <dgm:spPr/>
    </dgm:pt>
    <dgm:pt modelId="{69EFC4AF-938A-4CDB-B46B-3709EB9DCB10}" type="pres">
      <dgm:prSet presAssocID="{E43EF23A-3200-4E18-BBE6-02C37F78C73E}" presName="parentLin" presStyleCnt="0"/>
      <dgm:spPr/>
    </dgm:pt>
    <dgm:pt modelId="{16CC3EB8-3872-4EC6-BB80-50576FFE8B70}" type="pres">
      <dgm:prSet presAssocID="{E43EF23A-3200-4E18-BBE6-02C37F78C73E}" presName="parentLeftMargin" presStyleLbl="node1" presStyleIdx="1" presStyleCnt="6"/>
      <dgm:spPr/>
    </dgm:pt>
    <dgm:pt modelId="{12FDBE01-C8C5-4A4B-8A94-B7D04CEA3EE8}" type="pres">
      <dgm:prSet presAssocID="{E43EF23A-3200-4E18-BBE6-02C37F78C73E}" presName="parentText" presStyleLbl="node1" presStyleIdx="2" presStyleCnt="6">
        <dgm:presLayoutVars>
          <dgm:chMax val="0"/>
          <dgm:bulletEnabled val="1"/>
        </dgm:presLayoutVars>
      </dgm:prSet>
      <dgm:spPr/>
    </dgm:pt>
    <dgm:pt modelId="{E44B8163-E4CF-438A-AE56-B8B4A5863E00}" type="pres">
      <dgm:prSet presAssocID="{E43EF23A-3200-4E18-BBE6-02C37F78C73E}" presName="negativeSpace" presStyleCnt="0"/>
      <dgm:spPr/>
    </dgm:pt>
    <dgm:pt modelId="{C6206B94-3F37-42E2-AC6E-3BC461E65303}" type="pres">
      <dgm:prSet presAssocID="{E43EF23A-3200-4E18-BBE6-02C37F78C73E}" presName="childText" presStyleLbl="conFgAcc1" presStyleIdx="2" presStyleCnt="6">
        <dgm:presLayoutVars>
          <dgm:bulletEnabled val="1"/>
        </dgm:presLayoutVars>
      </dgm:prSet>
      <dgm:spPr/>
    </dgm:pt>
    <dgm:pt modelId="{C21C16A6-A87C-43EC-BBB4-EAF81A1B2AE8}" type="pres">
      <dgm:prSet presAssocID="{5B2C12B7-AACA-4BE2-9D61-C981104CE249}" presName="spaceBetweenRectangles" presStyleCnt="0"/>
      <dgm:spPr/>
    </dgm:pt>
    <dgm:pt modelId="{11031455-5BA3-4B35-987E-3CC1822E139B}" type="pres">
      <dgm:prSet presAssocID="{1C1E9C5C-9DA5-4E7B-91FD-991D3FDF872B}" presName="parentLin" presStyleCnt="0"/>
      <dgm:spPr/>
    </dgm:pt>
    <dgm:pt modelId="{ECFF496B-CBE5-4DB2-95A8-5DAE7E4BCD1C}" type="pres">
      <dgm:prSet presAssocID="{1C1E9C5C-9DA5-4E7B-91FD-991D3FDF872B}" presName="parentLeftMargin" presStyleLbl="node1" presStyleIdx="2" presStyleCnt="6"/>
      <dgm:spPr/>
    </dgm:pt>
    <dgm:pt modelId="{5C9D1A18-E1B8-4CA5-A15A-33A7035090B4}" type="pres">
      <dgm:prSet presAssocID="{1C1E9C5C-9DA5-4E7B-91FD-991D3FDF872B}" presName="parentText" presStyleLbl="node1" presStyleIdx="3" presStyleCnt="6">
        <dgm:presLayoutVars>
          <dgm:chMax val="0"/>
          <dgm:bulletEnabled val="1"/>
        </dgm:presLayoutVars>
      </dgm:prSet>
      <dgm:spPr/>
    </dgm:pt>
    <dgm:pt modelId="{1E6AF580-BFB4-416D-BF92-76122239FFFA}" type="pres">
      <dgm:prSet presAssocID="{1C1E9C5C-9DA5-4E7B-91FD-991D3FDF872B}" presName="negativeSpace" presStyleCnt="0"/>
      <dgm:spPr/>
    </dgm:pt>
    <dgm:pt modelId="{E3709FF3-6BB2-4ABD-9659-51843D0F0558}" type="pres">
      <dgm:prSet presAssocID="{1C1E9C5C-9DA5-4E7B-91FD-991D3FDF872B}" presName="childText" presStyleLbl="conFgAcc1" presStyleIdx="3" presStyleCnt="6">
        <dgm:presLayoutVars>
          <dgm:bulletEnabled val="1"/>
        </dgm:presLayoutVars>
      </dgm:prSet>
      <dgm:spPr/>
    </dgm:pt>
    <dgm:pt modelId="{827CFD5B-CEA4-4317-81B3-3A8D67D110BF}" type="pres">
      <dgm:prSet presAssocID="{2F1EDC9A-E255-4CE7-A0DC-0137AF795F89}" presName="spaceBetweenRectangles" presStyleCnt="0"/>
      <dgm:spPr/>
    </dgm:pt>
    <dgm:pt modelId="{61669649-8388-4532-8790-1A21345251FF}" type="pres">
      <dgm:prSet presAssocID="{198CBF54-F213-469D-BA31-2A5036F67910}" presName="parentLin" presStyleCnt="0"/>
      <dgm:spPr/>
    </dgm:pt>
    <dgm:pt modelId="{9A16E2ED-596A-4EFB-9B21-93AB54807E96}" type="pres">
      <dgm:prSet presAssocID="{198CBF54-F213-469D-BA31-2A5036F67910}" presName="parentLeftMargin" presStyleLbl="node1" presStyleIdx="3" presStyleCnt="6"/>
      <dgm:spPr/>
    </dgm:pt>
    <dgm:pt modelId="{E756DD00-E692-409F-8F9B-445B4B1D0438}" type="pres">
      <dgm:prSet presAssocID="{198CBF54-F213-469D-BA31-2A5036F67910}" presName="parentText" presStyleLbl="node1" presStyleIdx="4" presStyleCnt="6">
        <dgm:presLayoutVars>
          <dgm:chMax val="0"/>
          <dgm:bulletEnabled val="1"/>
        </dgm:presLayoutVars>
      </dgm:prSet>
      <dgm:spPr/>
    </dgm:pt>
    <dgm:pt modelId="{13A4B6E8-AE8D-4DEA-8914-BEB8362D0F05}" type="pres">
      <dgm:prSet presAssocID="{198CBF54-F213-469D-BA31-2A5036F67910}" presName="negativeSpace" presStyleCnt="0"/>
      <dgm:spPr/>
    </dgm:pt>
    <dgm:pt modelId="{F1A847D4-2130-42DB-A8C2-AB60A9B746C5}" type="pres">
      <dgm:prSet presAssocID="{198CBF54-F213-469D-BA31-2A5036F67910}" presName="childText" presStyleLbl="conFgAcc1" presStyleIdx="4" presStyleCnt="6">
        <dgm:presLayoutVars>
          <dgm:bulletEnabled val="1"/>
        </dgm:presLayoutVars>
      </dgm:prSet>
      <dgm:spPr/>
    </dgm:pt>
    <dgm:pt modelId="{375F3DD6-A76D-42D8-997A-DD6D84B36640}" type="pres">
      <dgm:prSet presAssocID="{73ACB0F2-2A89-4A11-A26C-B004C2239F2D}" presName="spaceBetweenRectangles" presStyleCnt="0"/>
      <dgm:spPr/>
    </dgm:pt>
    <dgm:pt modelId="{6A8D806E-AF14-492E-B9D4-2E7C978B87B2}" type="pres">
      <dgm:prSet presAssocID="{8C608587-A64B-4630-958A-80DE262FE034}" presName="parentLin" presStyleCnt="0"/>
      <dgm:spPr/>
    </dgm:pt>
    <dgm:pt modelId="{87F82BB2-8D10-484C-BE38-0B3933388FB4}" type="pres">
      <dgm:prSet presAssocID="{8C608587-A64B-4630-958A-80DE262FE034}" presName="parentLeftMargin" presStyleLbl="node1" presStyleIdx="4" presStyleCnt="6"/>
      <dgm:spPr/>
    </dgm:pt>
    <dgm:pt modelId="{4CF44BE8-06AD-4F5D-AFA5-F41A61244D25}" type="pres">
      <dgm:prSet presAssocID="{8C608587-A64B-4630-958A-80DE262FE034}" presName="parentText" presStyleLbl="node1" presStyleIdx="5" presStyleCnt="6">
        <dgm:presLayoutVars>
          <dgm:chMax val="0"/>
          <dgm:bulletEnabled val="1"/>
        </dgm:presLayoutVars>
      </dgm:prSet>
      <dgm:spPr/>
    </dgm:pt>
    <dgm:pt modelId="{322363C7-A527-4C89-BA49-02FB78BE19F4}" type="pres">
      <dgm:prSet presAssocID="{8C608587-A64B-4630-958A-80DE262FE034}" presName="negativeSpace" presStyleCnt="0"/>
      <dgm:spPr/>
    </dgm:pt>
    <dgm:pt modelId="{C896B6D4-F6CD-44CC-B915-841D38FAFC75}" type="pres">
      <dgm:prSet presAssocID="{8C608587-A64B-4630-958A-80DE262FE034}" presName="childText" presStyleLbl="conFgAcc1" presStyleIdx="5" presStyleCnt="6">
        <dgm:presLayoutVars>
          <dgm:bulletEnabled val="1"/>
        </dgm:presLayoutVars>
      </dgm:prSet>
      <dgm:spPr/>
    </dgm:pt>
  </dgm:ptLst>
  <dgm:cxnLst>
    <dgm:cxn modelId="{7F2A8009-B00D-4C7E-A263-4DDC1C509F3F}" type="presOf" srcId="{8C608587-A64B-4630-958A-80DE262FE034}" destId="{4CF44BE8-06AD-4F5D-AFA5-F41A61244D25}" srcOrd="1" destOrd="0" presId="urn:microsoft.com/office/officeart/2005/8/layout/list1"/>
    <dgm:cxn modelId="{B62EAD0B-70E1-4C94-92B0-E1AF88762EE6}" type="presOf" srcId="{D8C89B92-CC91-4A31-B38D-D82E64DEBE95}" destId="{AA81AC47-F138-4560-BB5B-CCE9F4A7E16B}" srcOrd="1" destOrd="0" presId="urn:microsoft.com/office/officeart/2005/8/layout/list1"/>
    <dgm:cxn modelId="{BF1C2D16-56FD-444E-838E-3011DDAF1DEA}" srcId="{7E33FFB1-A849-461E-BD21-5BC0CF512A01}" destId="{8C608587-A64B-4630-958A-80DE262FE034}" srcOrd="5" destOrd="0" parTransId="{6AA479AA-6C4D-4394-B3B2-DFFFEAAD4CBF}" sibTransId="{7480F5D6-2E6C-485F-B14B-DC7A2684E403}"/>
    <dgm:cxn modelId="{C87BA61B-2501-4DE6-BEB6-E9C093D2B07B}" type="presOf" srcId="{198CBF54-F213-469D-BA31-2A5036F67910}" destId="{9A16E2ED-596A-4EFB-9B21-93AB54807E96}" srcOrd="0" destOrd="0" presId="urn:microsoft.com/office/officeart/2005/8/layout/list1"/>
    <dgm:cxn modelId="{133FA721-3E96-4D8C-812A-D3D05CA12DDA}" type="presOf" srcId="{D8C89B92-CC91-4A31-B38D-D82E64DEBE95}" destId="{94FA5762-08AD-48E1-B13C-A7AE63A49514}" srcOrd="0" destOrd="0" presId="urn:microsoft.com/office/officeart/2005/8/layout/list1"/>
    <dgm:cxn modelId="{07827F37-0684-4348-B985-810ECFD333B5}" srcId="{7E33FFB1-A849-461E-BD21-5BC0CF512A01}" destId="{1C1E9C5C-9DA5-4E7B-91FD-991D3FDF872B}" srcOrd="3" destOrd="0" parTransId="{6D277EE7-6BD4-4B17-816A-57BBBA3E81B3}" sibTransId="{2F1EDC9A-E255-4CE7-A0DC-0137AF795F89}"/>
    <dgm:cxn modelId="{18FEFD3B-55C4-4180-BBF3-D4A5E11F9207}" type="presOf" srcId="{8C608587-A64B-4630-958A-80DE262FE034}" destId="{87F82BB2-8D10-484C-BE38-0B3933388FB4}" srcOrd="0" destOrd="0" presId="urn:microsoft.com/office/officeart/2005/8/layout/list1"/>
    <dgm:cxn modelId="{F3285F60-A62C-45ED-AE47-57408C41CEF9}" srcId="{7E33FFB1-A849-461E-BD21-5BC0CF512A01}" destId="{E43EF23A-3200-4E18-BBE6-02C37F78C73E}" srcOrd="2" destOrd="0" parTransId="{6B37F50B-DE1F-4D51-B99D-1AAAAF4B1981}" sibTransId="{5B2C12B7-AACA-4BE2-9D61-C981104CE249}"/>
    <dgm:cxn modelId="{5B2B9463-47E0-4E97-A7F4-93635DEEAB52}" type="presOf" srcId="{7E33FFB1-A849-461E-BD21-5BC0CF512A01}" destId="{4B5C256C-E8C9-439B-857C-266E9276672A}" srcOrd="0" destOrd="0" presId="urn:microsoft.com/office/officeart/2005/8/layout/list1"/>
    <dgm:cxn modelId="{1CADA44B-9FF5-42CE-8ED2-628C27723528}" srcId="{198CBF54-F213-469D-BA31-2A5036F67910}" destId="{34B41CE4-8231-4FA2-B498-9AC96D50AEFF}" srcOrd="0" destOrd="0" parTransId="{BE5ACA1C-1B19-45FD-8452-77F321509670}" sibTransId="{DEA5F32C-AAD6-45E1-9BBC-88D13C57DBDB}"/>
    <dgm:cxn modelId="{3185654D-3649-4997-807E-A75E4235AD43}" type="presOf" srcId="{AC5A6833-3099-4EFC-92EF-F36A2FEB916E}" destId="{9990C9C8-B140-4BEE-BF88-C4327A84EA38}" srcOrd="1" destOrd="0" presId="urn:microsoft.com/office/officeart/2005/8/layout/list1"/>
    <dgm:cxn modelId="{96F2FB50-3C72-401D-8403-97753903E7F7}" type="presOf" srcId="{AC5A6833-3099-4EFC-92EF-F36A2FEB916E}" destId="{346C247A-3BA9-4645-BCF5-46BAE77FCE88}" srcOrd="0" destOrd="0" presId="urn:microsoft.com/office/officeart/2005/8/layout/list1"/>
    <dgm:cxn modelId="{7A3C6055-9EC9-47D1-BDBA-4E54041882DB}" type="presOf" srcId="{1C1E9C5C-9DA5-4E7B-91FD-991D3FDF872B}" destId="{5C9D1A18-E1B8-4CA5-A15A-33A7035090B4}" srcOrd="1" destOrd="0" presId="urn:microsoft.com/office/officeart/2005/8/layout/list1"/>
    <dgm:cxn modelId="{EA179377-290D-4578-AAE2-8E199DA6AC8D}" type="presOf" srcId="{974D928A-DD77-4628-9357-C3B844D49A8D}" destId="{F1A847D4-2130-42DB-A8C2-AB60A9B746C5}" srcOrd="0" destOrd="1" presId="urn:microsoft.com/office/officeart/2005/8/layout/list1"/>
    <dgm:cxn modelId="{9A167E78-406E-4209-9510-6296231D9D06}" type="presOf" srcId="{E43EF23A-3200-4E18-BBE6-02C37F78C73E}" destId="{16CC3EB8-3872-4EC6-BB80-50576FFE8B70}" srcOrd="0" destOrd="0" presId="urn:microsoft.com/office/officeart/2005/8/layout/list1"/>
    <dgm:cxn modelId="{A175D97D-5369-44BC-86F8-F6573F30D3E6}" srcId="{198CBF54-F213-469D-BA31-2A5036F67910}" destId="{974D928A-DD77-4628-9357-C3B844D49A8D}" srcOrd="1" destOrd="0" parTransId="{CF99834D-972B-459D-9403-1D14AAEACDB1}" sibTransId="{6EDD73C5-01E2-4E35-8C89-D1FF4555BD54}"/>
    <dgm:cxn modelId="{E99A2880-ACAD-4A5F-8FE1-AFAA6928F675}" srcId="{7E33FFB1-A849-461E-BD21-5BC0CF512A01}" destId="{198CBF54-F213-469D-BA31-2A5036F67910}" srcOrd="4" destOrd="0" parTransId="{2204C083-0998-4060-B503-B41048A11786}" sibTransId="{73ACB0F2-2A89-4A11-A26C-B004C2239F2D}"/>
    <dgm:cxn modelId="{2B5D9C91-5B6C-4D9E-A7B8-C1F6EDB0906A}" type="presOf" srcId="{1C1E9C5C-9DA5-4E7B-91FD-991D3FDF872B}" destId="{ECFF496B-CBE5-4DB2-95A8-5DAE7E4BCD1C}" srcOrd="0" destOrd="0" presId="urn:microsoft.com/office/officeart/2005/8/layout/list1"/>
    <dgm:cxn modelId="{F13AB496-53E4-4A10-A6BF-DE6DBB7673B0}" type="presOf" srcId="{34B41CE4-8231-4FA2-B498-9AC96D50AEFF}" destId="{F1A847D4-2130-42DB-A8C2-AB60A9B746C5}" srcOrd="0" destOrd="0" presId="urn:microsoft.com/office/officeart/2005/8/layout/list1"/>
    <dgm:cxn modelId="{7454F199-3E52-4424-BFE6-CCEF657AAE05}" type="presOf" srcId="{E43EF23A-3200-4E18-BBE6-02C37F78C73E}" destId="{12FDBE01-C8C5-4A4B-8A94-B7D04CEA3EE8}" srcOrd="1" destOrd="0" presId="urn:microsoft.com/office/officeart/2005/8/layout/list1"/>
    <dgm:cxn modelId="{B39ABDAA-BB10-43B7-A699-64CABBCBDE07}" type="presOf" srcId="{198CBF54-F213-469D-BA31-2A5036F67910}" destId="{E756DD00-E692-409F-8F9B-445B4B1D0438}" srcOrd="1" destOrd="0" presId="urn:microsoft.com/office/officeart/2005/8/layout/list1"/>
    <dgm:cxn modelId="{D19AF6AF-804B-40DE-919C-467F6E282212}" srcId="{7E33FFB1-A849-461E-BD21-5BC0CF512A01}" destId="{D8C89B92-CC91-4A31-B38D-D82E64DEBE95}" srcOrd="0" destOrd="0" parTransId="{0B17638C-4992-4C25-8EE4-F2F4133F026D}" sibTransId="{808C6106-D852-4E57-BCA5-2E9B19454B7A}"/>
    <dgm:cxn modelId="{F32820E0-44B6-4135-8D41-6C4F4D94AB53}" srcId="{7E33FFB1-A849-461E-BD21-5BC0CF512A01}" destId="{AC5A6833-3099-4EFC-92EF-F36A2FEB916E}" srcOrd="1" destOrd="0" parTransId="{1AF3681C-3456-41F7-B165-60FCAC4FE71B}" sibTransId="{A8CF2080-0E92-4D0E-8396-8D7C1FB4373B}"/>
    <dgm:cxn modelId="{D21AB9B0-922E-41AF-82A3-F470A633C606}" type="presParOf" srcId="{4B5C256C-E8C9-439B-857C-266E9276672A}" destId="{33373901-135C-4734-918E-CE305C1E769C}" srcOrd="0" destOrd="0" presId="urn:microsoft.com/office/officeart/2005/8/layout/list1"/>
    <dgm:cxn modelId="{737AEEDA-99B2-46D7-8958-0C097EBC2A7B}" type="presParOf" srcId="{33373901-135C-4734-918E-CE305C1E769C}" destId="{94FA5762-08AD-48E1-B13C-A7AE63A49514}" srcOrd="0" destOrd="0" presId="urn:microsoft.com/office/officeart/2005/8/layout/list1"/>
    <dgm:cxn modelId="{3A892A12-B763-4D58-A458-E4411308D66E}" type="presParOf" srcId="{33373901-135C-4734-918E-CE305C1E769C}" destId="{AA81AC47-F138-4560-BB5B-CCE9F4A7E16B}" srcOrd="1" destOrd="0" presId="urn:microsoft.com/office/officeart/2005/8/layout/list1"/>
    <dgm:cxn modelId="{5ED5507C-8764-4A00-8F1A-5777E3ECD52D}" type="presParOf" srcId="{4B5C256C-E8C9-439B-857C-266E9276672A}" destId="{76A87BCF-D044-445D-B2D9-AFE589AE8DB0}" srcOrd="1" destOrd="0" presId="urn:microsoft.com/office/officeart/2005/8/layout/list1"/>
    <dgm:cxn modelId="{2EB74B0D-9411-4AA6-B32D-595895FC8440}" type="presParOf" srcId="{4B5C256C-E8C9-439B-857C-266E9276672A}" destId="{AB40BDC9-94CA-4445-9076-25D935A333B2}" srcOrd="2" destOrd="0" presId="urn:microsoft.com/office/officeart/2005/8/layout/list1"/>
    <dgm:cxn modelId="{13389AE5-1187-4597-ABF1-AC8E58EDE18C}" type="presParOf" srcId="{4B5C256C-E8C9-439B-857C-266E9276672A}" destId="{41C61169-CE6A-4CE9-B56E-DB4B7C91409F}" srcOrd="3" destOrd="0" presId="urn:microsoft.com/office/officeart/2005/8/layout/list1"/>
    <dgm:cxn modelId="{4B32F585-7180-4DEB-B4F1-D3F68104B26C}" type="presParOf" srcId="{4B5C256C-E8C9-439B-857C-266E9276672A}" destId="{7F8D1BE5-BD0A-48C6-8377-2E68F1A08ADA}" srcOrd="4" destOrd="0" presId="urn:microsoft.com/office/officeart/2005/8/layout/list1"/>
    <dgm:cxn modelId="{1AAD6B05-598C-4BB9-9611-89CD21B38AA0}" type="presParOf" srcId="{7F8D1BE5-BD0A-48C6-8377-2E68F1A08ADA}" destId="{346C247A-3BA9-4645-BCF5-46BAE77FCE88}" srcOrd="0" destOrd="0" presId="urn:microsoft.com/office/officeart/2005/8/layout/list1"/>
    <dgm:cxn modelId="{8E1D0E60-3D77-4C63-B7D5-CCA5F99779A1}" type="presParOf" srcId="{7F8D1BE5-BD0A-48C6-8377-2E68F1A08ADA}" destId="{9990C9C8-B140-4BEE-BF88-C4327A84EA38}" srcOrd="1" destOrd="0" presId="urn:microsoft.com/office/officeart/2005/8/layout/list1"/>
    <dgm:cxn modelId="{1A8B3DE4-039E-4A09-BC7F-9C8E0F6B0DF9}" type="presParOf" srcId="{4B5C256C-E8C9-439B-857C-266E9276672A}" destId="{1796DF4D-9BE2-403B-9F1C-4962AB8F43F0}" srcOrd="5" destOrd="0" presId="urn:microsoft.com/office/officeart/2005/8/layout/list1"/>
    <dgm:cxn modelId="{3969921E-DBF3-4FB1-8FEB-D13C6A2BD3CE}" type="presParOf" srcId="{4B5C256C-E8C9-439B-857C-266E9276672A}" destId="{8A7325DF-A645-4358-8DE9-E637ACFB9635}" srcOrd="6" destOrd="0" presId="urn:microsoft.com/office/officeart/2005/8/layout/list1"/>
    <dgm:cxn modelId="{2B09E868-60A8-441A-9BBE-FD64C9767655}" type="presParOf" srcId="{4B5C256C-E8C9-439B-857C-266E9276672A}" destId="{C247D3E9-4404-4BAD-8034-BB81BDCAF832}" srcOrd="7" destOrd="0" presId="urn:microsoft.com/office/officeart/2005/8/layout/list1"/>
    <dgm:cxn modelId="{489C3680-B1A8-43EE-A0CD-9ECC91091554}" type="presParOf" srcId="{4B5C256C-E8C9-439B-857C-266E9276672A}" destId="{69EFC4AF-938A-4CDB-B46B-3709EB9DCB10}" srcOrd="8" destOrd="0" presId="urn:microsoft.com/office/officeart/2005/8/layout/list1"/>
    <dgm:cxn modelId="{546765F5-5B66-47C1-BEE3-044BE746563B}" type="presParOf" srcId="{69EFC4AF-938A-4CDB-B46B-3709EB9DCB10}" destId="{16CC3EB8-3872-4EC6-BB80-50576FFE8B70}" srcOrd="0" destOrd="0" presId="urn:microsoft.com/office/officeart/2005/8/layout/list1"/>
    <dgm:cxn modelId="{DEDE5715-6A15-4C7A-A687-A4A981139C28}" type="presParOf" srcId="{69EFC4AF-938A-4CDB-B46B-3709EB9DCB10}" destId="{12FDBE01-C8C5-4A4B-8A94-B7D04CEA3EE8}" srcOrd="1" destOrd="0" presId="urn:microsoft.com/office/officeart/2005/8/layout/list1"/>
    <dgm:cxn modelId="{46C45B23-DB41-4389-A9DE-1BD93A9AC25E}" type="presParOf" srcId="{4B5C256C-E8C9-439B-857C-266E9276672A}" destId="{E44B8163-E4CF-438A-AE56-B8B4A5863E00}" srcOrd="9" destOrd="0" presId="urn:microsoft.com/office/officeart/2005/8/layout/list1"/>
    <dgm:cxn modelId="{1E0D012C-5370-4566-BD3B-122C5E0B1987}" type="presParOf" srcId="{4B5C256C-E8C9-439B-857C-266E9276672A}" destId="{C6206B94-3F37-42E2-AC6E-3BC461E65303}" srcOrd="10" destOrd="0" presId="urn:microsoft.com/office/officeart/2005/8/layout/list1"/>
    <dgm:cxn modelId="{974946C2-51C1-4D36-9E70-B4155EE0C3DC}" type="presParOf" srcId="{4B5C256C-E8C9-439B-857C-266E9276672A}" destId="{C21C16A6-A87C-43EC-BBB4-EAF81A1B2AE8}" srcOrd="11" destOrd="0" presId="urn:microsoft.com/office/officeart/2005/8/layout/list1"/>
    <dgm:cxn modelId="{8CD8BDA1-ABE2-4BF8-B0A8-F001836E671F}" type="presParOf" srcId="{4B5C256C-E8C9-439B-857C-266E9276672A}" destId="{11031455-5BA3-4B35-987E-3CC1822E139B}" srcOrd="12" destOrd="0" presId="urn:microsoft.com/office/officeart/2005/8/layout/list1"/>
    <dgm:cxn modelId="{27263691-653F-4195-A01B-6859D8FC27CA}" type="presParOf" srcId="{11031455-5BA3-4B35-987E-3CC1822E139B}" destId="{ECFF496B-CBE5-4DB2-95A8-5DAE7E4BCD1C}" srcOrd="0" destOrd="0" presId="urn:microsoft.com/office/officeart/2005/8/layout/list1"/>
    <dgm:cxn modelId="{81EE91CD-5AB0-482B-99FC-636A028C04D4}" type="presParOf" srcId="{11031455-5BA3-4B35-987E-3CC1822E139B}" destId="{5C9D1A18-E1B8-4CA5-A15A-33A7035090B4}" srcOrd="1" destOrd="0" presId="urn:microsoft.com/office/officeart/2005/8/layout/list1"/>
    <dgm:cxn modelId="{31D664D1-7A7D-4D57-9ABA-3C58F481CDE3}" type="presParOf" srcId="{4B5C256C-E8C9-439B-857C-266E9276672A}" destId="{1E6AF580-BFB4-416D-BF92-76122239FFFA}" srcOrd="13" destOrd="0" presId="urn:microsoft.com/office/officeart/2005/8/layout/list1"/>
    <dgm:cxn modelId="{303BE9EA-BE17-47A4-BEFF-F208CFA00951}" type="presParOf" srcId="{4B5C256C-E8C9-439B-857C-266E9276672A}" destId="{E3709FF3-6BB2-4ABD-9659-51843D0F0558}" srcOrd="14" destOrd="0" presId="urn:microsoft.com/office/officeart/2005/8/layout/list1"/>
    <dgm:cxn modelId="{238E64F8-C43E-40F8-90E9-485871794A8E}" type="presParOf" srcId="{4B5C256C-E8C9-439B-857C-266E9276672A}" destId="{827CFD5B-CEA4-4317-81B3-3A8D67D110BF}" srcOrd="15" destOrd="0" presId="urn:microsoft.com/office/officeart/2005/8/layout/list1"/>
    <dgm:cxn modelId="{F3BD4AE8-397D-4F38-9EFF-D5E48D587D94}" type="presParOf" srcId="{4B5C256C-E8C9-439B-857C-266E9276672A}" destId="{61669649-8388-4532-8790-1A21345251FF}" srcOrd="16" destOrd="0" presId="urn:microsoft.com/office/officeart/2005/8/layout/list1"/>
    <dgm:cxn modelId="{067CDEB6-B70E-484D-90DB-94080B8A71E4}" type="presParOf" srcId="{61669649-8388-4532-8790-1A21345251FF}" destId="{9A16E2ED-596A-4EFB-9B21-93AB54807E96}" srcOrd="0" destOrd="0" presId="urn:microsoft.com/office/officeart/2005/8/layout/list1"/>
    <dgm:cxn modelId="{C0EC2160-649C-4F45-963B-318C262D43AE}" type="presParOf" srcId="{61669649-8388-4532-8790-1A21345251FF}" destId="{E756DD00-E692-409F-8F9B-445B4B1D0438}" srcOrd="1" destOrd="0" presId="urn:microsoft.com/office/officeart/2005/8/layout/list1"/>
    <dgm:cxn modelId="{855D2149-31E7-4241-9BD9-85658881189C}" type="presParOf" srcId="{4B5C256C-E8C9-439B-857C-266E9276672A}" destId="{13A4B6E8-AE8D-4DEA-8914-BEB8362D0F05}" srcOrd="17" destOrd="0" presId="urn:microsoft.com/office/officeart/2005/8/layout/list1"/>
    <dgm:cxn modelId="{841C658B-4AFE-45F4-BC47-49E9B456BC1F}" type="presParOf" srcId="{4B5C256C-E8C9-439B-857C-266E9276672A}" destId="{F1A847D4-2130-42DB-A8C2-AB60A9B746C5}" srcOrd="18" destOrd="0" presId="urn:microsoft.com/office/officeart/2005/8/layout/list1"/>
    <dgm:cxn modelId="{47FABA86-F2CA-47CA-A477-E320210F755E}" type="presParOf" srcId="{4B5C256C-E8C9-439B-857C-266E9276672A}" destId="{375F3DD6-A76D-42D8-997A-DD6D84B36640}" srcOrd="19" destOrd="0" presId="urn:microsoft.com/office/officeart/2005/8/layout/list1"/>
    <dgm:cxn modelId="{C61604C9-DF8F-4870-8742-8D0E86AF0F7E}" type="presParOf" srcId="{4B5C256C-E8C9-439B-857C-266E9276672A}" destId="{6A8D806E-AF14-492E-B9D4-2E7C978B87B2}" srcOrd="20" destOrd="0" presId="urn:microsoft.com/office/officeart/2005/8/layout/list1"/>
    <dgm:cxn modelId="{D9B9FFBA-99E9-43C2-AE85-93953631C0F5}" type="presParOf" srcId="{6A8D806E-AF14-492E-B9D4-2E7C978B87B2}" destId="{87F82BB2-8D10-484C-BE38-0B3933388FB4}" srcOrd="0" destOrd="0" presId="urn:microsoft.com/office/officeart/2005/8/layout/list1"/>
    <dgm:cxn modelId="{9631FE75-9A50-4D80-8FCF-E2866ADD8A30}" type="presParOf" srcId="{6A8D806E-AF14-492E-B9D4-2E7C978B87B2}" destId="{4CF44BE8-06AD-4F5D-AFA5-F41A61244D25}" srcOrd="1" destOrd="0" presId="urn:microsoft.com/office/officeart/2005/8/layout/list1"/>
    <dgm:cxn modelId="{E17A77FA-0A99-4E01-A605-12D37B22699D}" type="presParOf" srcId="{4B5C256C-E8C9-439B-857C-266E9276672A}" destId="{322363C7-A527-4C89-BA49-02FB78BE19F4}" srcOrd="21" destOrd="0" presId="urn:microsoft.com/office/officeart/2005/8/layout/list1"/>
    <dgm:cxn modelId="{71F32C87-0E45-46AE-A523-A84C0AFFAE0C}" type="presParOf" srcId="{4B5C256C-E8C9-439B-857C-266E9276672A}" destId="{C896B6D4-F6CD-44CC-B915-841D38FAFC75}" srcOrd="2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07BAF304-8420-4226-90EE-C3B2697F7096}" type="doc">
      <dgm:prSet loTypeId="urn:microsoft.com/office/officeart/2008/layout/IncreasingCircleProcess" loCatId="process" qsTypeId="urn:microsoft.com/office/officeart/2005/8/quickstyle/simple1" qsCatId="simple" csTypeId="urn:microsoft.com/office/officeart/2005/8/colors/accent1_2" csCatId="accent1" phldr="1"/>
      <dgm:spPr/>
      <dgm:t>
        <a:bodyPr/>
        <a:lstStyle/>
        <a:p>
          <a:endParaRPr lang="es-ES"/>
        </a:p>
      </dgm:t>
    </dgm:pt>
    <dgm:pt modelId="{40E4A411-BC75-4E80-86F9-57CBCD3E77F4}">
      <dgm:prSet phldrT="[Texto]"/>
      <dgm:spPr/>
      <dgm:t>
        <a:bodyPr/>
        <a:lstStyle/>
        <a:p>
          <a:r>
            <a:rPr lang="es-ES" dirty="0"/>
            <a:t>Ya se ha comprado vendido</a:t>
          </a:r>
        </a:p>
      </dgm:t>
    </dgm:pt>
    <dgm:pt modelId="{2361387C-BFEE-4175-ABD2-9E8E614BF410}" type="parTrans" cxnId="{54FAFDAD-2739-475D-9716-8AAA59651478}">
      <dgm:prSet/>
      <dgm:spPr/>
      <dgm:t>
        <a:bodyPr/>
        <a:lstStyle/>
        <a:p>
          <a:endParaRPr lang="es-ES"/>
        </a:p>
      </dgm:t>
    </dgm:pt>
    <dgm:pt modelId="{F0CFC715-EE2F-4647-91A9-65544ABCAD1F}" type="sibTrans" cxnId="{54FAFDAD-2739-475D-9716-8AAA59651478}">
      <dgm:prSet/>
      <dgm:spPr/>
      <dgm:t>
        <a:bodyPr/>
        <a:lstStyle/>
        <a:p>
          <a:endParaRPr lang="es-ES"/>
        </a:p>
      </dgm:t>
    </dgm:pt>
    <dgm:pt modelId="{2C11D0F7-B693-44FE-BB99-EEC6F41173F5}">
      <dgm:prSet phldrT="[Texto]"/>
      <dgm:spPr/>
      <dgm:t>
        <a:bodyPr/>
        <a:lstStyle/>
        <a:p>
          <a:r>
            <a:rPr lang="es-ES" dirty="0"/>
            <a:t>Ahora toca hacerlo</a:t>
          </a:r>
        </a:p>
      </dgm:t>
    </dgm:pt>
    <dgm:pt modelId="{43B1EAC1-F59E-4C52-B4B5-7E61889266FB}" type="parTrans" cxnId="{3C750CB7-BF21-4007-B9BC-4B3950929C39}">
      <dgm:prSet/>
      <dgm:spPr/>
      <dgm:t>
        <a:bodyPr/>
        <a:lstStyle/>
        <a:p>
          <a:endParaRPr lang="es-ES"/>
        </a:p>
      </dgm:t>
    </dgm:pt>
    <dgm:pt modelId="{DEA3BE85-82CF-44A9-9604-4632242DD062}" type="sibTrans" cxnId="{3C750CB7-BF21-4007-B9BC-4B3950929C39}">
      <dgm:prSet/>
      <dgm:spPr/>
      <dgm:t>
        <a:bodyPr/>
        <a:lstStyle/>
        <a:p>
          <a:endParaRPr lang="es-ES"/>
        </a:p>
      </dgm:t>
    </dgm:pt>
    <dgm:pt modelId="{28E4F5B5-E9A4-4805-B4A3-23A504EFAAB5}" type="pres">
      <dgm:prSet presAssocID="{07BAF304-8420-4226-90EE-C3B2697F7096}" presName="Name0" presStyleCnt="0">
        <dgm:presLayoutVars>
          <dgm:chMax val="7"/>
          <dgm:chPref val="7"/>
          <dgm:dir/>
          <dgm:animOne val="branch"/>
          <dgm:animLvl val="lvl"/>
        </dgm:presLayoutVars>
      </dgm:prSet>
      <dgm:spPr/>
    </dgm:pt>
    <dgm:pt modelId="{5B1EF0A4-87BD-4080-B28D-3F91F80DEFBC}" type="pres">
      <dgm:prSet presAssocID="{40E4A411-BC75-4E80-86F9-57CBCD3E77F4}" presName="composite" presStyleCnt="0"/>
      <dgm:spPr/>
    </dgm:pt>
    <dgm:pt modelId="{971A00E4-9970-49C4-9550-C0BB6BA5EAF7}" type="pres">
      <dgm:prSet presAssocID="{40E4A411-BC75-4E80-86F9-57CBCD3E77F4}" presName="BackAccent" presStyleLbl="bgShp" presStyleIdx="0" presStyleCnt="2"/>
      <dgm:spPr/>
    </dgm:pt>
    <dgm:pt modelId="{C3BD54B8-38F6-4091-8CD8-D67686748D23}" type="pres">
      <dgm:prSet presAssocID="{40E4A411-BC75-4E80-86F9-57CBCD3E77F4}" presName="Accent" presStyleLbl="alignNode1" presStyleIdx="0" presStyleCnt="2"/>
      <dgm:spPr/>
    </dgm:pt>
    <dgm:pt modelId="{E8C75900-154F-41FF-BEE1-F187D0508D8A}" type="pres">
      <dgm:prSet presAssocID="{40E4A411-BC75-4E80-86F9-57CBCD3E77F4}" presName="Child" presStyleLbl="revTx" presStyleIdx="0" presStyleCnt="2">
        <dgm:presLayoutVars>
          <dgm:chMax val="0"/>
          <dgm:chPref val="0"/>
          <dgm:bulletEnabled val="1"/>
        </dgm:presLayoutVars>
      </dgm:prSet>
      <dgm:spPr/>
    </dgm:pt>
    <dgm:pt modelId="{BA9544C2-05A0-48CE-B894-884D3E435130}" type="pres">
      <dgm:prSet presAssocID="{40E4A411-BC75-4E80-86F9-57CBCD3E77F4}" presName="Parent" presStyleLbl="revTx" presStyleIdx="0" presStyleCnt="2">
        <dgm:presLayoutVars>
          <dgm:chMax val="1"/>
          <dgm:chPref val="1"/>
          <dgm:bulletEnabled val="1"/>
        </dgm:presLayoutVars>
      </dgm:prSet>
      <dgm:spPr/>
    </dgm:pt>
    <dgm:pt modelId="{5E014D49-E926-413A-B8BF-3E65A3F54CC2}" type="pres">
      <dgm:prSet presAssocID="{F0CFC715-EE2F-4647-91A9-65544ABCAD1F}" presName="sibTrans" presStyleCnt="0"/>
      <dgm:spPr/>
    </dgm:pt>
    <dgm:pt modelId="{B2E372CB-0462-498C-AF79-FB61358F9861}" type="pres">
      <dgm:prSet presAssocID="{2C11D0F7-B693-44FE-BB99-EEC6F41173F5}" presName="composite" presStyleCnt="0"/>
      <dgm:spPr/>
    </dgm:pt>
    <dgm:pt modelId="{869DECCB-1CB2-4DDC-ADB7-79BF47E3D75C}" type="pres">
      <dgm:prSet presAssocID="{2C11D0F7-B693-44FE-BB99-EEC6F41173F5}" presName="BackAccent" presStyleLbl="bgShp" presStyleIdx="1" presStyleCnt="2"/>
      <dgm:spPr/>
    </dgm:pt>
    <dgm:pt modelId="{C86C4551-2926-480A-B953-9D5C983D8C95}" type="pres">
      <dgm:prSet presAssocID="{2C11D0F7-B693-44FE-BB99-EEC6F41173F5}" presName="Accent" presStyleLbl="alignNode1" presStyleIdx="1" presStyleCnt="2"/>
      <dgm:spPr/>
    </dgm:pt>
    <dgm:pt modelId="{C98ED918-4B8E-4749-BF58-22E40F704A82}" type="pres">
      <dgm:prSet presAssocID="{2C11D0F7-B693-44FE-BB99-EEC6F41173F5}" presName="Child" presStyleLbl="revTx" presStyleIdx="0" presStyleCnt="2">
        <dgm:presLayoutVars>
          <dgm:chMax val="0"/>
          <dgm:chPref val="0"/>
          <dgm:bulletEnabled val="1"/>
        </dgm:presLayoutVars>
      </dgm:prSet>
      <dgm:spPr/>
    </dgm:pt>
    <dgm:pt modelId="{04E94F13-2CD9-49C8-B818-26CEBDAD8B27}" type="pres">
      <dgm:prSet presAssocID="{2C11D0F7-B693-44FE-BB99-EEC6F41173F5}" presName="Parent" presStyleLbl="revTx" presStyleIdx="1" presStyleCnt="2">
        <dgm:presLayoutVars>
          <dgm:chMax val="1"/>
          <dgm:chPref val="1"/>
          <dgm:bulletEnabled val="1"/>
        </dgm:presLayoutVars>
      </dgm:prSet>
      <dgm:spPr/>
    </dgm:pt>
  </dgm:ptLst>
  <dgm:cxnLst>
    <dgm:cxn modelId="{7DCA0341-EC76-4B4B-ABF6-73A51F07E6AC}" type="presOf" srcId="{40E4A411-BC75-4E80-86F9-57CBCD3E77F4}" destId="{BA9544C2-05A0-48CE-B894-884D3E435130}" srcOrd="0" destOrd="0" presId="urn:microsoft.com/office/officeart/2008/layout/IncreasingCircleProcess"/>
    <dgm:cxn modelId="{39B46468-1BB3-4445-9FD2-C700C1B1EE65}" type="presOf" srcId="{07BAF304-8420-4226-90EE-C3B2697F7096}" destId="{28E4F5B5-E9A4-4805-B4A3-23A504EFAAB5}" srcOrd="0" destOrd="0" presId="urn:microsoft.com/office/officeart/2008/layout/IncreasingCircleProcess"/>
    <dgm:cxn modelId="{54FAFDAD-2739-475D-9716-8AAA59651478}" srcId="{07BAF304-8420-4226-90EE-C3B2697F7096}" destId="{40E4A411-BC75-4E80-86F9-57CBCD3E77F4}" srcOrd="0" destOrd="0" parTransId="{2361387C-BFEE-4175-ABD2-9E8E614BF410}" sibTransId="{F0CFC715-EE2F-4647-91A9-65544ABCAD1F}"/>
    <dgm:cxn modelId="{3C750CB7-BF21-4007-B9BC-4B3950929C39}" srcId="{07BAF304-8420-4226-90EE-C3B2697F7096}" destId="{2C11D0F7-B693-44FE-BB99-EEC6F41173F5}" srcOrd="1" destOrd="0" parTransId="{43B1EAC1-F59E-4C52-B4B5-7E61889266FB}" sibTransId="{DEA3BE85-82CF-44A9-9604-4632242DD062}"/>
    <dgm:cxn modelId="{DADF18ED-E3D4-48B1-A06B-A54F8BFDF8AC}" type="presOf" srcId="{2C11D0F7-B693-44FE-BB99-EEC6F41173F5}" destId="{04E94F13-2CD9-49C8-B818-26CEBDAD8B27}" srcOrd="0" destOrd="0" presId="urn:microsoft.com/office/officeart/2008/layout/IncreasingCircleProcess"/>
    <dgm:cxn modelId="{1EC305B3-F402-4664-AF01-B80D3289533F}" type="presParOf" srcId="{28E4F5B5-E9A4-4805-B4A3-23A504EFAAB5}" destId="{5B1EF0A4-87BD-4080-B28D-3F91F80DEFBC}" srcOrd="0" destOrd="0" presId="urn:microsoft.com/office/officeart/2008/layout/IncreasingCircleProcess"/>
    <dgm:cxn modelId="{2DDBAE69-989F-43D3-AB6D-2046E6B5C72F}" type="presParOf" srcId="{5B1EF0A4-87BD-4080-B28D-3F91F80DEFBC}" destId="{971A00E4-9970-49C4-9550-C0BB6BA5EAF7}" srcOrd="0" destOrd="0" presId="urn:microsoft.com/office/officeart/2008/layout/IncreasingCircleProcess"/>
    <dgm:cxn modelId="{7888B53E-0108-46B2-9238-93A944A244C8}" type="presParOf" srcId="{5B1EF0A4-87BD-4080-B28D-3F91F80DEFBC}" destId="{C3BD54B8-38F6-4091-8CD8-D67686748D23}" srcOrd="1" destOrd="0" presId="urn:microsoft.com/office/officeart/2008/layout/IncreasingCircleProcess"/>
    <dgm:cxn modelId="{388F64DF-772E-4695-B774-DB631FFE1204}" type="presParOf" srcId="{5B1EF0A4-87BD-4080-B28D-3F91F80DEFBC}" destId="{E8C75900-154F-41FF-BEE1-F187D0508D8A}" srcOrd="2" destOrd="0" presId="urn:microsoft.com/office/officeart/2008/layout/IncreasingCircleProcess"/>
    <dgm:cxn modelId="{D267123A-9C25-4C87-A297-A40DB183B149}" type="presParOf" srcId="{5B1EF0A4-87BD-4080-B28D-3F91F80DEFBC}" destId="{BA9544C2-05A0-48CE-B894-884D3E435130}" srcOrd="3" destOrd="0" presId="urn:microsoft.com/office/officeart/2008/layout/IncreasingCircleProcess"/>
    <dgm:cxn modelId="{EB123490-E4EF-42F0-965E-D119FB0A0EED}" type="presParOf" srcId="{28E4F5B5-E9A4-4805-B4A3-23A504EFAAB5}" destId="{5E014D49-E926-413A-B8BF-3E65A3F54CC2}" srcOrd="1" destOrd="0" presId="urn:microsoft.com/office/officeart/2008/layout/IncreasingCircleProcess"/>
    <dgm:cxn modelId="{7C6527BC-8BC9-4C74-9828-7E25D4469B3A}" type="presParOf" srcId="{28E4F5B5-E9A4-4805-B4A3-23A504EFAAB5}" destId="{B2E372CB-0462-498C-AF79-FB61358F9861}" srcOrd="2" destOrd="0" presId="urn:microsoft.com/office/officeart/2008/layout/IncreasingCircleProcess"/>
    <dgm:cxn modelId="{96038595-06F5-40D7-AA09-194FEFD8EDE3}" type="presParOf" srcId="{B2E372CB-0462-498C-AF79-FB61358F9861}" destId="{869DECCB-1CB2-4DDC-ADB7-79BF47E3D75C}" srcOrd="0" destOrd="0" presId="urn:microsoft.com/office/officeart/2008/layout/IncreasingCircleProcess"/>
    <dgm:cxn modelId="{4D1C080B-4FA3-4514-A029-0BB80551E694}" type="presParOf" srcId="{B2E372CB-0462-498C-AF79-FB61358F9861}" destId="{C86C4551-2926-480A-B953-9D5C983D8C95}" srcOrd="1" destOrd="0" presId="urn:microsoft.com/office/officeart/2008/layout/IncreasingCircleProcess"/>
    <dgm:cxn modelId="{A6D9CA85-161A-450F-9A09-F78D15AB2E1C}" type="presParOf" srcId="{B2E372CB-0462-498C-AF79-FB61358F9861}" destId="{C98ED918-4B8E-4749-BF58-22E40F704A82}" srcOrd="2" destOrd="0" presId="urn:microsoft.com/office/officeart/2008/layout/IncreasingCircleProcess"/>
    <dgm:cxn modelId="{96580976-13D9-4D0E-893A-AE56383778F6}" type="presParOf" srcId="{B2E372CB-0462-498C-AF79-FB61358F9861}" destId="{04E94F13-2CD9-49C8-B818-26CEBDAD8B27}"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4896F0-2C3F-4D3D-A272-AE2BE6B53B6B}">
      <dsp:nvSpPr>
        <dsp:cNvPr id="0" name=""/>
        <dsp:cNvSpPr/>
      </dsp:nvSpPr>
      <dsp:spPr>
        <a:xfrm>
          <a:off x="54" y="58339"/>
          <a:ext cx="5222884" cy="567486"/>
        </a:xfrm>
        <a:prstGeom prst="rect">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s-ES" sz="2400" b="1" kern="1200" dirty="0"/>
            <a:t>Sí es</a:t>
          </a:r>
        </a:p>
      </dsp:txBody>
      <dsp:txXfrm>
        <a:off x="54" y="58339"/>
        <a:ext cx="5222884" cy="567486"/>
      </dsp:txXfrm>
    </dsp:sp>
    <dsp:sp modelId="{262A340E-A6F8-4B73-8040-9C04D5782754}">
      <dsp:nvSpPr>
        <dsp:cNvPr id="0" name=""/>
        <dsp:cNvSpPr/>
      </dsp:nvSpPr>
      <dsp:spPr>
        <a:xfrm>
          <a:off x="54" y="625826"/>
          <a:ext cx="5222884" cy="36563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eaLnBrk="1" latinLnBrk="0">
            <a:lnSpc>
              <a:spcPct val="90000"/>
            </a:lnSpc>
            <a:spcBef>
              <a:spcPct val="0"/>
            </a:spcBef>
            <a:spcAft>
              <a:spcPct val="15000"/>
            </a:spcAft>
            <a:buChar char="•"/>
          </a:pPr>
          <a:r>
            <a:rPr lang="es-ES" sz="1800" kern="1200" dirty="0"/>
            <a:t>Los colaboradores formados y motivados.</a:t>
          </a:r>
        </a:p>
        <a:p>
          <a:pPr marL="171450" lvl="1" indent="-171450" algn="l" defTabSz="800100" eaLnBrk="1" latinLnBrk="0">
            <a:lnSpc>
              <a:spcPct val="90000"/>
            </a:lnSpc>
            <a:spcBef>
              <a:spcPct val="0"/>
            </a:spcBef>
            <a:spcAft>
              <a:spcPct val="15000"/>
            </a:spcAft>
            <a:buChar char="•"/>
          </a:pPr>
          <a:r>
            <a:rPr lang="es-ES" sz="1800" kern="1200" dirty="0"/>
            <a:t>Opera donde está el Cliente / Ciudadano.</a:t>
          </a:r>
        </a:p>
        <a:p>
          <a:pPr marL="171450" lvl="1" indent="-171450" algn="l" defTabSz="800100" eaLnBrk="1" latinLnBrk="0">
            <a:lnSpc>
              <a:spcPct val="90000"/>
            </a:lnSpc>
            <a:spcBef>
              <a:spcPct val="0"/>
            </a:spcBef>
            <a:spcAft>
              <a:spcPct val="15000"/>
            </a:spcAft>
            <a:buChar char="•"/>
          </a:pPr>
          <a:r>
            <a:rPr lang="es-ES" sz="1800" kern="1200" dirty="0"/>
            <a:t>Cuando es necesario.</a:t>
          </a:r>
        </a:p>
        <a:p>
          <a:pPr marL="171450" lvl="1" indent="-171450" algn="l" defTabSz="800100" eaLnBrk="1" latinLnBrk="0">
            <a:lnSpc>
              <a:spcPct val="90000"/>
            </a:lnSpc>
            <a:spcBef>
              <a:spcPct val="0"/>
            </a:spcBef>
            <a:spcAft>
              <a:spcPct val="15000"/>
            </a:spcAft>
            <a:buChar char="•"/>
          </a:pPr>
          <a:r>
            <a:rPr lang="es-ES" sz="1800" kern="1200" dirty="0"/>
            <a:t>Con sus requerimientos.</a:t>
          </a:r>
        </a:p>
        <a:p>
          <a:pPr marL="171450" lvl="1" indent="-171450" algn="l" defTabSz="800100" eaLnBrk="1" latinLnBrk="0">
            <a:lnSpc>
              <a:spcPct val="90000"/>
            </a:lnSpc>
            <a:spcBef>
              <a:spcPct val="0"/>
            </a:spcBef>
            <a:spcAft>
              <a:spcPct val="15000"/>
            </a:spcAft>
            <a:buChar char="•"/>
          </a:pPr>
          <a:r>
            <a:rPr lang="es-ES" sz="1800" kern="1200" dirty="0"/>
            <a:t>Armonizando el mundo físico con el mundo virtual.</a:t>
          </a:r>
        </a:p>
        <a:p>
          <a:pPr marL="171450" lvl="1" indent="-171450" algn="l" defTabSz="800100" eaLnBrk="1" latinLnBrk="0">
            <a:lnSpc>
              <a:spcPct val="90000"/>
            </a:lnSpc>
            <a:spcBef>
              <a:spcPct val="0"/>
            </a:spcBef>
            <a:spcAft>
              <a:spcPct val="15000"/>
            </a:spcAft>
            <a:buChar char="•"/>
          </a:pPr>
          <a:r>
            <a:rPr lang="es-ES" sz="1800" kern="1200" dirty="0"/>
            <a:t>El contacto multicanal y responsive</a:t>
          </a:r>
        </a:p>
        <a:p>
          <a:pPr marL="171450" lvl="1" indent="-171450" algn="l" defTabSz="800100" eaLnBrk="1" latinLnBrk="0">
            <a:lnSpc>
              <a:spcPct val="90000"/>
            </a:lnSpc>
            <a:spcBef>
              <a:spcPct val="0"/>
            </a:spcBef>
            <a:spcAft>
              <a:spcPct val="15000"/>
            </a:spcAft>
            <a:buChar char="•"/>
          </a:pPr>
          <a:r>
            <a:rPr lang="es-ES" sz="1800" kern="1200" dirty="0"/>
            <a:t>Su modelo de negocio está adaptado y vivo. P.ej El Catálogo de productos y servicios</a:t>
          </a:r>
        </a:p>
        <a:p>
          <a:pPr marL="171450" lvl="1" indent="-171450" algn="l" defTabSz="800100" eaLnBrk="1" latinLnBrk="0">
            <a:lnSpc>
              <a:spcPct val="90000"/>
            </a:lnSpc>
            <a:spcBef>
              <a:spcPct val="0"/>
            </a:spcBef>
            <a:spcAft>
              <a:spcPct val="15000"/>
            </a:spcAft>
            <a:buChar char="•"/>
          </a:pPr>
          <a:r>
            <a:rPr lang="es-ES" sz="1800" kern="1200" dirty="0"/>
            <a:t>CX, UX, PX: manteniendo e incluso mejorando la experiencia positiva de las personas Cliente / Ciudadano.</a:t>
          </a:r>
        </a:p>
        <a:p>
          <a:pPr marL="171450" lvl="1" indent="-171450" algn="l" defTabSz="800100">
            <a:lnSpc>
              <a:spcPct val="90000"/>
            </a:lnSpc>
            <a:spcBef>
              <a:spcPct val="0"/>
            </a:spcBef>
            <a:spcAft>
              <a:spcPct val="15000"/>
            </a:spcAft>
            <a:buChar char="•"/>
          </a:pPr>
          <a:endParaRPr lang="es-ES" sz="1800" kern="1200" noProof="0" dirty="0"/>
        </a:p>
      </dsp:txBody>
      <dsp:txXfrm>
        <a:off x="54" y="625826"/>
        <a:ext cx="5222884" cy="3656339"/>
      </dsp:txXfrm>
    </dsp:sp>
    <dsp:sp modelId="{6BD9B9C5-78A7-4E2E-A59D-8F8914474A88}">
      <dsp:nvSpPr>
        <dsp:cNvPr id="0" name=""/>
        <dsp:cNvSpPr/>
      </dsp:nvSpPr>
      <dsp:spPr>
        <a:xfrm>
          <a:off x="5954142" y="58339"/>
          <a:ext cx="5222884" cy="567486"/>
        </a:xfrm>
        <a:prstGeom prst="rect">
          <a:avLst/>
        </a:prstGeom>
        <a:solidFill>
          <a:srgbClr val="FF0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s-ES" sz="2400" b="1" kern="1200" dirty="0"/>
            <a:t>No es</a:t>
          </a:r>
          <a:endParaRPr lang="es-ES" sz="2400" b="1" kern="1200" noProof="0" dirty="0"/>
        </a:p>
      </dsp:txBody>
      <dsp:txXfrm>
        <a:off x="5954142" y="58339"/>
        <a:ext cx="5222884" cy="567486"/>
      </dsp:txXfrm>
    </dsp:sp>
    <dsp:sp modelId="{49CF2C72-CDEB-4ECC-B4F8-0A770432428A}">
      <dsp:nvSpPr>
        <dsp:cNvPr id="0" name=""/>
        <dsp:cNvSpPr/>
      </dsp:nvSpPr>
      <dsp:spPr>
        <a:xfrm>
          <a:off x="5954142" y="625826"/>
          <a:ext cx="5222884" cy="36563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s-ES" sz="1800" kern="1200" noProof="0" dirty="0"/>
            <a:t>Cambiar persona x máquina.</a:t>
          </a:r>
        </a:p>
        <a:p>
          <a:pPr marL="171450" lvl="1" indent="-171450" algn="l" defTabSz="800100">
            <a:lnSpc>
              <a:spcPct val="90000"/>
            </a:lnSpc>
            <a:spcBef>
              <a:spcPct val="0"/>
            </a:spcBef>
            <a:spcAft>
              <a:spcPct val="15000"/>
            </a:spcAft>
            <a:buChar char="•"/>
          </a:pPr>
          <a:r>
            <a:rPr lang="es-ES" sz="1800" kern="1200" noProof="0" dirty="0"/>
            <a:t>Incorporar un CRM</a:t>
          </a:r>
        </a:p>
        <a:p>
          <a:pPr marL="171450" lvl="1" indent="-171450" algn="l" defTabSz="800100">
            <a:lnSpc>
              <a:spcPct val="90000"/>
            </a:lnSpc>
            <a:spcBef>
              <a:spcPct val="0"/>
            </a:spcBef>
            <a:spcAft>
              <a:spcPct val="15000"/>
            </a:spcAft>
            <a:buChar char="•"/>
          </a:pPr>
          <a:r>
            <a:rPr lang="es-ES" sz="1800" kern="1200" noProof="0" dirty="0"/>
            <a:t>Automatizar los procesos de la empresa</a:t>
          </a:r>
        </a:p>
        <a:p>
          <a:pPr marL="171450" lvl="1" indent="-171450" algn="l" defTabSz="800100">
            <a:lnSpc>
              <a:spcPct val="90000"/>
            </a:lnSpc>
            <a:spcBef>
              <a:spcPct val="0"/>
            </a:spcBef>
            <a:spcAft>
              <a:spcPct val="15000"/>
            </a:spcAft>
            <a:buChar char="•"/>
          </a:pPr>
          <a:r>
            <a:rPr lang="es-ES" sz="1800" kern="1200" noProof="0" dirty="0"/>
            <a:t>Marketing digital</a:t>
          </a:r>
        </a:p>
        <a:p>
          <a:pPr marL="171450" lvl="1" indent="-171450" algn="l" defTabSz="800100">
            <a:lnSpc>
              <a:spcPct val="90000"/>
            </a:lnSpc>
            <a:spcBef>
              <a:spcPct val="0"/>
            </a:spcBef>
            <a:spcAft>
              <a:spcPct val="15000"/>
            </a:spcAft>
            <a:buChar char="•"/>
          </a:pPr>
          <a:r>
            <a:rPr lang="es-ES" sz="1800" kern="1200" noProof="0" dirty="0"/>
            <a:t>Tienda online</a:t>
          </a:r>
        </a:p>
        <a:p>
          <a:pPr marL="171450" lvl="1" indent="-171450" algn="l" defTabSz="800100">
            <a:lnSpc>
              <a:spcPct val="90000"/>
            </a:lnSpc>
            <a:spcBef>
              <a:spcPct val="0"/>
            </a:spcBef>
            <a:spcAft>
              <a:spcPct val="15000"/>
            </a:spcAft>
            <a:buChar char="•"/>
          </a:pPr>
          <a:r>
            <a:rPr lang="es-ES" sz="1800" kern="1200" noProof="0" dirty="0"/>
            <a:t>Inundar a las personas con banners</a:t>
          </a:r>
        </a:p>
        <a:p>
          <a:pPr marL="171450" lvl="1" indent="-171450" algn="l" defTabSz="800100">
            <a:lnSpc>
              <a:spcPct val="90000"/>
            </a:lnSpc>
            <a:spcBef>
              <a:spcPct val="0"/>
            </a:spcBef>
            <a:spcAft>
              <a:spcPct val="15000"/>
            </a:spcAft>
            <a:buChar char="•"/>
          </a:pPr>
          <a:r>
            <a:rPr lang="es-ES" sz="1800" kern="1200" noProof="0" dirty="0"/>
            <a:t>La tecnología por sí sola no es transformación digital.</a:t>
          </a:r>
        </a:p>
      </dsp:txBody>
      <dsp:txXfrm>
        <a:off x="5954142" y="625826"/>
        <a:ext cx="5222884" cy="3656339"/>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80F00D-91F8-48AC-97D3-0370894AA122}">
      <dsp:nvSpPr>
        <dsp:cNvPr id="0" name=""/>
        <dsp:cNvSpPr/>
      </dsp:nvSpPr>
      <dsp:spPr>
        <a:xfrm>
          <a:off x="0" y="483794"/>
          <a:ext cx="8821738" cy="1048950"/>
        </a:xfrm>
        <a:prstGeom prst="rect">
          <a:avLst/>
        </a:prstGeom>
        <a:solidFill>
          <a:schemeClr val="lt1">
            <a:alpha val="9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4665" tIns="374904" rIns="684665" bIns="128016" numCol="1" spcCol="1270" anchor="t" anchorCtr="0">
          <a:noAutofit/>
        </a:bodyPr>
        <a:lstStyle/>
        <a:p>
          <a:pPr marL="171450" lvl="1" indent="-171450" algn="l" defTabSz="800100">
            <a:lnSpc>
              <a:spcPct val="90000"/>
            </a:lnSpc>
            <a:spcBef>
              <a:spcPct val="0"/>
            </a:spcBef>
            <a:spcAft>
              <a:spcPct val="15000"/>
            </a:spcAft>
            <a:buChar char="•"/>
          </a:pPr>
          <a:r>
            <a:rPr lang="es-ES" sz="1800" kern="1200" dirty="0"/>
            <a:t>La tecnología es fundamental en la transformación</a:t>
          </a:r>
        </a:p>
        <a:p>
          <a:pPr marL="171450" lvl="1" indent="-171450" algn="l" defTabSz="800100">
            <a:lnSpc>
              <a:spcPct val="90000"/>
            </a:lnSpc>
            <a:spcBef>
              <a:spcPct val="0"/>
            </a:spcBef>
            <a:spcAft>
              <a:spcPct val="15000"/>
            </a:spcAft>
            <a:buChar char="•"/>
          </a:pPr>
          <a:r>
            <a:rPr lang="es-ES" sz="1800" kern="1200" dirty="0"/>
            <a:t>Pero la controla, maneja y usa, las personas. </a:t>
          </a:r>
        </a:p>
      </dsp:txBody>
      <dsp:txXfrm>
        <a:off x="0" y="483794"/>
        <a:ext cx="8821738" cy="1048950"/>
      </dsp:txXfrm>
    </dsp:sp>
    <dsp:sp modelId="{4169AE22-230F-48D6-A764-3FD284D3A270}">
      <dsp:nvSpPr>
        <dsp:cNvPr id="0" name=""/>
        <dsp:cNvSpPr/>
      </dsp:nvSpPr>
      <dsp:spPr>
        <a:xfrm>
          <a:off x="441086" y="218114"/>
          <a:ext cx="6175216" cy="53136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3408" tIns="0" rIns="233408" bIns="0" numCol="1" spcCol="1270" anchor="ctr" anchorCtr="0">
          <a:noAutofit/>
        </a:bodyPr>
        <a:lstStyle/>
        <a:p>
          <a:pPr marL="0" lvl="0" indent="0" algn="l" defTabSz="800100">
            <a:lnSpc>
              <a:spcPct val="90000"/>
            </a:lnSpc>
            <a:spcBef>
              <a:spcPct val="0"/>
            </a:spcBef>
            <a:spcAft>
              <a:spcPct val="35000"/>
            </a:spcAft>
            <a:buNone/>
          </a:pPr>
          <a:r>
            <a:rPr lang="es-ES" sz="1800" kern="1200"/>
            <a:t>Las personas en el centro. </a:t>
          </a:r>
        </a:p>
      </dsp:txBody>
      <dsp:txXfrm>
        <a:off x="467025" y="244053"/>
        <a:ext cx="6123338" cy="479482"/>
      </dsp:txXfrm>
    </dsp:sp>
    <dsp:sp modelId="{2B216E11-BEB4-4B56-941F-8C614EE6A6EE}">
      <dsp:nvSpPr>
        <dsp:cNvPr id="0" name=""/>
        <dsp:cNvSpPr/>
      </dsp:nvSpPr>
      <dsp:spPr>
        <a:xfrm>
          <a:off x="0" y="1895624"/>
          <a:ext cx="8821738" cy="2097900"/>
        </a:xfrm>
        <a:prstGeom prst="rect">
          <a:avLst/>
        </a:prstGeom>
        <a:solidFill>
          <a:schemeClr val="lt1">
            <a:alpha val="90000"/>
            <a:hueOff val="0"/>
            <a:satOff val="0"/>
            <a:lumOff val="0"/>
            <a:alphaOff val="0"/>
          </a:schemeClr>
        </a:solidFill>
        <a:ln w="12700" cap="flat" cmpd="sng" algn="ctr">
          <a:solidFill>
            <a:schemeClr val="accent1">
              <a:shade val="80000"/>
              <a:hueOff val="349283"/>
              <a:satOff val="-6256"/>
              <a:lumOff val="265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4665" tIns="374904" rIns="684665" bIns="128016" numCol="1" spcCol="1270" anchor="t" anchorCtr="0">
          <a:noAutofit/>
        </a:bodyPr>
        <a:lstStyle/>
        <a:p>
          <a:pPr marL="171450" lvl="1" indent="-171450" algn="l" defTabSz="800100">
            <a:lnSpc>
              <a:spcPct val="90000"/>
            </a:lnSpc>
            <a:spcBef>
              <a:spcPct val="0"/>
            </a:spcBef>
            <a:spcAft>
              <a:spcPct val="15000"/>
            </a:spcAft>
            <a:buChar char="•"/>
          </a:pPr>
          <a:r>
            <a:rPr lang="es-ES" sz="1800" kern="1200" dirty="0"/>
            <a:t>Hay procesos que serán rediseñados a través del uso de herramientas tecnológicas para que aumente la satisfacción y eficiencia en el trabajo.</a:t>
          </a:r>
        </a:p>
        <a:p>
          <a:pPr marL="171450" lvl="1" indent="-171450" algn="l" defTabSz="800100">
            <a:lnSpc>
              <a:spcPct val="90000"/>
            </a:lnSpc>
            <a:spcBef>
              <a:spcPct val="0"/>
            </a:spcBef>
            <a:spcAft>
              <a:spcPct val="15000"/>
            </a:spcAft>
            <a:buChar char="•"/>
          </a:pPr>
          <a:r>
            <a:rPr lang="es-ES" sz="1800" kern="1200" dirty="0"/>
            <a:t>Vencer las reticencias, el primer paso en un proceso de transformación digital debe ser mental.</a:t>
          </a:r>
        </a:p>
        <a:p>
          <a:pPr marL="171450" lvl="1" indent="-171450" algn="l" defTabSz="800100">
            <a:lnSpc>
              <a:spcPct val="90000"/>
            </a:lnSpc>
            <a:spcBef>
              <a:spcPct val="0"/>
            </a:spcBef>
            <a:spcAft>
              <a:spcPct val="15000"/>
            </a:spcAft>
            <a:buChar char="•"/>
          </a:pPr>
          <a:r>
            <a:rPr lang="es-ES" sz="1800" kern="1200" dirty="0"/>
            <a:t>Asumir que en el proceso de transformación digital hay una curva de aprendizaje.</a:t>
          </a:r>
        </a:p>
      </dsp:txBody>
      <dsp:txXfrm>
        <a:off x="0" y="1895624"/>
        <a:ext cx="8821738" cy="2097900"/>
      </dsp:txXfrm>
    </dsp:sp>
    <dsp:sp modelId="{1E3042F5-1764-415A-B01B-31BD53721838}">
      <dsp:nvSpPr>
        <dsp:cNvPr id="0" name=""/>
        <dsp:cNvSpPr/>
      </dsp:nvSpPr>
      <dsp:spPr>
        <a:xfrm>
          <a:off x="441086" y="1629944"/>
          <a:ext cx="6175216" cy="531360"/>
        </a:xfrm>
        <a:prstGeom prst="round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3408" tIns="0" rIns="233408" bIns="0" numCol="1" spcCol="1270" anchor="ctr" anchorCtr="0">
          <a:noAutofit/>
        </a:bodyPr>
        <a:lstStyle/>
        <a:p>
          <a:pPr marL="0" lvl="0" indent="0" algn="l" defTabSz="800100">
            <a:lnSpc>
              <a:spcPct val="90000"/>
            </a:lnSpc>
            <a:spcBef>
              <a:spcPct val="0"/>
            </a:spcBef>
            <a:spcAft>
              <a:spcPct val="35000"/>
            </a:spcAft>
            <a:buNone/>
          </a:pPr>
          <a:r>
            <a:rPr lang="es-ES" sz="1800" kern="1200" dirty="0"/>
            <a:t>El cambio empieza por las personas:</a:t>
          </a:r>
        </a:p>
      </dsp:txBody>
      <dsp:txXfrm>
        <a:off x="467025" y="1655883"/>
        <a:ext cx="6123338" cy="479482"/>
      </dsp:txXfrm>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18F178-DD9D-404E-8C29-0F5BEF08FFBF}">
      <dsp:nvSpPr>
        <dsp:cNvPr id="0" name=""/>
        <dsp:cNvSpPr/>
      </dsp:nvSpPr>
      <dsp:spPr>
        <a:xfrm>
          <a:off x="2672229" y="535503"/>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2866801" y="579012"/>
        <a:ext cx="22091" cy="4422"/>
      </dsp:txXfrm>
    </dsp:sp>
    <dsp:sp modelId="{0B7EC34B-6072-4EDB-B78E-C387B0B19D5E}">
      <dsp:nvSpPr>
        <dsp:cNvPr id="0" name=""/>
        <dsp:cNvSpPr/>
      </dsp:nvSpPr>
      <dsp:spPr>
        <a:xfrm>
          <a:off x="753011" y="4917"/>
          <a:ext cx="1921018" cy="1152611"/>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solidFill>
                <a:srgbClr val="3333FF"/>
              </a:solidFill>
            </a:rPr>
            <a:t>Compromiso del equipo directivo</a:t>
          </a:r>
        </a:p>
      </dsp:txBody>
      <dsp:txXfrm>
        <a:off x="753011" y="4917"/>
        <a:ext cx="1921018" cy="1152611"/>
      </dsp:txXfrm>
    </dsp:sp>
    <dsp:sp modelId="{416F421E-A903-4F7F-9347-AC3DF776723E}">
      <dsp:nvSpPr>
        <dsp:cNvPr id="0" name=""/>
        <dsp:cNvSpPr/>
      </dsp:nvSpPr>
      <dsp:spPr>
        <a:xfrm>
          <a:off x="5035082" y="535503"/>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34923"/>
              <a:satOff val="-598"/>
              <a:lumOff val="2396"/>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5229654" y="579012"/>
        <a:ext cx="22091" cy="4422"/>
      </dsp:txXfrm>
    </dsp:sp>
    <dsp:sp modelId="{AA1221CD-A877-4632-9B8D-C3EE216DB157}">
      <dsp:nvSpPr>
        <dsp:cNvPr id="0" name=""/>
        <dsp:cNvSpPr/>
      </dsp:nvSpPr>
      <dsp:spPr>
        <a:xfrm>
          <a:off x="3115864" y="4917"/>
          <a:ext cx="1921018" cy="1152611"/>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solidFill>
                <a:srgbClr val="3333FF"/>
              </a:solidFill>
            </a:rPr>
            <a:t>Alineamiento tecnología – Negocio</a:t>
          </a:r>
        </a:p>
      </dsp:txBody>
      <dsp:txXfrm>
        <a:off x="3115864" y="4917"/>
        <a:ext cx="1921018" cy="1152611"/>
      </dsp:txXfrm>
    </dsp:sp>
    <dsp:sp modelId="{62D70E81-4025-480A-89C4-918D36AF6A07}">
      <dsp:nvSpPr>
        <dsp:cNvPr id="0" name=""/>
        <dsp:cNvSpPr/>
      </dsp:nvSpPr>
      <dsp:spPr>
        <a:xfrm>
          <a:off x="7397935" y="535503"/>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69845"/>
              <a:satOff val="-1196"/>
              <a:lumOff val="4792"/>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7592507" y="579012"/>
        <a:ext cx="22091" cy="4422"/>
      </dsp:txXfrm>
    </dsp:sp>
    <dsp:sp modelId="{74D20C42-5979-4C13-BC9A-10EDB9A2A073}">
      <dsp:nvSpPr>
        <dsp:cNvPr id="0" name=""/>
        <dsp:cNvSpPr/>
      </dsp:nvSpPr>
      <dsp:spPr>
        <a:xfrm>
          <a:off x="5478717" y="4917"/>
          <a:ext cx="1921018" cy="1152611"/>
        </a:xfrm>
        <a:prstGeom prst="rect">
          <a:avLst/>
        </a:prstGeom>
        <a:solidFill>
          <a:schemeClr val="accent1">
            <a:shade val="80000"/>
            <a:hueOff val="63506"/>
            <a:satOff val="-1137"/>
            <a:lumOff val="48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t>Definir un plan de proyecto por fases. </a:t>
          </a:r>
        </a:p>
        <a:p>
          <a:pPr marL="57150" lvl="1" indent="-57150" algn="l" defTabSz="466725">
            <a:lnSpc>
              <a:spcPct val="90000"/>
            </a:lnSpc>
            <a:spcBef>
              <a:spcPct val="0"/>
            </a:spcBef>
            <a:spcAft>
              <a:spcPct val="15000"/>
            </a:spcAft>
            <a:buChar char="•"/>
          </a:pPr>
          <a:r>
            <a:rPr lang="es-ES" sz="1050" kern="1200" dirty="0"/>
            <a:t>Best practices</a:t>
          </a:r>
        </a:p>
        <a:p>
          <a:pPr marL="57150" lvl="1" indent="-57150" algn="l" defTabSz="466725">
            <a:lnSpc>
              <a:spcPct val="90000"/>
            </a:lnSpc>
            <a:spcBef>
              <a:spcPct val="0"/>
            </a:spcBef>
            <a:spcAft>
              <a:spcPct val="15000"/>
            </a:spcAft>
            <a:buChar char="•"/>
          </a:pPr>
          <a:r>
            <a:rPr lang="es-ES" sz="1050" kern="1200" dirty="0"/>
            <a:t>(innovadores “vs” Transformistas).</a:t>
          </a:r>
        </a:p>
      </dsp:txBody>
      <dsp:txXfrm>
        <a:off x="5478717" y="4917"/>
        <a:ext cx="1921018" cy="1152611"/>
      </dsp:txXfrm>
    </dsp:sp>
    <dsp:sp modelId="{F9F53061-3131-44D0-88AE-199310D28F47}">
      <dsp:nvSpPr>
        <dsp:cNvPr id="0" name=""/>
        <dsp:cNvSpPr/>
      </dsp:nvSpPr>
      <dsp:spPr>
        <a:xfrm>
          <a:off x="1713520" y="1155729"/>
          <a:ext cx="7088559" cy="411234"/>
        </a:xfrm>
        <a:custGeom>
          <a:avLst/>
          <a:gdLst/>
          <a:ahLst/>
          <a:cxnLst/>
          <a:rect l="0" t="0" r="0" b="0"/>
          <a:pathLst>
            <a:path>
              <a:moveTo>
                <a:pt x="7088559" y="0"/>
              </a:moveTo>
              <a:lnTo>
                <a:pt x="7088559" y="222717"/>
              </a:lnTo>
              <a:lnTo>
                <a:pt x="0" y="222717"/>
              </a:lnTo>
              <a:lnTo>
                <a:pt x="0" y="411234"/>
              </a:lnTo>
            </a:path>
          </a:pathLst>
        </a:custGeom>
        <a:noFill/>
        <a:ln w="6350" cap="flat" cmpd="sng" algn="ctr">
          <a:solidFill>
            <a:schemeClr val="accent1">
              <a:shade val="90000"/>
              <a:hueOff val="104768"/>
              <a:satOff val="-1794"/>
              <a:lumOff val="718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5080242" y="1359134"/>
        <a:ext cx="355115" cy="4422"/>
      </dsp:txXfrm>
    </dsp:sp>
    <dsp:sp modelId="{101FF5FF-0140-4DB2-8F62-C02AB9F7650A}">
      <dsp:nvSpPr>
        <dsp:cNvPr id="0" name=""/>
        <dsp:cNvSpPr/>
      </dsp:nvSpPr>
      <dsp:spPr>
        <a:xfrm>
          <a:off x="7841570" y="4917"/>
          <a:ext cx="1921018" cy="1152611"/>
        </a:xfrm>
        <a:prstGeom prst="rect">
          <a:avLst/>
        </a:prstGeom>
        <a:solidFill>
          <a:srgbClr val="00FF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solidFill>
                <a:schemeClr val="accent6">
                  <a:lumMod val="50000"/>
                </a:schemeClr>
              </a:solidFill>
            </a:rPr>
            <a:t>Business Case</a:t>
          </a:r>
        </a:p>
        <a:p>
          <a:pPr marL="57150" lvl="1" indent="-57150" algn="l" defTabSz="466725">
            <a:lnSpc>
              <a:spcPct val="90000"/>
            </a:lnSpc>
            <a:spcBef>
              <a:spcPct val="0"/>
            </a:spcBef>
            <a:spcAft>
              <a:spcPct val="15000"/>
            </a:spcAft>
            <a:buChar char="•"/>
          </a:pPr>
          <a:r>
            <a:rPr lang="es-ES" sz="1050" kern="1200" dirty="0">
              <a:solidFill>
                <a:schemeClr val="accent6">
                  <a:lumMod val="50000"/>
                </a:schemeClr>
              </a:solidFill>
            </a:rPr>
            <a:t>Cualitativo</a:t>
          </a:r>
        </a:p>
        <a:p>
          <a:pPr marL="57150" lvl="1" indent="-57150" algn="l" defTabSz="466725">
            <a:lnSpc>
              <a:spcPct val="90000"/>
            </a:lnSpc>
            <a:spcBef>
              <a:spcPct val="0"/>
            </a:spcBef>
            <a:spcAft>
              <a:spcPct val="15000"/>
            </a:spcAft>
            <a:buChar char="•"/>
          </a:pPr>
          <a:r>
            <a:rPr lang="es-ES" sz="1050" kern="1200" dirty="0">
              <a:solidFill>
                <a:schemeClr val="accent6">
                  <a:lumMod val="50000"/>
                </a:schemeClr>
              </a:solidFill>
            </a:rPr>
            <a:t>Cuantitativo incluye ROI</a:t>
          </a:r>
        </a:p>
      </dsp:txBody>
      <dsp:txXfrm>
        <a:off x="7841570" y="4917"/>
        <a:ext cx="1921018" cy="1152611"/>
      </dsp:txXfrm>
    </dsp:sp>
    <dsp:sp modelId="{595D6EAE-B43A-4270-875E-3844B4790EB3}">
      <dsp:nvSpPr>
        <dsp:cNvPr id="0" name=""/>
        <dsp:cNvSpPr/>
      </dsp:nvSpPr>
      <dsp:spPr>
        <a:xfrm>
          <a:off x="2672229" y="2129949"/>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139690"/>
              <a:satOff val="-2392"/>
              <a:lumOff val="9584"/>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2866801" y="2173457"/>
        <a:ext cx="22091" cy="4422"/>
      </dsp:txXfrm>
    </dsp:sp>
    <dsp:sp modelId="{0778E29F-2BD2-4DCA-9B40-D23F17C82E87}">
      <dsp:nvSpPr>
        <dsp:cNvPr id="0" name=""/>
        <dsp:cNvSpPr/>
      </dsp:nvSpPr>
      <dsp:spPr>
        <a:xfrm>
          <a:off x="753011" y="1599363"/>
          <a:ext cx="1921018" cy="1152611"/>
        </a:xfrm>
        <a:prstGeom prst="rect">
          <a:avLst/>
        </a:prstGeom>
        <a:solidFill>
          <a:schemeClr val="accent1">
            <a:shade val="80000"/>
            <a:hueOff val="127012"/>
            <a:satOff val="-2275"/>
            <a:lumOff val="9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t>Creación de un mapa de la información:</a:t>
          </a:r>
        </a:p>
        <a:p>
          <a:pPr marL="57150" lvl="1" indent="-57150" algn="l" defTabSz="466725">
            <a:lnSpc>
              <a:spcPct val="90000"/>
            </a:lnSpc>
            <a:spcBef>
              <a:spcPct val="0"/>
            </a:spcBef>
            <a:spcAft>
              <a:spcPct val="15000"/>
            </a:spcAft>
            <a:buChar char="•"/>
          </a:pPr>
          <a:r>
            <a:rPr lang="es-ES" sz="1050" kern="1200" dirty="0"/>
            <a:t>De donde viene.</a:t>
          </a:r>
        </a:p>
        <a:p>
          <a:pPr marL="57150" lvl="1" indent="-57150" algn="l" defTabSz="466725">
            <a:lnSpc>
              <a:spcPct val="90000"/>
            </a:lnSpc>
            <a:spcBef>
              <a:spcPct val="0"/>
            </a:spcBef>
            <a:spcAft>
              <a:spcPct val="15000"/>
            </a:spcAft>
            <a:buChar char="•"/>
          </a:pPr>
          <a:r>
            <a:rPr lang="es-ES" sz="1050" kern="1200" dirty="0"/>
            <a:t>Quién la origina.</a:t>
          </a:r>
        </a:p>
        <a:p>
          <a:pPr marL="57150" lvl="1" indent="-57150" algn="l" defTabSz="466725">
            <a:lnSpc>
              <a:spcPct val="90000"/>
            </a:lnSpc>
            <a:spcBef>
              <a:spcPct val="0"/>
            </a:spcBef>
            <a:spcAft>
              <a:spcPct val="15000"/>
            </a:spcAft>
            <a:buChar char="•"/>
          </a:pPr>
          <a:r>
            <a:rPr lang="es-ES" sz="1050" kern="1200" dirty="0"/>
            <a:t>Quién la usa.</a:t>
          </a:r>
        </a:p>
        <a:p>
          <a:pPr marL="57150" lvl="1" indent="-57150" algn="l" defTabSz="466725">
            <a:lnSpc>
              <a:spcPct val="90000"/>
            </a:lnSpc>
            <a:spcBef>
              <a:spcPct val="0"/>
            </a:spcBef>
            <a:spcAft>
              <a:spcPct val="15000"/>
            </a:spcAft>
            <a:buChar char="•"/>
          </a:pPr>
          <a:r>
            <a:rPr lang="es-ES" sz="1050" kern="1200" dirty="0"/>
            <a:t>Que dispara el proceso.</a:t>
          </a:r>
        </a:p>
      </dsp:txBody>
      <dsp:txXfrm>
        <a:off x="753011" y="1599363"/>
        <a:ext cx="1921018" cy="1152611"/>
      </dsp:txXfrm>
    </dsp:sp>
    <dsp:sp modelId="{216E7491-C991-4782-B02F-ACA7D867E186}">
      <dsp:nvSpPr>
        <dsp:cNvPr id="0" name=""/>
        <dsp:cNvSpPr/>
      </dsp:nvSpPr>
      <dsp:spPr>
        <a:xfrm>
          <a:off x="5035082" y="2129949"/>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5229654" y="2173457"/>
        <a:ext cx="22091" cy="4422"/>
      </dsp:txXfrm>
    </dsp:sp>
    <dsp:sp modelId="{16BEFB15-881B-479A-85F6-A248D1B9CE26}">
      <dsp:nvSpPr>
        <dsp:cNvPr id="0" name=""/>
        <dsp:cNvSpPr/>
      </dsp:nvSpPr>
      <dsp:spPr>
        <a:xfrm>
          <a:off x="3115864" y="1599363"/>
          <a:ext cx="1921018" cy="1152611"/>
        </a:xfrm>
        <a:prstGeom prst="rect">
          <a:avLst/>
        </a:prstGeom>
        <a:solidFill>
          <a:schemeClr val="accent1">
            <a:shade val="80000"/>
            <a:hueOff val="158765"/>
            <a:satOff val="-2844"/>
            <a:lumOff val="120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t>Comunicación</a:t>
          </a:r>
        </a:p>
        <a:p>
          <a:pPr marL="57150" lvl="1" indent="-57150" algn="l" defTabSz="466725">
            <a:lnSpc>
              <a:spcPct val="90000"/>
            </a:lnSpc>
            <a:spcBef>
              <a:spcPct val="0"/>
            </a:spcBef>
            <a:spcAft>
              <a:spcPct val="15000"/>
            </a:spcAft>
            <a:buChar char="•"/>
          </a:pPr>
          <a:r>
            <a:rPr lang="es-ES" sz="1050" kern="1200" dirty="0"/>
            <a:t>Con cliente.</a:t>
          </a:r>
        </a:p>
        <a:p>
          <a:pPr marL="57150" lvl="1" indent="-57150" algn="l" defTabSz="466725">
            <a:lnSpc>
              <a:spcPct val="90000"/>
            </a:lnSpc>
            <a:spcBef>
              <a:spcPct val="0"/>
            </a:spcBef>
            <a:spcAft>
              <a:spcPct val="15000"/>
            </a:spcAft>
            <a:buChar char="•"/>
          </a:pPr>
          <a:r>
            <a:rPr lang="es-ES" sz="1050" kern="1200" dirty="0"/>
            <a:t>Con empleados.</a:t>
          </a:r>
        </a:p>
      </dsp:txBody>
      <dsp:txXfrm>
        <a:off x="3115864" y="1599363"/>
        <a:ext cx="1921018" cy="1152611"/>
      </dsp:txXfrm>
    </dsp:sp>
    <dsp:sp modelId="{63AC7F4C-E5D0-4CDD-B7BE-C7C79DF2C0FC}">
      <dsp:nvSpPr>
        <dsp:cNvPr id="0" name=""/>
        <dsp:cNvSpPr/>
      </dsp:nvSpPr>
      <dsp:spPr>
        <a:xfrm>
          <a:off x="7397935" y="2129949"/>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209535"/>
              <a:satOff val="-3589"/>
              <a:lumOff val="14376"/>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7592507" y="2173457"/>
        <a:ext cx="22091" cy="4422"/>
      </dsp:txXfrm>
    </dsp:sp>
    <dsp:sp modelId="{AAD74965-B564-4778-BDA9-7F315F498669}">
      <dsp:nvSpPr>
        <dsp:cNvPr id="0" name=""/>
        <dsp:cNvSpPr/>
      </dsp:nvSpPr>
      <dsp:spPr>
        <a:xfrm>
          <a:off x="5478717" y="1599363"/>
          <a:ext cx="1921018" cy="1152611"/>
        </a:xfrm>
        <a:prstGeom prst="rect">
          <a:avLst/>
        </a:prstGeom>
        <a:solidFill>
          <a:schemeClr val="accent1">
            <a:shade val="80000"/>
            <a:hueOff val="190518"/>
            <a:satOff val="-3412"/>
            <a:lumOff val="145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t>Priorizar el plan. </a:t>
          </a:r>
        </a:p>
        <a:p>
          <a:pPr marL="57150" lvl="1" indent="-57150" algn="l" defTabSz="466725">
            <a:lnSpc>
              <a:spcPct val="90000"/>
            </a:lnSpc>
            <a:spcBef>
              <a:spcPct val="0"/>
            </a:spcBef>
            <a:spcAft>
              <a:spcPct val="15000"/>
            </a:spcAft>
            <a:buChar char="•"/>
          </a:pPr>
          <a:r>
            <a:rPr lang="es-ES" sz="1050" kern="1200" dirty="0"/>
            <a:t>Teniendo en cuenta el cliente</a:t>
          </a:r>
        </a:p>
        <a:p>
          <a:pPr marL="57150" lvl="1" indent="-57150" algn="l" defTabSz="466725">
            <a:lnSpc>
              <a:spcPct val="90000"/>
            </a:lnSpc>
            <a:spcBef>
              <a:spcPct val="0"/>
            </a:spcBef>
            <a:spcAft>
              <a:spcPct val="15000"/>
            </a:spcAft>
            <a:buChar char="•"/>
          </a:pPr>
          <a:r>
            <a:rPr lang="es-ES" sz="1050" kern="1200" dirty="0"/>
            <a:t>QuickWins</a:t>
          </a:r>
        </a:p>
        <a:p>
          <a:pPr marL="57150" lvl="1" indent="-57150" algn="l" defTabSz="466725">
            <a:lnSpc>
              <a:spcPct val="90000"/>
            </a:lnSpc>
            <a:spcBef>
              <a:spcPct val="0"/>
            </a:spcBef>
            <a:spcAft>
              <a:spcPct val="15000"/>
            </a:spcAft>
            <a:buChar char="•"/>
          </a:pPr>
          <a:r>
            <a:rPr lang="es-ES" sz="1050" kern="1200" dirty="0"/>
            <a:t>Puntos de control, KPI</a:t>
          </a:r>
        </a:p>
      </dsp:txBody>
      <dsp:txXfrm>
        <a:off x="5478717" y="1599363"/>
        <a:ext cx="1921018" cy="1152611"/>
      </dsp:txXfrm>
    </dsp:sp>
    <dsp:sp modelId="{3B68FFDB-E280-48C6-BC35-CA6C5B6DC705}">
      <dsp:nvSpPr>
        <dsp:cNvPr id="0" name=""/>
        <dsp:cNvSpPr/>
      </dsp:nvSpPr>
      <dsp:spPr>
        <a:xfrm>
          <a:off x="1713520" y="2750174"/>
          <a:ext cx="7088559" cy="411234"/>
        </a:xfrm>
        <a:custGeom>
          <a:avLst/>
          <a:gdLst/>
          <a:ahLst/>
          <a:cxnLst/>
          <a:rect l="0" t="0" r="0" b="0"/>
          <a:pathLst>
            <a:path>
              <a:moveTo>
                <a:pt x="7088559" y="0"/>
              </a:moveTo>
              <a:lnTo>
                <a:pt x="7088559" y="222717"/>
              </a:lnTo>
              <a:lnTo>
                <a:pt x="0" y="222717"/>
              </a:lnTo>
              <a:lnTo>
                <a:pt x="0" y="411234"/>
              </a:lnTo>
            </a:path>
          </a:pathLst>
        </a:custGeom>
        <a:noFill/>
        <a:ln w="6350" cap="flat" cmpd="sng" algn="ctr">
          <a:solidFill>
            <a:schemeClr val="accent1">
              <a:shade val="90000"/>
              <a:hueOff val="244458"/>
              <a:satOff val="-4187"/>
              <a:lumOff val="16772"/>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5080242" y="2953580"/>
        <a:ext cx="355115" cy="4422"/>
      </dsp:txXfrm>
    </dsp:sp>
    <dsp:sp modelId="{7E4DA183-388A-42A9-8048-20F284798117}">
      <dsp:nvSpPr>
        <dsp:cNvPr id="0" name=""/>
        <dsp:cNvSpPr/>
      </dsp:nvSpPr>
      <dsp:spPr>
        <a:xfrm>
          <a:off x="7841570" y="1599363"/>
          <a:ext cx="1921018" cy="1152611"/>
        </a:xfrm>
        <a:prstGeom prst="rect">
          <a:avLst/>
        </a:prstGeom>
        <a:solidFill>
          <a:schemeClr val="accent1">
            <a:shade val="80000"/>
            <a:hueOff val="222271"/>
            <a:satOff val="-3981"/>
            <a:lumOff val="169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t" anchorCtr="0">
          <a:noAutofit/>
        </a:bodyPr>
        <a:lstStyle/>
        <a:p>
          <a:pPr marL="0" lvl="0" indent="0" algn="l" defTabSz="533400">
            <a:lnSpc>
              <a:spcPct val="90000"/>
            </a:lnSpc>
            <a:spcBef>
              <a:spcPct val="0"/>
            </a:spcBef>
            <a:spcAft>
              <a:spcPct val="35000"/>
            </a:spcAft>
            <a:buNone/>
          </a:pPr>
          <a:r>
            <a:rPr lang="es-ES" sz="1200" kern="1200" dirty="0"/>
            <a:t>Plan definido y consensuado:</a:t>
          </a:r>
        </a:p>
        <a:p>
          <a:pPr marL="57150" lvl="1" indent="-57150" algn="l" defTabSz="466725">
            <a:lnSpc>
              <a:spcPct val="90000"/>
            </a:lnSpc>
            <a:spcBef>
              <a:spcPct val="0"/>
            </a:spcBef>
            <a:spcAft>
              <a:spcPct val="15000"/>
            </a:spcAft>
            <a:buChar char="•"/>
          </a:pPr>
          <a:r>
            <a:rPr lang="es-ES" sz="1050" kern="1200" dirty="0"/>
            <a:t>Gantt</a:t>
          </a:r>
        </a:p>
        <a:p>
          <a:pPr marL="57150" lvl="1" indent="-57150" algn="l" defTabSz="466725">
            <a:lnSpc>
              <a:spcPct val="90000"/>
            </a:lnSpc>
            <a:spcBef>
              <a:spcPct val="0"/>
            </a:spcBef>
            <a:spcAft>
              <a:spcPct val="15000"/>
            </a:spcAft>
            <a:buChar char="•"/>
          </a:pPr>
          <a:r>
            <a:rPr lang="es-ES" sz="1050" kern="1200" dirty="0"/>
            <a:t>Localización de herramientas y discriminación.</a:t>
          </a:r>
        </a:p>
      </dsp:txBody>
      <dsp:txXfrm>
        <a:off x="7841570" y="1599363"/>
        <a:ext cx="1921018" cy="1152611"/>
      </dsp:txXfrm>
    </dsp:sp>
    <dsp:sp modelId="{D580CE76-D1E5-4256-9F39-477787344FC9}">
      <dsp:nvSpPr>
        <dsp:cNvPr id="0" name=""/>
        <dsp:cNvSpPr/>
      </dsp:nvSpPr>
      <dsp:spPr>
        <a:xfrm>
          <a:off x="2672229" y="3724394"/>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279380"/>
              <a:satOff val="-4785"/>
              <a:lumOff val="1916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2866801" y="3767903"/>
        <a:ext cx="22091" cy="4422"/>
      </dsp:txXfrm>
    </dsp:sp>
    <dsp:sp modelId="{C1B17043-D2FF-49AF-BD46-401B2931FC50}">
      <dsp:nvSpPr>
        <dsp:cNvPr id="0" name=""/>
        <dsp:cNvSpPr/>
      </dsp:nvSpPr>
      <dsp:spPr>
        <a:xfrm>
          <a:off x="753011" y="3193808"/>
          <a:ext cx="1921018" cy="1152611"/>
        </a:xfrm>
        <a:prstGeom prst="rect">
          <a:avLst/>
        </a:prstGeom>
        <a:solidFill>
          <a:schemeClr val="accent1">
            <a:shade val="80000"/>
            <a:hueOff val="254024"/>
            <a:satOff val="-4550"/>
            <a:lumOff val="193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t>Formación a la personas clave, información al resto de personas.</a:t>
          </a:r>
        </a:p>
      </dsp:txBody>
      <dsp:txXfrm>
        <a:off x="753011" y="3193808"/>
        <a:ext cx="1921018" cy="1152611"/>
      </dsp:txXfrm>
    </dsp:sp>
    <dsp:sp modelId="{0E81187F-AB49-4B57-83B0-08B856F0B7E4}">
      <dsp:nvSpPr>
        <dsp:cNvPr id="0" name=""/>
        <dsp:cNvSpPr/>
      </dsp:nvSpPr>
      <dsp:spPr>
        <a:xfrm>
          <a:off x="5035082" y="3724394"/>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314303"/>
              <a:satOff val="-5383"/>
              <a:lumOff val="21564"/>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5229654" y="3767903"/>
        <a:ext cx="22091" cy="4422"/>
      </dsp:txXfrm>
    </dsp:sp>
    <dsp:sp modelId="{C9C4BFC0-2735-423C-A531-AD7082BE1F15}">
      <dsp:nvSpPr>
        <dsp:cNvPr id="0" name=""/>
        <dsp:cNvSpPr/>
      </dsp:nvSpPr>
      <dsp:spPr>
        <a:xfrm>
          <a:off x="3115864" y="3193808"/>
          <a:ext cx="1921018" cy="1152611"/>
        </a:xfrm>
        <a:prstGeom prst="rect">
          <a:avLst/>
        </a:prstGeom>
        <a:solidFill>
          <a:schemeClr val="accent1">
            <a:shade val="80000"/>
            <a:hueOff val="285777"/>
            <a:satOff val="-5119"/>
            <a:lumOff val="217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t>Análisis, diseño y desarrollo.</a:t>
          </a:r>
        </a:p>
      </dsp:txBody>
      <dsp:txXfrm>
        <a:off x="3115864" y="3193808"/>
        <a:ext cx="1921018" cy="1152611"/>
      </dsp:txXfrm>
    </dsp:sp>
    <dsp:sp modelId="{6E1BD071-61EB-43A7-AA63-DF32948BAE2B}">
      <dsp:nvSpPr>
        <dsp:cNvPr id="0" name=""/>
        <dsp:cNvSpPr/>
      </dsp:nvSpPr>
      <dsp:spPr>
        <a:xfrm>
          <a:off x="7397935" y="3724394"/>
          <a:ext cx="411234" cy="91440"/>
        </a:xfrm>
        <a:custGeom>
          <a:avLst/>
          <a:gdLst/>
          <a:ahLst/>
          <a:cxnLst/>
          <a:rect l="0" t="0" r="0" b="0"/>
          <a:pathLst>
            <a:path>
              <a:moveTo>
                <a:pt x="0" y="45720"/>
              </a:moveTo>
              <a:lnTo>
                <a:pt x="411234"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s-ES" sz="800" kern="1200" dirty="0"/>
        </a:p>
      </dsp:txBody>
      <dsp:txXfrm>
        <a:off x="7592507" y="3767903"/>
        <a:ext cx="22091" cy="4422"/>
      </dsp:txXfrm>
    </dsp:sp>
    <dsp:sp modelId="{E1C2DB0F-4044-4655-B3CA-8FE3F08E12E1}">
      <dsp:nvSpPr>
        <dsp:cNvPr id="0" name=""/>
        <dsp:cNvSpPr/>
      </dsp:nvSpPr>
      <dsp:spPr>
        <a:xfrm>
          <a:off x="5478717" y="3193808"/>
          <a:ext cx="1921018" cy="1152611"/>
        </a:xfrm>
        <a:prstGeom prst="rect">
          <a:avLst/>
        </a:prstGeom>
        <a:solidFill>
          <a:schemeClr val="accent1">
            <a:shade val="80000"/>
            <a:hueOff val="317530"/>
            <a:satOff val="-5687"/>
            <a:lumOff val="24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t>PMO y seguimiento del proyecto.</a:t>
          </a:r>
        </a:p>
      </dsp:txBody>
      <dsp:txXfrm>
        <a:off x="5478717" y="3193808"/>
        <a:ext cx="1921018" cy="1152611"/>
      </dsp:txXfrm>
    </dsp:sp>
    <dsp:sp modelId="{7D9C865F-1097-4340-B941-77712CD5A612}">
      <dsp:nvSpPr>
        <dsp:cNvPr id="0" name=""/>
        <dsp:cNvSpPr/>
      </dsp:nvSpPr>
      <dsp:spPr>
        <a:xfrm>
          <a:off x="7841570" y="3193808"/>
          <a:ext cx="1921018" cy="1152611"/>
        </a:xfrm>
        <a:prstGeom prst="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dirty="0"/>
            <a:t>Rollout – Puesta en marcha del plan.</a:t>
          </a:r>
        </a:p>
      </dsp:txBody>
      <dsp:txXfrm>
        <a:off x="7841570" y="3193808"/>
        <a:ext cx="1921018" cy="1152611"/>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847AEC-760C-4D87-A64D-78C3164BAFD5}">
      <dsp:nvSpPr>
        <dsp:cNvPr id="0" name=""/>
        <dsp:cNvSpPr/>
      </dsp:nvSpPr>
      <dsp:spPr>
        <a:xfrm>
          <a:off x="1119293" y="-6434"/>
          <a:ext cx="5514357" cy="5514357"/>
        </a:xfrm>
        <a:prstGeom prst="circularArrow">
          <a:avLst>
            <a:gd name="adj1" fmla="val 5274"/>
            <a:gd name="adj2" fmla="val 312630"/>
            <a:gd name="adj3" fmla="val 14233902"/>
            <a:gd name="adj4" fmla="val 17123642"/>
            <a:gd name="adj5" fmla="val 5477"/>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35DF23-7792-4D06-8BD5-D2BAE8D4C447}">
      <dsp:nvSpPr>
        <dsp:cNvPr id="0" name=""/>
        <dsp:cNvSpPr/>
      </dsp:nvSpPr>
      <dsp:spPr>
        <a:xfrm>
          <a:off x="2831641" y="390"/>
          <a:ext cx="2089660" cy="104483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Entendimiento del caso de negocio</a:t>
          </a:r>
          <a:endParaRPr lang="es-ES" sz="1900" kern="1200" dirty="0"/>
        </a:p>
      </dsp:txBody>
      <dsp:txXfrm>
        <a:off x="2882645" y="51394"/>
        <a:ext cx="1987652" cy="942822"/>
      </dsp:txXfrm>
    </dsp:sp>
    <dsp:sp modelId="{213C509B-973A-4E41-BA2A-DA6D1F3D2ADE}">
      <dsp:nvSpPr>
        <dsp:cNvPr id="0" name=""/>
        <dsp:cNvSpPr/>
      </dsp:nvSpPr>
      <dsp:spPr>
        <a:xfrm>
          <a:off x="4768994" y="1118921"/>
          <a:ext cx="2089660" cy="1044830"/>
        </a:xfrm>
        <a:prstGeom prst="roundRect">
          <a:avLst/>
        </a:prstGeom>
        <a:solidFill>
          <a:schemeClr val="accent1">
            <a:shade val="50000"/>
            <a:hueOff val="134164"/>
            <a:satOff val="-3267"/>
            <a:lumOff val="142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Entendimiento de los datos</a:t>
          </a:r>
        </a:p>
      </dsp:txBody>
      <dsp:txXfrm>
        <a:off x="4819998" y="1169925"/>
        <a:ext cx="1987652" cy="942822"/>
      </dsp:txXfrm>
    </dsp:sp>
    <dsp:sp modelId="{9DF2B110-725F-40BA-9868-2AA7772FE429}">
      <dsp:nvSpPr>
        <dsp:cNvPr id="0" name=""/>
        <dsp:cNvSpPr/>
      </dsp:nvSpPr>
      <dsp:spPr>
        <a:xfrm>
          <a:off x="4768994" y="3355983"/>
          <a:ext cx="2089660" cy="1044830"/>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Preparación de los datos</a:t>
          </a:r>
        </a:p>
      </dsp:txBody>
      <dsp:txXfrm>
        <a:off x="4819998" y="3406987"/>
        <a:ext cx="1987652" cy="942822"/>
      </dsp:txXfrm>
    </dsp:sp>
    <dsp:sp modelId="{BF0A7631-1D32-4BB5-B5E8-04B167BE5102}">
      <dsp:nvSpPr>
        <dsp:cNvPr id="0" name=""/>
        <dsp:cNvSpPr/>
      </dsp:nvSpPr>
      <dsp:spPr>
        <a:xfrm>
          <a:off x="2831641" y="4474514"/>
          <a:ext cx="2089660" cy="1044830"/>
        </a:xfrm>
        <a:prstGeom prst="roundRect">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Modelado</a:t>
          </a:r>
        </a:p>
      </dsp:txBody>
      <dsp:txXfrm>
        <a:off x="2882645" y="4525518"/>
        <a:ext cx="1987652" cy="942822"/>
      </dsp:txXfrm>
    </dsp:sp>
    <dsp:sp modelId="{1EA64458-AF99-4675-A8E1-74FB5D74DC5A}">
      <dsp:nvSpPr>
        <dsp:cNvPr id="0" name=""/>
        <dsp:cNvSpPr/>
      </dsp:nvSpPr>
      <dsp:spPr>
        <a:xfrm>
          <a:off x="894289" y="3355983"/>
          <a:ext cx="2089660" cy="1044830"/>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Evaluación</a:t>
          </a:r>
        </a:p>
      </dsp:txBody>
      <dsp:txXfrm>
        <a:off x="945293" y="3406987"/>
        <a:ext cx="1987652" cy="942822"/>
      </dsp:txXfrm>
    </dsp:sp>
    <dsp:sp modelId="{5ABC2BBA-7D3B-4EDE-AAB2-DFD09BD1CB95}">
      <dsp:nvSpPr>
        <dsp:cNvPr id="0" name=""/>
        <dsp:cNvSpPr/>
      </dsp:nvSpPr>
      <dsp:spPr>
        <a:xfrm>
          <a:off x="894289" y="1118921"/>
          <a:ext cx="2089660" cy="1044830"/>
        </a:xfrm>
        <a:prstGeom prst="roundRect">
          <a:avLst/>
        </a:prstGeom>
        <a:solidFill>
          <a:schemeClr val="accent1">
            <a:shade val="50000"/>
            <a:hueOff val="134164"/>
            <a:satOff val="-3267"/>
            <a:lumOff val="142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b="0" i="0" u="none" kern="1200" dirty="0"/>
            <a:t>Despliegue</a:t>
          </a:r>
        </a:p>
      </dsp:txBody>
      <dsp:txXfrm>
        <a:off x="945293" y="1169925"/>
        <a:ext cx="1987652" cy="942822"/>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1180C5-9772-4856-BEF5-ECC3F9B9FCAD}">
      <dsp:nvSpPr>
        <dsp:cNvPr id="0" name=""/>
        <dsp:cNvSpPr/>
      </dsp:nvSpPr>
      <dsp:spPr>
        <a:xfrm>
          <a:off x="0" y="8488"/>
          <a:ext cx="5181600" cy="818488"/>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 sz="2100" kern="1200" dirty="0"/>
            <a:t>Aumenta la autonomía y transparencia.</a:t>
          </a:r>
        </a:p>
      </dsp:txBody>
      <dsp:txXfrm>
        <a:off x="39955" y="48443"/>
        <a:ext cx="5101690" cy="738578"/>
      </dsp:txXfrm>
    </dsp:sp>
    <dsp:sp modelId="{D7EAE18E-E2ED-49C1-8D10-7A8E081F49A9}">
      <dsp:nvSpPr>
        <dsp:cNvPr id="0" name=""/>
        <dsp:cNvSpPr/>
      </dsp:nvSpPr>
      <dsp:spPr>
        <a:xfrm>
          <a:off x="0" y="887456"/>
          <a:ext cx="5181600" cy="818488"/>
        </a:xfrm>
        <a:prstGeom prst="roundRect">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 sz="2100" kern="1200" dirty="0"/>
            <a:t>Permite dimensionar mejor los proyectos minimizando los riesgos.</a:t>
          </a:r>
        </a:p>
      </dsp:txBody>
      <dsp:txXfrm>
        <a:off x="39955" y="927411"/>
        <a:ext cx="5101690" cy="738578"/>
      </dsp:txXfrm>
    </dsp:sp>
    <dsp:sp modelId="{1CF28A3D-8ADA-4BBB-A438-113A79330D59}">
      <dsp:nvSpPr>
        <dsp:cNvPr id="0" name=""/>
        <dsp:cNvSpPr/>
      </dsp:nvSpPr>
      <dsp:spPr>
        <a:xfrm>
          <a:off x="0" y="1766424"/>
          <a:ext cx="5181600" cy="818488"/>
        </a:xfrm>
        <a:prstGeom prst="round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 sz="2100" kern="1200" dirty="0"/>
            <a:t>Facilita la priorización y toma de decisiones.</a:t>
          </a:r>
        </a:p>
      </dsp:txBody>
      <dsp:txXfrm>
        <a:off x="39955" y="1806379"/>
        <a:ext cx="5101690" cy="738578"/>
      </dsp:txXfrm>
    </dsp:sp>
    <dsp:sp modelId="{788F6C25-67F8-4019-9465-9E28BAF1A693}">
      <dsp:nvSpPr>
        <dsp:cNvPr id="0" name=""/>
        <dsp:cNvSpPr/>
      </dsp:nvSpPr>
      <dsp:spPr>
        <a:xfrm>
          <a:off x="0" y="2645393"/>
          <a:ext cx="5181600" cy="818488"/>
        </a:xfrm>
        <a:prstGeom prst="round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 sz="2100" kern="1200" dirty="0"/>
            <a:t>Pone el foco en las personas.</a:t>
          </a:r>
        </a:p>
      </dsp:txBody>
      <dsp:txXfrm>
        <a:off x="39955" y="2685348"/>
        <a:ext cx="5101690" cy="738578"/>
      </dsp:txXfrm>
    </dsp:sp>
    <dsp:sp modelId="{1058253C-2A0D-4E04-8B30-69DB8D52AFA8}">
      <dsp:nvSpPr>
        <dsp:cNvPr id="0" name=""/>
        <dsp:cNvSpPr/>
      </dsp:nvSpPr>
      <dsp:spPr>
        <a:xfrm>
          <a:off x="0" y="3524361"/>
          <a:ext cx="5181600" cy="818488"/>
        </a:xfrm>
        <a:prstGeom prst="roundRect">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 sz="2100" kern="1200" dirty="0"/>
            <a:t>Fomenta la responsabilidad dentro del equipo.</a:t>
          </a:r>
        </a:p>
      </dsp:txBody>
      <dsp:txXfrm>
        <a:off x="39955" y="3564316"/>
        <a:ext cx="5101690" cy="738578"/>
      </dsp:txXfrm>
    </dsp:sp>
  </dsp:spTree>
</dsp:drawing>
</file>

<file path=ppt/diagrams/drawing10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41BAE2-B6A1-4261-95AC-2308D3D879C3}">
      <dsp:nvSpPr>
        <dsp:cNvPr id="0" name=""/>
        <dsp:cNvSpPr/>
      </dsp:nvSpPr>
      <dsp:spPr>
        <a:xfrm>
          <a:off x="0" y="432585"/>
          <a:ext cx="5157787" cy="431730"/>
        </a:xfrm>
        <a:prstGeom prst="roundRect">
          <a:avLst/>
        </a:prstGeom>
        <a:gradFill rotWithShape="0">
          <a:gsLst>
            <a:gs pos="0">
              <a:schemeClr val="accent5">
                <a:shade val="50000"/>
                <a:hueOff val="0"/>
                <a:satOff val="0"/>
                <a:lumOff val="0"/>
                <a:alphaOff val="0"/>
                <a:lumMod val="110000"/>
                <a:satMod val="105000"/>
                <a:tint val="67000"/>
              </a:schemeClr>
            </a:gs>
            <a:gs pos="50000">
              <a:schemeClr val="accent5">
                <a:shade val="50000"/>
                <a:hueOff val="0"/>
                <a:satOff val="0"/>
                <a:lumOff val="0"/>
                <a:alphaOff val="0"/>
                <a:lumMod val="105000"/>
                <a:satMod val="103000"/>
                <a:tint val="73000"/>
              </a:schemeClr>
            </a:gs>
            <a:gs pos="100000">
              <a:schemeClr val="accent5">
                <a:shade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Funcionando.</a:t>
          </a:r>
        </a:p>
      </dsp:txBody>
      <dsp:txXfrm>
        <a:off x="21075" y="453660"/>
        <a:ext cx="5115637" cy="389580"/>
      </dsp:txXfrm>
    </dsp:sp>
    <dsp:sp modelId="{07CDE90F-1651-419C-A437-BE6B5EBD162E}">
      <dsp:nvSpPr>
        <dsp:cNvPr id="0" name=""/>
        <dsp:cNvSpPr/>
      </dsp:nvSpPr>
      <dsp:spPr>
        <a:xfrm>
          <a:off x="0" y="916155"/>
          <a:ext cx="5157787" cy="431730"/>
        </a:xfrm>
        <a:prstGeom prst="roundRect">
          <a:avLst/>
        </a:prstGeom>
        <a:gradFill rotWithShape="0">
          <a:gsLst>
            <a:gs pos="0">
              <a:schemeClr val="accent5">
                <a:shade val="50000"/>
                <a:hueOff val="111419"/>
                <a:satOff val="2985"/>
                <a:lumOff val="13151"/>
                <a:alphaOff val="0"/>
                <a:lumMod val="110000"/>
                <a:satMod val="105000"/>
                <a:tint val="67000"/>
              </a:schemeClr>
            </a:gs>
            <a:gs pos="50000">
              <a:schemeClr val="accent5">
                <a:shade val="50000"/>
                <a:hueOff val="111419"/>
                <a:satOff val="2985"/>
                <a:lumOff val="13151"/>
                <a:alphaOff val="0"/>
                <a:lumMod val="105000"/>
                <a:satMod val="103000"/>
                <a:tint val="73000"/>
              </a:schemeClr>
            </a:gs>
            <a:gs pos="100000">
              <a:schemeClr val="accent5">
                <a:shade val="50000"/>
                <a:hueOff val="111419"/>
                <a:satOff val="2985"/>
                <a:lumOff val="1315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On premise / </a:t>
          </a:r>
          <a:r>
            <a:rPr lang="es-ES" sz="1800" kern="1200" dirty="0">
              <a:solidFill>
                <a:schemeClr val="tx1"/>
              </a:solidFill>
            </a:rPr>
            <a:t>nube.</a:t>
          </a:r>
        </a:p>
      </dsp:txBody>
      <dsp:txXfrm>
        <a:off x="21075" y="937230"/>
        <a:ext cx="5115637" cy="389580"/>
      </dsp:txXfrm>
    </dsp:sp>
    <dsp:sp modelId="{2BF6F31C-B96B-4828-9ACF-901635E5D4B8}">
      <dsp:nvSpPr>
        <dsp:cNvPr id="0" name=""/>
        <dsp:cNvSpPr/>
      </dsp:nvSpPr>
      <dsp:spPr>
        <a:xfrm>
          <a:off x="0" y="1399725"/>
          <a:ext cx="5157787" cy="431730"/>
        </a:xfrm>
        <a:prstGeom prst="roundRect">
          <a:avLst/>
        </a:prstGeom>
        <a:gradFill rotWithShape="0">
          <a:gsLst>
            <a:gs pos="0">
              <a:schemeClr val="accent5">
                <a:shade val="50000"/>
                <a:hueOff val="222839"/>
                <a:satOff val="5970"/>
                <a:lumOff val="26302"/>
                <a:alphaOff val="0"/>
                <a:lumMod val="110000"/>
                <a:satMod val="105000"/>
                <a:tint val="67000"/>
              </a:schemeClr>
            </a:gs>
            <a:gs pos="50000">
              <a:schemeClr val="accent5">
                <a:shade val="50000"/>
                <a:hueOff val="222839"/>
                <a:satOff val="5970"/>
                <a:lumOff val="26302"/>
                <a:alphaOff val="0"/>
                <a:lumMod val="105000"/>
                <a:satMod val="103000"/>
                <a:tint val="73000"/>
              </a:schemeClr>
            </a:gs>
            <a:gs pos="100000">
              <a:schemeClr val="accent5">
                <a:shade val="50000"/>
                <a:hueOff val="222839"/>
                <a:satOff val="5970"/>
                <a:lumOff val="2630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Pantallas e informes a disposición del usuario.</a:t>
          </a:r>
        </a:p>
      </dsp:txBody>
      <dsp:txXfrm>
        <a:off x="21075" y="1420800"/>
        <a:ext cx="5115637" cy="389580"/>
      </dsp:txXfrm>
    </dsp:sp>
    <dsp:sp modelId="{4AC693F2-6B30-4FDA-8085-5667EB097EF2}">
      <dsp:nvSpPr>
        <dsp:cNvPr id="0" name=""/>
        <dsp:cNvSpPr/>
      </dsp:nvSpPr>
      <dsp:spPr>
        <a:xfrm>
          <a:off x="0" y="1883295"/>
          <a:ext cx="5157787" cy="431730"/>
        </a:xfrm>
        <a:prstGeom prst="roundRect">
          <a:avLst/>
        </a:prstGeom>
        <a:gradFill rotWithShape="0">
          <a:gsLst>
            <a:gs pos="0">
              <a:schemeClr val="accent5">
                <a:shade val="50000"/>
                <a:hueOff val="334258"/>
                <a:satOff val="8955"/>
                <a:lumOff val="39453"/>
                <a:alphaOff val="0"/>
                <a:lumMod val="110000"/>
                <a:satMod val="105000"/>
                <a:tint val="67000"/>
              </a:schemeClr>
            </a:gs>
            <a:gs pos="50000">
              <a:schemeClr val="accent5">
                <a:shade val="50000"/>
                <a:hueOff val="334258"/>
                <a:satOff val="8955"/>
                <a:lumOff val="39453"/>
                <a:alphaOff val="0"/>
                <a:lumMod val="105000"/>
                <a:satMod val="103000"/>
                <a:tint val="73000"/>
              </a:schemeClr>
            </a:gs>
            <a:gs pos="100000">
              <a:schemeClr val="accent5">
                <a:shade val="50000"/>
                <a:hueOff val="334258"/>
                <a:satOff val="8955"/>
                <a:lumOff val="3945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Manuales y otra documentación.</a:t>
          </a:r>
        </a:p>
      </dsp:txBody>
      <dsp:txXfrm>
        <a:off x="21075" y="1904370"/>
        <a:ext cx="5115637" cy="389580"/>
      </dsp:txXfrm>
    </dsp:sp>
    <dsp:sp modelId="{739F3C48-C985-4854-89D6-9D98E3F035C7}">
      <dsp:nvSpPr>
        <dsp:cNvPr id="0" name=""/>
        <dsp:cNvSpPr/>
      </dsp:nvSpPr>
      <dsp:spPr>
        <a:xfrm>
          <a:off x="0" y="2366865"/>
          <a:ext cx="5157787" cy="431730"/>
        </a:xfrm>
        <a:prstGeom prst="roundRect">
          <a:avLst/>
        </a:prstGeom>
        <a:gradFill rotWithShape="0">
          <a:gsLst>
            <a:gs pos="0">
              <a:schemeClr val="accent5">
                <a:shade val="50000"/>
                <a:hueOff val="222839"/>
                <a:satOff val="5970"/>
                <a:lumOff val="26302"/>
                <a:alphaOff val="0"/>
                <a:lumMod val="110000"/>
                <a:satMod val="105000"/>
                <a:tint val="67000"/>
              </a:schemeClr>
            </a:gs>
            <a:gs pos="50000">
              <a:schemeClr val="accent5">
                <a:shade val="50000"/>
                <a:hueOff val="222839"/>
                <a:satOff val="5970"/>
                <a:lumOff val="26302"/>
                <a:alphaOff val="0"/>
                <a:lumMod val="105000"/>
                <a:satMod val="103000"/>
                <a:tint val="73000"/>
              </a:schemeClr>
            </a:gs>
            <a:gs pos="100000">
              <a:schemeClr val="accent5">
                <a:shade val="50000"/>
                <a:hueOff val="222839"/>
                <a:satOff val="5970"/>
                <a:lumOff val="2630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Traspaso de información: Formación al usuario.</a:t>
          </a:r>
        </a:p>
      </dsp:txBody>
      <dsp:txXfrm>
        <a:off x="21075" y="2387940"/>
        <a:ext cx="5115637" cy="389580"/>
      </dsp:txXfrm>
    </dsp:sp>
    <dsp:sp modelId="{1C0F4F16-924C-4D9C-87B0-C324D8420759}">
      <dsp:nvSpPr>
        <dsp:cNvPr id="0" name=""/>
        <dsp:cNvSpPr/>
      </dsp:nvSpPr>
      <dsp:spPr>
        <a:xfrm>
          <a:off x="0" y="2850434"/>
          <a:ext cx="5157787" cy="431730"/>
        </a:xfrm>
        <a:prstGeom prst="roundRect">
          <a:avLst/>
        </a:prstGeom>
        <a:gradFill rotWithShape="0">
          <a:gsLst>
            <a:gs pos="0">
              <a:schemeClr val="accent5">
                <a:shade val="50000"/>
                <a:hueOff val="111419"/>
                <a:satOff val="2985"/>
                <a:lumOff val="13151"/>
                <a:alphaOff val="0"/>
                <a:lumMod val="110000"/>
                <a:satMod val="105000"/>
                <a:tint val="67000"/>
              </a:schemeClr>
            </a:gs>
            <a:gs pos="50000">
              <a:schemeClr val="accent5">
                <a:shade val="50000"/>
                <a:hueOff val="111419"/>
                <a:satOff val="2985"/>
                <a:lumOff val="13151"/>
                <a:alphaOff val="0"/>
                <a:lumMod val="105000"/>
                <a:satMod val="103000"/>
                <a:tint val="73000"/>
              </a:schemeClr>
            </a:gs>
            <a:gs pos="100000">
              <a:schemeClr val="accent5">
                <a:shade val="50000"/>
                <a:hueOff val="111419"/>
                <a:satOff val="2985"/>
                <a:lumOff val="1315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Hypercare (posterior mantenimiento) con su SLA</a:t>
          </a:r>
        </a:p>
      </dsp:txBody>
      <dsp:txXfrm>
        <a:off x="21075" y="2871509"/>
        <a:ext cx="5115637" cy="389580"/>
      </dsp:txXfrm>
    </dsp:sp>
  </dsp:spTree>
</dsp:drawing>
</file>

<file path=ppt/diagrams/drawing10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0FAC9E-C508-4BA8-9E57-BF5ACFEAC4EF}">
      <dsp:nvSpPr>
        <dsp:cNvPr id="0" name=""/>
        <dsp:cNvSpPr/>
      </dsp:nvSpPr>
      <dsp:spPr>
        <a:xfrm>
          <a:off x="0" y="46826"/>
          <a:ext cx="5183188" cy="455715"/>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Nuevas Tecnologías.</a:t>
          </a:r>
        </a:p>
      </dsp:txBody>
      <dsp:txXfrm>
        <a:off x="22246" y="69072"/>
        <a:ext cx="5138696" cy="411223"/>
      </dsp:txXfrm>
    </dsp:sp>
    <dsp:sp modelId="{2F6AFC05-0DC6-4205-81A9-116FE6759381}">
      <dsp:nvSpPr>
        <dsp:cNvPr id="0" name=""/>
        <dsp:cNvSpPr/>
      </dsp:nvSpPr>
      <dsp:spPr>
        <a:xfrm>
          <a:off x="0" y="528142"/>
          <a:ext cx="5183188" cy="455715"/>
        </a:xfrm>
        <a:prstGeom prst="roundRect">
          <a:avLst/>
        </a:prstGeom>
        <a:gradFill rotWithShape="0">
          <a:gsLst>
            <a:gs pos="0">
              <a:schemeClr val="accent5">
                <a:hueOff val="-3379271"/>
                <a:satOff val="-8710"/>
                <a:lumOff val="-5883"/>
                <a:alphaOff val="0"/>
                <a:lumMod val="110000"/>
                <a:satMod val="105000"/>
                <a:tint val="67000"/>
              </a:schemeClr>
            </a:gs>
            <a:gs pos="50000">
              <a:schemeClr val="accent5">
                <a:hueOff val="-3379271"/>
                <a:satOff val="-8710"/>
                <a:lumOff val="-5883"/>
                <a:alphaOff val="0"/>
                <a:lumMod val="105000"/>
                <a:satMod val="103000"/>
                <a:tint val="73000"/>
              </a:schemeClr>
            </a:gs>
            <a:gs pos="100000">
              <a:schemeClr val="accent5">
                <a:hueOff val="-3379271"/>
                <a:satOff val="-8710"/>
                <a:lumOff val="-588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Absolutamente enfocados al Real Time</a:t>
          </a:r>
        </a:p>
      </dsp:txBody>
      <dsp:txXfrm>
        <a:off x="22246" y="550388"/>
        <a:ext cx="5138696" cy="411223"/>
      </dsp:txXfrm>
    </dsp:sp>
    <dsp:sp modelId="{33CC5F8C-AB94-40C4-A4C9-B2A2781BF558}">
      <dsp:nvSpPr>
        <dsp:cNvPr id="0" name=""/>
        <dsp:cNvSpPr/>
      </dsp:nvSpPr>
      <dsp:spPr>
        <a:xfrm>
          <a:off x="0" y="1038577"/>
          <a:ext cx="5183188" cy="455715"/>
        </a:xfrm>
        <a:prstGeom prst="roundRect">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Nube </a:t>
          </a:r>
        </a:p>
      </dsp:txBody>
      <dsp:txXfrm>
        <a:off x="22246" y="1060823"/>
        <a:ext cx="5138696" cy="411223"/>
      </dsp:txXfrm>
    </dsp:sp>
  </dsp:spTree>
</dsp:drawing>
</file>

<file path=ppt/diagrams/drawing10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9D9A0C-CDE6-4F63-BCA8-FAE572F369F4}">
      <dsp:nvSpPr>
        <dsp:cNvPr id="0" name=""/>
        <dsp:cNvSpPr/>
      </dsp:nvSpPr>
      <dsp:spPr>
        <a:xfrm>
          <a:off x="535" y="462830"/>
          <a:ext cx="1731957" cy="1154633"/>
        </a:xfrm>
        <a:prstGeom prst="rect">
          <a:avLst/>
        </a:prstGeom>
        <a:blipFill dpi="0" rotWithShape="1">
          <a:blip xmlns:r="http://schemas.openxmlformats.org/officeDocument/2006/relationships" r:embed="rId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t="17525" b="1752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DD16D6-E242-4C7B-8A73-6C99CC5C5088}">
      <dsp:nvSpPr>
        <dsp:cNvPr id="0" name=""/>
        <dsp:cNvSpPr/>
      </dsp:nvSpPr>
      <dsp:spPr>
        <a:xfrm>
          <a:off x="1758320" y="1689666"/>
          <a:ext cx="2837842" cy="1515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kern="1200" dirty="0">
              <a:highlight>
                <a:srgbClr val="00FF00"/>
              </a:highlight>
            </a:rPr>
            <a:t>Centrados en las personas y empresas.</a:t>
          </a:r>
        </a:p>
        <a:p>
          <a:pPr marL="114300" lvl="1" indent="-114300" algn="l" defTabSz="533400">
            <a:lnSpc>
              <a:spcPct val="90000"/>
            </a:lnSpc>
            <a:spcBef>
              <a:spcPct val="0"/>
            </a:spcBef>
            <a:spcAft>
              <a:spcPct val="15000"/>
            </a:spcAft>
            <a:buChar char="•"/>
          </a:pPr>
          <a:r>
            <a:rPr lang="es-ES" sz="1200" kern="1200" dirty="0"/>
            <a:t>Los criterios de “Desarrollo Sostenible ODS” y buen gobierno en la empresa “ESG” serán tenidos en cuenta durante la fase de construcción y posterior puesta en producción de la herramienta poniendo a las personas en el medio. </a:t>
          </a:r>
        </a:p>
      </dsp:txBody>
      <dsp:txXfrm>
        <a:off x="1758320" y="1689666"/>
        <a:ext cx="2837842" cy="1515641"/>
      </dsp:txXfrm>
    </dsp:sp>
    <dsp:sp modelId="{C3AE575D-20D2-40AB-B98E-1F0C67729186}">
      <dsp:nvSpPr>
        <dsp:cNvPr id="0" name=""/>
        <dsp:cNvSpPr/>
      </dsp:nvSpPr>
      <dsp:spPr>
        <a:xfrm>
          <a:off x="1588312" y="1473357"/>
          <a:ext cx="589296" cy="589449"/>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612166-BB91-437B-87CD-D11354428CE0}">
      <dsp:nvSpPr>
        <dsp:cNvPr id="0" name=""/>
        <dsp:cNvSpPr/>
      </dsp:nvSpPr>
      <dsp:spPr>
        <a:xfrm rot="5400000">
          <a:off x="3902753" y="1473433"/>
          <a:ext cx="589449" cy="589296"/>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D3035B-93A1-42DF-9B59-4F9F412DD97F}">
      <dsp:nvSpPr>
        <dsp:cNvPr id="0" name=""/>
        <dsp:cNvSpPr/>
      </dsp:nvSpPr>
      <dsp:spPr>
        <a:xfrm rot="16200000">
          <a:off x="1588236" y="2832540"/>
          <a:ext cx="589449" cy="589296"/>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25587E-BBCB-416D-9AE2-7AC33DDFD654}">
      <dsp:nvSpPr>
        <dsp:cNvPr id="0" name=""/>
        <dsp:cNvSpPr/>
      </dsp:nvSpPr>
      <dsp:spPr>
        <a:xfrm rot="10800000">
          <a:off x="3902829" y="2832463"/>
          <a:ext cx="589296" cy="589449"/>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206E9C-99AA-4E72-86F5-C29B67C1A394}">
      <dsp:nvSpPr>
        <dsp:cNvPr id="0" name=""/>
        <dsp:cNvSpPr/>
      </dsp:nvSpPr>
      <dsp:spPr>
        <a:xfrm>
          <a:off x="5232899" y="462830"/>
          <a:ext cx="1731957" cy="1154633"/>
        </a:xfrm>
        <a:prstGeom prst="rect">
          <a:avLst/>
        </a:prstGeom>
        <a:blipFill dpi="0" rotWithShape="1">
          <a:blip xmlns:r="http://schemas.openxmlformats.org/officeDocument/2006/relationships" r:embed="rId2"/>
          <a:srcRect/>
          <a:stretch>
            <a:fillRect t="6988" b="698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D120C7-279B-4CD8-80A1-357052ED971D}">
      <dsp:nvSpPr>
        <dsp:cNvPr id="0" name=""/>
        <dsp:cNvSpPr/>
      </dsp:nvSpPr>
      <dsp:spPr>
        <a:xfrm>
          <a:off x="7037171" y="1689666"/>
          <a:ext cx="2453756" cy="1515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kern="1200" dirty="0">
              <a:highlight>
                <a:srgbClr val="00FF00"/>
              </a:highlight>
            </a:rPr>
            <a:t>Centrados en el medio ambiente</a:t>
          </a:r>
        </a:p>
        <a:p>
          <a:pPr marL="114300" lvl="1" indent="-114300" algn="l" defTabSz="533400">
            <a:lnSpc>
              <a:spcPct val="90000"/>
            </a:lnSpc>
            <a:spcBef>
              <a:spcPct val="0"/>
            </a:spcBef>
            <a:spcAft>
              <a:spcPct val="15000"/>
            </a:spcAft>
            <a:buChar char="•"/>
          </a:pPr>
          <a:r>
            <a:rPr lang="es-ES" sz="1200" kern="1200" dirty="0"/>
            <a:t>El código generado y la posterior puesta en producción de la herramienta será respetuosa con el medio ambiente.</a:t>
          </a:r>
        </a:p>
      </dsp:txBody>
      <dsp:txXfrm>
        <a:off x="7037171" y="1689666"/>
        <a:ext cx="2453756" cy="1515641"/>
      </dsp:txXfrm>
    </dsp:sp>
    <dsp:sp modelId="{783833C9-960C-49FF-AE37-E5AB9804E9CA}">
      <dsp:nvSpPr>
        <dsp:cNvPr id="0" name=""/>
        <dsp:cNvSpPr/>
      </dsp:nvSpPr>
      <dsp:spPr>
        <a:xfrm>
          <a:off x="6820677" y="1473357"/>
          <a:ext cx="589296" cy="589449"/>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8CD392-CB16-48A3-ABDE-ACA6EA5198C7}">
      <dsp:nvSpPr>
        <dsp:cNvPr id="0" name=""/>
        <dsp:cNvSpPr/>
      </dsp:nvSpPr>
      <dsp:spPr>
        <a:xfrm rot="5400000">
          <a:off x="9135117" y="1473433"/>
          <a:ext cx="589449" cy="589296"/>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C66A7E-FEF1-4ED3-84AE-1722F3BCFBAB}">
      <dsp:nvSpPr>
        <dsp:cNvPr id="0" name=""/>
        <dsp:cNvSpPr/>
      </dsp:nvSpPr>
      <dsp:spPr>
        <a:xfrm rot="16200000">
          <a:off x="6820600" y="2832540"/>
          <a:ext cx="589449" cy="589296"/>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B38627-8D3A-4182-8499-AA989AFFA7BE}">
      <dsp:nvSpPr>
        <dsp:cNvPr id="0" name=""/>
        <dsp:cNvSpPr/>
      </dsp:nvSpPr>
      <dsp:spPr>
        <a:xfrm rot="10800000">
          <a:off x="9135194" y="2832463"/>
          <a:ext cx="589296" cy="589449"/>
        </a:xfrm>
        <a:prstGeom prst="halfFrame">
          <a:avLst>
            <a:gd name="adj1" fmla="val 25770"/>
            <a:gd name="adj2" fmla="val 257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0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DA0C9-2055-495C-AC5A-2680118EB129}">
      <dsp:nvSpPr>
        <dsp:cNvPr id="0" name=""/>
        <dsp:cNvSpPr/>
      </dsp:nvSpPr>
      <dsp:spPr>
        <a:xfrm>
          <a:off x="3286" y="5276"/>
          <a:ext cx="3203971" cy="79424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kern="1200" dirty="0"/>
            <a:t>Ambientales: Estos criterios evalúan el impacto de la empresa en el medio ambiente. </a:t>
          </a:r>
        </a:p>
      </dsp:txBody>
      <dsp:txXfrm>
        <a:off x="3286" y="5276"/>
        <a:ext cx="3203971" cy="794245"/>
      </dsp:txXfrm>
    </dsp:sp>
    <dsp:sp modelId="{51C35E58-7FBC-4678-BBF2-8ECD5D8351FB}">
      <dsp:nvSpPr>
        <dsp:cNvPr id="0" name=""/>
        <dsp:cNvSpPr/>
      </dsp:nvSpPr>
      <dsp:spPr>
        <a:xfrm>
          <a:off x="3286" y="799521"/>
          <a:ext cx="3203971" cy="35465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Reducir las emisiones de gases de efecto invernadero.</a:t>
          </a:r>
        </a:p>
        <a:p>
          <a:pPr marL="171450" lvl="1" indent="-171450" algn="l" defTabSz="711200">
            <a:lnSpc>
              <a:spcPct val="90000"/>
            </a:lnSpc>
            <a:spcBef>
              <a:spcPct val="0"/>
            </a:spcBef>
            <a:spcAft>
              <a:spcPct val="15000"/>
            </a:spcAft>
            <a:buChar char="•"/>
          </a:pPr>
          <a:r>
            <a:rPr lang="es-ES" sz="1600" kern="1200" dirty="0"/>
            <a:t>Utilizar energía renovable.</a:t>
          </a:r>
        </a:p>
        <a:p>
          <a:pPr marL="171450" lvl="1" indent="-171450" algn="l" defTabSz="711200">
            <a:lnSpc>
              <a:spcPct val="90000"/>
            </a:lnSpc>
            <a:spcBef>
              <a:spcPct val="0"/>
            </a:spcBef>
            <a:spcAft>
              <a:spcPct val="15000"/>
            </a:spcAft>
            <a:buChar char="•"/>
          </a:pPr>
          <a:r>
            <a:rPr lang="es-ES" sz="1600" kern="1200" dirty="0"/>
            <a:t>Reciclar y reutilizar materiales.</a:t>
          </a:r>
        </a:p>
        <a:p>
          <a:pPr marL="171450" lvl="1" indent="-171450" algn="l" defTabSz="711200">
            <a:lnSpc>
              <a:spcPct val="90000"/>
            </a:lnSpc>
            <a:spcBef>
              <a:spcPct val="0"/>
            </a:spcBef>
            <a:spcAft>
              <a:spcPct val="15000"/>
            </a:spcAft>
            <a:buChar char="•"/>
          </a:pPr>
          <a:r>
            <a:rPr lang="es-ES" sz="1600" kern="1200" dirty="0"/>
            <a:t>Proteger la biodiversidad.</a:t>
          </a:r>
        </a:p>
        <a:p>
          <a:pPr marL="171450" lvl="1" indent="-171450" algn="l" defTabSz="711200">
            <a:lnSpc>
              <a:spcPct val="90000"/>
            </a:lnSpc>
            <a:spcBef>
              <a:spcPct val="0"/>
            </a:spcBef>
            <a:spcAft>
              <a:spcPct val="15000"/>
            </a:spcAft>
            <a:buChar char="•"/>
          </a:pPr>
          <a:r>
            <a:rPr lang="es-ES" sz="1600" kern="1200" dirty="0"/>
            <a:t>Gestión de los residuos.</a:t>
          </a:r>
        </a:p>
      </dsp:txBody>
      <dsp:txXfrm>
        <a:off x="3286" y="799521"/>
        <a:ext cx="3203971" cy="3546539"/>
      </dsp:txXfrm>
    </dsp:sp>
    <dsp:sp modelId="{541F8DE3-92B5-49F2-BBE8-AB5983E45E45}">
      <dsp:nvSpPr>
        <dsp:cNvPr id="0" name=""/>
        <dsp:cNvSpPr/>
      </dsp:nvSpPr>
      <dsp:spPr>
        <a:xfrm>
          <a:off x="3655814" y="5276"/>
          <a:ext cx="3203971" cy="79424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kern="1200" dirty="0"/>
            <a:t>Sociales: Estos criterios evalúan el impacto de la empresa en la sociedad.  </a:t>
          </a:r>
        </a:p>
      </dsp:txBody>
      <dsp:txXfrm>
        <a:off x="3655814" y="5276"/>
        <a:ext cx="3203971" cy="794245"/>
      </dsp:txXfrm>
    </dsp:sp>
    <dsp:sp modelId="{686C5CFD-84A0-4CEB-912C-7FC4917AB88F}">
      <dsp:nvSpPr>
        <dsp:cNvPr id="0" name=""/>
        <dsp:cNvSpPr/>
      </dsp:nvSpPr>
      <dsp:spPr>
        <a:xfrm>
          <a:off x="3655814" y="799521"/>
          <a:ext cx="3203971" cy="35465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Respetar los derechos humanos.</a:t>
          </a:r>
        </a:p>
        <a:p>
          <a:pPr marL="171450" lvl="1" indent="-171450" algn="l" defTabSz="711200">
            <a:lnSpc>
              <a:spcPct val="90000"/>
            </a:lnSpc>
            <a:spcBef>
              <a:spcPct val="0"/>
            </a:spcBef>
            <a:spcAft>
              <a:spcPct val="15000"/>
            </a:spcAft>
            <a:buChar char="•"/>
          </a:pPr>
          <a:r>
            <a:rPr lang="es-ES" sz="1600" kern="1200" dirty="0"/>
            <a:t>Promover la diversidad e inclusión.</a:t>
          </a:r>
        </a:p>
        <a:p>
          <a:pPr marL="171450" lvl="1" indent="-171450" algn="l" defTabSz="711200">
            <a:lnSpc>
              <a:spcPct val="90000"/>
            </a:lnSpc>
            <a:spcBef>
              <a:spcPct val="0"/>
            </a:spcBef>
            <a:spcAft>
              <a:spcPct val="15000"/>
            </a:spcAft>
            <a:buChar char="•"/>
          </a:pPr>
          <a:r>
            <a:rPr lang="es-ES" sz="1600" kern="1200" dirty="0"/>
            <a:t>Ofrecer un entorno de trabajo seguro y saludable.</a:t>
          </a:r>
        </a:p>
        <a:p>
          <a:pPr marL="171450" lvl="1" indent="-171450" algn="l" defTabSz="711200">
            <a:lnSpc>
              <a:spcPct val="90000"/>
            </a:lnSpc>
            <a:spcBef>
              <a:spcPct val="0"/>
            </a:spcBef>
            <a:spcAft>
              <a:spcPct val="15000"/>
            </a:spcAft>
            <a:buChar char="•"/>
          </a:pPr>
          <a:r>
            <a:rPr lang="es-ES" sz="1600" kern="1200" dirty="0"/>
            <a:t>Apoyar a las comunidades locales.</a:t>
          </a:r>
        </a:p>
        <a:p>
          <a:pPr marL="171450" lvl="1" indent="-171450" algn="l" defTabSz="711200">
            <a:lnSpc>
              <a:spcPct val="90000"/>
            </a:lnSpc>
            <a:spcBef>
              <a:spcPct val="0"/>
            </a:spcBef>
            <a:spcAft>
              <a:spcPct val="15000"/>
            </a:spcAft>
            <a:buChar char="•"/>
          </a:pPr>
          <a:r>
            <a:rPr lang="es-ES" sz="1600" kern="1200" dirty="0"/>
            <a:t>Las contribuciones en especie se emplean en el 66,7% de los casos</a:t>
          </a:r>
        </a:p>
        <a:p>
          <a:pPr marL="171450" lvl="1" indent="-171450" algn="l" defTabSz="711200">
            <a:lnSpc>
              <a:spcPct val="90000"/>
            </a:lnSpc>
            <a:spcBef>
              <a:spcPct val="0"/>
            </a:spcBef>
            <a:spcAft>
              <a:spcPct val="15000"/>
            </a:spcAft>
            <a:buChar char="•"/>
          </a:pPr>
          <a:r>
            <a:rPr lang="es-ES" sz="1600" kern="1200" dirty="0"/>
            <a:t>Las donaciones financieras</a:t>
          </a:r>
        </a:p>
        <a:p>
          <a:pPr marL="171450" lvl="1" indent="-171450" algn="l" defTabSz="711200">
            <a:lnSpc>
              <a:spcPct val="90000"/>
            </a:lnSpc>
            <a:spcBef>
              <a:spcPct val="0"/>
            </a:spcBef>
            <a:spcAft>
              <a:spcPct val="15000"/>
            </a:spcAft>
            <a:buChar char="•"/>
          </a:pPr>
          <a:r>
            <a:rPr lang="es-ES" sz="1600" kern="1200" dirty="0"/>
            <a:t>Voluntariado en la jornada laboral.</a:t>
          </a:r>
        </a:p>
      </dsp:txBody>
      <dsp:txXfrm>
        <a:off x="3655814" y="799521"/>
        <a:ext cx="3203971" cy="3546539"/>
      </dsp:txXfrm>
    </dsp:sp>
    <dsp:sp modelId="{F8048CC8-71E1-4040-8BB6-020FED2805C1}">
      <dsp:nvSpPr>
        <dsp:cNvPr id="0" name=""/>
        <dsp:cNvSpPr/>
      </dsp:nvSpPr>
      <dsp:spPr>
        <a:xfrm>
          <a:off x="7308342" y="5276"/>
          <a:ext cx="3203971" cy="79424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kern="1200" dirty="0"/>
            <a:t>Gobernanza: Estos criterios evalúan la estructura y el funcionamiento de la empresa. </a:t>
          </a:r>
        </a:p>
      </dsp:txBody>
      <dsp:txXfrm>
        <a:off x="7308342" y="5276"/>
        <a:ext cx="3203971" cy="794245"/>
      </dsp:txXfrm>
    </dsp:sp>
    <dsp:sp modelId="{7B3238A8-91EB-49F8-81C9-10C0457D9B5F}">
      <dsp:nvSpPr>
        <dsp:cNvPr id="0" name=""/>
        <dsp:cNvSpPr/>
      </dsp:nvSpPr>
      <dsp:spPr>
        <a:xfrm>
          <a:off x="7308342" y="799521"/>
          <a:ext cx="3203971" cy="35465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Ser transparente con la información financiera y operativa.</a:t>
          </a:r>
        </a:p>
        <a:p>
          <a:pPr marL="171450" lvl="1" indent="-171450" algn="l" defTabSz="711200">
            <a:lnSpc>
              <a:spcPct val="90000"/>
            </a:lnSpc>
            <a:spcBef>
              <a:spcPct val="0"/>
            </a:spcBef>
            <a:spcAft>
              <a:spcPct val="15000"/>
            </a:spcAft>
            <a:buChar char="•"/>
          </a:pPr>
          <a:r>
            <a:rPr lang="es-ES" sz="1600" kern="1200" dirty="0"/>
            <a:t>Contar con un consejo de administración diverso e independiente.</a:t>
          </a:r>
        </a:p>
        <a:p>
          <a:pPr marL="171450" lvl="1" indent="-171450" algn="l" defTabSz="711200">
            <a:lnSpc>
              <a:spcPct val="90000"/>
            </a:lnSpc>
            <a:spcBef>
              <a:spcPct val="0"/>
            </a:spcBef>
            <a:spcAft>
              <a:spcPct val="15000"/>
            </a:spcAft>
            <a:buChar char="•"/>
          </a:pPr>
          <a:r>
            <a:rPr lang="es-ES" sz="1600" kern="1200" dirty="0"/>
            <a:t>Adoptar un código de conducta para los empleados.</a:t>
          </a:r>
        </a:p>
        <a:p>
          <a:pPr marL="171450" lvl="1" indent="-171450" algn="l" defTabSz="711200">
            <a:lnSpc>
              <a:spcPct val="90000"/>
            </a:lnSpc>
            <a:spcBef>
              <a:spcPct val="0"/>
            </a:spcBef>
            <a:spcAft>
              <a:spcPct val="15000"/>
            </a:spcAft>
            <a:buChar char="•"/>
          </a:pPr>
          <a:r>
            <a:rPr lang="es-ES" sz="1600" kern="1200" dirty="0"/>
            <a:t>Equidad salarial entre hombres y mujeres </a:t>
          </a:r>
        </a:p>
        <a:p>
          <a:pPr marL="171450" lvl="1" indent="-171450" algn="l" defTabSz="711200">
            <a:lnSpc>
              <a:spcPct val="90000"/>
            </a:lnSpc>
            <a:spcBef>
              <a:spcPct val="0"/>
            </a:spcBef>
            <a:spcAft>
              <a:spcPct val="15000"/>
            </a:spcAft>
            <a:buChar char="•"/>
          </a:pPr>
          <a:r>
            <a:rPr lang="es-ES" sz="1600" kern="1200" dirty="0"/>
            <a:t>Formación a los profesionales en nuevas habilidades como los principios ESG.</a:t>
          </a:r>
        </a:p>
      </dsp:txBody>
      <dsp:txXfrm>
        <a:off x="7308342" y="799521"/>
        <a:ext cx="3203971" cy="3546539"/>
      </dsp:txXfrm>
    </dsp:sp>
  </dsp:spTree>
</dsp:drawing>
</file>

<file path=ppt/diagrams/drawing10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442F00-C0B3-40A0-8F4D-8C62E4593B5E}">
      <dsp:nvSpPr>
        <dsp:cNvPr id="0" name=""/>
        <dsp:cNvSpPr/>
      </dsp:nvSpPr>
      <dsp:spPr>
        <a:xfrm>
          <a:off x="625" y="294261"/>
          <a:ext cx="3084162" cy="810000"/>
        </a:xfrm>
        <a:prstGeom prst="homePlate">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s-ES" sz="1500" kern="1200" dirty="0"/>
            <a:t>Es una iniciativa que parte del máximo responsable</a:t>
          </a:r>
        </a:p>
      </dsp:txBody>
      <dsp:txXfrm>
        <a:off x="625" y="294261"/>
        <a:ext cx="2881662" cy="810000"/>
      </dsp:txXfrm>
    </dsp:sp>
    <dsp:sp modelId="{79646AAE-79C1-4E0B-A419-5AB9FF2BB0C5}">
      <dsp:nvSpPr>
        <dsp:cNvPr id="0" name=""/>
        <dsp:cNvSpPr/>
      </dsp:nvSpPr>
      <dsp:spPr>
        <a:xfrm>
          <a:off x="625" y="1205511"/>
          <a:ext cx="2467329" cy="27118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66750">
            <a:lnSpc>
              <a:spcPct val="90000"/>
            </a:lnSpc>
            <a:spcBef>
              <a:spcPct val="0"/>
            </a:spcBef>
            <a:spcAft>
              <a:spcPct val="15000"/>
            </a:spcAft>
            <a:buChar char="•"/>
          </a:pPr>
          <a:r>
            <a:rPr lang="es-ES" sz="1500" kern="1200" dirty="0"/>
            <a:t>Y delega en la “oficina del programa”.</a:t>
          </a:r>
        </a:p>
        <a:p>
          <a:pPr marL="114300" lvl="1" indent="-114300" algn="l" defTabSz="666750">
            <a:lnSpc>
              <a:spcPct val="90000"/>
            </a:lnSpc>
            <a:spcBef>
              <a:spcPct val="0"/>
            </a:spcBef>
            <a:spcAft>
              <a:spcPct val="15000"/>
            </a:spcAft>
            <a:buChar char="•"/>
          </a:pPr>
          <a:r>
            <a:rPr lang="es-ES" sz="1500" kern="1200" dirty="0"/>
            <a:t>Que designa responsables específicos para elaborar una estrategia ESG y ODS simple e integrada con el Plan Director</a:t>
          </a:r>
        </a:p>
      </dsp:txBody>
      <dsp:txXfrm>
        <a:off x="625" y="1205511"/>
        <a:ext cx="2467329" cy="2711865"/>
      </dsp:txXfrm>
    </dsp:sp>
    <dsp:sp modelId="{D8F4DB0F-23D4-4D0B-A06E-DE502388D886}">
      <dsp:nvSpPr>
        <dsp:cNvPr id="0" name=""/>
        <dsp:cNvSpPr/>
      </dsp:nvSpPr>
      <dsp:spPr>
        <a:xfrm>
          <a:off x="2868787" y="294261"/>
          <a:ext cx="3084162" cy="810000"/>
        </a:xfrm>
        <a:prstGeom prst="chevron">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s-ES" sz="1500" kern="1200" dirty="0"/>
            <a:t>Conocer lo que esperan los clientes / la sociedad respecto a la UAM</a:t>
          </a:r>
        </a:p>
      </dsp:txBody>
      <dsp:txXfrm>
        <a:off x="3273787" y="294261"/>
        <a:ext cx="2274162" cy="810000"/>
      </dsp:txXfrm>
    </dsp:sp>
    <dsp:sp modelId="{48997F12-4CF7-4EBE-95DD-18C0B8F14FCC}">
      <dsp:nvSpPr>
        <dsp:cNvPr id="0" name=""/>
        <dsp:cNvSpPr/>
      </dsp:nvSpPr>
      <dsp:spPr>
        <a:xfrm>
          <a:off x="2868787" y="1205511"/>
          <a:ext cx="2467329" cy="27118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66750">
            <a:lnSpc>
              <a:spcPct val="90000"/>
            </a:lnSpc>
            <a:spcBef>
              <a:spcPct val="0"/>
            </a:spcBef>
            <a:spcAft>
              <a:spcPct val="15000"/>
            </a:spcAft>
            <a:buChar char="•"/>
          </a:pPr>
          <a:r>
            <a:rPr lang="es-ES" sz="1500" kern="1200" dirty="0"/>
            <a:t>Las tendencias generales y los observatorios de sostenibilidad.</a:t>
          </a:r>
        </a:p>
        <a:p>
          <a:pPr marL="114300" lvl="1" indent="-114300" algn="l" defTabSz="666750">
            <a:lnSpc>
              <a:spcPct val="90000"/>
            </a:lnSpc>
            <a:spcBef>
              <a:spcPct val="0"/>
            </a:spcBef>
            <a:spcAft>
              <a:spcPct val="15000"/>
            </a:spcAft>
            <a:buChar char="•"/>
          </a:pPr>
          <a:r>
            <a:rPr lang="es-ES" sz="1500" kern="1200" dirty="0"/>
            <a:t>Lo que espera la sociedad en general</a:t>
          </a:r>
        </a:p>
        <a:p>
          <a:pPr marL="114300" lvl="1" indent="-114300" algn="l" defTabSz="666750">
            <a:lnSpc>
              <a:spcPct val="90000"/>
            </a:lnSpc>
            <a:spcBef>
              <a:spcPct val="0"/>
            </a:spcBef>
            <a:spcAft>
              <a:spcPct val="15000"/>
            </a:spcAft>
            <a:buChar char="•"/>
          </a:pPr>
          <a:r>
            <a:rPr lang="es-ES" sz="1500" kern="1200" dirty="0"/>
            <a:t>Calculadora de huella de carbono de todo el proceso empresarial.</a:t>
          </a:r>
        </a:p>
        <a:p>
          <a:pPr marL="114300" lvl="1" indent="-114300" algn="l" defTabSz="666750">
            <a:lnSpc>
              <a:spcPct val="90000"/>
            </a:lnSpc>
            <a:spcBef>
              <a:spcPct val="0"/>
            </a:spcBef>
            <a:spcAft>
              <a:spcPct val="15000"/>
            </a:spcAft>
            <a:buChar char="•"/>
          </a:pPr>
          <a:r>
            <a:rPr lang="es-ES" sz="1500" kern="1200" dirty="0"/>
            <a:t>Conocimiento sensibilidad de los colaboradores interno y de la UAM en general. </a:t>
          </a:r>
        </a:p>
      </dsp:txBody>
      <dsp:txXfrm>
        <a:off x="2868787" y="1205511"/>
        <a:ext cx="2467329" cy="2711865"/>
      </dsp:txXfrm>
    </dsp:sp>
    <dsp:sp modelId="{A6800F7B-61C3-4CC7-8FAA-ED536E1717BE}">
      <dsp:nvSpPr>
        <dsp:cNvPr id="0" name=""/>
        <dsp:cNvSpPr/>
      </dsp:nvSpPr>
      <dsp:spPr>
        <a:xfrm>
          <a:off x="5736950" y="294261"/>
          <a:ext cx="3084162" cy="810000"/>
        </a:xfrm>
        <a:prstGeom prst="chevron">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s-ES" sz="1500" kern="1200" dirty="0"/>
            <a:t>Proceso de transformación</a:t>
          </a:r>
        </a:p>
      </dsp:txBody>
      <dsp:txXfrm>
        <a:off x="6141950" y="294261"/>
        <a:ext cx="2274162" cy="810000"/>
      </dsp:txXfrm>
    </dsp:sp>
    <dsp:sp modelId="{BB907D77-9A80-4FB6-9ACA-4C09F3FCC1EF}">
      <dsp:nvSpPr>
        <dsp:cNvPr id="0" name=""/>
        <dsp:cNvSpPr/>
      </dsp:nvSpPr>
      <dsp:spPr>
        <a:xfrm>
          <a:off x="5736950" y="1205511"/>
          <a:ext cx="2467329" cy="27118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66750">
            <a:lnSpc>
              <a:spcPct val="90000"/>
            </a:lnSpc>
            <a:spcBef>
              <a:spcPct val="0"/>
            </a:spcBef>
            <a:spcAft>
              <a:spcPct val="15000"/>
            </a:spcAft>
            <a:buChar char="•"/>
          </a:pPr>
          <a:r>
            <a:rPr lang="es-ES" sz="1500" kern="1200" dirty="0"/>
            <a:t>Plan de transformación. ⊂:</a:t>
          </a:r>
        </a:p>
        <a:p>
          <a:pPr marL="228600" lvl="2" indent="-114300" algn="l" defTabSz="666750">
            <a:lnSpc>
              <a:spcPct val="90000"/>
            </a:lnSpc>
            <a:spcBef>
              <a:spcPct val="0"/>
            </a:spcBef>
            <a:spcAft>
              <a:spcPct val="15000"/>
            </a:spcAft>
            <a:buChar char="•"/>
          </a:pPr>
          <a:r>
            <a:rPr lang="es-ES" sz="1500" kern="1200" dirty="0"/>
            <a:t>Comunicación externa ⊂ de la memoria.</a:t>
          </a:r>
        </a:p>
        <a:p>
          <a:pPr marL="228600" lvl="2" indent="-114300" algn="l" defTabSz="666750">
            <a:lnSpc>
              <a:spcPct val="90000"/>
            </a:lnSpc>
            <a:spcBef>
              <a:spcPct val="0"/>
            </a:spcBef>
            <a:spcAft>
              <a:spcPct val="15000"/>
            </a:spcAft>
            <a:buChar char="•"/>
          </a:pPr>
          <a:r>
            <a:rPr lang="es-ES" sz="1500" kern="1200" dirty="0"/>
            <a:t>Comunicación interna que a su vez ⊂ plan formación.</a:t>
          </a:r>
        </a:p>
        <a:p>
          <a:pPr marL="228600" lvl="2" indent="-114300" algn="l" defTabSz="666750">
            <a:lnSpc>
              <a:spcPct val="90000"/>
            </a:lnSpc>
            <a:spcBef>
              <a:spcPct val="0"/>
            </a:spcBef>
            <a:spcAft>
              <a:spcPct val="15000"/>
            </a:spcAft>
            <a:buChar char="•"/>
          </a:pPr>
          <a:r>
            <a:rPr lang="es-ES" sz="1500" kern="1200" dirty="0"/>
            <a:t>Plan de auditoría.</a:t>
          </a:r>
        </a:p>
        <a:p>
          <a:pPr marL="228600" lvl="2" indent="-114300" algn="l" defTabSz="666750">
            <a:lnSpc>
              <a:spcPct val="90000"/>
            </a:lnSpc>
            <a:spcBef>
              <a:spcPct val="0"/>
            </a:spcBef>
            <a:spcAft>
              <a:spcPct val="15000"/>
            </a:spcAft>
            <a:buChar char="•"/>
          </a:pPr>
          <a:r>
            <a:rPr lang="es-ES" sz="1500" kern="1200" dirty="0"/>
            <a:t>Plan de transformación detallado.</a:t>
          </a:r>
        </a:p>
        <a:p>
          <a:pPr marL="114300" lvl="1" indent="-114300" algn="l" defTabSz="666750">
            <a:lnSpc>
              <a:spcPct val="90000"/>
            </a:lnSpc>
            <a:spcBef>
              <a:spcPct val="0"/>
            </a:spcBef>
            <a:spcAft>
              <a:spcPct val="15000"/>
            </a:spcAft>
            <a:buChar char="•"/>
          </a:pPr>
          <a:r>
            <a:rPr lang="es-ES" sz="1500" kern="1200" dirty="0"/>
            <a:t>Puesta en marcha del plan director.</a:t>
          </a:r>
        </a:p>
        <a:p>
          <a:pPr marL="114300" lvl="1" indent="-114300" algn="l" defTabSz="666750">
            <a:lnSpc>
              <a:spcPct val="90000"/>
            </a:lnSpc>
            <a:spcBef>
              <a:spcPct val="0"/>
            </a:spcBef>
            <a:spcAft>
              <a:spcPct val="15000"/>
            </a:spcAft>
            <a:buChar char="•"/>
          </a:pPr>
          <a:r>
            <a:rPr lang="es-ES" sz="1500" kern="1200" dirty="0"/>
            <a:t>Medir el desempeño mediante KPI.</a:t>
          </a:r>
        </a:p>
      </dsp:txBody>
      <dsp:txXfrm>
        <a:off x="5736950" y="1205511"/>
        <a:ext cx="2467329" cy="2711865"/>
      </dsp:txXfrm>
    </dsp:sp>
  </dsp:spTree>
</dsp:drawing>
</file>

<file path=ppt/diagrams/drawing10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4084D-BABD-49AD-B302-EFB109693F32}">
      <dsp:nvSpPr>
        <dsp:cNvPr id="0" name=""/>
        <dsp:cNvSpPr/>
      </dsp:nvSpPr>
      <dsp:spPr>
        <a:xfrm>
          <a:off x="632" y="572231"/>
          <a:ext cx="2466826" cy="1480095"/>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El sector de la </a:t>
          </a:r>
          <a:r>
            <a:rPr lang="es-ES" sz="1600" kern="1200" dirty="0">
              <a:highlight>
                <a:srgbClr val="008000"/>
              </a:highlight>
            </a:rPr>
            <a:t>tecnología de la información supone un 7% del consumo </a:t>
          </a:r>
          <a:r>
            <a:rPr lang="es-ES" sz="1600" kern="1200" dirty="0"/>
            <a:t>mundial de energía.</a:t>
          </a:r>
        </a:p>
      </dsp:txBody>
      <dsp:txXfrm>
        <a:off x="632" y="572231"/>
        <a:ext cx="2466826" cy="1480095"/>
      </dsp:txXfrm>
    </dsp:sp>
    <dsp:sp modelId="{904167A2-5667-4537-8650-C8791ACAC35F}">
      <dsp:nvSpPr>
        <dsp:cNvPr id="0" name=""/>
        <dsp:cNvSpPr/>
      </dsp:nvSpPr>
      <dsp:spPr>
        <a:xfrm>
          <a:off x="2714141" y="572231"/>
          <a:ext cx="2466826" cy="1480095"/>
        </a:xfrm>
        <a:prstGeom prst="rect">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La programación verde o green computing implica aplicar criterios metodológicos específicos en su definición , construcción y test.</a:t>
          </a:r>
        </a:p>
      </dsp:txBody>
      <dsp:txXfrm>
        <a:off x="2714141" y="572231"/>
        <a:ext cx="2466826" cy="1480095"/>
      </dsp:txXfrm>
    </dsp:sp>
    <dsp:sp modelId="{B34A3A5F-E17C-40A6-BEA8-0269A7639C99}">
      <dsp:nvSpPr>
        <dsp:cNvPr id="0" name=""/>
        <dsp:cNvSpPr/>
      </dsp:nvSpPr>
      <dsp:spPr>
        <a:xfrm>
          <a:off x="1357386" y="2299010"/>
          <a:ext cx="2466826" cy="1480095"/>
        </a:xfrm>
        <a:prstGeom prst="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Busca </a:t>
          </a:r>
          <a:r>
            <a:rPr lang="es-ES" sz="1600" kern="1200" dirty="0">
              <a:highlight>
                <a:srgbClr val="008000"/>
              </a:highlight>
            </a:rPr>
            <a:t>reducir el impacto ecológico en su puesta en producción al hacer un uso más eficiente de los recursos técnicos.</a:t>
          </a:r>
        </a:p>
      </dsp:txBody>
      <dsp:txXfrm>
        <a:off x="1357386" y="2299010"/>
        <a:ext cx="2466826" cy="148009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1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77F4B1-09A7-444B-9ED1-D41A8D064512}">
      <dsp:nvSpPr>
        <dsp:cNvPr id="0" name=""/>
        <dsp:cNvSpPr/>
      </dsp:nvSpPr>
      <dsp:spPr>
        <a:xfrm>
          <a:off x="2126"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t>Hardware: </a:t>
          </a:r>
        </a:p>
      </dsp:txBody>
      <dsp:txXfrm>
        <a:off x="2126" y="0"/>
        <a:ext cx="2086978" cy="1263491"/>
      </dsp:txXfrm>
    </dsp:sp>
    <dsp:sp modelId="{8C37EC22-6FAB-4828-8E28-24CCF9E793C6}">
      <dsp:nvSpPr>
        <dsp:cNvPr id="0" name=""/>
        <dsp:cNvSpPr/>
      </dsp:nvSpPr>
      <dsp:spPr>
        <a:xfrm>
          <a:off x="210824" y="1263491"/>
          <a:ext cx="1669582" cy="2737564"/>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Se busca la eficiencia conjunta: software adaptado al hardware (ya prácticamente nube) y viceversa.</a:t>
          </a:r>
        </a:p>
      </dsp:txBody>
      <dsp:txXfrm>
        <a:off x="259724" y="1312391"/>
        <a:ext cx="1571782" cy="2639764"/>
      </dsp:txXfrm>
    </dsp:sp>
    <dsp:sp modelId="{952E3022-1E65-430E-8600-7A40D4FED712}">
      <dsp:nvSpPr>
        <dsp:cNvPr id="0" name=""/>
        <dsp:cNvSpPr/>
      </dsp:nvSpPr>
      <dsp:spPr>
        <a:xfrm>
          <a:off x="2245628"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t>Sistema operativo.</a:t>
          </a:r>
        </a:p>
      </dsp:txBody>
      <dsp:txXfrm>
        <a:off x="2245628" y="0"/>
        <a:ext cx="2086978" cy="1263491"/>
      </dsp:txXfrm>
    </dsp:sp>
    <dsp:sp modelId="{E77C5681-62C9-4CDB-8E17-B630D319161B}">
      <dsp:nvSpPr>
        <dsp:cNvPr id="0" name=""/>
        <dsp:cNvSpPr/>
      </dsp:nvSpPr>
      <dsp:spPr>
        <a:xfrm>
          <a:off x="2454326" y="1263491"/>
          <a:ext cx="1669582" cy="2737564"/>
        </a:xfrm>
        <a:prstGeom prst="roundRect">
          <a:avLst>
            <a:gd name="adj" fmla="val 10000"/>
          </a:avLst>
        </a:prstGeom>
        <a:solidFill>
          <a:schemeClr val="accent1">
            <a:shade val="80000"/>
            <a:hueOff val="87321"/>
            <a:satOff val="-1564"/>
            <a:lumOff val="6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En el arranque del proyecto, se determinará el más adecuado en función de los resultados a obtener.</a:t>
          </a:r>
        </a:p>
      </dsp:txBody>
      <dsp:txXfrm>
        <a:off x="2503226" y="1312391"/>
        <a:ext cx="1571782" cy="2639764"/>
      </dsp:txXfrm>
    </dsp:sp>
    <dsp:sp modelId="{2605C579-BE86-45CD-9775-97179FC45052}">
      <dsp:nvSpPr>
        <dsp:cNvPr id="0" name=""/>
        <dsp:cNvSpPr/>
      </dsp:nvSpPr>
      <dsp:spPr>
        <a:xfrm>
          <a:off x="4489130"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t>Servicios y código producido. </a:t>
          </a:r>
        </a:p>
      </dsp:txBody>
      <dsp:txXfrm>
        <a:off x="4489130" y="0"/>
        <a:ext cx="2086978" cy="1263491"/>
      </dsp:txXfrm>
    </dsp:sp>
    <dsp:sp modelId="{82306B64-538E-45BB-AAA7-B1F36CEAC248}">
      <dsp:nvSpPr>
        <dsp:cNvPr id="0" name=""/>
        <dsp:cNvSpPr/>
      </dsp:nvSpPr>
      <dsp:spPr>
        <a:xfrm>
          <a:off x="4697828" y="1263491"/>
          <a:ext cx="1669582" cy="2737564"/>
        </a:xfrm>
        <a:prstGeom prst="roundRect">
          <a:avLst>
            <a:gd name="adj" fmla="val 10000"/>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Realizando la misma función, algunos programas cuidadosamente definidos y confeccionados, son más eficientes que otros y consumen menos recursos. </a:t>
          </a:r>
        </a:p>
      </dsp:txBody>
      <dsp:txXfrm>
        <a:off x="4746728" y="1312391"/>
        <a:ext cx="1571782" cy="2639764"/>
      </dsp:txXfrm>
    </dsp:sp>
    <dsp:sp modelId="{AAA34052-DF97-4C58-BF4B-709AB965FCDC}">
      <dsp:nvSpPr>
        <dsp:cNvPr id="0" name=""/>
        <dsp:cNvSpPr/>
      </dsp:nvSpPr>
      <dsp:spPr>
        <a:xfrm>
          <a:off x="6732632"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t>Energía: </a:t>
          </a:r>
        </a:p>
      </dsp:txBody>
      <dsp:txXfrm>
        <a:off x="6732632" y="0"/>
        <a:ext cx="2086978" cy="1263491"/>
      </dsp:txXfrm>
    </dsp:sp>
    <dsp:sp modelId="{BACF342E-DE76-4DE9-BBE6-9AE1D9643F99}">
      <dsp:nvSpPr>
        <dsp:cNvPr id="0" name=""/>
        <dsp:cNvSpPr/>
      </dsp:nvSpPr>
      <dsp:spPr>
        <a:xfrm>
          <a:off x="6941330" y="1264725"/>
          <a:ext cx="1669582" cy="1269866"/>
        </a:xfrm>
        <a:prstGeom prst="roundRect">
          <a:avLst>
            <a:gd name="adj" fmla="val 10000"/>
          </a:avLst>
        </a:prstGeom>
        <a:solidFill>
          <a:schemeClr val="accent1">
            <a:shade val="80000"/>
            <a:hueOff val="261962"/>
            <a:satOff val="-4692"/>
            <a:lumOff val="199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El primer objetivo es el de hacer un uso más eficiente de la energía eléctrica empleada en procesar información. </a:t>
          </a:r>
        </a:p>
      </dsp:txBody>
      <dsp:txXfrm>
        <a:off x="6978523" y="1301918"/>
        <a:ext cx="1595196" cy="1195480"/>
      </dsp:txXfrm>
    </dsp:sp>
    <dsp:sp modelId="{DC6CC484-58A6-48C0-8EFD-72934A939993}">
      <dsp:nvSpPr>
        <dsp:cNvPr id="0" name=""/>
        <dsp:cNvSpPr/>
      </dsp:nvSpPr>
      <dsp:spPr>
        <a:xfrm>
          <a:off x="6941330" y="2729955"/>
          <a:ext cx="1669582" cy="1269866"/>
        </a:xfrm>
        <a:prstGeom prst="roundRect">
          <a:avLst>
            <a:gd name="adj" fmla="val 10000"/>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Por eso, se buscan códigos más sostenibles y compactos que minimicen el consumo de energía por operación útil.</a:t>
          </a:r>
        </a:p>
      </dsp:txBody>
      <dsp:txXfrm>
        <a:off x="6978523" y="2767148"/>
        <a:ext cx="1595196" cy="1195480"/>
      </dsp:txXfrm>
    </dsp:sp>
  </dsp:spTree>
</dsp:drawing>
</file>

<file path=ppt/diagrams/drawing1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10E39A-5EDC-4F82-A382-9DBD1131F095}">
      <dsp:nvSpPr>
        <dsp:cNvPr id="0" name=""/>
        <dsp:cNvSpPr/>
      </dsp:nvSpPr>
      <dsp:spPr>
        <a:xfrm>
          <a:off x="0" y="0"/>
          <a:ext cx="6792738" cy="758094"/>
        </a:xfrm>
        <a:prstGeom prst="roundRect">
          <a:avLst>
            <a:gd name="adj" fmla="val 100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Partiendo del Product Backlog (expresión escrita de lo que se quiere hacer).</a:t>
          </a:r>
        </a:p>
      </dsp:txBody>
      <dsp:txXfrm>
        <a:off x="22204" y="22204"/>
        <a:ext cx="5885997" cy="713686"/>
      </dsp:txXfrm>
    </dsp:sp>
    <dsp:sp modelId="{673475BD-CBE7-46FC-B1D6-9ACCC255ADFD}">
      <dsp:nvSpPr>
        <dsp:cNvPr id="0" name=""/>
        <dsp:cNvSpPr/>
      </dsp:nvSpPr>
      <dsp:spPr>
        <a:xfrm>
          <a:off x="507249" y="863385"/>
          <a:ext cx="6792738" cy="758094"/>
        </a:xfrm>
        <a:prstGeom prst="roundRect">
          <a:avLst>
            <a:gd name="adj" fmla="val 10000"/>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Definir profundamente la metodología.</a:t>
          </a:r>
        </a:p>
      </dsp:txBody>
      <dsp:txXfrm>
        <a:off x="529453" y="885589"/>
        <a:ext cx="5748318" cy="713686"/>
      </dsp:txXfrm>
    </dsp:sp>
    <dsp:sp modelId="{7AC00B09-3B1B-4317-AF53-DB2AC4B5B0EC}">
      <dsp:nvSpPr>
        <dsp:cNvPr id="0" name=""/>
        <dsp:cNvSpPr/>
      </dsp:nvSpPr>
      <dsp:spPr>
        <a:xfrm>
          <a:off x="1014499" y="1726771"/>
          <a:ext cx="6792738" cy="758094"/>
        </a:xfrm>
        <a:prstGeom prst="roundRect">
          <a:avLst>
            <a:gd name="adj" fmla="val 10000"/>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Construir código sostenible conforme a la metodología definida.</a:t>
          </a:r>
        </a:p>
      </dsp:txBody>
      <dsp:txXfrm>
        <a:off x="1036703" y="1748975"/>
        <a:ext cx="5748318" cy="713686"/>
      </dsp:txXfrm>
    </dsp:sp>
    <dsp:sp modelId="{EB73772D-13D4-43A3-9EBE-E45983E9C98E}">
      <dsp:nvSpPr>
        <dsp:cNvPr id="0" name=""/>
        <dsp:cNvSpPr/>
      </dsp:nvSpPr>
      <dsp:spPr>
        <a:xfrm>
          <a:off x="1521749" y="2590157"/>
          <a:ext cx="6792738" cy="758094"/>
        </a:xfrm>
        <a:prstGeom prst="roundRect">
          <a:avLst>
            <a:gd name="adj" fmla="val 10000"/>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Validación de la sostenibilidad del código producido.</a:t>
          </a:r>
        </a:p>
      </dsp:txBody>
      <dsp:txXfrm>
        <a:off x="1543953" y="2612361"/>
        <a:ext cx="5748318" cy="713686"/>
      </dsp:txXfrm>
    </dsp:sp>
    <dsp:sp modelId="{B03CC34F-6AF8-4CAC-87B5-5462E6ABFD8A}">
      <dsp:nvSpPr>
        <dsp:cNvPr id="0" name=""/>
        <dsp:cNvSpPr/>
      </dsp:nvSpPr>
      <dsp:spPr>
        <a:xfrm>
          <a:off x="2028999" y="3453543"/>
          <a:ext cx="6792738" cy="758094"/>
        </a:xfrm>
        <a:prstGeom prst="roundRect">
          <a:avLst>
            <a:gd name="adj" fmla="val 10000"/>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Roll out en nube para servicio SaaS</a:t>
          </a:r>
        </a:p>
      </dsp:txBody>
      <dsp:txXfrm>
        <a:off x="2051203" y="3475747"/>
        <a:ext cx="5748318" cy="713686"/>
      </dsp:txXfrm>
    </dsp:sp>
    <dsp:sp modelId="{48091E65-F5F0-4A54-A4F4-FB7EBE4B0961}">
      <dsp:nvSpPr>
        <dsp:cNvPr id="0" name=""/>
        <dsp:cNvSpPr/>
      </dsp:nvSpPr>
      <dsp:spPr>
        <a:xfrm>
          <a:off x="6299976" y="553830"/>
          <a:ext cx="492761" cy="492761"/>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s-ES" sz="2300" kern="1200" dirty="0"/>
        </a:p>
      </dsp:txBody>
      <dsp:txXfrm>
        <a:off x="6410847" y="553830"/>
        <a:ext cx="271019" cy="370803"/>
      </dsp:txXfrm>
    </dsp:sp>
    <dsp:sp modelId="{4B27C256-7DAC-41AB-B0F7-6FBC848B7C12}">
      <dsp:nvSpPr>
        <dsp:cNvPr id="0" name=""/>
        <dsp:cNvSpPr/>
      </dsp:nvSpPr>
      <dsp:spPr>
        <a:xfrm>
          <a:off x="6807226" y="1417216"/>
          <a:ext cx="492761" cy="492761"/>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s-ES" sz="2300" kern="1200" dirty="0"/>
        </a:p>
      </dsp:txBody>
      <dsp:txXfrm>
        <a:off x="6918097" y="1417216"/>
        <a:ext cx="271019" cy="370803"/>
      </dsp:txXfrm>
    </dsp:sp>
    <dsp:sp modelId="{F2966AEB-66F2-48FB-A6BD-DD5D263E2657}">
      <dsp:nvSpPr>
        <dsp:cNvPr id="0" name=""/>
        <dsp:cNvSpPr/>
      </dsp:nvSpPr>
      <dsp:spPr>
        <a:xfrm>
          <a:off x="7314476" y="2267967"/>
          <a:ext cx="492761" cy="492761"/>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s-ES" sz="2300" kern="1200" dirty="0"/>
        </a:p>
      </dsp:txBody>
      <dsp:txXfrm>
        <a:off x="7425347" y="2267967"/>
        <a:ext cx="271019" cy="370803"/>
      </dsp:txXfrm>
    </dsp:sp>
    <dsp:sp modelId="{87E0A2BF-8430-471D-8D4E-6952F1D9579C}">
      <dsp:nvSpPr>
        <dsp:cNvPr id="0" name=""/>
        <dsp:cNvSpPr/>
      </dsp:nvSpPr>
      <dsp:spPr>
        <a:xfrm>
          <a:off x="7821726" y="3139776"/>
          <a:ext cx="492761" cy="492761"/>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s-ES" sz="2300" kern="1200" dirty="0"/>
        </a:p>
      </dsp:txBody>
      <dsp:txXfrm>
        <a:off x="7932597" y="3139776"/>
        <a:ext cx="271019" cy="370803"/>
      </dsp:txXfrm>
    </dsp:sp>
  </dsp:spTree>
</dsp:drawing>
</file>

<file path=ppt/diagrams/drawing1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D3B3E4-FA66-4D39-AD5F-21EC3E2AFF40}">
      <dsp:nvSpPr>
        <dsp:cNvPr id="0" name=""/>
        <dsp:cNvSpPr/>
      </dsp:nvSpPr>
      <dsp:spPr>
        <a:xfrm>
          <a:off x="1044135" y="1610"/>
          <a:ext cx="2104208" cy="126252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La transformación digital es un proceso que nunca acaba, se centra en el Customer Journey.</a:t>
          </a:r>
        </a:p>
      </dsp:txBody>
      <dsp:txXfrm>
        <a:off x="1044135" y="1610"/>
        <a:ext cx="2104208" cy="1262525"/>
      </dsp:txXfrm>
    </dsp:sp>
    <dsp:sp modelId="{3A49BF2A-AE07-4835-8FB6-0BC92500A837}">
      <dsp:nvSpPr>
        <dsp:cNvPr id="0" name=""/>
        <dsp:cNvSpPr/>
      </dsp:nvSpPr>
      <dsp:spPr>
        <a:xfrm>
          <a:off x="3358764" y="1610"/>
          <a:ext cx="2104208" cy="1262525"/>
        </a:xfrm>
        <a:prstGeom prst="rect">
          <a:avLst/>
        </a:prstGeom>
        <a:solidFill>
          <a:schemeClr val="accent5">
            <a:hueOff val="-844818"/>
            <a:satOff val="-2177"/>
            <a:lumOff val="-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Supone llevar la organización allí donde y cuando están las personas y sus requerimientos.</a:t>
          </a:r>
        </a:p>
      </dsp:txBody>
      <dsp:txXfrm>
        <a:off x="3358764" y="1610"/>
        <a:ext cx="2104208" cy="1262525"/>
      </dsp:txXfrm>
    </dsp:sp>
    <dsp:sp modelId="{54D257F7-97E7-4531-AF8C-EC8954AF793A}">
      <dsp:nvSpPr>
        <dsp:cNvPr id="0" name=""/>
        <dsp:cNvSpPr/>
      </dsp:nvSpPr>
      <dsp:spPr>
        <a:xfrm>
          <a:off x="5673394" y="1610"/>
          <a:ext cx="2104208" cy="1262525"/>
        </a:xfrm>
        <a:prstGeom prst="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El CEO tiene que liderar el proceso.</a:t>
          </a:r>
        </a:p>
      </dsp:txBody>
      <dsp:txXfrm>
        <a:off x="5673394" y="1610"/>
        <a:ext cx="2104208" cy="1262525"/>
      </dsp:txXfrm>
    </dsp:sp>
    <dsp:sp modelId="{DF61C311-3B11-4F00-9A6F-ED462CBA3152}">
      <dsp:nvSpPr>
        <dsp:cNvPr id="0" name=""/>
        <dsp:cNvSpPr/>
      </dsp:nvSpPr>
      <dsp:spPr>
        <a:xfrm>
          <a:off x="1044135" y="1474556"/>
          <a:ext cx="2104208" cy="1262525"/>
        </a:xfrm>
        <a:prstGeom prst="rect">
          <a:avLst/>
        </a:prstGeom>
        <a:solidFill>
          <a:schemeClr val="accent5">
            <a:hueOff val="-2534453"/>
            <a:satOff val="-6532"/>
            <a:lumOff val="-4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Big Data, IA, IoT, Blockchain son piezas del puzzle.</a:t>
          </a:r>
        </a:p>
      </dsp:txBody>
      <dsp:txXfrm>
        <a:off x="1044135" y="1474556"/>
        <a:ext cx="2104208" cy="1262525"/>
      </dsp:txXfrm>
    </dsp:sp>
    <dsp:sp modelId="{8F24ED49-AF16-4F35-9B6F-F9D68886B3E1}">
      <dsp:nvSpPr>
        <dsp:cNvPr id="0" name=""/>
        <dsp:cNvSpPr/>
      </dsp:nvSpPr>
      <dsp:spPr>
        <a:xfrm>
          <a:off x="3358764" y="1474556"/>
          <a:ext cx="2104208" cy="1262525"/>
        </a:xfrm>
        <a:prstGeom prst="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Big Data: Tecnologías para capturar datos.</a:t>
          </a:r>
        </a:p>
      </dsp:txBody>
      <dsp:txXfrm>
        <a:off x="3358764" y="1474556"/>
        <a:ext cx="2104208" cy="1262525"/>
      </dsp:txXfrm>
    </dsp:sp>
    <dsp:sp modelId="{CC4199BE-6889-4144-A4BC-4BEA2F4CC200}">
      <dsp:nvSpPr>
        <dsp:cNvPr id="0" name=""/>
        <dsp:cNvSpPr/>
      </dsp:nvSpPr>
      <dsp:spPr>
        <a:xfrm>
          <a:off x="5673394" y="1474556"/>
          <a:ext cx="2104208" cy="1262525"/>
        </a:xfrm>
        <a:prstGeom prst="rect">
          <a:avLst/>
        </a:prstGeom>
        <a:solidFill>
          <a:schemeClr val="accent5">
            <a:hueOff val="-4224089"/>
            <a:satOff val="-10887"/>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IA: Tecnologías para convertir los datos en información.</a:t>
          </a:r>
        </a:p>
      </dsp:txBody>
      <dsp:txXfrm>
        <a:off x="5673394" y="1474556"/>
        <a:ext cx="2104208" cy="1262525"/>
      </dsp:txXfrm>
    </dsp:sp>
    <dsp:sp modelId="{1744EE14-6958-4977-BBE6-689D48057629}">
      <dsp:nvSpPr>
        <dsp:cNvPr id="0" name=""/>
        <dsp:cNvSpPr/>
      </dsp:nvSpPr>
      <dsp:spPr>
        <a:xfrm>
          <a:off x="1044135" y="2947502"/>
          <a:ext cx="2104208" cy="1262525"/>
        </a:xfrm>
        <a:prstGeom prst="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Equipo y metodología</a:t>
          </a:r>
        </a:p>
      </dsp:txBody>
      <dsp:txXfrm>
        <a:off x="1044135" y="2947502"/>
        <a:ext cx="2104208" cy="1262525"/>
      </dsp:txXfrm>
    </dsp:sp>
    <dsp:sp modelId="{4579DB58-B677-40E3-99BB-88B183F7B0A2}">
      <dsp:nvSpPr>
        <dsp:cNvPr id="0" name=""/>
        <dsp:cNvSpPr/>
      </dsp:nvSpPr>
      <dsp:spPr>
        <a:xfrm>
          <a:off x="3358764" y="2947502"/>
          <a:ext cx="2104208" cy="1262525"/>
        </a:xfrm>
        <a:prstGeom prst="rect">
          <a:avLst/>
        </a:prstGeom>
        <a:solidFill>
          <a:schemeClr val="accent5">
            <a:hueOff val="-5913725"/>
            <a:satOff val="-15242"/>
            <a:lumOff val="-10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No es difícil una vez que has entendido el concepto.</a:t>
          </a:r>
        </a:p>
      </dsp:txBody>
      <dsp:txXfrm>
        <a:off x="3358764" y="2947502"/>
        <a:ext cx="2104208" cy="1262525"/>
      </dsp:txXfrm>
    </dsp:sp>
    <dsp:sp modelId="{DCD64C2B-D2C6-4056-87BE-C01907BB8F6B}">
      <dsp:nvSpPr>
        <dsp:cNvPr id="0" name=""/>
        <dsp:cNvSpPr/>
      </dsp:nvSpPr>
      <dsp:spPr>
        <a:xfrm>
          <a:off x="5673394" y="2947502"/>
          <a:ext cx="2104208" cy="1262525"/>
        </a:xfrm>
        <a:prstGeom prst="rect">
          <a:avLst/>
        </a:prstGeom>
        <a:solidFill>
          <a:srgbClr val="333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 Si no eres digital eres vegetal !!!</a:t>
          </a:r>
        </a:p>
      </dsp:txBody>
      <dsp:txXfrm>
        <a:off x="5673394" y="2947502"/>
        <a:ext cx="2104208" cy="12625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9890C-2708-4C01-954B-7EEEC3AB78F9}">
      <dsp:nvSpPr>
        <dsp:cNvPr id="0" name=""/>
        <dsp:cNvSpPr/>
      </dsp:nvSpPr>
      <dsp:spPr>
        <a:xfrm>
          <a:off x="4415" y="0"/>
          <a:ext cx="4247184"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71450" tIns="171450" rIns="171450" bIns="171450" numCol="1" spcCol="1270" anchor="ctr" anchorCtr="0">
          <a:noAutofit/>
        </a:bodyPr>
        <a:lstStyle/>
        <a:p>
          <a:pPr marL="0" lvl="0" indent="0" algn="ctr" defTabSz="2000250">
            <a:lnSpc>
              <a:spcPct val="90000"/>
            </a:lnSpc>
            <a:spcBef>
              <a:spcPct val="0"/>
            </a:spcBef>
            <a:spcAft>
              <a:spcPct val="35000"/>
            </a:spcAft>
            <a:buNone/>
          </a:pPr>
          <a:r>
            <a:rPr lang="es-ES" sz="4500" kern="1200" dirty="0"/>
            <a:t>Data Warehouse</a:t>
          </a:r>
        </a:p>
      </dsp:txBody>
      <dsp:txXfrm>
        <a:off x="4415" y="0"/>
        <a:ext cx="4247184" cy="1263491"/>
      </dsp:txXfrm>
    </dsp:sp>
    <dsp:sp modelId="{E44854D0-B47C-4585-9919-BEB0B4181ADF}">
      <dsp:nvSpPr>
        <dsp:cNvPr id="0" name=""/>
        <dsp:cNvSpPr/>
      </dsp:nvSpPr>
      <dsp:spPr>
        <a:xfrm>
          <a:off x="429133" y="1263851"/>
          <a:ext cx="3397747" cy="827418"/>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s-ES" sz="1600" kern="1200" dirty="0"/>
            <a:t>Estructuras bien definidas y organizadas en tablas relacionales con esquemas fijos (estrella, copo de nieve)</a:t>
          </a:r>
        </a:p>
      </dsp:txBody>
      <dsp:txXfrm>
        <a:off x="453367" y="1288085"/>
        <a:ext cx="3349279" cy="778950"/>
      </dsp:txXfrm>
    </dsp:sp>
    <dsp:sp modelId="{928EB016-DE30-4986-8F69-531EA44C8DCA}">
      <dsp:nvSpPr>
        <dsp:cNvPr id="0" name=""/>
        <dsp:cNvSpPr/>
      </dsp:nvSpPr>
      <dsp:spPr>
        <a:xfrm>
          <a:off x="429133" y="2218564"/>
          <a:ext cx="3397747" cy="827418"/>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s-ES" sz="1600" kern="1200" dirty="0"/>
            <a:t>Optimizadas para análisis y consultas rápidas.</a:t>
          </a:r>
        </a:p>
      </dsp:txBody>
      <dsp:txXfrm>
        <a:off x="453367" y="2242798"/>
        <a:ext cx="3349279" cy="778950"/>
      </dsp:txXfrm>
    </dsp:sp>
    <dsp:sp modelId="{97D547C3-3005-4B09-80FD-C73FC42A908E}">
      <dsp:nvSpPr>
        <dsp:cNvPr id="0" name=""/>
        <dsp:cNvSpPr/>
      </dsp:nvSpPr>
      <dsp:spPr>
        <a:xfrm>
          <a:off x="429133" y="3173277"/>
          <a:ext cx="3397747" cy="827418"/>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s-ES" sz="1600" kern="1200" dirty="0"/>
            <a:t>Business intelligence</a:t>
          </a:r>
        </a:p>
      </dsp:txBody>
      <dsp:txXfrm>
        <a:off x="453367" y="3197511"/>
        <a:ext cx="3349279" cy="778950"/>
      </dsp:txXfrm>
    </dsp:sp>
    <dsp:sp modelId="{89657D1E-D5D3-4CC5-8279-67BF7581C320}">
      <dsp:nvSpPr>
        <dsp:cNvPr id="0" name=""/>
        <dsp:cNvSpPr/>
      </dsp:nvSpPr>
      <dsp:spPr>
        <a:xfrm>
          <a:off x="4570138" y="0"/>
          <a:ext cx="4247184"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71450" tIns="171450" rIns="171450" bIns="171450" numCol="1" spcCol="1270" anchor="ctr" anchorCtr="0">
          <a:noAutofit/>
        </a:bodyPr>
        <a:lstStyle/>
        <a:p>
          <a:pPr marL="0" lvl="0" indent="0" algn="ctr" defTabSz="2000250">
            <a:lnSpc>
              <a:spcPct val="90000"/>
            </a:lnSpc>
            <a:spcBef>
              <a:spcPct val="0"/>
            </a:spcBef>
            <a:spcAft>
              <a:spcPct val="35000"/>
            </a:spcAft>
            <a:buNone/>
          </a:pPr>
          <a:r>
            <a:rPr lang="es-ES" sz="4500" kern="1200" dirty="0"/>
            <a:t>Data Lake</a:t>
          </a:r>
        </a:p>
      </dsp:txBody>
      <dsp:txXfrm>
        <a:off x="4570138" y="0"/>
        <a:ext cx="4247184" cy="1263491"/>
      </dsp:txXfrm>
    </dsp:sp>
    <dsp:sp modelId="{D921EB5E-584E-4898-A979-FE697E1E81C7}">
      <dsp:nvSpPr>
        <dsp:cNvPr id="0" name=""/>
        <dsp:cNvSpPr/>
      </dsp:nvSpPr>
      <dsp:spPr>
        <a:xfrm>
          <a:off x="4994856" y="1264725"/>
          <a:ext cx="3397747"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s-ES" sz="1600" kern="1200" dirty="0"/>
            <a:t>Almacenamiento flexible y escalable de datos en su forma original, organizados en un sistema de archivos distribuido, sin necesidad de esquemas predefinidos</a:t>
          </a:r>
        </a:p>
      </dsp:txBody>
      <dsp:txXfrm>
        <a:off x="5032049" y="1301918"/>
        <a:ext cx="3323361" cy="1195480"/>
      </dsp:txXfrm>
    </dsp:sp>
    <dsp:sp modelId="{FB0C55E0-F313-4162-9836-1B6B5F782DB8}">
      <dsp:nvSpPr>
        <dsp:cNvPr id="0" name=""/>
        <dsp:cNvSpPr/>
      </dsp:nvSpPr>
      <dsp:spPr>
        <a:xfrm>
          <a:off x="4994856" y="2729955"/>
          <a:ext cx="3397747"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s-ES" sz="1600" kern="1200" dirty="0"/>
            <a:t>Adecuados para Big Data y análisis de datos no estructurados.</a:t>
          </a:r>
        </a:p>
      </dsp:txBody>
      <dsp:txXfrm>
        <a:off x="5032049" y="2767148"/>
        <a:ext cx="3323361" cy="11954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728CBE-03EB-407A-9A36-0D2B18CFA5DF}">
      <dsp:nvSpPr>
        <dsp:cNvPr id="0" name=""/>
        <dsp:cNvSpPr/>
      </dsp:nvSpPr>
      <dsp:spPr>
        <a:xfrm>
          <a:off x="0" y="93892"/>
          <a:ext cx="7843838" cy="43173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El almacenamiento físico de datos se implementa de diferentes formas:</a:t>
          </a:r>
        </a:p>
      </dsp:txBody>
      <dsp:txXfrm>
        <a:off x="21075" y="114967"/>
        <a:ext cx="7801688" cy="389580"/>
      </dsp:txXfrm>
    </dsp:sp>
    <dsp:sp modelId="{509D9910-7810-4CB9-B870-FB30EE4CC143}">
      <dsp:nvSpPr>
        <dsp:cNvPr id="0" name=""/>
        <dsp:cNvSpPr/>
      </dsp:nvSpPr>
      <dsp:spPr>
        <a:xfrm>
          <a:off x="0" y="525622"/>
          <a:ext cx="7843838" cy="1229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04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Las necesidades de la organización.</a:t>
          </a:r>
        </a:p>
        <a:p>
          <a:pPr marL="114300" lvl="1" indent="-114300" algn="l" defTabSz="622300">
            <a:lnSpc>
              <a:spcPct val="90000"/>
            </a:lnSpc>
            <a:spcBef>
              <a:spcPct val="0"/>
            </a:spcBef>
            <a:spcAft>
              <a:spcPct val="20000"/>
            </a:spcAft>
            <a:buChar char="•"/>
          </a:pPr>
          <a:r>
            <a:rPr lang="es-ES" sz="1400" kern="1200" dirty="0"/>
            <a:t>La infraestructura existente.</a:t>
          </a:r>
        </a:p>
        <a:p>
          <a:pPr marL="114300" lvl="1" indent="-114300" algn="l" defTabSz="622300">
            <a:lnSpc>
              <a:spcPct val="90000"/>
            </a:lnSpc>
            <a:spcBef>
              <a:spcPct val="0"/>
            </a:spcBef>
            <a:spcAft>
              <a:spcPct val="20000"/>
            </a:spcAft>
            <a:buChar char="•"/>
          </a:pPr>
          <a:r>
            <a:rPr lang="es-ES" sz="1400" kern="1200" dirty="0"/>
            <a:t>Sus requerimientos</a:t>
          </a:r>
        </a:p>
        <a:p>
          <a:pPr marL="114300" lvl="1" indent="-114300" algn="l" defTabSz="622300">
            <a:lnSpc>
              <a:spcPct val="90000"/>
            </a:lnSpc>
            <a:spcBef>
              <a:spcPct val="0"/>
            </a:spcBef>
            <a:spcAft>
              <a:spcPct val="20000"/>
            </a:spcAft>
            <a:buChar char="•"/>
          </a:pPr>
          <a:r>
            <a:rPr lang="es-ES" sz="1400" kern="1200" dirty="0"/>
            <a:t>Sus preferencias.</a:t>
          </a:r>
        </a:p>
        <a:p>
          <a:pPr marL="114300" lvl="1" indent="-114300" algn="l" defTabSz="622300">
            <a:lnSpc>
              <a:spcPct val="90000"/>
            </a:lnSpc>
            <a:spcBef>
              <a:spcPct val="0"/>
            </a:spcBef>
            <a:spcAft>
              <a:spcPct val="20000"/>
            </a:spcAft>
            <a:buChar char="•"/>
          </a:pPr>
          <a:r>
            <a:rPr lang="es-ES" sz="1400" kern="1200" dirty="0"/>
            <a:t>Su presupuesto. </a:t>
          </a:r>
        </a:p>
      </dsp:txBody>
      <dsp:txXfrm>
        <a:off x="0" y="525622"/>
        <a:ext cx="7843838" cy="1229580"/>
      </dsp:txXfrm>
    </dsp:sp>
    <dsp:sp modelId="{C416A670-E097-46BF-9662-4F1D5AABB0BF}">
      <dsp:nvSpPr>
        <dsp:cNvPr id="0" name=""/>
        <dsp:cNvSpPr/>
      </dsp:nvSpPr>
      <dsp:spPr>
        <a:xfrm>
          <a:off x="0" y="1755202"/>
          <a:ext cx="7843838" cy="431730"/>
        </a:xfrm>
        <a:prstGeom prst="roundRect">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On premise</a:t>
          </a:r>
        </a:p>
      </dsp:txBody>
      <dsp:txXfrm>
        <a:off x="21075" y="1776277"/>
        <a:ext cx="7801688" cy="389580"/>
      </dsp:txXfrm>
    </dsp:sp>
    <dsp:sp modelId="{57196A74-8FAB-4B08-B631-423E17F6BF3E}">
      <dsp:nvSpPr>
        <dsp:cNvPr id="0" name=""/>
        <dsp:cNvSpPr/>
      </dsp:nvSpPr>
      <dsp:spPr>
        <a:xfrm>
          <a:off x="0" y="2186932"/>
          <a:ext cx="7843838" cy="437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04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Es la infraestructura de almacenamiento de datos que se instala y mantiene dentro de las propias instalaciones de una organización.</a:t>
          </a:r>
        </a:p>
      </dsp:txBody>
      <dsp:txXfrm>
        <a:off x="0" y="2186932"/>
        <a:ext cx="7843838" cy="437805"/>
      </dsp:txXfrm>
    </dsp:sp>
    <dsp:sp modelId="{495B2AD3-44DF-4B4C-A4D8-5B3D5404FAC6}">
      <dsp:nvSpPr>
        <dsp:cNvPr id="0" name=""/>
        <dsp:cNvSpPr/>
      </dsp:nvSpPr>
      <dsp:spPr>
        <a:xfrm>
          <a:off x="0" y="2624737"/>
          <a:ext cx="7843838" cy="431730"/>
        </a:xfrm>
        <a:prstGeom prst="roundRect">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Nube</a:t>
          </a:r>
        </a:p>
      </dsp:txBody>
      <dsp:txXfrm>
        <a:off x="21075" y="2645812"/>
        <a:ext cx="7801688" cy="389580"/>
      </dsp:txXfrm>
    </dsp:sp>
    <dsp:sp modelId="{2E3E5A9F-197D-49FD-BF2B-9474B02CA2C7}">
      <dsp:nvSpPr>
        <dsp:cNvPr id="0" name=""/>
        <dsp:cNvSpPr/>
      </dsp:nvSpPr>
      <dsp:spPr>
        <a:xfrm>
          <a:off x="0" y="3056467"/>
          <a:ext cx="7843838" cy="437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04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Es el uso de servicios de almacenamiento proporcionados por proveedores externos que operan grandes centros de datos.</a:t>
          </a:r>
        </a:p>
      </dsp:txBody>
      <dsp:txXfrm>
        <a:off x="0" y="3056467"/>
        <a:ext cx="7843838" cy="437805"/>
      </dsp:txXfrm>
    </dsp:sp>
    <dsp:sp modelId="{C869CCC9-6415-4236-A8D6-397E152D3D1B}">
      <dsp:nvSpPr>
        <dsp:cNvPr id="0" name=""/>
        <dsp:cNvSpPr/>
      </dsp:nvSpPr>
      <dsp:spPr>
        <a:xfrm>
          <a:off x="0" y="3494272"/>
          <a:ext cx="7843838" cy="431730"/>
        </a:xfrm>
        <a:prstGeom prst="roundRect">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Mixto</a:t>
          </a:r>
        </a:p>
      </dsp:txBody>
      <dsp:txXfrm>
        <a:off x="21075" y="3515347"/>
        <a:ext cx="7801688" cy="389580"/>
      </dsp:txXfrm>
    </dsp:sp>
    <dsp:sp modelId="{2FC8C5F8-B187-48E0-9FB4-AE3820E97B4A}">
      <dsp:nvSpPr>
        <dsp:cNvPr id="0" name=""/>
        <dsp:cNvSpPr/>
      </dsp:nvSpPr>
      <dsp:spPr>
        <a:xfrm>
          <a:off x="0" y="3926002"/>
          <a:ext cx="7843838" cy="437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04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El almacenamiento mixto (híbrido) combina infraestructura on-premise y servicios en la nube, permitiendo a las organizaciones beneficiarse de lo mejor de ambos mundos.</a:t>
          </a:r>
        </a:p>
      </dsp:txBody>
      <dsp:txXfrm>
        <a:off x="0" y="3926002"/>
        <a:ext cx="7843838" cy="43780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E6FE1-2F56-4B21-A8C6-470E555D4466}">
      <dsp:nvSpPr>
        <dsp:cNvPr id="0" name=""/>
        <dsp:cNvSpPr/>
      </dsp:nvSpPr>
      <dsp:spPr>
        <a:xfrm>
          <a:off x="10173510"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FA9BF2-19C8-43E2-BE66-6AB23948C213}">
      <dsp:nvSpPr>
        <dsp:cNvPr id="0" name=""/>
        <dsp:cNvSpPr/>
      </dsp:nvSpPr>
      <dsp:spPr>
        <a:xfrm>
          <a:off x="10173510"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717C48-D538-4200-BCC8-4F1F6AC0CB24}">
      <dsp:nvSpPr>
        <dsp:cNvPr id="0" name=""/>
        <dsp:cNvSpPr/>
      </dsp:nvSpPr>
      <dsp:spPr>
        <a:xfrm>
          <a:off x="8627494" y="547799"/>
          <a:ext cx="1983051" cy="229443"/>
        </a:xfrm>
        <a:custGeom>
          <a:avLst/>
          <a:gdLst/>
          <a:ahLst/>
          <a:cxnLst/>
          <a:rect l="0" t="0" r="0" b="0"/>
          <a:pathLst>
            <a:path>
              <a:moveTo>
                <a:pt x="0" y="0"/>
              </a:moveTo>
              <a:lnTo>
                <a:pt x="0" y="114721"/>
              </a:lnTo>
              <a:lnTo>
                <a:pt x="1983051" y="114721"/>
              </a:lnTo>
              <a:lnTo>
                <a:pt x="1983051"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98CCE8-1CAE-4AC2-80B5-79B651549BE2}">
      <dsp:nvSpPr>
        <dsp:cNvPr id="0" name=""/>
        <dsp:cNvSpPr/>
      </dsp:nvSpPr>
      <dsp:spPr>
        <a:xfrm>
          <a:off x="8851475"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4CD957-1287-429E-B241-40616870A669}">
      <dsp:nvSpPr>
        <dsp:cNvPr id="0" name=""/>
        <dsp:cNvSpPr/>
      </dsp:nvSpPr>
      <dsp:spPr>
        <a:xfrm>
          <a:off x="8851475"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75213A-C5B8-4372-B728-A3B8A85B0D01}">
      <dsp:nvSpPr>
        <dsp:cNvPr id="0" name=""/>
        <dsp:cNvSpPr/>
      </dsp:nvSpPr>
      <dsp:spPr>
        <a:xfrm>
          <a:off x="8627494" y="547799"/>
          <a:ext cx="661017" cy="229443"/>
        </a:xfrm>
        <a:custGeom>
          <a:avLst/>
          <a:gdLst/>
          <a:ahLst/>
          <a:cxnLst/>
          <a:rect l="0" t="0" r="0" b="0"/>
          <a:pathLst>
            <a:path>
              <a:moveTo>
                <a:pt x="0" y="0"/>
              </a:moveTo>
              <a:lnTo>
                <a:pt x="0" y="114721"/>
              </a:lnTo>
              <a:lnTo>
                <a:pt x="661017" y="114721"/>
              </a:lnTo>
              <a:lnTo>
                <a:pt x="661017"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CBFD42-0EBF-4426-9C3B-0DAE9E12A03C}">
      <dsp:nvSpPr>
        <dsp:cNvPr id="0" name=""/>
        <dsp:cNvSpPr/>
      </dsp:nvSpPr>
      <dsp:spPr>
        <a:xfrm>
          <a:off x="7529441" y="1323538"/>
          <a:ext cx="163888" cy="2054069"/>
        </a:xfrm>
        <a:custGeom>
          <a:avLst/>
          <a:gdLst/>
          <a:ahLst/>
          <a:cxnLst/>
          <a:rect l="0" t="0" r="0" b="0"/>
          <a:pathLst>
            <a:path>
              <a:moveTo>
                <a:pt x="0" y="0"/>
              </a:moveTo>
              <a:lnTo>
                <a:pt x="0" y="2054069"/>
              </a:lnTo>
              <a:lnTo>
                <a:pt x="163888" y="2054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4AFF32-58E1-4E6E-8DD9-F22701ABB021}">
      <dsp:nvSpPr>
        <dsp:cNvPr id="0" name=""/>
        <dsp:cNvSpPr/>
      </dsp:nvSpPr>
      <dsp:spPr>
        <a:xfrm>
          <a:off x="7529441"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414C43-A323-404A-8B20-73C1B9394D8D}">
      <dsp:nvSpPr>
        <dsp:cNvPr id="0" name=""/>
        <dsp:cNvSpPr/>
      </dsp:nvSpPr>
      <dsp:spPr>
        <a:xfrm>
          <a:off x="7529441"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A6F615-40ED-4119-80CE-6C55C56BFCF7}">
      <dsp:nvSpPr>
        <dsp:cNvPr id="0" name=""/>
        <dsp:cNvSpPr/>
      </dsp:nvSpPr>
      <dsp:spPr>
        <a:xfrm>
          <a:off x="7966477" y="547799"/>
          <a:ext cx="661017" cy="229443"/>
        </a:xfrm>
        <a:custGeom>
          <a:avLst/>
          <a:gdLst/>
          <a:ahLst/>
          <a:cxnLst/>
          <a:rect l="0" t="0" r="0" b="0"/>
          <a:pathLst>
            <a:path>
              <a:moveTo>
                <a:pt x="661017" y="0"/>
              </a:moveTo>
              <a:lnTo>
                <a:pt x="661017" y="114721"/>
              </a:lnTo>
              <a:lnTo>
                <a:pt x="0" y="114721"/>
              </a:lnTo>
              <a:lnTo>
                <a:pt x="0"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9082D1-50A0-4875-8666-5BBAF2DF118C}">
      <dsp:nvSpPr>
        <dsp:cNvPr id="0" name=""/>
        <dsp:cNvSpPr/>
      </dsp:nvSpPr>
      <dsp:spPr>
        <a:xfrm>
          <a:off x="6207407" y="1323538"/>
          <a:ext cx="163888" cy="2054069"/>
        </a:xfrm>
        <a:custGeom>
          <a:avLst/>
          <a:gdLst/>
          <a:ahLst/>
          <a:cxnLst/>
          <a:rect l="0" t="0" r="0" b="0"/>
          <a:pathLst>
            <a:path>
              <a:moveTo>
                <a:pt x="0" y="0"/>
              </a:moveTo>
              <a:lnTo>
                <a:pt x="0" y="2054069"/>
              </a:lnTo>
              <a:lnTo>
                <a:pt x="163888" y="2054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0966F0-B954-461A-A8C3-AF471FD339DB}">
      <dsp:nvSpPr>
        <dsp:cNvPr id="0" name=""/>
        <dsp:cNvSpPr/>
      </dsp:nvSpPr>
      <dsp:spPr>
        <a:xfrm>
          <a:off x="6207407"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55BF2C-84E2-4FA5-AEC0-1FE1BDE8CEB9}">
      <dsp:nvSpPr>
        <dsp:cNvPr id="0" name=""/>
        <dsp:cNvSpPr/>
      </dsp:nvSpPr>
      <dsp:spPr>
        <a:xfrm>
          <a:off x="6207407"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E13B58-B690-41FA-8B50-ABF8AF488D63}">
      <dsp:nvSpPr>
        <dsp:cNvPr id="0" name=""/>
        <dsp:cNvSpPr/>
      </dsp:nvSpPr>
      <dsp:spPr>
        <a:xfrm>
          <a:off x="6644443" y="547799"/>
          <a:ext cx="1983051" cy="229443"/>
        </a:xfrm>
        <a:custGeom>
          <a:avLst/>
          <a:gdLst/>
          <a:ahLst/>
          <a:cxnLst/>
          <a:rect l="0" t="0" r="0" b="0"/>
          <a:pathLst>
            <a:path>
              <a:moveTo>
                <a:pt x="1983051" y="0"/>
              </a:moveTo>
              <a:lnTo>
                <a:pt x="1983051" y="114721"/>
              </a:lnTo>
              <a:lnTo>
                <a:pt x="0" y="114721"/>
              </a:lnTo>
              <a:lnTo>
                <a:pt x="0"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8389F6-63DF-4B1F-B09C-D2BE47B21E45}">
      <dsp:nvSpPr>
        <dsp:cNvPr id="0" name=""/>
        <dsp:cNvSpPr/>
      </dsp:nvSpPr>
      <dsp:spPr>
        <a:xfrm>
          <a:off x="4885372"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0307B7-E800-4318-96E1-45713A4E2ADF}">
      <dsp:nvSpPr>
        <dsp:cNvPr id="0" name=""/>
        <dsp:cNvSpPr/>
      </dsp:nvSpPr>
      <dsp:spPr>
        <a:xfrm>
          <a:off x="4885372"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B71D1F-86DF-45CE-937C-6BE1007419F9}">
      <dsp:nvSpPr>
        <dsp:cNvPr id="0" name=""/>
        <dsp:cNvSpPr/>
      </dsp:nvSpPr>
      <dsp:spPr>
        <a:xfrm>
          <a:off x="3339357" y="547799"/>
          <a:ext cx="1983051" cy="229443"/>
        </a:xfrm>
        <a:custGeom>
          <a:avLst/>
          <a:gdLst/>
          <a:ahLst/>
          <a:cxnLst/>
          <a:rect l="0" t="0" r="0" b="0"/>
          <a:pathLst>
            <a:path>
              <a:moveTo>
                <a:pt x="0" y="0"/>
              </a:moveTo>
              <a:lnTo>
                <a:pt x="0" y="114721"/>
              </a:lnTo>
              <a:lnTo>
                <a:pt x="1983051" y="114721"/>
              </a:lnTo>
              <a:lnTo>
                <a:pt x="1983051"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C5AF76-7429-4605-8AFA-B6184486BF5D}">
      <dsp:nvSpPr>
        <dsp:cNvPr id="0" name=""/>
        <dsp:cNvSpPr/>
      </dsp:nvSpPr>
      <dsp:spPr>
        <a:xfrm>
          <a:off x="3563338" y="1323538"/>
          <a:ext cx="163888" cy="2829808"/>
        </a:xfrm>
        <a:custGeom>
          <a:avLst/>
          <a:gdLst/>
          <a:ahLst/>
          <a:cxnLst/>
          <a:rect l="0" t="0" r="0" b="0"/>
          <a:pathLst>
            <a:path>
              <a:moveTo>
                <a:pt x="0" y="0"/>
              </a:moveTo>
              <a:lnTo>
                <a:pt x="0" y="2829808"/>
              </a:lnTo>
              <a:lnTo>
                <a:pt x="163888" y="2829808"/>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6160BE-74C8-4DF6-85A5-439B7CCB71D2}">
      <dsp:nvSpPr>
        <dsp:cNvPr id="0" name=""/>
        <dsp:cNvSpPr/>
      </dsp:nvSpPr>
      <dsp:spPr>
        <a:xfrm>
          <a:off x="3563338" y="1323538"/>
          <a:ext cx="163888" cy="2054069"/>
        </a:xfrm>
        <a:custGeom>
          <a:avLst/>
          <a:gdLst/>
          <a:ahLst/>
          <a:cxnLst/>
          <a:rect l="0" t="0" r="0" b="0"/>
          <a:pathLst>
            <a:path>
              <a:moveTo>
                <a:pt x="0" y="0"/>
              </a:moveTo>
              <a:lnTo>
                <a:pt x="0" y="2054069"/>
              </a:lnTo>
              <a:lnTo>
                <a:pt x="163888" y="2054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748499-FC23-4B02-B59D-82673765CAC2}">
      <dsp:nvSpPr>
        <dsp:cNvPr id="0" name=""/>
        <dsp:cNvSpPr/>
      </dsp:nvSpPr>
      <dsp:spPr>
        <a:xfrm>
          <a:off x="3563338"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2CF9E53-A8EA-432A-93DC-8245EBCC63F0}">
      <dsp:nvSpPr>
        <dsp:cNvPr id="0" name=""/>
        <dsp:cNvSpPr/>
      </dsp:nvSpPr>
      <dsp:spPr>
        <a:xfrm>
          <a:off x="3563338"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11C9BB2-6822-44A9-98E8-704B1BC1832F}">
      <dsp:nvSpPr>
        <dsp:cNvPr id="0" name=""/>
        <dsp:cNvSpPr/>
      </dsp:nvSpPr>
      <dsp:spPr>
        <a:xfrm>
          <a:off x="3339357" y="547799"/>
          <a:ext cx="661017" cy="229443"/>
        </a:xfrm>
        <a:custGeom>
          <a:avLst/>
          <a:gdLst/>
          <a:ahLst/>
          <a:cxnLst/>
          <a:rect l="0" t="0" r="0" b="0"/>
          <a:pathLst>
            <a:path>
              <a:moveTo>
                <a:pt x="0" y="0"/>
              </a:moveTo>
              <a:lnTo>
                <a:pt x="0" y="114721"/>
              </a:lnTo>
              <a:lnTo>
                <a:pt x="661017" y="114721"/>
              </a:lnTo>
              <a:lnTo>
                <a:pt x="661017"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F321A7-FD5A-4B8A-B810-4CBC417004EC}">
      <dsp:nvSpPr>
        <dsp:cNvPr id="0" name=""/>
        <dsp:cNvSpPr/>
      </dsp:nvSpPr>
      <dsp:spPr>
        <a:xfrm>
          <a:off x="2241304" y="1323538"/>
          <a:ext cx="163888" cy="2829808"/>
        </a:xfrm>
        <a:custGeom>
          <a:avLst/>
          <a:gdLst/>
          <a:ahLst/>
          <a:cxnLst/>
          <a:rect l="0" t="0" r="0" b="0"/>
          <a:pathLst>
            <a:path>
              <a:moveTo>
                <a:pt x="0" y="0"/>
              </a:moveTo>
              <a:lnTo>
                <a:pt x="0" y="2829808"/>
              </a:lnTo>
              <a:lnTo>
                <a:pt x="163888" y="2829808"/>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8BB2D-62FA-45FE-AF76-B9F99385C698}">
      <dsp:nvSpPr>
        <dsp:cNvPr id="0" name=""/>
        <dsp:cNvSpPr/>
      </dsp:nvSpPr>
      <dsp:spPr>
        <a:xfrm>
          <a:off x="2241304" y="1323538"/>
          <a:ext cx="163888" cy="2054069"/>
        </a:xfrm>
        <a:custGeom>
          <a:avLst/>
          <a:gdLst/>
          <a:ahLst/>
          <a:cxnLst/>
          <a:rect l="0" t="0" r="0" b="0"/>
          <a:pathLst>
            <a:path>
              <a:moveTo>
                <a:pt x="0" y="0"/>
              </a:moveTo>
              <a:lnTo>
                <a:pt x="0" y="2054069"/>
              </a:lnTo>
              <a:lnTo>
                <a:pt x="163888" y="2054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D022D9-4297-4286-876B-8169A686EE15}">
      <dsp:nvSpPr>
        <dsp:cNvPr id="0" name=""/>
        <dsp:cNvSpPr/>
      </dsp:nvSpPr>
      <dsp:spPr>
        <a:xfrm>
          <a:off x="2241304" y="1323538"/>
          <a:ext cx="163888" cy="1278330"/>
        </a:xfrm>
        <a:custGeom>
          <a:avLst/>
          <a:gdLst/>
          <a:ahLst/>
          <a:cxnLst/>
          <a:rect l="0" t="0" r="0" b="0"/>
          <a:pathLst>
            <a:path>
              <a:moveTo>
                <a:pt x="0" y="0"/>
              </a:moveTo>
              <a:lnTo>
                <a:pt x="0" y="1278330"/>
              </a:lnTo>
              <a:lnTo>
                <a:pt x="163888" y="1278330"/>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29C567-8E1E-40D1-8FC4-329FB023DBD3}">
      <dsp:nvSpPr>
        <dsp:cNvPr id="0" name=""/>
        <dsp:cNvSpPr/>
      </dsp:nvSpPr>
      <dsp:spPr>
        <a:xfrm>
          <a:off x="2241304"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35783B-9D54-4BD8-A67E-C4EF9451595F}">
      <dsp:nvSpPr>
        <dsp:cNvPr id="0" name=""/>
        <dsp:cNvSpPr/>
      </dsp:nvSpPr>
      <dsp:spPr>
        <a:xfrm>
          <a:off x="2678340" y="547799"/>
          <a:ext cx="661017" cy="229443"/>
        </a:xfrm>
        <a:custGeom>
          <a:avLst/>
          <a:gdLst/>
          <a:ahLst/>
          <a:cxnLst/>
          <a:rect l="0" t="0" r="0" b="0"/>
          <a:pathLst>
            <a:path>
              <a:moveTo>
                <a:pt x="661017" y="0"/>
              </a:moveTo>
              <a:lnTo>
                <a:pt x="661017" y="114721"/>
              </a:lnTo>
              <a:lnTo>
                <a:pt x="0" y="114721"/>
              </a:lnTo>
              <a:lnTo>
                <a:pt x="0"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DE8BCD-A3EF-4B8A-A349-3C10A43DC9D3}">
      <dsp:nvSpPr>
        <dsp:cNvPr id="0" name=""/>
        <dsp:cNvSpPr/>
      </dsp:nvSpPr>
      <dsp:spPr>
        <a:xfrm>
          <a:off x="919270" y="1323538"/>
          <a:ext cx="163888" cy="502591"/>
        </a:xfrm>
        <a:custGeom>
          <a:avLst/>
          <a:gdLst/>
          <a:ahLst/>
          <a:cxnLst/>
          <a:rect l="0" t="0" r="0" b="0"/>
          <a:pathLst>
            <a:path>
              <a:moveTo>
                <a:pt x="0" y="0"/>
              </a:moveTo>
              <a:lnTo>
                <a:pt x="0" y="502591"/>
              </a:lnTo>
              <a:lnTo>
                <a:pt x="163888" y="502591"/>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BE90A9-6071-4A31-9DBF-A5F78CBEFB17}">
      <dsp:nvSpPr>
        <dsp:cNvPr id="0" name=""/>
        <dsp:cNvSpPr/>
      </dsp:nvSpPr>
      <dsp:spPr>
        <a:xfrm>
          <a:off x="1356306" y="547799"/>
          <a:ext cx="1983051" cy="229443"/>
        </a:xfrm>
        <a:custGeom>
          <a:avLst/>
          <a:gdLst/>
          <a:ahLst/>
          <a:cxnLst/>
          <a:rect l="0" t="0" r="0" b="0"/>
          <a:pathLst>
            <a:path>
              <a:moveTo>
                <a:pt x="1983051" y="0"/>
              </a:moveTo>
              <a:lnTo>
                <a:pt x="1983051" y="114721"/>
              </a:lnTo>
              <a:lnTo>
                <a:pt x="0" y="114721"/>
              </a:lnTo>
              <a:lnTo>
                <a:pt x="0" y="229443"/>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EC534-A95F-480D-BDF4-ECF7C232D421}">
      <dsp:nvSpPr>
        <dsp:cNvPr id="0" name=""/>
        <dsp:cNvSpPr/>
      </dsp:nvSpPr>
      <dsp:spPr>
        <a:xfrm>
          <a:off x="2793062" y="1504"/>
          <a:ext cx="1092590" cy="54629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FUENTES   EXTERNAS</a:t>
          </a:r>
        </a:p>
      </dsp:txBody>
      <dsp:txXfrm>
        <a:off x="2793062" y="1504"/>
        <a:ext cx="1092590" cy="546295"/>
      </dsp:txXfrm>
    </dsp:sp>
    <dsp:sp modelId="{AC50B931-40F9-42DB-8688-7D84B7050F70}">
      <dsp:nvSpPr>
        <dsp:cNvPr id="0" name=""/>
        <dsp:cNvSpPr/>
      </dsp:nvSpPr>
      <dsp:spPr>
        <a:xfrm>
          <a:off x="810010"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Social Media</a:t>
          </a:r>
        </a:p>
      </dsp:txBody>
      <dsp:txXfrm>
        <a:off x="810010" y="777243"/>
        <a:ext cx="1092590" cy="546295"/>
      </dsp:txXfrm>
    </dsp:sp>
    <dsp:sp modelId="{6D8A65AB-323C-43D6-9035-F1121794CC99}">
      <dsp:nvSpPr>
        <dsp:cNvPr id="0" name=""/>
        <dsp:cNvSpPr/>
      </dsp:nvSpPr>
      <dsp:spPr>
        <a:xfrm>
          <a:off x="1083158"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ctividad del ciudadano y de la empresa</a:t>
          </a:r>
        </a:p>
      </dsp:txBody>
      <dsp:txXfrm>
        <a:off x="1083158" y="1552982"/>
        <a:ext cx="1092590" cy="546295"/>
      </dsp:txXfrm>
    </dsp:sp>
    <dsp:sp modelId="{218CB39E-9CAF-4137-A8C6-878194B563B1}">
      <dsp:nvSpPr>
        <dsp:cNvPr id="0" name=""/>
        <dsp:cNvSpPr/>
      </dsp:nvSpPr>
      <dsp:spPr>
        <a:xfrm>
          <a:off x="2132045"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atos Externos</a:t>
          </a:r>
        </a:p>
      </dsp:txBody>
      <dsp:txXfrm>
        <a:off x="2132045" y="777243"/>
        <a:ext cx="1092590" cy="546295"/>
      </dsp:txXfrm>
    </dsp:sp>
    <dsp:sp modelId="{41911C2B-48BF-4BBF-AA86-07DCCD991BC0}">
      <dsp:nvSpPr>
        <dsp:cNvPr id="0" name=""/>
        <dsp:cNvSpPr/>
      </dsp:nvSpPr>
      <dsp:spPr>
        <a:xfrm>
          <a:off x="2405192"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Proveedores especializados de datos inteligentes</a:t>
          </a:r>
        </a:p>
      </dsp:txBody>
      <dsp:txXfrm>
        <a:off x="2405192" y="1552982"/>
        <a:ext cx="1092590" cy="546295"/>
      </dsp:txXfrm>
    </dsp:sp>
    <dsp:sp modelId="{4AF31FCB-8BE6-464D-9381-40E1803EDA5D}">
      <dsp:nvSpPr>
        <dsp:cNvPr id="0" name=""/>
        <dsp:cNvSpPr/>
      </dsp:nvSpPr>
      <dsp:spPr>
        <a:xfrm>
          <a:off x="2405192"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GIS (ESRI CARTO)</a:t>
          </a:r>
        </a:p>
      </dsp:txBody>
      <dsp:txXfrm>
        <a:off x="2405192" y="2328721"/>
        <a:ext cx="1092590" cy="546295"/>
      </dsp:txXfrm>
    </dsp:sp>
    <dsp:sp modelId="{9BA61034-E3E0-4750-BA2B-C549E7799009}">
      <dsp:nvSpPr>
        <dsp:cNvPr id="0" name=""/>
        <dsp:cNvSpPr/>
      </dsp:nvSpPr>
      <dsp:spPr>
        <a:xfrm>
          <a:off x="2405192" y="310446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MP</a:t>
          </a:r>
        </a:p>
      </dsp:txBody>
      <dsp:txXfrm>
        <a:off x="2405192" y="3104461"/>
        <a:ext cx="1092590" cy="546295"/>
      </dsp:txXfrm>
    </dsp:sp>
    <dsp:sp modelId="{21721FEF-1FF5-4E1E-A828-64EE635E409B}">
      <dsp:nvSpPr>
        <dsp:cNvPr id="0" name=""/>
        <dsp:cNvSpPr/>
      </dsp:nvSpPr>
      <dsp:spPr>
        <a:xfrm>
          <a:off x="2405192" y="3880200"/>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TELCOS</a:t>
          </a:r>
        </a:p>
      </dsp:txBody>
      <dsp:txXfrm>
        <a:off x="2405192" y="3880200"/>
        <a:ext cx="1092590" cy="546295"/>
      </dsp:txXfrm>
    </dsp:sp>
    <dsp:sp modelId="{D291C402-D2CB-48BB-BB95-B72CAFC5D947}">
      <dsp:nvSpPr>
        <dsp:cNvPr id="0" name=""/>
        <dsp:cNvSpPr/>
      </dsp:nvSpPr>
      <dsp:spPr>
        <a:xfrm>
          <a:off x="3454079"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Sistemas Externos</a:t>
          </a:r>
        </a:p>
      </dsp:txBody>
      <dsp:txXfrm>
        <a:off x="3454079" y="777243"/>
        <a:ext cx="1092590" cy="546295"/>
      </dsp:txXfrm>
    </dsp:sp>
    <dsp:sp modelId="{4B540DE8-CE75-4B84-9D03-427D99E84967}">
      <dsp:nvSpPr>
        <dsp:cNvPr id="0" name=""/>
        <dsp:cNvSpPr/>
      </dsp:nvSpPr>
      <dsp:spPr>
        <a:xfrm>
          <a:off x="3727227"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mercantil</a:t>
          </a:r>
        </a:p>
      </dsp:txBody>
      <dsp:txXfrm>
        <a:off x="3727227" y="1552982"/>
        <a:ext cx="1092590" cy="546295"/>
      </dsp:txXfrm>
    </dsp:sp>
    <dsp:sp modelId="{C954BA63-1252-4689-9FD7-CBD7DA11E8F1}">
      <dsp:nvSpPr>
        <dsp:cNvPr id="0" name=""/>
        <dsp:cNvSpPr/>
      </dsp:nvSpPr>
      <dsp:spPr>
        <a:xfrm>
          <a:off x="3727227"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sociaciones empresariales</a:t>
          </a:r>
        </a:p>
      </dsp:txBody>
      <dsp:txXfrm>
        <a:off x="3727227" y="2328721"/>
        <a:ext cx="1092590" cy="546295"/>
      </dsp:txXfrm>
    </dsp:sp>
    <dsp:sp modelId="{854E3429-CD5F-4965-A56E-155A50DC2FBB}">
      <dsp:nvSpPr>
        <dsp:cNvPr id="0" name=""/>
        <dsp:cNvSpPr/>
      </dsp:nvSpPr>
      <dsp:spPr>
        <a:xfrm>
          <a:off x="3727227" y="310446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Organismos públicos</a:t>
          </a:r>
        </a:p>
      </dsp:txBody>
      <dsp:txXfrm>
        <a:off x="3727227" y="3104461"/>
        <a:ext cx="1092590" cy="546295"/>
      </dsp:txXfrm>
    </dsp:sp>
    <dsp:sp modelId="{5D1E5804-52D9-47B5-B037-B8167C5EC818}">
      <dsp:nvSpPr>
        <dsp:cNvPr id="0" name=""/>
        <dsp:cNvSpPr/>
      </dsp:nvSpPr>
      <dsp:spPr>
        <a:xfrm>
          <a:off x="3727227" y="3880200"/>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ntidades Financieras</a:t>
          </a:r>
        </a:p>
      </dsp:txBody>
      <dsp:txXfrm>
        <a:off x="3727227" y="3880200"/>
        <a:ext cx="1092590" cy="546295"/>
      </dsp:txXfrm>
    </dsp:sp>
    <dsp:sp modelId="{091974EB-C494-407F-A24C-7B655C366CED}">
      <dsp:nvSpPr>
        <dsp:cNvPr id="0" name=""/>
        <dsp:cNvSpPr/>
      </dsp:nvSpPr>
      <dsp:spPr>
        <a:xfrm>
          <a:off x="4776113"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Fuentes automáticas</a:t>
          </a:r>
        </a:p>
      </dsp:txBody>
      <dsp:txXfrm>
        <a:off x="4776113" y="777243"/>
        <a:ext cx="1092590" cy="546295"/>
      </dsp:txXfrm>
    </dsp:sp>
    <dsp:sp modelId="{173D0537-F4F0-4D89-A40C-B866D62C01B5}">
      <dsp:nvSpPr>
        <dsp:cNvPr id="0" name=""/>
        <dsp:cNvSpPr/>
      </dsp:nvSpPr>
      <dsp:spPr>
        <a:xfrm>
          <a:off x="5049261"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Sensores</a:t>
          </a:r>
        </a:p>
      </dsp:txBody>
      <dsp:txXfrm>
        <a:off x="5049261" y="1552982"/>
        <a:ext cx="1092590" cy="546295"/>
      </dsp:txXfrm>
    </dsp:sp>
    <dsp:sp modelId="{B806E04C-0088-482E-9FF6-5535FFBBF18B}">
      <dsp:nvSpPr>
        <dsp:cNvPr id="0" name=""/>
        <dsp:cNvSpPr/>
      </dsp:nvSpPr>
      <dsp:spPr>
        <a:xfrm>
          <a:off x="5049261" y="2328721"/>
          <a:ext cx="1092590" cy="546295"/>
        </a:xfrm>
        <a:prstGeom prst="rect">
          <a:avLst/>
        </a:prstGeom>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solidFill>
                <a:prstClr val="white"/>
              </a:solidFill>
              <a:latin typeface="Avenir LT Std 35 Light"/>
              <a:ea typeface="+mn-ea"/>
              <a:cs typeface="+mn-cs"/>
            </a:rPr>
            <a:t>IOT</a:t>
          </a:r>
        </a:p>
      </dsp:txBody>
      <dsp:txXfrm>
        <a:off x="5049261" y="2328721"/>
        <a:ext cx="1092590" cy="546295"/>
      </dsp:txXfrm>
    </dsp:sp>
    <dsp:sp modelId="{B09E4E6A-F9A3-4DEB-BB67-02A01FDE8808}">
      <dsp:nvSpPr>
        <dsp:cNvPr id="0" name=""/>
        <dsp:cNvSpPr/>
      </dsp:nvSpPr>
      <dsp:spPr>
        <a:xfrm>
          <a:off x="8081199" y="1504"/>
          <a:ext cx="1092590" cy="54629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FUENTES INTERNAS</a:t>
          </a:r>
        </a:p>
      </dsp:txBody>
      <dsp:txXfrm>
        <a:off x="8081199" y="1504"/>
        <a:ext cx="1092590" cy="546295"/>
      </dsp:txXfrm>
    </dsp:sp>
    <dsp:sp modelId="{5FDEA159-5341-4669-9223-2298C88C9E73}">
      <dsp:nvSpPr>
        <dsp:cNvPr id="0" name=""/>
        <dsp:cNvSpPr/>
      </dsp:nvSpPr>
      <dsp:spPr>
        <a:xfrm>
          <a:off x="6098148"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Back Office</a:t>
          </a:r>
        </a:p>
      </dsp:txBody>
      <dsp:txXfrm>
        <a:off x="6098148" y="777243"/>
        <a:ext cx="1092590" cy="546295"/>
      </dsp:txXfrm>
    </dsp:sp>
    <dsp:sp modelId="{2AC194A2-56A9-41EF-B097-1F4DDF6EB615}">
      <dsp:nvSpPr>
        <dsp:cNvPr id="0" name=""/>
        <dsp:cNvSpPr/>
      </dsp:nvSpPr>
      <dsp:spPr>
        <a:xfrm>
          <a:off x="6371295"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Operaciones</a:t>
          </a:r>
        </a:p>
      </dsp:txBody>
      <dsp:txXfrm>
        <a:off x="6371295" y="1552982"/>
        <a:ext cx="1092590" cy="546295"/>
      </dsp:txXfrm>
    </dsp:sp>
    <dsp:sp modelId="{7335FA4A-BB1D-4350-A188-F41AE7C58FA2}">
      <dsp:nvSpPr>
        <dsp:cNvPr id="0" name=""/>
        <dsp:cNvSpPr/>
      </dsp:nvSpPr>
      <dsp:spPr>
        <a:xfrm>
          <a:off x="6371295"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RP</a:t>
          </a:r>
        </a:p>
      </dsp:txBody>
      <dsp:txXfrm>
        <a:off x="6371295" y="2328721"/>
        <a:ext cx="1092590" cy="546295"/>
      </dsp:txXfrm>
    </dsp:sp>
    <dsp:sp modelId="{71293E39-5B76-4B58-A527-4F7218508E3F}">
      <dsp:nvSpPr>
        <dsp:cNvPr id="0" name=""/>
        <dsp:cNvSpPr/>
      </dsp:nvSpPr>
      <dsp:spPr>
        <a:xfrm>
          <a:off x="6371295" y="310446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ata Warehouse</a:t>
          </a:r>
        </a:p>
      </dsp:txBody>
      <dsp:txXfrm>
        <a:off x="6371295" y="3104461"/>
        <a:ext cx="1092590" cy="546295"/>
      </dsp:txXfrm>
    </dsp:sp>
    <dsp:sp modelId="{7B3A53FC-80CE-494C-BC2F-EDBF5E3D6DD9}">
      <dsp:nvSpPr>
        <dsp:cNvPr id="0" name=""/>
        <dsp:cNvSpPr/>
      </dsp:nvSpPr>
      <dsp:spPr>
        <a:xfrm>
          <a:off x="7420182"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RM Canales asistidos</a:t>
          </a:r>
        </a:p>
      </dsp:txBody>
      <dsp:txXfrm>
        <a:off x="7420182" y="777243"/>
        <a:ext cx="1092590" cy="546295"/>
      </dsp:txXfrm>
    </dsp:sp>
    <dsp:sp modelId="{1445CFE0-EACF-4513-8261-B3694B654673}">
      <dsp:nvSpPr>
        <dsp:cNvPr id="0" name=""/>
        <dsp:cNvSpPr/>
      </dsp:nvSpPr>
      <dsp:spPr>
        <a:xfrm>
          <a:off x="7693330"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Oficina y algoritmo</a:t>
          </a:r>
        </a:p>
      </dsp:txBody>
      <dsp:txXfrm>
        <a:off x="7693330" y="1552982"/>
        <a:ext cx="1092590" cy="546295"/>
      </dsp:txXfrm>
    </dsp:sp>
    <dsp:sp modelId="{FF354DD2-655E-40A6-A78B-EC60119CB3CA}">
      <dsp:nvSpPr>
        <dsp:cNvPr id="0" name=""/>
        <dsp:cNvSpPr/>
      </dsp:nvSpPr>
      <dsp:spPr>
        <a:xfrm>
          <a:off x="7693330"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all Center</a:t>
          </a:r>
        </a:p>
      </dsp:txBody>
      <dsp:txXfrm>
        <a:off x="7693330" y="2328721"/>
        <a:ext cx="1092590" cy="546295"/>
      </dsp:txXfrm>
    </dsp:sp>
    <dsp:sp modelId="{169F6393-393E-4239-9BE7-60D3D07E3683}">
      <dsp:nvSpPr>
        <dsp:cNvPr id="0" name=""/>
        <dsp:cNvSpPr/>
      </dsp:nvSpPr>
      <dsp:spPr>
        <a:xfrm>
          <a:off x="7693330" y="310446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Help Desk</a:t>
          </a:r>
        </a:p>
      </dsp:txBody>
      <dsp:txXfrm>
        <a:off x="7693330" y="3104461"/>
        <a:ext cx="1092590" cy="546295"/>
      </dsp:txXfrm>
    </dsp:sp>
    <dsp:sp modelId="{A8B7A2C2-6A3C-471B-9D8E-617B121C07C7}">
      <dsp:nvSpPr>
        <dsp:cNvPr id="0" name=""/>
        <dsp:cNvSpPr/>
      </dsp:nvSpPr>
      <dsp:spPr>
        <a:xfrm>
          <a:off x="8742216"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RM Canal no asistido</a:t>
          </a:r>
        </a:p>
      </dsp:txBody>
      <dsp:txXfrm>
        <a:off x="8742216" y="777243"/>
        <a:ext cx="1092590" cy="546295"/>
      </dsp:txXfrm>
    </dsp:sp>
    <dsp:sp modelId="{FED850AE-143D-4799-8D01-5390379CD125}">
      <dsp:nvSpPr>
        <dsp:cNvPr id="0" name=""/>
        <dsp:cNvSpPr/>
      </dsp:nvSpPr>
      <dsp:spPr>
        <a:xfrm>
          <a:off x="9015364"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ustomer Website</a:t>
          </a:r>
        </a:p>
      </dsp:txBody>
      <dsp:txXfrm>
        <a:off x="9015364" y="1552982"/>
        <a:ext cx="1092590" cy="546295"/>
      </dsp:txXfrm>
    </dsp:sp>
    <dsp:sp modelId="{00FFB463-8A13-4CCE-B4D2-5667B0A697B1}">
      <dsp:nvSpPr>
        <dsp:cNvPr id="0" name=""/>
        <dsp:cNvSpPr/>
      </dsp:nvSpPr>
      <dsp:spPr>
        <a:xfrm>
          <a:off x="9015364"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Mobile Server / Online Apps</a:t>
          </a:r>
        </a:p>
      </dsp:txBody>
      <dsp:txXfrm>
        <a:off x="9015364" y="2328721"/>
        <a:ext cx="1092590" cy="546295"/>
      </dsp:txXfrm>
    </dsp:sp>
    <dsp:sp modelId="{CE00E8FB-76FC-47F4-8FA1-0A118CDED2B2}">
      <dsp:nvSpPr>
        <dsp:cNvPr id="0" name=""/>
        <dsp:cNvSpPr/>
      </dsp:nvSpPr>
      <dsp:spPr>
        <a:xfrm>
          <a:off x="10064251" y="777243"/>
          <a:ext cx="1092590" cy="54629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RM Campañas</a:t>
          </a:r>
        </a:p>
      </dsp:txBody>
      <dsp:txXfrm>
        <a:off x="10064251" y="777243"/>
        <a:ext cx="1092590" cy="546295"/>
      </dsp:txXfrm>
    </dsp:sp>
    <dsp:sp modelId="{073DF7B7-8AED-40F0-A0D9-47129D71BE8E}">
      <dsp:nvSpPr>
        <dsp:cNvPr id="0" name=""/>
        <dsp:cNvSpPr/>
      </dsp:nvSpPr>
      <dsp:spPr>
        <a:xfrm>
          <a:off x="10337398" y="1552982"/>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Gestor de campañas</a:t>
          </a:r>
        </a:p>
      </dsp:txBody>
      <dsp:txXfrm>
        <a:off x="10337398" y="1552982"/>
        <a:ext cx="1092590" cy="546295"/>
      </dsp:txXfrm>
    </dsp:sp>
    <dsp:sp modelId="{74DB11F3-E3B3-49C3-B9B0-B05AC3712BA2}">
      <dsp:nvSpPr>
        <dsp:cNvPr id="0" name=""/>
        <dsp:cNvSpPr/>
      </dsp:nvSpPr>
      <dsp:spPr>
        <a:xfrm>
          <a:off x="10337398" y="2328721"/>
          <a:ext cx="1092590" cy="5462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Mail, Web, Social media</a:t>
          </a:r>
        </a:p>
      </dsp:txBody>
      <dsp:txXfrm>
        <a:off x="10337398" y="2328721"/>
        <a:ext cx="1092590" cy="54629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DE8E46-2CF7-4CA1-8F20-DDBB24A7259F}">
      <dsp:nvSpPr>
        <dsp:cNvPr id="0" name=""/>
        <dsp:cNvSpPr/>
      </dsp:nvSpPr>
      <dsp:spPr>
        <a:xfrm>
          <a:off x="0" y="0"/>
          <a:ext cx="10515600" cy="1359793"/>
        </a:xfrm>
        <a:prstGeom prst="roundRect">
          <a:avLst>
            <a:gd name="adj" fmla="val 10000"/>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1 - </a:t>
          </a:r>
          <a:r>
            <a:rPr lang="es-ES" sz="1800" kern="1200" dirty="0">
              <a:highlight>
                <a:srgbClr val="FFFFFF"/>
              </a:highlight>
            </a:rPr>
            <a:t>Integrar las fuentes detectadas de datos automáticamente </a:t>
          </a:r>
          <a:r>
            <a:rPr lang="es-ES" sz="1800" kern="1200" dirty="0"/>
            <a:t>vía: API, WebScraping legal, RPA y otros.</a:t>
          </a:r>
        </a:p>
      </dsp:txBody>
      <dsp:txXfrm>
        <a:off x="2239099" y="0"/>
        <a:ext cx="8276500" cy="1359793"/>
      </dsp:txXfrm>
    </dsp:sp>
    <dsp:sp modelId="{7A1F86D7-0E07-4FAD-854C-5389F22CF467}">
      <dsp:nvSpPr>
        <dsp:cNvPr id="0" name=""/>
        <dsp:cNvSpPr/>
      </dsp:nvSpPr>
      <dsp:spPr>
        <a:xfrm>
          <a:off x="510713" y="135979"/>
          <a:ext cx="1353652" cy="1087834"/>
        </a:xfrm>
        <a:prstGeom prst="roundRect">
          <a:avLst>
            <a:gd name="adj" fmla="val 10000"/>
          </a:avLst>
        </a:prstGeom>
        <a:blipFill rotWithShape="1">
          <a:blip xmlns:r="http://schemas.openxmlformats.org/officeDocument/2006/relationships" r:embed="rId1">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D3E2E144-2D1C-410C-A659-6464BC94DA2A}">
      <dsp:nvSpPr>
        <dsp:cNvPr id="0" name=""/>
        <dsp:cNvSpPr/>
      </dsp:nvSpPr>
      <dsp:spPr>
        <a:xfrm>
          <a:off x="0" y="1495772"/>
          <a:ext cx="10515600" cy="1359793"/>
        </a:xfrm>
        <a:prstGeom prst="roundRect">
          <a:avLst>
            <a:gd name="adj" fmla="val 10000"/>
          </a:avLst>
        </a:prstGeom>
        <a:gradFill rotWithShape="0">
          <a:gsLst>
            <a:gs pos="0">
              <a:schemeClr val="accent1">
                <a:shade val="80000"/>
                <a:hueOff val="174641"/>
                <a:satOff val="-3128"/>
                <a:lumOff val="13293"/>
                <a:alphaOff val="0"/>
                <a:lumMod val="110000"/>
                <a:satMod val="105000"/>
                <a:tint val="67000"/>
              </a:schemeClr>
            </a:gs>
            <a:gs pos="50000">
              <a:schemeClr val="accent1">
                <a:shade val="80000"/>
                <a:hueOff val="174641"/>
                <a:satOff val="-3128"/>
                <a:lumOff val="13293"/>
                <a:alphaOff val="0"/>
                <a:lumMod val="105000"/>
                <a:satMod val="103000"/>
                <a:tint val="73000"/>
              </a:schemeClr>
            </a:gs>
            <a:gs pos="100000">
              <a:schemeClr val="accent1">
                <a:shade val="80000"/>
                <a:hueOff val="174641"/>
                <a:satOff val="-3128"/>
                <a:lumOff val="1329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2 - Hacer </a:t>
          </a:r>
          <a:r>
            <a:rPr lang="es-ES" sz="1800" kern="1200" dirty="0">
              <a:highlight>
                <a:srgbClr val="FFFFFF"/>
              </a:highlight>
            </a:rPr>
            <a:t>los informes vivos</a:t>
          </a:r>
          <a:r>
            <a:rPr lang="es-ES" sz="1800" kern="1200" dirty="0"/>
            <a:t>, es decir actualizados en Near Real Time mediante el uso de las técnicas anteriormente descritas. </a:t>
          </a:r>
        </a:p>
      </dsp:txBody>
      <dsp:txXfrm>
        <a:off x="2239099" y="1495772"/>
        <a:ext cx="8276500" cy="1359793"/>
      </dsp:txXfrm>
    </dsp:sp>
    <dsp:sp modelId="{786F2C4E-2D8C-40D8-8F58-29317CCD14D1}">
      <dsp:nvSpPr>
        <dsp:cNvPr id="0" name=""/>
        <dsp:cNvSpPr/>
      </dsp:nvSpPr>
      <dsp:spPr>
        <a:xfrm>
          <a:off x="510713" y="1631751"/>
          <a:ext cx="1353652" cy="1087834"/>
        </a:xfrm>
        <a:prstGeom prst="roundRect">
          <a:avLst>
            <a:gd name="adj" fmla="val 10000"/>
          </a:avLst>
        </a:prstGeom>
        <a:blipFill rotWithShape="1">
          <a:blip xmlns:r="http://schemas.openxmlformats.org/officeDocument/2006/relationships" r:embed="rId2">
            <a:duotone>
              <a:prstClr val="black"/>
              <a:schemeClr val="accent4">
                <a:tint val="45000"/>
                <a:satMod val="400000"/>
              </a:schemeClr>
            </a:duotone>
          </a:blip>
          <a:srcRect/>
          <a:stretch>
            <a:fillRect t="-6000" b="-6000"/>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1F2FBC8D-A121-40D7-ACC4-52E2DB3DB982}">
      <dsp:nvSpPr>
        <dsp:cNvPr id="0" name=""/>
        <dsp:cNvSpPr/>
      </dsp:nvSpPr>
      <dsp:spPr>
        <a:xfrm>
          <a:off x="0" y="2991544"/>
          <a:ext cx="10515600" cy="1359793"/>
        </a:xfrm>
        <a:prstGeom prst="roundRect">
          <a:avLst>
            <a:gd name="adj" fmla="val 10000"/>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3 - Acceso, consulta y descubrimiento de la información por </a:t>
          </a:r>
          <a:r>
            <a:rPr lang="es-ES" sz="1800" kern="1200" dirty="0">
              <a:highlight>
                <a:srgbClr val="FFFFFF"/>
              </a:highlight>
            </a:rPr>
            <a:t>los usuarios finales </a:t>
          </a:r>
          <a:r>
            <a:rPr lang="es-ES" sz="1800" kern="1200" dirty="0"/>
            <a:t>que deban conocer la situación REAL y al momento,</a:t>
          </a:r>
        </a:p>
      </dsp:txBody>
      <dsp:txXfrm>
        <a:off x="2239099" y="2991544"/>
        <a:ext cx="8276500" cy="1359793"/>
      </dsp:txXfrm>
    </dsp:sp>
    <dsp:sp modelId="{57D8A456-4E69-46E9-ACCE-A67DB65B0FE0}">
      <dsp:nvSpPr>
        <dsp:cNvPr id="0" name=""/>
        <dsp:cNvSpPr/>
      </dsp:nvSpPr>
      <dsp:spPr>
        <a:xfrm>
          <a:off x="510713" y="3127524"/>
          <a:ext cx="1353652" cy="1087834"/>
        </a:xfrm>
        <a:prstGeom prst="roundRect">
          <a:avLst>
            <a:gd name="adj" fmla="val 10000"/>
          </a:avLst>
        </a:prstGeom>
        <a:blipFill rotWithShape="1">
          <a:blip xmlns:r="http://schemas.openxmlformats.org/officeDocument/2006/relationships" r:embed="rId3">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F930B5-B41B-4920-AEFB-CEC9FA05AD73}">
      <dsp:nvSpPr>
        <dsp:cNvPr id="0" name=""/>
        <dsp:cNvSpPr/>
      </dsp:nvSpPr>
      <dsp:spPr>
        <a:xfrm>
          <a:off x="0" y="42083"/>
          <a:ext cx="5181600" cy="407745"/>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s-ES" sz="1700" kern="1200" dirty="0"/>
            <a:t>SaaS (Software as a Service)</a:t>
          </a:r>
        </a:p>
      </dsp:txBody>
      <dsp:txXfrm>
        <a:off x="19904" y="61987"/>
        <a:ext cx="5141792" cy="367937"/>
      </dsp:txXfrm>
    </dsp:sp>
    <dsp:sp modelId="{7AB34228-B551-40D4-9037-7545C33330F8}">
      <dsp:nvSpPr>
        <dsp:cNvPr id="0" name=""/>
        <dsp:cNvSpPr/>
      </dsp:nvSpPr>
      <dsp:spPr>
        <a:xfrm>
          <a:off x="0" y="449828"/>
          <a:ext cx="5181600" cy="1038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s-ES" sz="1300" kern="1200" dirty="0"/>
            <a:t>Son </a:t>
          </a:r>
          <a:r>
            <a:rPr lang="es-ES" sz="1300" b="1" kern="1200" dirty="0">
              <a:highlight>
                <a:srgbClr val="FFCDCC"/>
              </a:highlight>
            </a:rPr>
            <a:t>aplicaciones</a:t>
          </a:r>
          <a:r>
            <a:rPr lang="es-ES" sz="1300" kern="1200" dirty="0"/>
            <a:t> listas para usar que se entregan a través de Internet.</a:t>
          </a:r>
        </a:p>
        <a:p>
          <a:pPr marL="114300" lvl="1" indent="-114300" algn="l" defTabSz="577850">
            <a:lnSpc>
              <a:spcPct val="90000"/>
            </a:lnSpc>
            <a:spcBef>
              <a:spcPct val="0"/>
            </a:spcBef>
            <a:spcAft>
              <a:spcPct val="20000"/>
            </a:spcAft>
            <a:buChar char="•"/>
          </a:pPr>
          <a:r>
            <a:rPr lang="es-ES" sz="1300" kern="1200" dirty="0"/>
            <a:t>El proveedor de servicios gestiona la infraestructura, el middleware, los datos y las aplicaciones.</a:t>
          </a:r>
        </a:p>
        <a:p>
          <a:pPr marL="114300" lvl="1" indent="-114300" algn="l" defTabSz="577850">
            <a:lnSpc>
              <a:spcPct val="90000"/>
            </a:lnSpc>
            <a:spcBef>
              <a:spcPct val="0"/>
            </a:spcBef>
            <a:spcAft>
              <a:spcPct val="20000"/>
            </a:spcAft>
            <a:buChar char="•"/>
          </a:pPr>
          <a:r>
            <a:rPr lang="es-ES" sz="1300" kern="1200" dirty="0"/>
            <a:t>Los usuarios pueden acceder a las aplicaciones desde cualquier dispositivo con una conexión a Internet.</a:t>
          </a:r>
        </a:p>
      </dsp:txBody>
      <dsp:txXfrm>
        <a:off x="0" y="449828"/>
        <a:ext cx="5181600" cy="1038105"/>
      </dsp:txXfrm>
    </dsp:sp>
    <dsp:sp modelId="{A26F9707-915A-4976-A6F4-2F25915B1421}">
      <dsp:nvSpPr>
        <dsp:cNvPr id="0" name=""/>
        <dsp:cNvSpPr/>
      </dsp:nvSpPr>
      <dsp:spPr>
        <a:xfrm>
          <a:off x="0" y="1487934"/>
          <a:ext cx="5181600" cy="407745"/>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s-ES" sz="1700" kern="1200" dirty="0"/>
            <a:t>PaaS (Platform as a Service)</a:t>
          </a:r>
        </a:p>
      </dsp:txBody>
      <dsp:txXfrm>
        <a:off x="19904" y="1507838"/>
        <a:ext cx="5141792" cy="367937"/>
      </dsp:txXfrm>
    </dsp:sp>
    <dsp:sp modelId="{A896BF18-375E-46E6-A798-64F76DB5A71F}">
      <dsp:nvSpPr>
        <dsp:cNvPr id="0" name=""/>
        <dsp:cNvSpPr/>
      </dsp:nvSpPr>
      <dsp:spPr>
        <a:xfrm>
          <a:off x="0" y="1895679"/>
          <a:ext cx="5181600" cy="1002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s-ES" sz="1300" kern="1200" dirty="0"/>
            <a:t>Son </a:t>
          </a:r>
          <a:r>
            <a:rPr lang="es-ES" sz="1300" b="1" kern="1200" dirty="0">
              <a:highlight>
                <a:srgbClr val="FFCDCC"/>
              </a:highlight>
            </a:rPr>
            <a:t>plataformas</a:t>
          </a:r>
          <a:r>
            <a:rPr lang="es-ES" sz="1300" kern="1200" dirty="0"/>
            <a:t> que permiten a los desarrolladores crear, desplegar y gestionar aplicaciones sin preocuparse por la infraestructura subyacente.</a:t>
          </a:r>
        </a:p>
        <a:p>
          <a:pPr marL="114300" lvl="1" indent="-114300" algn="l" defTabSz="577850">
            <a:lnSpc>
              <a:spcPct val="90000"/>
            </a:lnSpc>
            <a:spcBef>
              <a:spcPct val="0"/>
            </a:spcBef>
            <a:spcAft>
              <a:spcPct val="20000"/>
            </a:spcAft>
            <a:buChar char="•"/>
          </a:pPr>
          <a:r>
            <a:rPr lang="es-ES" sz="1300" kern="1200" dirty="0"/>
            <a:t>Incluye sistemas operativos, bases de datos, servidores web y herramientas de desarrollo.</a:t>
          </a:r>
        </a:p>
      </dsp:txBody>
      <dsp:txXfrm>
        <a:off x="0" y="1895679"/>
        <a:ext cx="5181600" cy="1002915"/>
      </dsp:txXfrm>
    </dsp:sp>
    <dsp:sp modelId="{AD32EF13-04B9-440D-B1F0-85DF62F12D4D}">
      <dsp:nvSpPr>
        <dsp:cNvPr id="0" name=""/>
        <dsp:cNvSpPr/>
      </dsp:nvSpPr>
      <dsp:spPr>
        <a:xfrm>
          <a:off x="0" y="2898594"/>
          <a:ext cx="5181600" cy="407745"/>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s-ES" sz="1700" kern="1200" dirty="0"/>
            <a:t>IaaS (Infrastructure as a Service)</a:t>
          </a:r>
        </a:p>
      </dsp:txBody>
      <dsp:txXfrm>
        <a:off x="19904" y="2918498"/>
        <a:ext cx="5141792" cy="367937"/>
      </dsp:txXfrm>
    </dsp:sp>
    <dsp:sp modelId="{C3AA1032-AD58-4608-9002-F2667147DCF3}">
      <dsp:nvSpPr>
        <dsp:cNvPr id="0" name=""/>
        <dsp:cNvSpPr/>
      </dsp:nvSpPr>
      <dsp:spPr>
        <a:xfrm>
          <a:off x="0" y="3306339"/>
          <a:ext cx="5181600" cy="1002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s-ES" sz="1300" kern="1200" dirty="0"/>
            <a:t>Son </a:t>
          </a:r>
          <a:r>
            <a:rPr lang="es-ES" sz="1300" b="1" kern="1200" dirty="0">
              <a:highlight>
                <a:srgbClr val="FFCDCC"/>
              </a:highlight>
            </a:rPr>
            <a:t>infraestructuras</a:t>
          </a:r>
          <a:r>
            <a:rPr lang="es-ES" sz="1300" kern="1200" dirty="0"/>
            <a:t> informáticas básicas como servidores, almacenamiento, redes y sistemas operativos virtualizados a través de Internet.</a:t>
          </a:r>
        </a:p>
        <a:p>
          <a:pPr marL="114300" lvl="1" indent="-114300" algn="l" defTabSz="577850">
            <a:lnSpc>
              <a:spcPct val="90000"/>
            </a:lnSpc>
            <a:spcBef>
              <a:spcPct val="0"/>
            </a:spcBef>
            <a:spcAft>
              <a:spcPct val="20000"/>
            </a:spcAft>
            <a:buChar char="•"/>
          </a:pPr>
          <a:r>
            <a:rPr lang="es-ES" sz="1300" kern="1200" dirty="0"/>
            <a:t>Los usuarios tienen un control completo sobre la infraestructura y pueden ejecutar cualquier software.</a:t>
          </a:r>
        </a:p>
      </dsp:txBody>
      <dsp:txXfrm>
        <a:off x="0" y="3306339"/>
        <a:ext cx="5181600" cy="10029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AEA099-C1F6-46F5-B683-91BEE157CF88}">
      <dsp:nvSpPr>
        <dsp:cNvPr id="0" name=""/>
        <dsp:cNvSpPr/>
      </dsp:nvSpPr>
      <dsp:spPr>
        <a:xfrm>
          <a:off x="812916" y="186183"/>
          <a:ext cx="4050536" cy="4050536"/>
        </a:xfrm>
        <a:prstGeom prst="rect">
          <a:avLst/>
        </a:prstGeom>
        <a:blipFill rotWithShape="1">
          <a:blip xmlns:r="http://schemas.openxmlformats.org/officeDocument/2006/relationships" r:embed="rId1"/>
          <a:srcRect/>
          <a:stretch>
            <a:fillRect l="-7000" r="-7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84B971-FA63-40BF-942A-BED89D817330}">
      <dsp:nvSpPr>
        <dsp:cNvPr id="0" name=""/>
        <dsp:cNvSpPr/>
      </dsp:nvSpPr>
      <dsp:spPr>
        <a:xfrm rot="16200000">
          <a:off x="-1617404"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ntes</a:t>
          </a:r>
        </a:p>
      </dsp:txBody>
      <dsp:txXfrm>
        <a:off x="-1617404" y="1806398"/>
        <a:ext cx="4050536" cy="810107"/>
      </dsp:txXfrm>
    </dsp:sp>
    <dsp:sp modelId="{6B3E8C2D-049F-4431-A284-DB61B99217C6}">
      <dsp:nvSpPr>
        <dsp:cNvPr id="0" name=""/>
        <dsp:cNvSpPr/>
      </dsp:nvSpPr>
      <dsp:spPr>
        <a:xfrm>
          <a:off x="5674489" y="186183"/>
          <a:ext cx="4050536" cy="4050536"/>
        </a:xfrm>
        <a:prstGeom prst="rect">
          <a:avLst/>
        </a:prstGeom>
        <a:blipFill rotWithShape="1">
          <a:blip xmlns:r="http://schemas.openxmlformats.org/officeDocument/2006/relationships" r:embed="rId2">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rcRect/>
          <a:stretch>
            <a:fillRect l="-25000" r="-25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16F2BD-B5BE-4FBA-BCAC-486817FBB0DA}">
      <dsp:nvSpPr>
        <dsp:cNvPr id="0" name=""/>
        <dsp:cNvSpPr/>
      </dsp:nvSpPr>
      <dsp:spPr>
        <a:xfrm rot="16200000">
          <a:off x="3244168"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hora</a:t>
          </a:r>
        </a:p>
      </dsp:txBody>
      <dsp:txXfrm>
        <a:off x="3244168" y="1806398"/>
        <a:ext cx="4050536" cy="81010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E33B16-1CE6-4A2F-8B58-0C510BC5694E}">
      <dsp:nvSpPr>
        <dsp:cNvPr id="0" name=""/>
        <dsp:cNvSpPr/>
      </dsp:nvSpPr>
      <dsp:spPr>
        <a:xfrm>
          <a:off x="3263" y="145290"/>
          <a:ext cx="2274614" cy="648000"/>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s-ES" sz="1200" kern="1200" noProof="0" dirty="0"/>
            <a:t>Transformación digital</a:t>
          </a:r>
        </a:p>
      </dsp:txBody>
      <dsp:txXfrm>
        <a:off x="327263" y="145290"/>
        <a:ext cx="1626614" cy="648000"/>
      </dsp:txXfrm>
    </dsp:sp>
    <dsp:sp modelId="{EDB72548-CE5D-45B0-B3D1-D5CA13286676}">
      <dsp:nvSpPr>
        <dsp:cNvPr id="0" name=""/>
        <dsp:cNvSpPr/>
      </dsp:nvSpPr>
      <dsp:spPr>
        <a:xfrm>
          <a:off x="3263" y="874290"/>
          <a:ext cx="1819691" cy="33317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s-ES" sz="1200" kern="1200" noProof="0" dirty="0"/>
            <a:t>Un proceso continuo</a:t>
          </a:r>
        </a:p>
        <a:p>
          <a:pPr marL="114300" lvl="1" indent="-114300" algn="l" defTabSz="533400">
            <a:lnSpc>
              <a:spcPct val="90000"/>
            </a:lnSpc>
            <a:spcBef>
              <a:spcPct val="0"/>
            </a:spcBef>
            <a:spcAft>
              <a:spcPct val="15000"/>
            </a:spcAft>
            <a:buChar char="•"/>
          </a:pPr>
          <a:r>
            <a:rPr lang="es-ES" sz="1200" kern="1200" noProof="0" dirty="0"/>
            <a:t>Los cuatro vectores y la tecnología.</a:t>
          </a:r>
        </a:p>
        <a:p>
          <a:pPr marL="114300" lvl="1" indent="-114300" algn="l" defTabSz="533400">
            <a:lnSpc>
              <a:spcPct val="90000"/>
            </a:lnSpc>
            <a:spcBef>
              <a:spcPct val="0"/>
            </a:spcBef>
            <a:spcAft>
              <a:spcPct val="15000"/>
            </a:spcAft>
            <a:buChar char="•"/>
          </a:pPr>
          <a:r>
            <a:rPr lang="es-ES" sz="1200" kern="1200" noProof="0" dirty="0"/>
            <a:t>El dato (orientación al dato).</a:t>
          </a:r>
        </a:p>
        <a:p>
          <a:pPr marL="114300" lvl="1" indent="-114300" algn="l" defTabSz="533400">
            <a:lnSpc>
              <a:spcPct val="90000"/>
            </a:lnSpc>
            <a:spcBef>
              <a:spcPct val="0"/>
            </a:spcBef>
            <a:spcAft>
              <a:spcPct val="15000"/>
            </a:spcAft>
            <a:buChar char="•"/>
          </a:pPr>
          <a:r>
            <a:rPr lang="es-ES" sz="1200" kern="1200" noProof="0" dirty="0"/>
            <a:t>Perfiles tecnológicos.</a:t>
          </a:r>
        </a:p>
        <a:p>
          <a:pPr marL="114300" lvl="1" indent="-114300" algn="l" defTabSz="533400">
            <a:lnSpc>
              <a:spcPct val="90000"/>
            </a:lnSpc>
            <a:spcBef>
              <a:spcPct val="0"/>
            </a:spcBef>
            <a:spcAft>
              <a:spcPct val="15000"/>
            </a:spcAft>
            <a:buChar char="•"/>
          </a:pPr>
          <a:r>
            <a:rPr lang="es-ES" sz="1200" kern="1200" noProof="0" dirty="0"/>
            <a:t>Un proyecto: su venta, desarrollo y producción. </a:t>
          </a:r>
          <a:br>
            <a:rPr lang="es-ES" sz="1200" kern="1200" noProof="0" dirty="0"/>
          </a:br>
          <a:endParaRPr lang="es-ES" sz="1200" kern="1200" noProof="0" dirty="0"/>
        </a:p>
      </dsp:txBody>
      <dsp:txXfrm>
        <a:off x="3263" y="874290"/>
        <a:ext cx="1819691" cy="3331757"/>
      </dsp:txXfrm>
    </dsp:sp>
    <dsp:sp modelId="{016FEC40-0324-4130-9D49-165C1341C054}">
      <dsp:nvSpPr>
        <dsp:cNvPr id="0" name=""/>
        <dsp:cNvSpPr/>
      </dsp:nvSpPr>
      <dsp:spPr>
        <a:xfrm>
          <a:off x="2061878" y="145290"/>
          <a:ext cx="2274614" cy="648000"/>
        </a:xfrm>
        <a:prstGeom prst="chevron">
          <a:avLst/>
        </a:prstGeom>
        <a:solidFill>
          <a:schemeClr val="accent1">
            <a:shade val="80000"/>
            <a:hueOff val="87321"/>
            <a:satOff val="-1564"/>
            <a:lumOff val="6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s-ES" sz="1200" kern="1200" noProof="0" dirty="0"/>
            <a:t>Ingesta y tratamiento de los datos </a:t>
          </a:r>
          <a:r>
            <a:rPr lang="es-ES" sz="1200" kern="1200" noProof="0" dirty="0">
              <a:highlight>
                <a:srgbClr val="000000"/>
              </a:highlight>
            </a:rPr>
            <a:t>(BigData)</a:t>
          </a:r>
          <a:endParaRPr lang="es-ES" sz="1200" kern="1200" noProof="0" dirty="0"/>
        </a:p>
      </dsp:txBody>
      <dsp:txXfrm>
        <a:off x="2385878" y="145290"/>
        <a:ext cx="1626614" cy="648000"/>
      </dsp:txXfrm>
    </dsp:sp>
    <dsp:sp modelId="{ECF71C3D-BC85-4DD7-8A1C-B755759CAC7F}">
      <dsp:nvSpPr>
        <dsp:cNvPr id="0" name=""/>
        <dsp:cNvSpPr/>
      </dsp:nvSpPr>
      <dsp:spPr>
        <a:xfrm>
          <a:off x="2061878" y="874290"/>
          <a:ext cx="1819691" cy="33317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rtl="0">
            <a:lnSpc>
              <a:spcPct val="90000"/>
            </a:lnSpc>
            <a:spcBef>
              <a:spcPct val="0"/>
            </a:spcBef>
            <a:spcAft>
              <a:spcPct val="15000"/>
            </a:spcAft>
            <a:buChar char="•"/>
          </a:pPr>
          <a:r>
            <a:rPr lang="es-ES" sz="1200" kern="1200" noProof="0" dirty="0"/>
            <a:t>Gestión de la plataforma y los procesos necesarios para la  ingesta</a:t>
          </a:r>
        </a:p>
        <a:p>
          <a:pPr marL="114300" lvl="1" indent="-114300" algn="l" defTabSz="533400">
            <a:lnSpc>
              <a:spcPct val="90000"/>
            </a:lnSpc>
            <a:spcBef>
              <a:spcPct val="0"/>
            </a:spcBef>
            <a:spcAft>
              <a:spcPct val="15000"/>
            </a:spcAft>
            <a:buChar char="•"/>
          </a:pPr>
          <a:r>
            <a:rPr lang="es-ES" sz="1200" kern="1200" noProof="0" dirty="0"/>
            <a:t>Ingesta y procesamiento conforme al servicio que va a utilizar los datos</a:t>
          </a:r>
        </a:p>
        <a:p>
          <a:pPr marL="114300" lvl="1" indent="-114300" algn="l" defTabSz="533400">
            <a:lnSpc>
              <a:spcPct val="90000"/>
            </a:lnSpc>
            <a:spcBef>
              <a:spcPct val="0"/>
            </a:spcBef>
            <a:spcAft>
              <a:spcPct val="15000"/>
            </a:spcAft>
            <a:buChar char="•"/>
          </a:pPr>
          <a:r>
            <a:rPr lang="es-ES" sz="1200" kern="1200" noProof="0" dirty="0"/>
            <a:t>Herramientas y procesos para automatizar su extracción de fuentes dispares</a:t>
          </a:r>
        </a:p>
        <a:p>
          <a:pPr marL="114300" lvl="1" indent="-114300" algn="l" defTabSz="533400">
            <a:lnSpc>
              <a:spcPct val="90000"/>
            </a:lnSpc>
            <a:spcBef>
              <a:spcPct val="0"/>
            </a:spcBef>
            <a:spcAft>
              <a:spcPct val="15000"/>
            </a:spcAft>
            <a:buChar char="•"/>
          </a:pPr>
          <a:r>
            <a:rPr lang="es-ES" sz="1200" kern="1200" noProof="0" dirty="0">
              <a:highlight>
                <a:srgbClr val="FFCDCC"/>
              </a:highlight>
            </a:rPr>
            <a:t>Limpieza y calidad del dato</a:t>
          </a:r>
        </a:p>
      </dsp:txBody>
      <dsp:txXfrm>
        <a:off x="2061878" y="874290"/>
        <a:ext cx="1819691" cy="3331757"/>
      </dsp:txXfrm>
    </dsp:sp>
    <dsp:sp modelId="{55509D5F-6653-4D98-8C98-15B97BBA417C}">
      <dsp:nvSpPr>
        <dsp:cNvPr id="0" name=""/>
        <dsp:cNvSpPr/>
      </dsp:nvSpPr>
      <dsp:spPr>
        <a:xfrm>
          <a:off x="4120492" y="145290"/>
          <a:ext cx="2274614" cy="648000"/>
        </a:xfrm>
        <a:prstGeom prst="chevron">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s-ES" sz="1200" kern="1200" noProof="0" dirty="0">
              <a:highlight>
                <a:srgbClr val="000000"/>
              </a:highlight>
            </a:rPr>
            <a:t>Visualización</a:t>
          </a:r>
          <a:r>
            <a:rPr lang="es-ES" sz="1200" kern="1200" noProof="0" dirty="0"/>
            <a:t> de la información generada</a:t>
          </a:r>
        </a:p>
      </dsp:txBody>
      <dsp:txXfrm>
        <a:off x="4444492" y="145290"/>
        <a:ext cx="1626614" cy="648000"/>
      </dsp:txXfrm>
    </dsp:sp>
    <dsp:sp modelId="{F9F4454D-08E9-4C13-B246-77FBEC9BEC0E}">
      <dsp:nvSpPr>
        <dsp:cNvPr id="0" name=""/>
        <dsp:cNvSpPr/>
      </dsp:nvSpPr>
      <dsp:spPr>
        <a:xfrm>
          <a:off x="4120492" y="874290"/>
          <a:ext cx="1819691" cy="33317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rtl="0">
            <a:lnSpc>
              <a:spcPct val="90000"/>
            </a:lnSpc>
            <a:spcBef>
              <a:spcPct val="0"/>
            </a:spcBef>
            <a:spcAft>
              <a:spcPct val="15000"/>
            </a:spcAft>
            <a:buChar char="•"/>
          </a:pPr>
          <a:r>
            <a:rPr lang="es-ES" sz="1200" kern="1200" noProof="0" dirty="0"/>
            <a:t>A través de Dashboard o similar </a:t>
          </a:r>
        </a:p>
        <a:p>
          <a:pPr marL="114300" lvl="1" indent="-114300" algn="l" defTabSz="533400">
            <a:lnSpc>
              <a:spcPct val="90000"/>
            </a:lnSpc>
            <a:spcBef>
              <a:spcPct val="0"/>
            </a:spcBef>
            <a:spcAft>
              <a:spcPct val="15000"/>
            </a:spcAft>
            <a:buChar char="•"/>
          </a:pPr>
          <a:r>
            <a:rPr lang="es-ES" sz="1200" kern="1200" noProof="0" dirty="0"/>
            <a:t>Proporcionando la entrada de información a otras herramientas</a:t>
          </a:r>
        </a:p>
      </dsp:txBody>
      <dsp:txXfrm>
        <a:off x="4120492" y="874290"/>
        <a:ext cx="1819691" cy="3331757"/>
      </dsp:txXfrm>
    </dsp:sp>
    <dsp:sp modelId="{9DFBD93E-2E8F-4F74-8E65-19F7BFF7AA2B}">
      <dsp:nvSpPr>
        <dsp:cNvPr id="0" name=""/>
        <dsp:cNvSpPr/>
      </dsp:nvSpPr>
      <dsp:spPr>
        <a:xfrm>
          <a:off x="6179107" y="145290"/>
          <a:ext cx="2274614" cy="648000"/>
        </a:xfrm>
        <a:prstGeom prst="chevron">
          <a:avLst/>
        </a:prstGeom>
        <a:solidFill>
          <a:schemeClr val="accent1">
            <a:shade val="80000"/>
            <a:hueOff val="261962"/>
            <a:satOff val="-4692"/>
            <a:lumOff val="199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rtl="0">
            <a:lnSpc>
              <a:spcPct val="90000"/>
            </a:lnSpc>
            <a:spcBef>
              <a:spcPct val="0"/>
            </a:spcBef>
            <a:spcAft>
              <a:spcPct val="35000"/>
            </a:spcAft>
            <a:buNone/>
          </a:pPr>
          <a:r>
            <a:rPr lang="es-ES" sz="1200" kern="1200" noProof="0" dirty="0"/>
            <a:t>Inteligencia Artificial </a:t>
          </a:r>
          <a:r>
            <a:rPr lang="es-ES" sz="1200" kern="1200" noProof="0" dirty="0">
              <a:highlight>
                <a:srgbClr val="000000"/>
              </a:highlight>
            </a:rPr>
            <a:t>generativa</a:t>
          </a:r>
        </a:p>
      </dsp:txBody>
      <dsp:txXfrm>
        <a:off x="6503107" y="145290"/>
        <a:ext cx="1626614" cy="648000"/>
      </dsp:txXfrm>
    </dsp:sp>
    <dsp:sp modelId="{E6A64283-551C-42AC-8351-E9A211CBE349}">
      <dsp:nvSpPr>
        <dsp:cNvPr id="0" name=""/>
        <dsp:cNvSpPr/>
      </dsp:nvSpPr>
      <dsp:spPr>
        <a:xfrm>
          <a:off x="6179107" y="874290"/>
          <a:ext cx="1819691" cy="33317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rtl="0">
            <a:lnSpc>
              <a:spcPct val="90000"/>
            </a:lnSpc>
            <a:spcBef>
              <a:spcPct val="0"/>
            </a:spcBef>
            <a:spcAft>
              <a:spcPct val="15000"/>
            </a:spcAft>
            <a:buChar char="•"/>
          </a:pPr>
          <a:r>
            <a:rPr lang="es-ES" sz="1200" kern="1200" noProof="0" dirty="0"/>
            <a:t>Prompt Engineering</a:t>
          </a:r>
        </a:p>
        <a:p>
          <a:pPr marL="114300" lvl="1" indent="-114300" algn="l" defTabSz="533400" rtl="0">
            <a:lnSpc>
              <a:spcPct val="90000"/>
            </a:lnSpc>
            <a:spcBef>
              <a:spcPct val="0"/>
            </a:spcBef>
            <a:spcAft>
              <a:spcPct val="15000"/>
            </a:spcAft>
            <a:buChar char="•"/>
          </a:pPr>
          <a:r>
            <a:rPr lang="es-ES" sz="1200" kern="1200" noProof="0" dirty="0"/>
            <a:t>Fundamentos de LLM (Lenguaje natural)</a:t>
          </a:r>
        </a:p>
        <a:p>
          <a:pPr marL="114300" lvl="1" indent="-114300" algn="l" defTabSz="533400" rtl="0">
            <a:lnSpc>
              <a:spcPct val="90000"/>
            </a:lnSpc>
            <a:spcBef>
              <a:spcPct val="0"/>
            </a:spcBef>
            <a:spcAft>
              <a:spcPct val="15000"/>
            </a:spcAft>
            <a:buChar char="•"/>
          </a:pPr>
          <a:r>
            <a:rPr lang="es-ES" sz="1200" kern="1200" noProof="0" dirty="0"/>
            <a:t>Tratamiento de imágenes</a:t>
          </a:r>
        </a:p>
        <a:p>
          <a:pPr marL="114300" lvl="1" indent="-114300" algn="l" defTabSz="533400" rtl="0">
            <a:lnSpc>
              <a:spcPct val="90000"/>
            </a:lnSpc>
            <a:spcBef>
              <a:spcPct val="0"/>
            </a:spcBef>
            <a:spcAft>
              <a:spcPct val="15000"/>
            </a:spcAft>
            <a:buChar char="•"/>
          </a:pPr>
          <a:r>
            <a:rPr lang="es-ES" sz="1200" kern="1200" noProof="0" dirty="0">
              <a:highlight>
                <a:srgbClr val="FFCDCC"/>
              </a:highlight>
            </a:rPr>
            <a:t>Ajustes: Fine Tuning y Grounding</a:t>
          </a:r>
        </a:p>
      </dsp:txBody>
      <dsp:txXfrm>
        <a:off x="6179107" y="874290"/>
        <a:ext cx="1819691" cy="3331757"/>
      </dsp:txXfrm>
    </dsp:sp>
    <dsp:sp modelId="{624B82A9-BE52-46D4-BDC0-688D005CE0A5}">
      <dsp:nvSpPr>
        <dsp:cNvPr id="0" name=""/>
        <dsp:cNvSpPr/>
      </dsp:nvSpPr>
      <dsp:spPr>
        <a:xfrm>
          <a:off x="8237721" y="145290"/>
          <a:ext cx="2274614" cy="648000"/>
        </a:xfrm>
        <a:prstGeom prst="chevron">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rtl="0">
            <a:lnSpc>
              <a:spcPct val="90000"/>
            </a:lnSpc>
            <a:spcBef>
              <a:spcPct val="0"/>
            </a:spcBef>
            <a:spcAft>
              <a:spcPct val="35000"/>
            </a:spcAft>
            <a:buNone/>
          </a:pPr>
          <a:r>
            <a:rPr lang="es-ES" sz="1200" kern="1200" noProof="0" dirty="0"/>
            <a:t>IA </a:t>
          </a:r>
          <a:r>
            <a:rPr lang="es-ES" sz="1200" kern="1200" noProof="0" dirty="0">
              <a:highlight>
                <a:srgbClr val="000000"/>
              </a:highlight>
            </a:rPr>
            <a:t>tradicional</a:t>
          </a:r>
        </a:p>
      </dsp:txBody>
      <dsp:txXfrm>
        <a:off x="8561721" y="145290"/>
        <a:ext cx="1626614" cy="648000"/>
      </dsp:txXfrm>
    </dsp:sp>
    <dsp:sp modelId="{A7127549-90EF-40A5-ACD4-5851A4A1E4DD}">
      <dsp:nvSpPr>
        <dsp:cNvPr id="0" name=""/>
        <dsp:cNvSpPr/>
      </dsp:nvSpPr>
      <dsp:spPr>
        <a:xfrm>
          <a:off x="8237721" y="874290"/>
          <a:ext cx="1819691" cy="33317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s-ES" sz="1200" kern="1200" noProof="0" dirty="0"/>
            <a:t>Fundamentos de los Modelos de aprendizaje automático</a:t>
          </a:r>
        </a:p>
        <a:p>
          <a:pPr marL="114300" lvl="1" indent="-114300" algn="l" defTabSz="533400">
            <a:lnSpc>
              <a:spcPct val="90000"/>
            </a:lnSpc>
            <a:spcBef>
              <a:spcPct val="0"/>
            </a:spcBef>
            <a:spcAft>
              <a:spcPct val="15000"/>
            </a:spcAft>
            <a:buChar char="•"/>
          </a:pPr>
          <a:r>
            <a:rPr lang="es-ES" sz="1200" kern="1200" noProof="0" dirty="0">
              <a:highlight>
                <a:srgbClr val="FFCDCC"/>
              </a:highlight>
            </a:rPr>
            <a:t>Entrenamiento del algoritmo</a:t>
          </a:r>
        </a:p>
        <a:p>
          <a:pPr marL="114300" lvl="1" indent="-114300" algn="l" defTabSz="533400">
            <a:lnSpc>
              <a:spcPct val="90000"/>
            </a:lnSpc>
            <a:spcBef>
              <a:spcPct val="0"/>
            </a:spcBef>
            <a:spcAft>
              <a:spcPct val="15000"/>
            </a:spcAft>
            <a:buChar char="•"/>
          </a:pPr>
          <a:r>
            <a:rPr lang="es-ES" sz="1200" kern="1200" noProof="0" dirty="0"/>
            <a:t>Algoritmos de visión artificial: como reconocimiento de objetos, reconocimiento facial y detección de movimiento</a:t>
          </a:r>
        </a:p>
        <a:p>
          <a:pPr marL="114300" lvl="1" indent="-114300" algn="l" defTabSz="533400">
            <a:lnSpc>
              <a:spcPct val="90000"/>
            </a:lnSpc>
            <a:spcBef>
              <a:spcPct val="0"/>
            </a:spcBef>
            <a:spcAft>
              <a:spcPct val="15000"/>
            </a:spcAft>
            <a:buChar char="•"/>
          </a:pPr>
          <a:r>
            <a:rPr lang="es-ES" sz="1200" kern="1200" noProof="0" dirty="0"/>
            <a:t>Algoritmos de procesamiento del lenguaje natural: como traducción automática, análisis de sentimiento y generación de texto</a:t>
          </a:r>
        </a:p>
        <a:p>
          <a:pPr marL="114300" lvl="1" indent="-114300" algn="l" defTabSz="533400">
            <a:lnSpc>
              <a:spcPct val="90000"/>
            </a:lnSpc>
            <a:spcBef>
              <a:spcPct val="0"/>
            </a:spcBef>
            <a:spcAft>
              <a:spcPct val="15000"/>
            </a:spcAft>
            <a:buChar char="•"/>
          </a:pPr>
          <a:r>
            <a:rPr lang="es-ES" sz="1200" kern="1200" noProof="0" dirty="0"/>
            <a:t>Algoritmos para hacer análisis explicativo, predictivo y prescriptivo</a:t>
          </a:r>
        </a:p>
      </dsp:txBody>
      <dsp:txXfrm>
        <a:off x="8237721" y="874290"/>
        <a:ext cx="1819691" cy="3331757"/>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484DD-BF20-4355-BB84-4330A81B3740}">
      <dsp:nvSpPr>
        <dsp:cNvPr id="0" name=""/>
        <dsp:cNvSpPr/>
      </dsp:nvSpPr>
      <dsp:spPr>
        <a:xfrm>
          <a:off x="836" y="316264"/>
          <a:ext cx="3261893" cy="1957136"/>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dirty="0"/>
            <a:t>Conjunto de tecnologías para hacer tratamiento “distribuido” y “paralelizado” de datos. </a:t>
          </a:r>
        </a:p>
      </dsp:txBody>
      <dsp:txXfrm>
        <a:off x="836" y="316264"/>
        <a:ext cx="3261893" cy="1957136"/>
      </dsp:txXfrm>
    </dsp:sp>
    <dsp:sp modelId="{F25DC9A4-F3BA-411E-99F9-DB813E9AC5D1}">
      <dsp:nvSpPr>
        <dsp:cNvPr id="0" name=""/>
        <dsp:cNvSpPr/>
      </dsp:nvSpPr>
      <dsp:spPr>
        <a:xfrm>
          <a:off x="3588919" y="316264"/>
          <a:ext cx="3261893" cy="1957136"/>
        </a:xfrm>
        <a:prstGeom prst="rect">
          <a:avLst/>
        </a:prstGeom>
        <a:solidFill>
          <a:schemeClr val="accent1">
            <a:shade val="80000"/>
            <a:hueOff val="116428"/>
            <a:satOff val="-2085"/>
            <a:lumOff val="8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dirty="0"/>
            <a:t>Conjunto de </a:t>
          </a:r>
          <a:r>
            <a:rPr lang="es-ES" sz="1700" strike="sngStrike" kern="1200" baseline="0" dirty="0"/>
            <a:t>nuevas</a:t>
          </a:r>
          <a:r>
            <a:rPr lang="es-ES" sz="1700" kern="1200" dirty="0"/>
            <a:t> tecnologías capaces de ingestar datos (</a:t>
          </a:r>
          <a:r>
            <a:rPr lang="es-ES" sz="1700" strike="sngStrike" kern="1200" baseline="0" dirty="0"/>
            <a:t>obtener valor de datos, convertirlos en información y conocimiento</a:t>
          </a:r>
          <a:r>
            <a:rPr lang="es-ES" sz="1700" kern="1200" dirty="0"/>
            <a:t>) que por sus características (situación, volumen, variedad o velocidad), antes no se aprovechaban.”</a:t>
          </a:r>
        </a:p>
      </dsp:txBody>
      <dsp:txXfrm>
        <a:off x="3588919" y="316264"/>
        <a:ext cx="3261893" cy="1957136"/>
      </dsp:txXfrm>
    </dsp:sp>
    <dsp:sp modelId="{2A2AE762-E367-437B-B10E-9464DE3F8C9D}">
      <dsp:nvSpPr>
        <dsp:cNvPr id="0" name=""/>
        <dsp:cNvSpPr/>
      </dsp:nvSpPr>
      <dsp:spPr>
        <a:xfrm>
          <a:off x="836" y="2599589"/>
          <a:ext cx="3261893" cy="1957136"/>
        </a:xfrm>
        <a:prstGeom prst="rect">
          <a:avLst/>
        </a:prstGeom>
        <a:solidFill>
          <a:schemeClr val="accent1">
            <a:shade val="80000"/>
            <a:hueOff val="232855"/>
            <a:satOff val="-4171"/>
            <a:lumOff val="17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dirty="0"/>
            <a:t>“Esa cantidad de datos que no sabía que tenía ni que podía usar y ahora que lo se quiero hacerlo.”</a:t>
          </a:r>
        </a:p>
        <a:p>
          <a:pPr marL="0" lvl="0" indent="0" algn="ctr" defTabSz="755650">
            <a:lnSpc>
              <a:spcPct val="90000"/>
            </a:lnSpc>
            <a:spcBef>
              <a:spcPct val="0"/>
            </a:spcBef>
            <a:spcAft>
              <a:spcPct val="35000"/>
            </a:spcAft>
            <a:buNone/>
          </a:pPr>
          <a:endParaRPr lang="es-ES" sz="1700" kern="1200" dirty="0"/>
        </a:p>
        <a:p>
          <a:pPr marL="0" lvl="0" indent="0" algn="ctr" defTabSz="755650">
            <a:lnSpc>
              <a:spcPct val="90000"/>
            </a:lnSpc>
            <a:spcBef>
              <a:spcPct val="0"/>
            </a:spcBef>
            <a:spcAft>
              <a:spcPct val="35000"/>
            </a:spcAft>
            <a:buNone/>
          </a:pPr>
          <a:r>
            <a:rPr lang="es-ES" sz="1700" kern="1200" dirty="0"/>
            <a:t>Marketing, Sector Retail.</a:t>
          </a:r>
        </a:p>
      </dsp:txBody>
      <dsp:txXfrm>
        <a:off x="836" y="2599589"/>
        <a:ext cx="3261893" cy="1957136"/>
      </dsp:txXfrm>
    </dsp:sp>
    <dsp:sp modelId="{2F265CE5-94ED-41E1-80EA-7D1147F64F73}">
      <dsp:nvSpPr>
        <dsp:cNvPr id="0" name=""/>
        <dsp:cNvSpPr/>
      </dsp:nvSpPr>
      <dsp:spPr>
        <a:xfrm>
          <a:off x="3588919" y="2599589"/>
          <a:ext cx="3261893" cy="1957136"/>
        </a:xfrm>
        <a:prstGeom prst="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s-ES" sz="1700" kern="1200" dirty="0"/>
            <a:t>Aplica a Analítica, todavía no a operaciones.</a:t>
          </a:r>
        </a:p>
      </dsp:txBody>
      <dsp:txXfrm>
        <a:off x="3588919" y="2599589"/>
        <a:ext cx="3261893" cy="195713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1D0BB-3E45-4276-91E3-0C6F093D0A7E}">
      <dsp:nvSpPr>
        <dsp:cNvPr id="0" name=""/>
        <dsp:cNvSpPr/>
      </dsp:nvSpPr>
      <dsp:spPr>
        <a:xfrm>
          <a:off x="31768" y="718"/>
          <a:ext cx="3156949" cy="1894169"/>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Distribución de procesos y almacenamiento en diferentes servidores. </a:t>
          </a:r>
        </a:p>
      </dsp:txBody>
      <dsp:txXfrm>
        <a:off x="31768" y="718"/>
        <a:ext cx="3156949" cy="1894169"/>
      </dsp:txXfrm>
    </dsp:sp>
    <dsp:sp modelId="{7597247B-6EAF-409A-97D8-0DED4898FE32}">
      <dsp:nvSpPr>
        <dsp:cNvPr id="0" name=""/>
        <dsp:cNvSpPr/>
      </dsp:nvSpPr>
      <dsp:spPr>
        <a:xfrm>
          <a:off x="3504411" y="718"/>
          <a:ext cx="3156949" cy="1894169"/>
        </a:xfrm>
        <a:prstGeom prst="rect">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Paralelización.</a:t>
          </a:r>
        </a:p>
      </dsp:txBody>
      <dsp:txXfrm>
        <a:off x="3504411" y="718"/>
        <a:ext cx="3156949" cy="1894169"/>
      </dsp:txXfrm>
    </dsp:sp>
    <dsp:sp modelId="{E1757EFE-0A6A-4D35-9C1A-F37CEADA0599}">
      <dsp:nvSpPr>
        <dsp:cNvPr id="0" name=""/>
        <dsp:cNvSpPr/>
      </dsp:nvSpPr>
      <dsp:spPr>
        <a:xfrm>
          <a:off x="6977055" y="718"/>
          <a:ext cx="3156949" cy="1894169"/>
        </a:xfrm>
        <a:prstGeom prst="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Permite un enorme poder de computación barata.</a:t>
          </a:r>
        </a:p>
      </dsp:txBody>
      <dsp:txXfrm>
        <a:off x="6977055" y="718"/>
        <a:ext cx="3156949" cy="1894169"/>
      </dsp:txXfrm>
    </dsp:sp>
    <dsp:sp modelId="{2E0C1144-2611-4EC4-B504-C63C45C62C6E}">
      <dsp:nvSpPr>
        <dsp:cNvPr id="0" name=""/>
        <dsp:cNvSpPr/>
      </dsp:nvSpPr>
      <dsp:spPr>
        <a:xfrm>
          <a:off x="1768090" y="2210582"/>
          <a:ext cx="3156949" cy="1894169"/>
        </a:xfrm>
        <a:prstGeom prst="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Cosas que hasta hoy estaban “casi” vedadas con las tecnologías tradicionales, ya se pueden hacer.</a:t>
          </a:r>
        </a:p>
      </dsp:txBody>
      <dsp:txXfrm>
        <a:off x="1768090" y="2210582"/>
        <a:ext cx="3156949" cy="1894169"/>
      </dsp:txXfrm>
    </dsp:sp>
    <dsp:sp modelId="{91B47735-245E-4733-847E-EB3046BEDE2B}">
      <dsp:nvSpPr>
        <dsp:cNvPr id="0" name=""/>
        <dsp:cNvSpPr/>
      </dsp:nvSpPr>
      <dsp:spPr>
        <a:xfrm>
          <a:off x="5240733" y="2210582"/>
          <a:ext cx="3156949" cy="1894169"/>
        </a:xfrm>
        <a:prstGeom prst="rect">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Eje: Puede ingestar información no estructurada en Streaming </a:t>
          </a:r>
        </a:p>
      </dsp:txBody>
      <dsp:txXfrm>
        <a:off x="5240733" y="2210582"/>
        <a:ext cx="3156949" cy="1894169"/>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26C07E-DDD0-4CC2-A1CD-F791C1E2675C}">
      <dsp:nvSpPr>
        <dsp:cNvPr id="0" name=""/>
        <dsp:cNvSpPr/>
      </dsp:nvSpPr>
      <dsp:spPr>
        <a:xfrm>
          <a:off x="1980366" y="188904"/>
          <a:ext cx="3877205" cy="1211626"/>
        </a:xfrm>
        <a:prstGeom prst="rect">
          <a:avLst/>
        </a:prstGeom>
        <a:solidFill>
          <a:schemeClr val="dk2">
            <a:alpha val="4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20675"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Robert Mercer:</a:t>
          </a:r>
        </a:p>
        <a:p>
          <a:pPr marL="171450" lvl="1" indent="-171450" algn="l" defTabSz="711200">
            <a:lnSpc>
              <a:spcPct val="90000"/>
            </a:lnSpc>
            <a:spcBef>
              <a:spcPct val="0"/>
            </a:spcBef>
            <a:spcAft>
              <a:spcPct val="15000"/>
            </a:spcAft>
            <a:buChar char="•"/>
          </a:pPr>
          <a:r>
            <a:rPr lang="es-ES" sz="1600" kern="1200" dirty="0"/>
            <a:t>Millonario americano</a:t>
          </a:r>
        </a:p>
        <a:p>
          <a:pPr marL="171450" lvl="1" indent="-171450" algn="l" defTabSz="711200">
            <a:lnSpc>
              <a:spcPct val="90000"/>
            </a:lnSpc>
            <a:spcBef>
              <a:spcPct val="0"/>
            </a:spcBef>
            <a:spcAft>
              <a:spcPct val="15000"/>
            </a:spcAft>
            <a:buChar char="•"/>
          </a:pPr>
          <a:r>
            <a:rPr lang="es-ES" sz="1600" kern="1200" dirty="0"/>
            <a:t>Dueño de Breitbart, Cambridge Analytica.</a:t>
          </a:r>
        </a:p>
      </dsp:txBody>
      <dsp:txXfrm>
        <a:off x="1980366" y="188904"/>
        <a:ext cx="3877205" cy="1211626"/>
      </dsp:txXfrm>
    </dsp:sp>
    <dsp:sp modelId="{08A2BC8C-264F-4425-BAEF-A39C42B9848B}">
      <dsp:nvSpPr>
        <dsp:cNvPr id="0" name=""/>
        <dsp:cNvSpPr/>
      </dsp:nvSpPr>
      <dsp:spPr>
        <a:xfrm>
          <a:off x="1481779" y="86993"/>
          <a:ext cx="1228706" cy="1272207"/>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2D2633-2258-4849-BCB6-16829227F036}">
      <dsp:nvSpPr>
        <dsp:cNvPr id="0" name=""/>
        <dsp:cNvSpPr/>
      </dsp:nvSpPr>
      <dsp:spPr>
        <a:xfrm>
          <a:off x="6697364" y="188904"/>
          <a:ext cx="3877205" cy="1211626"/>
        </a:xfrm>
        <a:prstGeom prst="rect">
          <a:avLst/>
        </a:prstGeom>
        <a:solidFill>
          <a:schemeClr val="dk2">
            <a:alpha val="4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20675"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Aleksandr Kogan.</a:t>
          </a:r>
        </a:p>
        <a:p>
          <a:pPr marL="171450" lvl="1" indent="-171450" algn="l" defTabSz="711200">
            <a:lnSpc>
              <a:spcPct val="90000"/>
            </a:lnSpc>
            <a:spcBef>
              <a:spcPct val="0"/>
            </a:spcBef>
            <a:spcAft>
              <a:spcPct val="15000"/>
            </a:spcAft>
            <a:buChar char="•"/>
          </a:pPr>
          <a:r>
            <a:rPr lang="es-ES" sz="1600" kern="1200" dirty="0"/>
            <a:t>Crea la APP ‘Thisisyourdigitallife’.</a:t>
          </a:r>
        </a:p>
      </dsp:txBody>
      <dsp:txXfrm>
        <a:off x="6697364" y="188904"/>
        <a:ext cx="3877205" cy="1211626"/>
      </dsp:txXfrm>
    </dsp:sp>
    <dsp:sp modelId="{5ADB5214-22D9-4C05-B5DF-015734F268DF}">
      <dsp:nvSpPr>
        <dsp:cNvPr id="0" name=""/>
        <dsp:cNvSpPr/>
      </dsp:nvSpPr>
      <dsp:spPr>
        <a:xfrm>
          <a:off x="6198470" y="86993"/>
          <a:ext cx="1228706" cy="1272207"/>
        </a:xfrm>
        <a:prstGeom prst="rect">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A3A76B-A570-4E1A-B9BB-2E8E62CFCEFE}">
      <dsp:nvSpPr>
        <dsp:cNvPr id="0" name=""/>
        <dsp:cNvSpPr/>
      </dsp:nvSpPr>
      <dsp:spPr>
        <a:xfrm>
          <a:off x="1980366" y="1714208"/>
          <a:ext cx="3877205" cy="1211626"/>
        </a:xfrm>
        <a:prstGeom prst="rect">
          <a:avLst/>
        </a:prstGeom>
        <a:solidFill>
          <a:schemeClr val="dk2">
            <a:alpha val="4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20675"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Steve Bannon:</a:t>
          </a:r>
        </a:p>
        <a:p>
          <a:pPr marL="171450" lvl="1" indent="-171450" algn="l" defTabSz="711200">
            <a:lnSpc>
              <a:spcPct val="90000"/>
            </a:lnSpc>
            <a:spcBef>
              <a:spcPct val="0"/>
            </a:spcBef>
            <a:spcAft>
              <a:spcPct val="15000"/>
            </a:spcAft>
            <a:buChar char="•"/>
          </a:pPr>
          <a:r>
            <a:rPr lang="es-ES" sz="1600" kern="1200" dirty="0"/>
            <a:t>ex asesor de Trump</a:t>
          </a:r>
        </a:p>
        <a:p>
          <a:pPr marL="171450" lvl="1" indent="-171450" algn="l" defTabSz="711200">
            <a:lnSpc>
              <a:spcPct val="90000"/>
            </a:lnSpc>
            <a:spcBef>
              <a:spcPct val="0"/>
            </a:spcBef>
            <a:spcAft>
              <a:spcPct val="15000"/>
            </a:spcAft>
            <a:buChar char="•"/>
          </a:pPr>
          <a:r>
            <a:rPr lang="es-ES" sz="1600" kern="1200" dirty="0"/>
            <a:t>Ex vicepresidente de Cambridge Analytica.</a:t>
          </a:r>
        </a:p>
      </dsp:txBody>
      <dsp:txXfrm>
        <a:off x="1980366" y="1714208"/>
        <a:ext cx="3877205" cy="1211626"/>
      </dsp:txXfrm>
    </dsp:sp>
    <dsp:sp modelId="{0F8CF855-5927-44C3-8BE6-EF217469CFDB}">
      <dsp:nvSpPr>
        <dsp:cNvPr id="0" name=""/>
        <dsp:cNvSpPr/>
      </dsp:nvSpPr>
      <dsp:spPr>
        <a:xfrm>
          <a:off x="1481779" y="1612296"/>
          <a:ext cx="1228706" cy="1272207"/>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A936D9-BBB0-455C-8DFC-5A2982A23803}">
      <dsp:nvSpPr>
        <dsp:cNvPr id="0" name=""/>
        <dsp:cNvSpPr/>
      </dsp:nvSpPr>
      <dsp:spPr>
        <a:xfrm>
          <a:off x="6697364" y="1714208"/>
          <a:ext cx="3877205" cy="1211626"/>
        </a:xfrm>
        <a:prstGeom prst="rect">
          <a:avLst/>
        </a:prstGeom>
        <a:solidFill>
          <a:schemeClr val="dk2">
            <a:alpha val="4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20675"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Alexander Nix:</a:t>
          </a:r>
        </a:p>
        <a:p>
          <a:pPr marL="171450" lvl="1" indent="-171450" algn="l" defTabSz="711200">
            <a:lnSpc>
              <a:spcPct val="90000"/>
            </a:lnSpc>
            <a:spcBef>
              <a:spcPct val="0"/>
            </a:spcBef>
            <a:spcAft>
              <a:spcPct val="15000"/>
            </a:spcAft>
            <a:buChar char="•"/>
          </a:pPr>
          <a:r>
            <a:rPr lang="es-ES" sz="1600" kern="1200" dirty="0"/>
            <a:t>Director ejecutivo SCL Group</a:t>
          </a:r>
        </a:p>
        <a:p>
          <a:pPr marL="171450" lvl="1" indent="-171450" algn="l" defTabSz="711200">
            <a:lnSpc>
              <a:spcPct val="90000"/>
            </a:lnSpc>
            <a:spcBef>
              <a:spcPct val="0"/>
            </a:spcBef>
            <a:spcAft>
              <a:spcPct val="15000"/>
            </a:spcAft>
            <a:buChar char="•"/>
          </a:pPr>
          <a:r>
            <a:rPr lang="es-ES" sz="1600" kern="1200" dirty="0"/>
            <a:t>Cambridge Analytic.</a:t>
          </a:r>
        </a:p>
      </dsp:txBody>
      <dsp:txXfrm>
        <a:off x="6697364" y="1714208"/>
        <a:ext cx="3877205" cy="1211626"/>
      </dsp:txXfrm>
    </dsp:sp>
    <dsp:sp modelId="{774F464C-861B-4ECA-8E85-09A8C8939D40}">
      <dsp:nvSpPr>
        <dsp:cNvPr id="0" name=""/>
        <dsp:cNvSpPr/>
      </dsp:nvSpPr>
      <dsp:spPr>
        <a:xfrm>
          <a:off x="6198470" y="1612296"/>
          <a:ext cx="1228706" cy="1272207"/>
        </a:xfrm>
        <a:prstGeom prst="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9734A2-94C9-4909-A1A0-CF5B1E582147}">
      <dsp:nvSpPr>
        <dsp:cNvPr id="0" name=""/>
        <dsp:cNvSpPr/>
      </dsp:nvSpPr>
      <dsp:spPr>
        <a:xfrm>
          <a:off x="4170866" y="3239511"/>
          <a:ext cx="3877205" cy="1211626"/>
        </a:xfrm>
        <a:prstGeom prst="rect">
          <a:avLst/>
        </a:prstGeom>
        <a:solidFill>
          <a:schemeClr val="dk2">
            <a:alpha val="4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20675"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Carole Cadwalladr</a:t>
          </a:r>
        </a:p>
        <a:p>
          <a:pPr marL="171450" lvl="1" indent="-171450" algn="l" defTabSz="711200">
            <a:lnSpc>
              <a:spcPct val="90000"/>
            </a:lnSpc>
            <a:spcBef>
              <a:spcPct val="0"/>
            </a:spcBef>
            <a:spcAft>
              <a:spcPct val="15000"/>
            </a:spcAft>
            <a:buChar char="•"/>
          </a:pPr>
          <a:r>
            <a:rPr lang="es-ES" sz="1600" kern="1200" dirty="0"/>
            <a:t>'The Guardian' y su dominical, 'The Observer’.</a:t>
          </a:r>
        </a:p>
      </dsp:txBody>
      <dsp:txXfrm>
        <a:off x="4170866" y="3239511"/>
        <a:ext cx="3877205" cy="1211626"/>
      </dsp:txXfrm>
    </dsp:sp>
    <dsp:sp modelId="{290678E8-AF1E-42DB-BDBD-7014B7E22E17}">
      <dsp:nvSpPr>
        <dsp:cNvPr id="0" name=""/>
        <dsp:cNvSpPr/>
      </dsp:nvSpPr>
      <dsp:spPr>
        <a:xfrm>
          <a:off x="3672278" y="3145538"/>
          <a:ext cx="1228706" cy="1272207"/>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00C7F-CFCA-4EC3-AAB7-AE572BA33F9A}">
      <dsp:nvSpPr>
        <dsp:cNvPr id="0" name=""/>
        <dsp:cNvSpPr/>
      </dsp:nvSpPr>
      <dsp:spPr>
        <a:xfrm>
          <a:off x="6187" y="0"/>
          <a:ext cx="670243" cy="67024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087B56-765E-4CBA-B5D0-108A0D768133}">
      <dsp:nvSpPr>
        <dsp:cNvPr id="0" name=""/>
        <dsp:cNvSpPr/>
      </dsp:nvSpPr>
      <dsp:spPr>
        <a:xfrm>
          <a:off x="73211" y="67024"/>
          <a:ext cx="536194" cy="536194"/>
        </a:xfrm>
        <a:prstGeom prst="chord">
          <a:avLst>
            <a:gd name="adj1" fmla="val 1800000"/>
            <a:gd name="adj2" fmla="val 90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0A9E20-8C79-4978-A385-180AD120D08B}">
      <dsp:nvSpPr>
        <dsp:cNvPr id="0" name=""/>
        <dsp:cNvSpPr/>
      </dsp:nvSpPr>
      <dsp:spPr>
        <a:xfrm>
          <a:off x="816064" y="670243"/>
          <a:ext cx="1982803" cy="2820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ES" sz="1600" kern="1200" dirty="0"/>
            <a:t>Rober Mercer invirtió 10 millones de US$ para crear Breitbart  (SCL Group).</a:t>
          </a:r>
        </a:p>
      </dsp:txBody>
      <dsp:txXfrm>
        <a:off x="816064" y="670243"/>
        <a:ext cx="1982803" cy="2820607"/>
      </dsp:txXfrm>
    </dsp:sp>
    <dsp:sp modelId="{4B974C86-4EFA-49A0-A9BA-F4B97E0BC0C3}">
      <dsp:nvSpPr>
        <dsp:cNvPr id="0" name=""/>
        <dsp:cNvSpPr/>
      </dsp:nvSpPr>
      <dsp:spPr>
        <a:xfrm>
          <a:off x="816064" y="0"/>
          <a:ext cx="1982803" cy="670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0" tIns="101600" rIns="101600" bIns="101600" numCol="1" spcCol="1270" anchor="b" anchorCtr="0">
          <a:noAutofit/>
        </a:bodyPr>
        <a:lstStyle/>
        <a:p>
          <a:pPr marL="0" lvl="0" indent="0" algn="l" defTabSz="1778000">
            <a:lnSpc>
              <a:spcPct val="90000"/>
            </a:lnSpc>
            <a:spcBef>
              <a:spcPct val="0"/>
            </a:spcBef>
            <a:spcAft>
              <a:spcPct val="35000"/>
            </a:spcAft>
            <a:buNone/>
          </a:pPr>
          <a:r>
            <a:rPr lang="es-ES" sz="4000" kern="1200" dirty="0"/>
            <a:t>2007</a:t>
          </a:r>
        </a:p>
      </dsp:txBody>
      <dsp:txXfrm>
        <a:off x="816064" y="0"/>
        <a:ext cx="1982803" cy="670243"/>
      </dsp:txXfrm>
    </dsp:sp>
    <dsp:sp modelId="{2AE7CF44-C3D5-4269-BED7-FD40AED4C66C}">
      <dsp:nvSpPr>
        <dsp:cNvPr id="0" name=""/>
        <dsp:cNvSpPr/>
      </dsp:nvSpPr>
      <dsp:spPr>
        <a:xfrm>
          <a:off x="2938501" y="0"/>
          <a:ext cx="670243" cy="67024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DABE3A8-B5C2-4078-B0C6-9BA681C33CB9}">
      <dsp:nvSpPr>
        <dsp:cNvPr id="0" name=""/>
        <dsp:cNvSpPr/>
      </dsp:nvSpPr>
      <dsp:spPr>
        <a:xfrm>
          <a:off x="3005526" y="67024"/>
          <a:ext cx="536194" cy="536194"/>
        </a:xfrm>
        <a:prstGeom prst="chord">
          <a:avLst>
            <a:gd name="adj1" fmla="val 0"/>
            <a:gd name="adj2" fmla="val 108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36422C-618D-44CE-821C-09949896FE94}">
      <dsp:nvSpPr>
        <dsp:cNvPr id="0" name=""/>
        <dsp:cNvSpPr/>
      </dsp:nvSpPr>
      <dsp:spPr>
        <a:xfrm>
          <a:off x="3748379" y="670243"/>
          <a:ext cx="1982803" cy="2820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ES" sz="1600" kern="1200" dirty="0"/>
            <a:t>Facebook lanza Open Graph API para desarrolladores de aplicaciones de carácter educativo.</a:t>
          </a:r>
        </a:p>
      </dsp:txBody>
      <dsp:txXfrm>
        <a:off x="3748379" y="670243"/>
        <a:ext cx="1982803" cy="2820607"/>
      </dsp:txXfrm>
    </dsp:sp>
    <dsp:sp modelId="{DB2F3043-26CD-4C9B-98E2-39640D080D5D}">
      <dsp:nvSpPr>
        <dsp:cNvPr id="0" name=""/>
        <dsp:cNvSpPr/>
      </dsp:nvSpPr>
      <dsp:spPr>
        <a:xfrm>
          <a:off x="3748379" y="0"/>
          <a:ext cx="1982803" cy="670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0" tIns="101600" rIns="101600" bIns="101600" numCol="1" spcCol="1270" anchor="b" anchorCtr="0">
          <a:noAutofit/>
        </a:bodyPr>
        <a:lstStyle/>
        <a:p>
          <a:pPr marL="0" lvl="0" indent="0" algn="l" defTabSz="1778000">
            <a:lnSpc>
              <a:spcPct val="90000"/>
            </a:lnSpc>
            <a:spcBef>
              <a:spcPct val="0"/>
            </a:spcBef>
            <a:spcAft>
              <a:spcPct val="35000"/>
            </a:spcAft>
            <a:buNone/>
          </a:pPr>
          <a:r>
            <a:rPr lang="es-ES" sz="4000" kern="1200" dirty="0"/>
            <a:t>2010</a:t>
          </a:r>
        </a:p>
      </dsp:txBody>
      <dsp:txXfrm>
        <a:off x="3748379" y="0"/>
        <a:ext cx="1982803" cy="670243"/>
      </dsp:txXfrm>
    </dsp:sp>
    <dsp:sp modelId="{FA5C925A-5C94-4EB2-9D5F-8701BE0D7B39}">
      <dsp:nvSpPr>
        <dsp:cNvPr id="0" name=""/>
        <dsp:cNvSpPr/>
      </dsp:nvSpPr>
      <dsp:spPr>
        <a:xfrm>
          <a:off x="5870816" y="0"/>
          <a:ext cx="670243" cy="67024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34FF6B-BE05-4E5E-B4C7-EC9FC9E424C7}">
      <dsp:nvSpPr>
        <dsp:cNvPr id="0" name=""/>
        <dsp:cNvSpPr/>
      </dsp:nvSpPr>
      <dsp:spPr>
        <a:xfrm>
          <a:off x="5937840" y="67024"/>
          <a:ext cx="536194" cy="536194"/>
        </a:xfrm>
        <a:prstGeom prst="chord">
          <a:avLst>
            <a:gd name="adj1" fmla="val 19800000"/>
            <a:gd name="adj2" fmla="val 126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47D528-E436-4CD5-88CF-D404C0F4C78F}">
      <dsp:nvSpPr>
        <dsp:cNvPr id="0" name=""/>
        <dsp:cNvSpPr/>
      </dsp:nvSpPr>
      <dsp:spPr>
        <a:xfrm>
          <a:off x="6548004" y="670243"/>
          <a:ext cx="2248181" cy="2820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ES" sz="1600" kern="1200" dirty="0"/>
            <a:t>Aleksandr Kogan crea la APP ‘Thisisyourdigitallife’.</a:t>
          </a:r>
        </a:p>
        <a:p>
          <a:pPr marL="0" lvl="0" indent="0" algn="l" defTabSz="711200">
            <a:lnSpc>
              <a:spcPct val="90000"/>
            </a:lnSpc>
            <a:spcBef>
              <a:spcPct val="0"/>
            </a:spcBef>
            <a:spcAft>
              <a:spcPct val="35000"/>
            </a:spcAft>
            <a:buNone/>
          </a:pPr>
          <a:r>
            <a:rPr lang="es-ES" sz="1600" kern="1200" dirty="0"/>
            <a:t>La APP incitaba a la gente a responder preguntas para posteriormente crear un perfil psicológico.</a:t>
          </a:r>
        </a:p>
        <a:p>
          <a:pPr marL="0" lvl="0" indent="0" algn="l" defTabSz="711200">
            <a:lnSpc>
              <a:spcPct val="90000"/>
            </a:lnSpc>
            <a:spcBef>
              <a:spcPct val="0"/>
            </a:spcBef>
            <a:spcAft>
              <a:spcPct val="35000"/>
            </a:spcAft>
            <a:buNone/>
          </a:pPr>
          <a:r>
            <a:rPr lang="es-ES" sz="1600" kern="1200" dirty="0"/>
            <a:t>A través de Likes + opiniones (PLN), se generan patrones.</a:t>
          </a:r>
        </a:p>
        <a:p>
          <a:pPr marL="0" lvl="0" indent="0" algn="l" defTabSz="711200">
            <a:lnSpc>
              <a:spcPct val="90000"/>
            </a:lnSpc>
            <a:spcBef>
              <a:spcPct val="0"/>
            </a:spcBef>
            <a:spcAft>
              <a:spcPct val="35000"/>
            </a:spcAft>
            <a:buNone/>
          </a:pPr>
          <a:endParaRPr lang="es-ES" sz="1600" kern="1200" dirty="0"/>
        </a:p>
        <a:p>
          <a:pPr marL="0" lvl="0" indent="0" algn="l" defTabSz="711200">
            <a:lnSpc>
              <a:spcPct val="90000"/>
            </a:lnSpc>
            <a:spcBef>
              <a:spcPct val="0"/>
            </a:spcBef>
            <a:spcAft>
              <a:spcPct val="35000"/>
            </a:spcAft>
            <a:buNone/>
          </a:pPr>
          <a:r>
            <a:rPr lang="es-ES" sz="1600" kern="1200" dirty="0"/>
            <a:t>Cambridge Analytic, filial americana de SCL Group, trabaja en EEUU</a:t>
          </a:r>
        </a:p>
      </dsp:txBody>
      <dsp:txXfrm>
        <a:off x="6548004" y="670243"/>
        <a:ext cx="2248181" cy="2820607"/>
      </dsp:txXfrm>
    </dsp:sp>
    <dsp:sp modelId="{B54E22B0-BDA6-4826-B2F5-F1ADF23D9469}">
      <dsp:nvSpPr>
        <dsp:cNvPr id="0" name=""/>
        <dsp:cNvSpPr/>
      </dsp:nvSpPr>
      <dsp:spPr>
        <a:xfrm>
          <a:off x="6680693" y="0"/>
          <a:ext cx="1982803" cy="670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0" tIns="101600" rIns="101600" bIns="101600" numCol="1" spcCol="1270" anchor="b" anchorCtr="0">
          <a:noAutofit/>
        </a:bodyPr>
        <a:lstStyle/>
        <a:p>
          <a:pPr marL="0" lvl="0" indent="0" algn="l" defTabSz="1778000">
            <a:lnSpc>
              <a:spcPct val="90000"/>
            </a:lnSpc>
            <a:spcBef>
              <a:spcPct val="0"/>
            </a:spcBef>
            <a:spcAft>
              <a:spcPct val="35000"/>
            </a:spcAft>
            <a:buNone/>
          </a:pPr>
          <a:r>
            <a:rPr lang="es-ES" sz="4000" kern="1200" dirty="0"/>
            <a:t>2013</a:t>
          </a:r>
        </a:p>
      </dsp:txBody>
      <dsp:txXfrm>
        <a:off x="6680693" y="0"/>
        <a:ext cx="1982803" cy="670243"/>
      </dsp:txXfrm>
    </dsp:sp>
    <dsp:sp modelId="{7B493B74-C7C1-4865-9F16-BD8D5543A77A}">
      <dsp:nvSpPr>
        <dsp:cNvPr id="0" name=""/>
        <dsp:cNvSpPr/>
      </dsp:nvSpPr>
      <dsp:spPr>
        <a:xfrm>
          <a:off x="8935820" y="0"/>
          <a:ext cx="670243" cy="67024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B59E275-20E2-4ADA-9B6F-467CA7D79431}">
      <dsp:nvSpPr>
        <dsp:cNvPr id="0" name=""/>
        <dsp:cNvSpPr/>
      </dsp:nvSpPr>
      <dsp:spPr>
        <a:xfrm>
          <a:off x="9002844" y="67024"/>
          <a:ext cx="536194" cy="536194"/>
        </a:xfrm>
        <a:prstGeom prst="chord">
          <a:avLst>
            <a:gd name="adj1" fmla="val 162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6A4B01-021B-460E-9D1F-4A952227ACC2}">
      <dsp:nvSpPr>
        <dsp:cNvPr id="0" name=""/>
        <dsp:cNvSpPr/>
      </dsp:nvSpPr>
      <dsp:spPr>
        <a:xfrm>
          <a:off x="9745697" y="670243"/>
          <a:ext cx="1982803" cy="2820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ES" sz="1600" kern="1200" dirty="0"/>
            <a:t>Aleksandr Kogan vende los datos obtenidos mediante su aplicación a Cambridge Analytica.</a:t>
          </a:r>
        </a:p>
        <a:p>
          <a:pPr marL="0" lvl="0" indent="0" algn="l" defTabSz="711200">
            <a:lnSpc>
              <a:spcPct val="90000"/>
            </a:lnSpc>
            <a:spcBef>
              <a:spcPct val="0"/>
            </a:spcBef>
            <a:spcAft>
              <a:spcPct val="35000"/>
            </a:spcAft>
            <a:buNone/>
          </a:pPr>
          <a:endParaRPr lang="es-ES" sz="1600" kern="1200" dirty="0"/>
        </a:p>
        <a:p>
          <a:pPr marL="0" lvl="0" indent="0" algn="l" defTabSz="711200">
            <a:lnSpc>
              <a:spcPct val="90000"/>
            </a:lnSpc>
            <a:spcBef>
              <a:spcPct val="0"/>
            </a:spcBef>
            <a:spcAft>
              <a:spcPct val="35000"/>
            </a:spcAft>
            <a:buNone/>
          </a:pPr>
          <a:r>
            <a:rPr lang="es-ES" sz="1600" kern="1200" dirty="0"/>
            <a:t>Bannon decidió abrir 'Breitbart London.</a:t>
          </a:r>
        </a:p>
      </dsp:txBody>
      <dsp:txXfrm>
        <a:off x="9745697" y="670243"/>
        <a:ext cx="1982803" cy="2820607"/>
      </dsp:txXfrm>
    </dsp:sp>
    <dsp:sp modelId="{31E0BF55-CAC3-44FE-B5A9-43EF731C62DD}">
      <dsp:nvSpPr>
        <dsp:cNvPr id="0" name=""/>
        <dsp:cNvSpPr/>
      </dsp:nvSpPr>
      <dsp:spPr>
        <a:xfrm>
          <a:off x="9745697" y="0"/>
          <a:ext cx="1982803" cy="670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0" tIns="101600" rIns="101600" bIns="101600" numCol="1" spcCol="1270" anchor="b" anchorCtr="0">
          <a:noAutofit/>
        </a:bodyPr>
        <a:lstStyle/>
        <a:p>
          <a:pPr marL="0" lvl="0" indent="0" algn="l" defTabSz="1778000">
            <a:lnSpc>
              <a:spcPct val="90000"/>
            </a:lnSpc>
            <a:spcBef>
              <a:spcPct val="0"/>
            </a:spcBef>
            <a:spcAft>
              <a:spcPct val="35000"/>
            </a:spcAft>
            <a:buNone/>
          </a:pPr>
          <a:r>
            <a:rPr lang="es-ES" sz="4000" kern="1200" dirty="0"/>
            <a:t>2014</a:t>
          </a:r>
        </a:p>
      </dsp:txBody>
      <dsp:txXfrm>
        <a:off x="9745697" y="0"/>
        <a:ext cx="1982803" cy="670243"/>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3A186-27DD-4071-BC6D-16A5676C441E}">
      <dsp:nvSpPr>
        <dsp:cNvPr id="0" name=""/>
        <dsp:cNvSpPr/>
      </dsp:nvSpPr>
      <dsp:spPr>
        <a:xfrm rot="5400000">
          <a:off x="1852022" y="1007016"/>
          <a:ext cx="1737647" cy="2891406"/>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EDE6BC-FC18-480D-9FDF-A44018A1F602}">
      <dsp:nvSpPr>
        <dsp:cNvPr id="0" name=""/>
        <dsp:cNvSpPr/>
      </dsp:nvSpPr>
      <dsp:spPr>
        <a:xfrm>
          <a:off x="1561966" y="1870923"/>
          <a:ext cx="2610378" cy="22881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ES" sz="2400" kern="1200" dirty="0"/>
            <a:t>2014-2016</a:t>
          </a:r>
        </a:p>
        <a:p>
          <a:pPr marL="171450" lvl="1" indent="-171450" algn="l" defTabSz="800100">
            <a:lnSpc>
              <a:spcPct val="90000"/>
            </a:lnSpc>
            <a:spcBef>
              <a:spcPct val="0"/>
            </a:spcBef>
            <a:spcAft>
              <a:spcPct val="15000"/>
            </a:spcAft>
            <a:buChar char="•"/>
          </a:pPr>
          <a:r>
            <a:rPr lang="es-ES" sz="1800" kern="1200" dirty="0"/>
            <a:t>Cambridge Analytica trabaja para:</a:t>
          </a:r>
        </a:p>
        <a:p>
          <a:pPr marL="171450" lvl="1" indent="-171450" algn="l" defTabSz="800100">
            <a:lnSpc>
              <a:spcPct val="90000"/>
            </a:lnSpc>
            <a:spcBef>
              <a:spcPct val="0"/>
            </a:spcBef>
            <a:spcAft>
              <a:spcPct val="15000"/>
            </a:spcAft>
            <a:buChar char="•"/>
          </a:pPr>
          <a:r>
            <a:rPr lang="es-ES" sz="1800" kern="1200" dirty="0"/>
            <a:t>Mensajes a los ciudadanos conforme a lo que conforme a los patrones son sensibles.</a:t>
          </a:r>
        </a:p>
        <a:p>
          <a:pPr marL="171450" lvl="1" indent="-171450" algn="l" defTabSz="800100">
            <a:lnSpc>
              <a:spcPct val="90000"/>
            </a:lnSpc>
            <a:spcBef>
              <a:spcPct val="0"/>
            </a:spcBef>
            <a:spcAft>
              <a:spcPct val="15000"/>
            </a:spcAft>
            <a:buChar char="•"/>
          </a:pPr>
          <a:r>
            <a:rPr lang="es-ES" sz="1800" kern="1200" dirty="0"/>
            <a:t>Desde FACEBOOK y otros</a:t>
          </a:r>
        </a:p>
      </dsp:txBody>
      <dsp:txXfrm>
        <a:off x="1561966" y="1870923"/>
        <a:ext cx="2610378" cy="2288149"/>
      </dsp:txXfrm>
    </dsp:sp>
    <dsp:sp modelId="{6EF0E6CF-870D-4F42-9EEA-B745870179FC}">
      <dsp:nvSpPr>
        <dsp:cNvPr id="0" name=""/>
        <dsp:cNvSpPr/>
      </dsp:nvSpPr>
      <dsp:spPr>
        <a:xfrm>
          <a:off x="3679820" y="794147"/>
          <a:ext cx="492524" cy="49252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8EDF54-AF2C-45CA-B03F-9C7B92D3EE7D}">
      <dsp:nvSpPr>
        <dsp:cNvPr id="0" name=""/>
        <dsp:cNvSpPr/>
      </dsp:nvSpPr>
      <dsp:spPr>
        <a:xfrm rot="5400000">
          <a:off x="5047635" y="216258"/>
          <a:ext cx="1737647" cy="2891406"/>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0E6C04-4D06-4B9F-8A78-54106CFA366C}">
      <dsp:nvSpPr>
        <dsp:cNvPr id="0" name=""/>
        <dsp:cNvSpPr/>
      </dsp:nvSpPr>
      <dsp:spPr>
        <a:xfrm>
          <a:off x="4757578" y="1080166"/>
          <a:ext cx="2610378" cy="22881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ES" sz="2400" kern="1200" dirty="0"/>
            <a:t>2016, Jun.23</a:t>
          </a:r>
        </a:p>
        <a:p>
          <a:pPr marL="171450" lvl="1" indent="-171450" algn="l" defTabSz="800100">
            <a:lnSpc>
              <a:spcPct val="90000"/>
            </a:lnSpc>
            <a:spcBef>
              <a:spcPct val="0"/>
            </a:spcBef>
            <a:spcAft>
              <a:spcPct val="15000"/>
            </a:spcAft>
            <a:buChar char="•"/>
          </a:pPr>
          <a:r>
            <a:rPr lang="es-ES" sz="1800" kern="1200" dirty="0"/>
            <a:t>Brexit "vote leave"</a:t>
          </a:r>
        </a:p>
        <a:p>
          <a:pPr marL="171450" lvl="1" indent="-171450" algn="l" defTabSz="800100">
            <a:lnSpc>
              <a:spcPct val="90000"/>
            </a:lnSpc>
            <a:spcBef>
              <a:spcPct val="0"/>
            </a:spcBef>
            <a:spcAft>
              <a:spcPct val="15000"/>
            </a:spcAft>
            <a:buChar char="•"/>
          </a:pPr>
          <a:r>
            <a:rPr lang="es-ES" sz="1800" kern="1200" dirty="0"/>
            <a:t>Emigrantes + Inoperancia UE</a:t>
          </a:r>
        </a:p>
        <a:p>
          <a:pPr marL="171450" lvl="1" indent="-171450" algn="l" defTabSz="800100">
            <a:lnSpc>
              <a:spcPct val="90000"/>
            </a:lnSpc>
            <a:spcBef>
              <a:spcPct val="0"/>
            </a:spcBef>
            <a:spcAft>
              <a:spcPct val="15000"/>
            </a:spcAft>
            <a:buChar char="•"/>
          </a:pPr>
          <a:r>
            <a:rPr lang="es-ES" sz="1800" kern="1200" dirty="0"/>
            <a:t>Se pudo llegar a 1.1 Millones. (60 Millones) </a:t>
          </a:r>
        </a:p>
      </dsp:txBody>
      <dsp:txXfrm>
        <a:off x="4757578" y="1080166"/>
        <a:ext cx="2610378" cy="2288149"/>
      </dsp:txXfrm>
    </dsp:sp>
    <dsp:sp modelId="{60CC5F36-9896-461E-B3C4-7D040DE91900}">
      <dsp:nvSpPr>
        <dsp:cNvPr id="0" name=""/>
        <dsp:cNvSpPr/>
      </dsp:nvSpPr>
      <dsp:spPr>
        <a:xfrm>
          <a:off x="6875432" y="3390"/>
          <a:ext cx="492524" cy="49252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C6E02F-F529-4EB6-ABD7-3D9F8FAEAA87}">
      <dsp:nvSpPr>
        <dsp:cNvPr id="0" name=""/>
        <dsp:cNvSpPr/>
      </dsp:nvSpPr>
      <dsp:spPr>
        <a:xfrm rot="5400000">
          <a:off x="8243248" y="-574498"/>
          <a:ext cx="1737647" cy="2891406"/>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3B58BD-E685-4EF1-903E-99ABAFC92DC5}">
      <dsp:nvSpPr>
        <dsp:cNvPr id="0" name=""/>
        <dsp:cNvSpPr/>
      </dsp:nvSpPr>
      <dsp:spPr>
        <a:xfrm>
          <a:off x="7953191" y="289408"/>
          <a:ext cx="2610378" cy="22881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s-ES" sz="2400" kern="1200" dirty="0"/>
            <a:t>2016, Nov.8</a:t>
          </a:r>
        </a:p>
        <a:p>
          <a:pPr marL="171450" lvl="1" indent="-171450" algn="l" defTabSz="800100">
            <a:lnSpc>
              <a:spcPct val="90000"/>
            </a:lnSpc>
            <a:spcBef>
              <a:spcPct val="0"/>
            </a:spcBef>
            <a:spcAft>
              <a:spcPct val="15000"/>
            </a:spcAft>
            <a:buChar char="•"/>
          </a:pPr>
          <a:r>
            <a:rPr lang="es-ES" sz="1800" kern="1200" dirty="0"/>
            <a:t>Trump</a:t>
          </a:r>
        </a:p>
        <a:p>
          <a:pPr marL="171450" lvl="1" indent="-171450" algn="l" defTabSz="800100">
            <a:lnSpc>
              <a:spcPct val="90000"/>
            </a:lnSpc>
            <a:spcBef>
              <a:spcPct val="0"/>
            </a:spcBef>
            <a:spcAft>
              <a:spcPct val="15000"/>
            </a:spcAft>
            <a:buChar char="•"/>
          </a:pPr>
          <a:r>
            <a:rPr lang="es-ES" sz="1800" kern="1200" dirty="0"/>
            <a:t>“EL sueño americano”</a:t>
          </a:r>
        </a:p>
        <a:p>
          <a:pPr marL="171450" lvl="1" indent="-171450" algn="l" defTabSz="800100">
            <a:lnSpc>
              <a:spcPct val="90000"/>
            </a:lnSpc>
            <a:spcBef>
              <a:spcPct val="0"/>
            </a:spcBef>
            <a:spcAft>
              <a:spcPct val="15000"/>
            </a:spcAft>
            <a:buChar char="•"/>
          </a:pPr>
          <a:r>
            <a:rPr lang="es-ES" sz="1800" kern="1200" dirty="0"/>
            <a:t>Se obtiene info de 280,000 a 320,000  personas. </a:t>
          </a:r>
        </a:p>
        <a:p>
          <a:pPr marL="171450" lvl="1" indent="-171450" algn="l" defTabSz="800100">
            <a:lnSpc>
              <a:spcPct val="90000"/>
            </a:lnSpc>
            <a:spcBef>
              <a:spcPct val="0"/>
            </a:spcBef>
            <a:spcAft>
              <a:spcPct val="15000"/>
            </a:spcAft>
            <a:buChar char="•"/>
          </a:pPr>
          <a:r>
            <a:rPr lang="es-ES" sz="1800" kern="1200" dirty="0"/>
            <a:t>Se llego a unas 84 M personas. (325 Millones)</a:t>
          </a:r>
        </a:p>
      </dsp:txBody>
      <dsp:txXfrm>
        <a:off x="7953191" y="289408"/>
        <a:ext cx="2610378" cy="2288149"/>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F0E0FC-48F6-4910-A0A7-8F079B943E4B}">
      <dsp:nvSpPr>
        <dsp:cNvPr id="0" name=""/>
        <dsp:cNvSpPr/>
      </dsp:nvSpPr>
      <dsp:spPr>
        <a:xfrm>
          <a:off x="0" y="313903"/>
          <a:ext cx="2756793" cy="1654075"/>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La gente quiere escuchar lo que creé previamente. </a:t>
          </a:r>
        </a:p>
      </dsp:txBody>
      <dsp:txXfrm>
        <a:off x="0" y="313903"/>
        <a:ext cx="2756793" cy="1654075"/>
      </dsp:txXfrm>
    </dsp:sp>
    <dsp:sp modelId="{23593C86-B571-4C9C-A272-20CB7D1FB407}">
      <dsp:nvSpPr>
        <dsp:cNvPr id="0" name=""/>
        <dsp:cNvSpPr/>
      </dsp:nvSpPr>
      <dsp:spPr>
        <a:xfrm>
          <a:off x="3032472" y="313903"/>
          <a:ext cx="2756793" cy="1654075"/>
        </a:xfrm>
        <a:prstGeom prst="rect">
          <a:avLst/>
        </a:prstGeom>
        <a:solidFill>
          <a:schemeClr val="accent1">
            <a:shade val="80000"/>
            <a:hueOff val="69857"/>
            <a:satOff val="-1251"/>
            <a:lumOff val="5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Los simpatizantes de 'la salida' (de la UE) crearon tuits falsos mediante bots.</a:t>
          </a:r>
        </a:p>
      </dsp:txBody>
      <dsp:txXfrm>
        <a:off x="3032472" y="313903"/>
        <a:ext cx="2756793" cy="1654075"/>
      </dsp:txXfrm>
    </dsp:sp>
    <dsp:sp modelId="{0FE4A231-779E-4817-ADBB-C3EE746B622B}">
      <dsp:nvSpPr>
        <dsp:cNvPr id="0" name=""/>
        <dsp:cNvSpPr/>
      </dsp:nvSpPr>
      <dsp:spPr>
        <a:xfrm>
          <a:off x="6064944" y="313903"/>
          <a:ext cx="2756793" cy="1654075"/>
        </a:xfrm>
        <a:prstGeom prst="rect">
          <a:avLst/>
        </a:prstGeom>
        <a:solidFill>
          <a:schemeClr val="accent1">
            <a:shade val="80000"/>
            <a:hueOff val="139713"/>
            <a:satOff val="-2502"/>
            <a:lumOff val="106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Los datos recolectados se orientaron a las campañas a nivel local.</a:t>
          </a:r>
        </a:p>
      </dsp:txBody>
      <dsp:txXfrm>
        <a:off x="6064944" y="313903"/>
        <a:ext cx="2756793" cy="1654075"/>
      </dsp:txXfrm>
    </dsp:sp>
    <dsp:sp modelId="{EE947564-C3D9-4074-898C-B0F87E10FD8A}">
      <dsp:nvSpPr>
        <dsp:cNvPr id="0" name=""/>
        <dsp:cNvSpPr/>
      </dsp:nvSpPr>
      <dsp:spPr>
        <a:xfrm>
          <a:off x="0" y="2243658"/>
          <a:ext cx="2756793" cy="1654075"/>
        </a:xfrm>
        <a:prstGeom prst="rect">
          <a:avLst/>
        </a:prstGeom>
        <a:solidFill>
          <a:schemeClr val="accent1">
            <a:shade val="80000"/>
            <a:hueOff val="209570"/>
            <a:satOff val="-3754"/>
            <a:lumOff val="159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Partidarios del Brexit invirtieron 750 K libras en anuncios que contenían información falsa.</a:t>
          </a:r>
        </a:p>
      </dsp:txBody>
      <dsp:txXfrm>
        <a:off x="0" y="2243658"/>
        <a:ext cx="2756793" cy="1654075"/>
      </dsp:txXfrm>
    </dsp:sp>
    <dsp:sp modelId="{381DA602-C1D7-4398-B2D0-6C0E26091701}">
      <dsp:nvSpPr>
        <dsp:cNvPr id="0" name=""/>
        <dsp:cNvSpPr/>
      </dsp:nvSpPr>
      <dsp:spPr>
        <a:xfrm>
          <a:off x="3032472" y="2243658"/>
          <a:ext cx="2756793" cy="1654075"/>
        </a:xfrm>
        <a:prstGeom prst="rect">
          <a:avLst/>
        </a:prstGeom>
        <a:solidFill>
          <a:schemeClr val="accent1">
            <a:shade val="80000"/>
            <a:hueOff val="279426"/>
            <a:satOff val="-5005"/>
            <a:lumOff val="21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Las noticias desaparecen, haciendo que sea imposible investigar sobre ellas.</a:t>
          </a:r>
        </a:p>
      </dsp:txBody>
      <dsp:txXfrm>
        <a:off x="3032472" y="2243658"/>
        <a:ext cx="2756793" cy="1654075"/>
      </dsp:txXfrm>
    </dsp:sp>
    <dsp:sp modelId="{FE7D655C-1627-4140-9081-D9E3E6A85B0D}">
      <dsp:nvSpPr>
        <dsp:cNvPr id="0" name=""/>
        <dsp:cNvSpPr/>
      </dsp:nvSpPr>
      <dsp:spPr>
        <a:xfrm>
          <a:off x="6064944" y="2243658"/>
          <a:ext cx="2756793" cy="1654075"/>
        </a:xfrm>
        <a:prstGeom prst="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ES" sz="2100" kern="1200" dirty="0"/>
            <a:t>¡no votaré!</a:t>
          </a:r>
        </a:p>
      </dsp:txBody>
      <dsp:txXfrm>
        <a:off x="6064944" y="2243658"/>
        <a:ext cx="2756793" cy="165407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CA91A7-CF26-4D87-A0B3-784C5A0DDB78}">
      <dsp:nvSpPr>
        <dsp:cNvPr id="0" name=""/>
        <dsp:cNvSpPr/>
      </dsp:nvSpPr>
      <dsp:spPr>
        <a:xfrm>
          <a:off x="5872" y="4563"/>
          <a:ext cx="3638787" cy="864000"/>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Casas de apuestas | Big Data “vs” Encuestas</a:t>
          </a:r>
          <a:endParaRPr lang="es-ES" sz="1600" b="1" kern="1200" dirty="0"/>
        </a:p>
      </dsp:txBody>
      <dsp:txXfrm>
        <a:off x="437872" y="4563"/>
        <a:ext cx="2774787" cy="864000"/>
      </dsp:txXfrm>
    </dsp:sp>
    <dsp:sp modelId="{497BB6E2-5B63-425F-BD5D-9C097FA4120A}">
      <dsp:nvSpPr>
        <dsp:cNvPr id="0" name=""/>
        <dsp:cNvSpPr/>
      </dsp:nvSpPr>
      <dsp:spPr>
        <a:xfrm>
          <a:off x="5872" y="976563"/>
          <a:ext cx="2911029" cy="324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Tras las primeras elecciones tras la Guerra de Secesión, las casas de apuestas han acertado siempre los resultados y las encuestas no. </a:t>
          </a:r>
        </a:p>
        <a:p>
          <a:pPr marL="342900" lvl="2" indent="-171450" algn="l" defTabSz="711200">
            <a:lnSpc>
              <a:spcPct val="90000"/>
            </a:lnSpc>
            <a:spcBef>
              <a:spcPct val="0"/>
            </a:spcBef>
            <a:spcAft>
              <a:spcPct val="15000"/>
            </a:spcAft>
            <a:buChar char="•"/>
          </a:pPr>
          <a:r>
            <a:rPr lang="es-ES" sz="1600" kern="1200" dirty="0"/>
            <a:t>[La predicción de las casas de apuestas falló ante una de las Guerras mundiales],</a:t>
          </a:r>
        </a:p>
        <a:p>
          <a:pPr marL="342900" lvl="2" indent="-171450" algn="l" defTabSz="711200">
            <a:lnSpc>
              <a:spcPct val="90000"/>
            </a:lnSpc>
            <a:spcBef>
              <a:spcPct val="0"/>
            </a:spcBef>
            <a:spcAft>
              <a:spcPct val="15000"/>
            </a:spcAft>
            <a:buChar char="•"/>
          </a:pPr>
          <a:r>
            <a:rPr lang="es-ES" sz="1600" kern="1200" dirty="0"/>
            <a:t>Con Big Data es posible emular lo que sucede en las casa de apuestas. </a:t>
          </a:r>
        </a:p>
      </dsp:txBody>
      <dsp:txXfrm>
        <a:off x="5872" y="976563"/>
        <a:ext cx="2911029" cy="3240000"/>
      </dsp:txXfrm>
    </dsp:sp>
    <dsp:sp modelId="{D823A577-A35C-4005-A022-0C16F9FA4001}">
      <dsp:nvSpPr>
        <dsp:cNvPr id="0" name=""/>
        <dsp:cNvSpPr/>
      </dsp:nvSpPr>
      <dsp:spPr>
        <a:xfrm>
          <a:off x="3428659" y="4563"/>
          <a:ext cx="3638787" cy="864000"/>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nóstico</a:t>
          </a:r>
          <a:endParaRPr lang="es-ES" sz="1600" b="1" kern="1200" dirty="0"/>
        </a:p>
      </dsp:txBody>
      <dsp:txXfrm>
        <a:off x="3860659" y="4563"/>
        <a:ext cx="2774787" cy="864000"/>
      </dsp:txXfrm>
    </dsp:sp>
    <dsp:sp modelId="{F97C5328-3262-42E5-AA56-4D3A562EA830}">
      <dsp:nvSpPr>
        <dsp:cNvPr id="0" name=""/>
        <dsp:cNvSpPr/>
      </dsp:nvSpPr>
      <dsp:spPr>
        <a:xfrm>
          <a:off x="3428659" y="976563"/>
          <a:ext cx="2911029" cy="324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Allan Lichtman, (American University). 32 años pronosticando correctamente el resultado de las elecciones presidenciales.. </a:t>
          </a:r>
        </a:p>
        <a:p>
          <a:pPr marL="342900" lvl="2" indent="-171450" algn="l" defTabSz="711200">
            <a:lnSpc>
              <a:spcPct val="90000"/>
            </a:lnSpc>
            <a:spcBef>
              <a:spcPct val="0"/>
            </a:spcBef>
            <a:spcAft>
              <a:spcPct val="15000"/>
            </a:spcAft>
            <a:buChar char="•"/>
          </a:pPr>
          <a:r>
            <a:rPr lang="es-ES" sz="1600" kern="1200" dirty="0"/>
            <a:t>Ha desarrollado un sistema científico/matemático basado en 13 preguntas</a:t>
          </a:r>
        </a:p>
        <a:p>
          <a:pPr marL="342900" lvl="2" indent="-171450" algn="l" defTabSz="711200">
            <a:lnSpc>
              <a:spcPct val="90000"/>
            </a:lnSpc>
            <a:spcBef>
              <a:spcPct val="0"/>
            </a:spcBef>
            <a:spcAft>
              <a:spcPct val="15000"/>
            </a:spcAft>
            <a:buChar char="•"/>
          </a:pPr>
          <a:r>
            <a:rPr lang="es-ES" sz="1600" kern="1200" dirty="0"/>
            <a:t>Se responden de manera objetiva con un sí o un no.</a:t>
          </a:r>
        </a:p>
        <a:p>
          <a:pPr marL="342900" lvl="2" indent="-171450" algn="l" defTabSz="711200">
            <a:lnSpc>
              <a:spcPct val="90000"/>
            </a:lnSpc>
            <a:spcBef>
              <a:spcPct val="0"/>
            </a:spcBef>
            <a:spcAft>
              <a:spcPct val="15000"/>
            </a:spcAft>
            <a:buChar char="•"/>
          </a:pPr>
          <a:r>
            <a:rPr lang="es-ES" sz="1600" kern="1200" dirty="0"/>
            <a:t>Analizan cómo ha sido la gestión del partido que ha estado los últimos cuatro años en la Casa Blanca. </a:t>
          </a:r>
        </a:p>
      </dsp:txBody>
      <dsp:txXfrm>
        <a:off x="3428659" y="976563"/>
        <a:ext cx="2911029" cy="3240000"/>
      </dsp:txXfrm>
    </dsp:sp>
    <dsp:sp modelId="{A4B21AF0-D3F4-4CC0-87FA-96D29F29E3B5}">
      <dsp:nvSpPr>
        <dsp:cNvPr id="0" name=""/>
        <dsp:cNvSpPr/>
      </dsp:nvSpPr>
      <dsp:spPr>
        <a:xfrm>
          <a:off x="6851447" y="4563"/>
          <a:ext cx="3638787" cy="864000"/>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Meetings 2016</a:t>
          </a:r>
        </a:p>
      </dsp:txBody>
      <dsp:txXfrm>
        <a:off x="7283447" y="4563"/>
        <a:ext cx="2774787" cy="864000"/>
      </dsp:txXfrm>
    </dsp:sp>
    <dsp:sp modelId="{FF2BBB73-EEBC-4A9E-B867-4B0BC889EA67}">
      <dsp:nvSpPr>
        <dsp:cNvPr id="0" name=""/>
        <dsp:cNvSpPr/>
      </dsp:nvSpPr>
      <dsp:spPr>
        <a:xfrm>
          <a:off x="6851447" y="976563"/>
          <a:ext cx="2911029" cy="324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los resultados entre ambos candidatos, estuvo tan igualado porque ambos utilizaron técnicas Big Data basadas en Apache Spark + LNP cada vez que iban a una ciudad. </a:t>
          </a:r>
        </a:p>
        <a:p>
          <a:pPr marL="342900" lvl="2" indent="-171450" algn="l" defTabSz="711200">
            <a:lnSpc>
              <a:spcPct val="90000"/>
            </a:lnSpc>
            <a:spcBef>
              <a:spcPct val="0"/>
            </a:spcBef>
            <a:spcAft>
              <a:spcPct val="15000"/>
            </a:spcAft>
            <a:buChar char="•"/>
          </a:pPr>
          <a:r>
            <a:rPr lang="es-ES" sz="1600" kern="1200" dirty="0"/>
            <a:t>Sabían lo que les preocupa en la ciudades que visitaban y los dos más o menos decían lo mismo. </a:t>
          </a:r>
        </a:p>
        <a:p>
          <a:pPr marL="342900" lvl="2" indent="-171450" algn="l" defTabSz="711200">
            <a:lnSpc>
              <a:spcPct val="90000"/>
            </a:lnSpc>
            <a:spcBef>
              <a:spcPct val="0"/>
            </a:spcBef>
            <a:spcAft>
              <a:spcPct val="15000"/>
            </a:spcAft>
            <a:buChar char="•"/>
          </a:pPr>
          <a:r>
            <a:rPr lang="es-ES" sz="1600" kern="1200" dirty="0"/>
            <a:t>Se analizaron Blogs, Redes sociales, foros etc..]</a:t>
          </a:r>
        </a:p>
      </dsp:txBody>
      <dsp:txXfrm>
        <a:off x="6851447" y="976563"/>
        <a:ext cx="2911029" cy="324000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4FEFF6-CFF2-43B1-BC3D-7BB1637893CA}">
      <dsp:nvSpPr>
        <dsp:cNvPr id="0" name=""/>
        <dsp:cNvSpPr/>
      </dsp:nvSpPr>
      <dsp:spPr>
        <a:xfrm>
          <a:off x="3015" y="473280"/>
          <a:ext cx="1632538" cy="979523"/>
        </a:xfrm>
        <a:prstGeom prst="rect">
          <a:avLst/>
        </a:prstGeom>
        <a:gradFill rotWithShape="0">
          <a:gsLst>
            <a:gs pos="0">
              <a:schemeClr val="accent1">
                <a:shade val="50000"/>
                <a:hueOff val="0"/>
                <a:satOff val="0"/>
                <a:lumOff val="0"/>
                <a:alphaOff val="0"/>
                <a:lumMod val="110000"/>
                <a:satMod val="105000"/>
                <a:tint val="67000"/>
              </a:schemeClr>
            </a:gs>
            <a:gs pos="50000">
              <a:schemeClr val="accent1">
                <a:shade val="50000"/>
                <a:hueOff val="0"/>
                <a:satOff val="0"/>
                <a:lumOff val="0"/>
                <a:alphaOff val="0"/>
                <a:lumMod val="105000"/>
                <a:satMod val="103000"/>
                <a:tint val="73000"/>
              </a:schemeClr>
            </a:gs>
            <a:gs pos="100000">
              <a:schemeClr val="accent1">
                <a:shade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1. El partido en la Casa Blanca ganó asientos en las elecciones de mitad de periodo.</a:t>
          </a:r>
        </a:p>
      </dsp:txBody>
      <dsp:txXfrm>
        <a:off x="3015" y="473280"/>
        <a:ext cx="1632538" cy="979523"/>
      </dsp:txXfrm>
    </dsp:sp>
    <dsp:sp modelId="{ED1C8C6B-64A4-4BC1-8FA2-1DAFCB2F426C}">
      <dsp:nvSpPr>
        <dsp:cNvPr id="0" name=""/>
        <dsp:cNvSpPr/>
      </dsp:nvSpPr>
      <dsp:spPr>
        <a:xfrm>
          <a:off x="1798807" y="473280"/>
          <a:ext cx="1632538" cy="979523"/>
        </a:xfrm>
        <a:prstGeom prst="rect">
          <a:avLst/>
        </a:prstGeom>
        <a:gradFill rotWithShape="0">
          <a:gsLst>
            <a:gs pos="0">
              <a:schemeClr val="accent1">
                <a:shade val="50000"/>
                <a:hueOff val="61922"/>
                <a:satOff val="-1508"/>
                <a:lumOff val="6599"/>
                <a:alphaOff val="0"/>
                <a:lumMod val="110000"/>
                <a:satMod val="105000"/>
                <a:tint val="67000"/>
              </a:schemeClr>
            </a:gs>
            <a:gs pos="50000">
              <a:schemeClr val="accent1">
                <a:shade val="50000"/>
                <a:hueOff val="61922"/>
                <a:satOff val="-1508"/>
                <a:lumOff val="6599"/>
                <a:alphaOff val="0"/>
                <a:lumMod val="105000"/>
                <a:satMod val="103000"/>
                <a:tint val="73000"/>
              </a:schemeClr>
            </a:gs>
            <a:gs pos="100000">
              <a:schemeClr val="accent1">
                <a:shade val="50000"/>
                <a:hueOff val="61922"/>
                <a:satOff val="-1508"/>
                <a:lumOff val="659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2. Ningún rival desafía al presidente en las primarias del partido en el poder.</a:t>
          </a:r>
        </a:p>
      </dsp:txBody>
      <dsp:txXfrm>
        <a:off x="1798807" y="473280"/>
        <a:ext cx="1632538" cy="979523"/>
      </dsp:txXfrm>
    </dsp:sp>
    <dsp:sp modelId="{E0C6B5B5-3F55-40F2-A136-6576B188FA26}">
      <dsp:nvSpPr>
        <dsp:cNvPr id="0" name=""/>
        <dsp:cNvSpPr/>
      </dsp:nvSpPr>
      <dsp:spPr>
        <a:xfrm>
          <a:off x="3594599" y="473280"/>
          <a:ext cx="1632538" cy="979523"/>
        </a:xfrm>
        <a:prstGeom prst="rect">
          <a:avLst/>
        </a:prstGeom>
        <a:gradFill rotWithShape="0">
          <a:gsLst>
            <a:gs pos="0">
              <a:schemeClr val="accent1">
                <a:shade val="50000"/>
                <a:hueOff val="123844"/>
                <a:satOff val="-3016"/>
                <a:lumOff val="13199"/>
                <a:alphaOff val="0"/>
                <a:lumMod val="110000"/>
                <a:satMod val="105000"/>
                <a:tint val="67000"/>
              </a:schemeClr>
            </a:gs>
            <a:gs pos="50000">
              <a:schemeClr val="accent1">
                <a:shade val="50000"/>
                <a:hueOff val="123844"/>
                <a:satOff val="-3016"/>
                <a:lumOff val="13199"/>
                <a:alphaOff val="0"/>
                <a:lumMod val="105000"/>
                <a:satMod val="103000"/>
                <a:tint val="73000"/>
              </a:schemeClr>
            </a:gs>
            <a:gs pos="100000">
              <a:schemeClr val="accent1">
                <a:shade val="50000"/>
                <a:hueOff val="123844"/>
                <a:satOff val="-3016"/>
                <a:lumOff val="1319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3. El presidente busca la reelección.</a:t>
          </a:r>
        </a:p>
      </dsp:txBody>
      <dsp:txXfrm>
        <a:off x="3594599" y="473280"/>
        <a:ext cx="1632538" cy="979523"/>
      </dsp:txXfrm>
    </dsp:sp>
    <dsp:sp modelId="{3AFEFFE0-B48C-4490-8098-5DDA860B1476}">
      <dsp:nvSpPr>
        <dsp:cNvPr id="0" name=""/>
        <dsp:cNvSpPr/>
      </dsp:nvSpPr>
      <dsp:spPr>
        <a:xfrm>
          <a:off x="5390392" y="473280"/>
          <a:ext cx="1632538" cy="979523"/>
        </a:xfrm>
        <a:prstGeom prst="rect">
          <a:avLst/>
        </a:prstGeom>
        <a:gradFill rotWithShape="0">
          <a:gsLst>
            <a:gs pos="0">
              <a:schemeClr val="accent1">
                <a:shade val="50000"/>
                <a:hueOff val="185766"/>
                <a:satOff val="-4524"/>
                <a:lumOff val="19798"/>
                <a:alphaOff val="0"/>
                <a:lumMod val="110000"/>
                <a:satMod val="105000"/>
                <a:tint val="67000"/>
              </a:schemeClr>
            </a:gs>
            <a:gs pos="50000">
              <a:schemeClr val="accent1">
                <a:shade val="50000"/>
                <a:hueOff val="185766"/>
                <a:satOff val="-4524"/>
                <a:lumOff val="19798"/>
                <a:alphaOff val="0"/>
                <a:lumMod val="105000"/>
                <a:satMod val="103000"/>
                <a:tint val="73000"/>
              </a:schemeClr>
            </a:gs>
            <a:gs pos="100000">
              <a:schemeClr val="accent1">
                <a:shade val="50000"/>
                <a:hueOff val="185766"/>
                <a:satOff val="-4524"/>
                <a:lumOff val="19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4. No hay candidato de un tercer partido.</a:t>
          </a:r>
        </a:p>
      </dsp:txBody>
      <dsp:txXfrm>
        <a:off x="5390392" y="473280"/>
        <a:ext cx="1632538" cy="979523"/>
      </dsp:txXfrm>
    </dsp:sp>
    <dsp:sp modelId="{C0C9C782-C36E-4B44-8DB3-3D661BD44A77}">
      <dsp:nvSpPr>
        <dsp:cNvPr id="0" name=""/>
        <dsp:cNvSpPr/>
      </dsp:nvSpPr>
      <dsp:spPr>
        <a:xfrm>
          <a:off x="7186184" y="473280"/>
          <a:ext cx="1632538" cy="979523"/>
        </a:xfrm>
        <a:prstGeom prst="rect">
          <a:avLst/>
        </a:prstGeom>
        <a:gradFill rotWithShape="0">
          <a:gsLst>
            <a:gs pos="0">
              <a:schemeClr val="accent1">
                <a:shade val="50000"/>
                <a:hueOff val="247688"/>
                <a:satOff val="-6032"/>
                <a:lumOff val="26398"/>
                <a:alphaOff val="0"/>
                <a:lumMod val="110000"/>
                <a:satMod val="105000"/>
                <a:tint val="67000"/>
              </a:schemeClr>
            </a:gs>
            <a:gs pos="50000">
              <a:schemeClr val="accent1">
                <a:shade val="50000"/>
                <a:hueOff val="247688"/>
                <a:satOff val="-6032"/>
                <a:lumOff val="26398"/>
                <a:alphaOff val="0"/>
                <a:lumMod val="105000"/>
                <a:satMod val="103000"/>
                <a:tint val="73000"/>
              </a:schemeClr>
            </a:gs>
            <a:gs pos="100000">
              <a:schemeClr val="accent1">
                <a:shade val="50000"/>
                <a:hueOff val="247688"/>
                <a:satOff val="-6032"/>
                <a:lumOff val="263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b="0" i="0" kern="1200" dirty="0"/>
            <a:t>5. La economía se encuentra en un buen momento.</a:t>
          </a:r>
          <a:endParaRPr lang="es-ES" sz="1400" b="0" kern="1200" dirty="0"/>
        </a:p>
      </dsp:txBody>
      <dsp:txXfrm>
        <a:off x="7186184" y="473280"/>
        <a:ext cx="1632538" cy="979523"/>
      </dsp:txXfrm>
    </dsp:sp>
    <dsp:sp modelId="{7B192A16-62D3-4B5C-AC70-09596CCFA602}">
      <dsp:nvSpPr>
        <dsp:cNvPr id="0" name=""/>
        <dsp:cNvSpPr/>
      </dsp:nvSpPr>
      <dsp:spPr>
        <a:xfrm>
          <a:off x="3015" y="1616057"/>
          <a:ext cx="1632538" cy="979523"/>
        </a:xfrm>
        <a:prstGeom prst="rect">
          <a:avLst/>
        </a:prstGeom>
        <a:gradFill rotWithShape="0">
          <a:gsLst>
            <a:gs pos="0">
              <a:schemeClr val="accent1">
                <a:shade val="50000"/>
                <a:hueOff val="309610"/>
                <a:satOff val="-7540"/>
                <a:lumOff val="32997"/>
                <a:alphaOff val="0"/>
                <a:lumMod val="110000"/>
                <a:satMod val="105000"/>
                <a:tint val="67000"/>
              </a:schemeClr>
            </a:gs>
            <a:gs pos="50000">
              <a:schemeClr val="accent1">
                <a:shade val="50000"/>
                <a:hueOff val="309610"/>
                <a:satOff val="-7540"/>
                <a:lumOff val="32997"/>
                <a:alphaOff val="0"/>
                <a:lumMod val="105000"/>
                <a:satMod val="103000"/>
                <a:tint val="73000"/>
              </a:schemeClr>
            </a:gs>
            <a:gs pos="100000">
              <a:schemeClr val="accent1">
                <a:shade val="50000"/>
                <a:hueOff val="309610"/>
                <a:satOff val="-7540"/>
                <a:lumOff val="3299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6. La economía ha crecido en el periodo presidencial tanto como en los dos anteriores.</a:t>
          </a:r>
        </a:p>
      </dsp:txBody>
      <dsp:txXfrm>
        <a:off x="3015" y="1616057"/>
        <a:ext cx="1632538" cy="979523"/>
      </dsp:txXfrm>
    </dsp:sp>
    <dsp:sp modelId="{96B18D99-1694-4041-B992-DA9E7C4B2CEC}">
      <dsp:nvSpPr>
        <dsp:cNvPr id="0" name=""/>
        <dsp:cNvSpPr/>
      </dsp:nvSpPr>
      <dsp:spPr>
        <a:xfrm>
          <a:off x="1798807" y="1616057"/>
          <a:ext cx="1632538" cy="979523"/>
        </a:xfrm>
        <a:prstGeom prst="rect">
          <a:avLst/>
        </a:prstGeom>
        <a:gradFill rotWithShape="0">
          <a:gsLst>
            <a:gs pos="0">
              <a:schemeClr val="accent1">
                <a:shade val="50000"/>
                <a:hueOff val="371532"/>
                <a:satOff val="-9048"/>
                <a:lumOff val="39596"/>
                <a:alphaOff val="0"/>
                <a:lumMod val="110000"/>
                <a:satMod val="105000"/>
                <a:tint val="67000"/>
              </a:schemeClr>
            </a:gs>
            <a:gs pos="50000">
              <a:schemeClr val="accent1">
                <a:shade val="50000"/>
                <a:hueOff val="371532"/>
                <a:satOff val="-9048"/>
                <a:lumOff val="39596"/>
                <a:alphaOff val="0"/>
                <a:lumMod val="105000"/>
                <a:satMod val="103000"/>
                <a:tint val="73000"/>
              </a:schemeClr>
            </a:gs>
            <a:gs pos="100000">
              <a:schemeClr val="accent1">
                <a:shade val="50000"/>
                <a:hueOff val="371532"/>
                <a:satOff val="-9048"/>
                <a:lumOff val="39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7. El presidente ha hecho grandes cambios en la política nacional.</a:t>
          </a:r>
        </a:p>
      </dsp:txBody>
      <dsp:txXfrm>
        <a:off x="1798807" y="1616057"/>
        <a:ext cx="1632538" cy="979523"/>
      </dsp:txXfrm>
    </dsp:sp>
    <dsp:sp modelId="{B80B0092-C734-4492-B69A-583D6B8FC94D}">
      <dsp:nvSpPr>
        <dsp:cNvPr id="0" name=""/>
        <dsp:cNvSpPr/>
      </dsp:nvSpPr>
      <dsp:spPr>
        <a:xfrm>
          <a:off x="3594599" y="1616057"/>
          <a:ext cx="1632538" cy="979523"/>
        </a:xfrm>
        <a:prstGeom prst="rect">
          <a:avLst/>
        </a:prstGeom>
        <a:gradFill rotWithShape="0">
          <a:gsLst>
            <a:gs pos="0">
              <a:schemeClr val="accent1">
                <a:shade val="50000"/>
                <a:hueOff val="371532"/>
                <a:satOff val="-9048"/>
                <a:lumOff val="39596"/>
                <a:alphaOff val="0"/>
                <a:lumMod val="110000"/>
                <a:satMod val="105000"/>
                <a:tint val="67000"/>
              </a:schemeClr>
            </a:gs>
            <a:gs pos="50000">
              <a:schemeClr val="accent1">
                <a:shade val="50000"/>
                <a:hueOff val="371532"/>
                <a:satOff val="-9048"/>
                <a:lumOff val="39596"/>
                <a:alphaOff val="0"/>
                <a:lumMod val="105000"/>
                <a:satMod val="103000"/>
                <a:tint val="73000"/>
              </a:schemeClr>
            </a:gs>
            <a:gs pos="100000">
              <a:schemeClr val="accent1">
                <a:shade val="50000"/>
                <a:hueOff val="371532"/>
                <a:satOff val="-9048"/>
                <a:lumOff val="39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8. No ha habido conflictos sociales durante el mandato.</a:t>
          </a:r>
        </a:p>
      </dsp:txBody>
      <dsp:txXfrm>
        <a:off x="3594599" y="1616057"/>
        <a:ext cx="1632538" cy="979523"/>
      </dsp:txXfrm>
    </dsp:sp>
    <dsp:sp modelId="{86B1F931-A8A9-41C6-8837-A9BF3CED3D39}">
      <dsp:nvSpPr>
        <dsp:cNvPr id="0" name=""/>
        <dsp:cNvSpPr/>
      </dsp:nvSpPr>
      <dsp:spPr>
        <a:xfrm>
          <a:off x="5390392" y="1616057"/>
          <a:ext cx="1632538" cy="979523"/>
        </a:xfrm>
        <a:prstGeom prst="rect">
          <a:avLst/>
        </a:prstGeom>
        <a:gradFill rotWithShape="0">
          <a:gsLst>
            <a:gs pos="0">
              <a:schemeClr val="accent1">
                <a:shade val="50000"/>
                <a:hueOff val="309610"/>
                <a:satOff val="-7540"/>
                <a:lumOff val="32997"/>
                <a:alphaOff val="0"/>
                <a:lumMod val="110000"/>
                <a:satMod val="105000"/>
                <a:tint val="67000"/>
              </a:schemeClr>
            </a:gs>
            <a:gs pos="50000">
              <a:schemeClr val="accent1">
                <a:shade val="50000"/>
                <a:hueOff val="309610"/>
                <a:satOff val="-7540"/>
                <a:lumOff val="32997"/>
                <a:alphaOff val="0"/>
                <a:lumMod val="105000"/>
                <a:satMod val="103000"/>
                <a:tint val="73000"/>
              </a:schemeClr>
            </a:gs>
            <a:gs pos="100000">
              <a:schemeClr val="accent1">
                <a:shade val="50000"/>
                <a:hueOff val="309610"/>
                <a:satOff val="-7540"/>
                <a:lumOff val="3299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9. No ha habido escándalos que salpiquen a la Casa Blanca.</a:t>
          </a:r>
        </a:p>
      </dsp:txBody>
      <dsp:txXfrm>
        <a:off x="5390392" y="1616057"/>
        <a:ext cx="1632538" cy="979523"/>
      </dsp:txXfrm>
    </dsp:sp>
    <dsp:sp modelId="{C283BB00-1E2E-48B2-92C8-A1DB3468DE40}">
      <dsp:nvSpPr>
        <dsp:cNvPr id="0" name=""/>
        <dsp:cNvSpPr/>
      </dsp:nvSpPr>
      <dsp:spPr>
        <a:xfrm>
          <a:off x="7186184" y="1616057"/>
          <a:ext cx="1632538" cy="979523"/>
        </a:xfrm>
        <a:prstGeom prst="rect">
          <a:avLst/>
        </a:prstGeom>
        <a:gradFill rotWithShape="0">
          <a:gsLst>
            <a:gs pos="0">
              <a:schemeClr val="accent1">
                <a:shade val="50000"/>
                <a:hueOff val="247688"/>
                <a:satOff val="-6032"/>
                <a:lumOff val="26398"/>
                <a:alphaOff val="0"/>
                <a:lumMod val="110000"/>
                <a:satMod val="105000"/>
                <a:tint val="67000"/>
              </a:schemeClr>
            </a:gs>
            <a:gs pos="50000">
              <a:schemeClr val="accent1">
                <a:shade val="50000"/>
                <a:hueOff val="247688"/>
                <a:satOff val="-6032"/>
                <a:lumOff val="26398"/>
                <a:alphaOff val="0"/>
                <a:lumMod val="105000"/>
                <a:satMod val="103000"/>
                <a:tint val="73000"/>
              </a:schemeClr>
            </a:gs>
            <a:gs pos="100000">
              <a:schemeClr val="accent1">
                <a:shade val="50000"/>
                <a:hueOff val="247688"/>
                <a:satOff val="-6032"/>
                <a:lumOff val="263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10. El ejército de Estados Unidos no ha sufrido grandes fracasos en el exterior.</a:t>
          </a:r>
        </a:p>
      </dsp:txBody>
      <dsp:txXfrm>
        <a:off x="7186184" y="1616057"/>
        <a:ext cx="1632538" cy="979523"/>
      </dsp:txXfrm>
    </dsp:sp>
    <dsp:sp modelId="{E67AD256-CAFF-4A6C-8B33-A2EBA93D02C0}">
      <dsp:nvSpPr>
        <dsp:cNvPr id="0" name=""/>
        <dsp:cNvSpPr/>
      </dsp:nvSpPr>
      <dsp:spPr>
        <a:xfrm>
          <a:off x="1798807" y="2758834"/>
          <a:ext cx="1632538" cy="979523"/>
        </a:xfrm>
        <a:prstGeom prst="rect">
          <a:avLst/>
        </a:prstGeom>
        <a:gradFill rotWithShape="0">
          <a:gsLst>
            <a:gs pos="0">
              <a:schemeClr val="accent1">
                <a:shade val="50000"/>
                <a:hueOff val="185766"/>
                <a:satOff val="-4524"/>
                <a:lumOff val="19798"/>
                <a:alphaOff val="0"/>
                <a:lumMod val="110000"/>
                <a:satMod val="105000"/>
                <a:tint val="67000"/>
              </a:schemeClr>
            </a:gs>
            <a:gs pos="50000">
              <a:schemeClr val="accent1">
                <a:shade val="50000"/>
                <a:hueOff val="185766"/>
                <a:satOff val="-4524"/>
                <a:lumOff val="19798"/>
                <a:alphaOff val="0"/>
                <a:lumMod val="105000"/>
                <a:satMod val="103000"/>
                <a:tint val="73000"/>
              </a:schemeClr>
            </a:gs>
            <a:gs pos="100000">
              <a:schemeClr val="accent1">
                <a:shade val="50000"/>
                <a:hueOff val="185766"/>
                <a:satOff val="-4524"/>
                <a:lumOff val="19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11. La Casa Blanca ha obtenido un gran éxito militar en el exterior.</a:t>
          </a:r>
        </a:p>
      </dsp:txBody>
      <dsp:txXfrm>
        <a:off x="1798807" y="2758834"/>
        <a:ext cx="1632538" cy="979523"/>
      </dsp:txXfrm>
    </dsp:sp>
    <dsp:sp modelId="{58B6FB33-0954-4627-8517-DE24801FB0D2}">
      <dsp:nvSpPr>
        <dsp:cNvPr id="0" name=""/>
        <dsp:cNvSpPr/>
      </dsp:nvSpPr>
      <dsp:spPr>
        <a:xfrm>
          <a:off x="3594599" y="2758834"/>
          <a:ext cx="1632538" cy="979523"/>
        </a:xfrm>
        <a:prstGeom prst="rect">
          <a:avLst/>
        </a:prstGeom>
        <a:gradFill rotWithShape="0">
          <a:gsLst>
            <a:gs pos="0">
              <a:schemeClr val="accent1">
                <a:shade val="50000"/>
                <a:hueOff val="123844"/>
                <a:satOff val="-3016"/>
                <a:lumOff val="13199"/>
                <a:alphaOff val="0"/>
                <a:lumMod val="110000"/>
                <a:satMod val="105000"/>
                <a:tint val="67000"/>
              </a:schemeClr>
            </a:gs>
            <a:gs pos="50000">
              <a:schemeClr val="accent1">
                <a:shade val="50000"/>
                <a:hueOff val="123844"/>
                <a:satOff val="-3016"/>
                <a:lumOff val="13199"/>
                <a:alphaOff val="0"/>
                <a:lumMod val="105000"/>
                <a:satMod val="103000"/>
                <a:tint val="73000"/>
              </a:schemeClr>
            </a:gs>
            <a:gs pos="100000">
              <a:schemeClr val="accent1">
                <a:shade val="50000"/>
                <a:hueOff val="123844"/>
                <a:satOff val="-3016"/>
                <a:lumOff val="1319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12. El candidato del partido en el poder tiene carisma</a:t>
          </a:r>
        </a:p>
      </dsp:txBody>
      <dsp:txXfrm>
        <a:off x="3594599" y="2758834"/>
        <a:ext cx="1632538" cy="979523"/>
      </dsp:txXfrm>
    </dsp:sp>
    <dsp:sp modelId="{46567624-911B-4761-9915-E9B640B9FA9D}">
      <dsp:nvSpPr>
        <dsp:cNvPr id="0" name=""/>
        <dsp:cNvSpPr/>
      </dsp:nvSpPr>
      <dsp:spPr>
        <a:xfrm>
          <a:off x="5390392" y="2758834"/>
          <a:ext cx="1632538" cy="979523"/>
        </a:xfrm>
        <a:prstGeom prst="rect">
          <a:avLst/>
        </a:prstGeom>
        <a:gradFill rotWithShape="0">
          <a:gsLst>
            <a:gs pos="0">
              <a:schemeClr val="accent1">
                <a:shade val="50000"/>
                <a:hueOff val="61922"/>
                <a:satOff val="-1508"/>
                <a:lumOff val="6599"/>
                <a:alphaOff val="0"/>
                <a:lumMod val="110000"/>
                <a:satMod val="105000"/>
                <a:tint val="67000"/>
              </a:schemeClr>
            </a:gs>
            <a:gs pos="50000">
              <a:schemeClr val="accent1">
                <a:shade val="50000"/>
                <a:hueOff val="61922"/>
                <a:satOff val="-1508"/>
                <a:lumOff val="6599"/>
                <a:alphaOff val="0"/>
                <a:lumMod val="105000"/>
                <a:satMod val="103000"/>
                <a:tint val="73000"/>
              </a:schemeClr>
            </a:gs>
            <a:gs pos="100000">
              <a:schemeClr val="accent1">
                <a:shade val="50000"/>
                <a:hueOff val="61922"/>
                <a:satOff val="-1508"/>
                <a:lumOff val="659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ES" sz="1400" kern="1200" dirty="0"/>
            <a:t>13. El candidato que desafía al presidente no tiene carisma.</a:t>
          </a:r>
        </a:p>
      </dsp:txBody>
      <dsp:txXfrm>
        <a:off x="5390392" y="2758834"/>
        <a:ext cx="1632538" cy="9795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1FFD59-5D75-43C7-9CD7-5659EBC32538}">
      <dsp:nvSpPr>
        <dsp:cNvPr id="0" name=""/>
        <dsp:cNvSpPr/>
      </dsp:nvSpPr>
      <dsp:spPr>
        <a:xfrm>
          <a:off x="812916" y="186183"/>
          <a:ext cx="4050536" cy="4050536"/>
        </a:xfrm>
        <a:prstGeom prst="rect">
          <a:avLst/>
        </a:prstGeom>
        <a:blipFill rotWithShape="1">
          <a:blip xmlns:r="http://schemas.openxmlformats.org/officeDocument/2006/relationships" r:embed="rId1">
            <a:duotone>
              <a:prstClr val="black"/>
              <a:srgbClr val="D9C3A5">
                <a:tint val="50000"/>
                <a:satMod val="180000"/>
              </a:srgbClr>
            </a:duotone>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l="-6000" r="-6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7A8130-D9AD-43F2-B6F8-041A474FE8B2}">
      <dsp:nvSpPr>
        <dsp:cNvPr id="0" name=""/>
        <dsp:cNvSpPr/>
      </dsp:nvSpPr>
      <dsp:spPr>
        <a:xfrm rot="16200000">
          <a:off x="-1617404"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ntes</a:t>
          </a:r>
        </a:p>
      </dsp:txBody>
      <dsp:txXfrm>
        <a:off x="-1617404" y="1806398"/>
        <a:ext cx="4050536" cy="810107"/>
      </dsp:txXfrm>
    </dsp:sp>
    <dsp:sp modelId="{A6368D97-2712-4D62-954F-45CC9FA3A2AD}">
      <dsp:nvSpPr>
        <dsp:cNvPr id="0" name=""/>
        <dsp:cNvSpPr/>
      </dsp:nvSpPr>
      <dsp:spPr>
        <a:xfrm>
          <a:off x="5674489" y="186183"/>
          <a:ext cx="4050536" cy="4050536"/>
        </a:xfrm>
        <a:prstGeom prst="rect">
          <a:avLst/>
        </a:prstGeom>
        <a:blipFill rotWithShape="1">
          <a:blip xmlns:r="http://schemas.openxmlformats.org/officeDocument/2006/relationships" r:embed="rId3">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rcRect/>
          <a:stretch>
            <a:fillRect l="-25000" r="-25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EE71A0-8ACC-464B-828E-021208722A36}">
      <dsp:nvSpPr>
        <dsp:cNvPr id="0" name=""/>
        <dsp:cNvSpPr/>
      </dsp:nvSpPr>
      <dsp:spPr>
        <a:xfrm rot="16200000">
          <a:off x="3244168"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hora</a:t>
          </a:r>
        </a:p>
      </dsp:txBody>
      <dsp:txXfrm>
        <a:off x="3244168" y="1806398"/>
        <a:ext cx="4050536" cy="810107"/>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099B59-640B-400D-9D70-4F8C2A404E9E}">
      <dsp:nvSpPr>
        <dsp:cNvPr id="0" name=""/>
        <dsp:cNvSpPr/>
      </dsp:nvSpPr>
      <dsp:spPr>
        <a:xfrm>
          <a:off x="5778" y="246770"/>
          <a:ext cx="1791284" cy="386245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s-ES" sz="1800" kern="1200" dirty="0"/>
            <a:t>Ante una llamada del cliente, recogida por el Call center.</a:t>
          </a:r>
        </a:p>
      </dsp:txBody>
      <dsp:txXfrm>
        <a:off x="58243" y="299235"/>
        <a:ext cx="1686354" cy="3757528"/>
      </dsp:txXfrm>
    </dsp:sp>
    <dsp:sp modelId="{E22ED027-5259-49DA-AE3E-8F1DD7A9E614}">
      <dsp:nvSpPr>
        <dsp:cNvPr id="0" name=""/>
        <dsp:cNvSpPr/>
      </dsp:nvSpPr>
      <dsp:spPr>
        <a:xfrm>
          <a:off x="1976191" y="1955880"/>
          <a:ext cx="379752" cy="44423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s-ES" sz="1800" kern="1200" dirty="0"/>
        </a:p>
      </dsp:txBody>
      <dsp:txXfrm>
        <a:off x="1976191" y="2044728"/>
        <a:ext cx="265826" cy="266542"/>
      </dsp:txXfrm>
    </dsp:sp>
    <dsp:sp modelId="{820AC21A-A11C-443F-B149-8DD9B9F9DDE2}">
      <dsp:nvSpPr>
        <dsp:cNvPr id="0" name=""/>
        <dsp:cNvSpPr/>
      </dsp:nvSpPr>
      <dsp:spPr>
        <a:xfrm>
          <a:off x="2513577" y="246770"/>
          <a:ext cx="1791284" cy="3862458"/>
        </a:xfrm>
        <a:prstGeom prst="roundRect">
          <a:avLst>
            <a:gd name="adj" fmla="val 10000"/>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s-ES" sz="1800" kern="1200" dirty="0"/>
            <a:t>El operador del Call Center seleccionará la incidencia tipo entre las opciones.</a:t>
          </a:r>
        </a:p>
      </dsp:txBody>
      <dsp:txXfrm>
        <a:off x="2566042" y="299235"/>
        <a:ext cx="1686354" cy="3757528"/>
      </dsp:txXfrm>
    </dsp:sp>
    <dsp:sp modelId="{1BDD5E05-EA8E-4409-8FAA-9FA5A0171D45}">
      <dsp:nvSpPr>
        <dsp:cNvPr id="0" name=""/>
        <dsp:cNvSpPr/>
      </dsp:nvSpPr>
      <dsp:spPr>
        <a:xfrm>
          <a:off x="4483990" y="1955880"/>
          <a:ext cx="379752" cy="444238"/>
        </a:xfrm>
        <a:prstGeom prst="rightArrow">
          <a:avLst>
            <a:gd name="adj1" fmla="val 60000"/>
            <a:gd name="adj2" fmla="val 50000"/>
          </a:avLst>
        </a:prstGeom>
        <a:solidFill>
          <a:schemeClr val="accent2">
            <a:hueOff val="-485121"/>
            <a:satOff val="-27976"/>
            <a:lumOff val="287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s-ES" sz="1800" kern="1200" dirty="0"/>
        </a:p>
      </dsp:txBody>
      <dsp:txXfrm>
        <a:off x="4483990" y="2044728"/>
        <a:ext cx="265826" cy="266542"/>
      </dsp:txXfrm>
    </dsp:sp>
    <dsp:sp modelId="{3C969E22-BBD7-476E-B87F-46284FF29C96}">
      <dsp:nvSpPr>
        <dsp:cNvPr id="0" name=""/>
        <dsp:cNvSpPr/>
      </dsp:nvSpPr>
      <dsp:spPr>
        <a:xfrm>
          <a:off x="5021376" y="246770"/>
          <a:ext cx="1791284" cy="3862458"/>
        </a:xfrm>
        <a:prstGeom prst="roundRect">
          <a:avLst>
            <a:gd name="adj" fmla="val 10000"/>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s-ES" sz="1800" kern="1200" dirty="0"/>
            <a:t>La herramienta le irá guiando paso a paso durante la llamada.</a:t>
          </a:r>
        </a:p>
      </dsp:txBody>
      <dsp:txXfrm>
        <a:off x="5073841" y="299235"/>
        <a:ext cx="1686354" cy="3757528"/>
      </dsp:txXfrm>
    </dsp:sp>
    <dsp:sp modelId="{A7955764-1EB2-4E0A-AB13-D66673934F83}">
      <dsp:nvSpPr>
        <dsp:cNvPr id="0" name=""/>
        <dsp:cNvSpPr/>
      </dsp:nvSpPr>
      <dsp:spPr>
        <a:xfrm>
          <a:off x="6991789" y="1955880"/>
          <a:ext cx="379752" cy="444238"/>
        </a:xfrm>
        <a:prstGeom prst="rightArrow">
          <a:avLst>
            <a:gd name="adj1" fmla="val 60000"/>
            <a:gd name="adj2" fmla="val 50000"/>
          </a:avLst>
        </a:prstGeom>
        <a:solidFill>
          <a:schemeClr val="accent2">
            <a:hueOff val="-970242"/>
            <a:satOff val="-55952"/>
            <a:lumOff val="575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s-ES" sz="1800" kern="1200" dirty="0"/>
        </a:p>
      </dsp:txBody>
      <dsp:txXfrm>
        <a:off x="6991789" y="2044728"/>
        <a:ext cx="265826" cy="266542"/>
      </dsp:txXfrm>
    </dsp:sp>
    <dsp:sp modelId="{366AF274-9BF0-4C9B-8FF8-03F73F634CFA}">
      <dsp:nvSpPr>
        <dsp:cNvPr id="0" name=""/>
        <dsp:cNvSpPr/>
      </dsp:nvSpPr>
      <dsp:spPr>
        <a:xfrm>
          <a:off x="7529174" y="246770"/>
          <a:ext cx="1791284" cy="3862458"/>
        </a:xfrm>
        <a:prstGeom prst="roundRect">
          <a:avLst>
            <a:gd name="adj" fmla="val 10000"/>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s-ES" sz="1800" kern="1200" dirty="0"/>
            <a:t>La herramienta buscará la mejor solución a la incidencia del cliente.</a:t>
          </a:r>
        </a:p>
        <a:p>
          <a:pPr marL="0" lvl="0" indent="0" algn="ctr" defTabSz="800100" rtl="0">
            <a:lnSpc>
              <a:spcPct val="90000"/>
            </a:lnSpc>
            <a:spcBef>
              <a:spcPct val="0"/>
            </a:spcBef>
            <a:spcAft>
              <a:spcPct val="35000"/>
            </a:spcAft>
            <a:buNone/>
          </a:pPr>
          <a:r>
            <a:rPr lang="es-ES" sz="1800" kern="1200" dirty="0"/>
            <a:t>Si es un equipo de personas las que tienen que resolver, la Base de Conocimiento propondrá los medios más adecuados.</a:t>
          </a:r>
        </a:p>
      </dsp:txBody>
      <dsp:txXfrm>
        <a:off x="7581639" y="299235"/>
        <a:ext cx="1686354" cy="3757528"/>
      </dsp:txXfrm>
    </dsp:sp>
    <dsp:sp modelId="{A0CC4397-EE66-4DAA-B6C5-770C5AECD80C}">
      <dsp:nvSpPr>
        <dsp:cNvPr id="0" name=""/>
        <dsp:cNvSpPr/>
      </dsp:nvSpPr>
      <dsp:spPr>
        <a:xfrm>
          <a:off x="9499588" y="1955880"/>
          <a:ext cx="379752" cy="444238"/>
        </a:xfrm>
        <a:prstGeom prst="rightArrow">
          <a:avLst>
            <a:gd name="adj1" fmla="val 60000"/>
            <a:gd name="adj2" fmla="val 50000"/>
          </a:avLst>
        </a:prstGeom>
        <a:solidFill>
          <a:schemeClr val="accent2">
            <a:hueOff val="-1455363"/>
            <a:satOff val="-83928"/>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s-ES" sz="1800" kern="1200" dirty="0"/>
        </a:p>
      </dsp:txBody>
      <dsp:txXfrm>
        <a:off x="9499588" y="2044728"/>
        <a:ext cx="265826" cy="266542"/>
      </dsp:txXfrm>
    </dsp:sp>
    <dsp:sp modelId="{8DD3842F-816F-4D92-9D63-D61E1F1F9790}">
      <dsp:nvSpPr>
        <dsp:cNvPr id="0" name=""/>
        <dsp:cNvSpPr/>
      </dsp:nvSpPr>
      <dsp:spPr>
        <a:xfrm>
          <a:off x="10036973" y="246770"/>
          <a:ext cx="1791284" cy="3862458"/>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s-ES" sz="1800" kern="1200" dirty="0"/>
            <a:t>La Base de conocimiento, se retroalimentará  mediante machine learning con la solución dada y aprenderá para futuras actuaciones: Flujos óptimos</a:t>
          </a:r>
        </a:p>
      </dsp:txBody>
      <dsp:txXfrm>
        <a:off x="10089438" y="299235"/>
        <a:ext cx="1686354" cy="375752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942108-5A32-4C8A-B513-5ADA75CF1004}">
      <dsp:nvSpPr>
        <dsp:cNvPr id="0" name=""/>
        <dsp:cNvSpPr/>
      </dsp:nvSpPr>
      <dsp:spPr>
        <a:xfrm>
          <a:off x="0" y="0"/>
          <a:ext cx="6792738" cy="875148"/>
        </a:xfrm>
        <a:prstGeom prst="roundRect">
          <a:avLst>
            <a:gd name="adj" fmla="val 100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kern="1200" dirty="0"/>
            <a:t>Conjunto de </a:t>
          </a:r>
          <a:r>
            <a:rPr lang="es-ES" sz="1600" kern="1200" dirty="0">
              <a:highlight>
                <a:srgbClr val="0000FF"/>
              </a:highlight>
            </a:rPr>
            <a:t>técnicas estadístico-matemáticas ejecutadas por computadoras</a:t>
          </a:r>
          <a:r>
            <a:rPr lang="es-ES" sz="1600" kern="1200" dirty="0"/>
            <a:t>.</a:t>
          </a:r>
        </a:p>
      </dsp:txBody>
      <dsp:txXfrm>
        <a:off x="25632" y="25632"/>
        <a:ext cx="5745993" cy="823884"/>
      </dsp:txXfrm>
    </dsp:sp>
    <dsp:sp modelId="{95432E17-67A7-4B21-851F-2C687086D19E}">
      <dsp:nvSpPr>
        <dsp:cNvPr id="0" name=""/>
        <dsp:cNvSpPr/>
      </dsp:nvSpPr>
      <dsp:spPr>
        <a:xfrm>
          <a:off x="507249" y="996696"/>
          <a:ext cx="6792738" cy="875148"/>
        </a:xfrm>
        <a:prstGeom prst="roundRect">
          <a:avLst>
            <a:gd name="adj" fmla="val 10000"/>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kern="1200" dirty="0"/>
            <a:t>Ingesta </a:t>
          </a:r>
          <a:r>
            <a:rPr lang="es-ES" sz="1600" kern="1200" dirty="0">
              <a:highlight>
                <a:srgbClr val="0000FF"/>
              </a:highlight>
            </a:rPr>
            <a:t>datos</a:t>
          </a:r>
          <a:r>
            <a:rPr lang="es-ES" sz="1600" kern="1200" dirty="0"/>
            <a:t> con las características de las personas, procesos, fenómenos etc.… </a:t>
          </a:r>
        </a:p>
      </dsp:txBody>
      <dsp:txXfrm>
        <a:off x="532881" y="1022328"/>
        <a:ext cx="5665377" cy="823884"/>
      </dsp:txXfrm>
    </dsp:sp>
    <dsp:sp modelId="{2687C358-722C-4385-A57A-0800F8129330}">
      <dsp:nvSpPr>
        <dsp:cNvPr id="0" name=""/>
        <dsp:cNvSpPr/>
      </dsp:nvSpPr>
      <dsp:spPr>
        <a:xfrm>
          <a:off x="1014499" y="1993393"/>
          <a:ext cx="6792738" cy="875148"/>
        </a:xfrm>
        <a:prstGeom prst="roundRect">
          <a:avLst>
            <a:gd name="adj" fmla="val 10000"/>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kern="1200" dirty="0"/>
            <a:t>Los algoritmos aprenden continuamente de los datos del pasado para  evaluar situaciones futuras…el proceso se va perfeccionando casi automáticamente a través del </a:t>
          </a:r>
          <a:r>
            <a:rPr lang="es-ES" sz="1600" kern="1200" dirty="0">
              <a:highlight>
                <a:srgbClr val="0000FF"/>
              </a:highlight>
            </a:rPr>
            <a:t>aprendizaje</a:t>
          </a:r>
          <a:r>
            <a:rPr lang="es-ES" sz="1600" kern="1200" dirty="0"/>
            <a:t>.</a:t>
          </a:r>
        </a:p>
      </dsp:txBody>
      <dsp:txXfrm>
        <a:off x="1040131" y="2019025"/>
        <a:ext cx="5665377" cy="823884"/>
      </dsp:txXfrm>
    </dsp:sp>
    <dsp:sp modelId="{D813FBF4-9372-4F0A-9CC5-69B2C4728C47}">
      <dsp:nvSpPr>
        <dsp:cNvPr id="0" name=""/>
        <dsp:cNvSpPr/>
      </dsp:nvSpPr>
      <dsp:spPr>
        <a:xfrm>
          <a:off x="1521749" y="2990090"/>
          <a:ext cx="6792738" cy="875148"/>
        </a:xfrm>
        <a:prstGeom prst="roundRect">
          <a:avLst>
            <a:gd name="adj" fmla="val 10000"/>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kern="1200" dirty="0"/>
            <a:t>Se extraen </a:t>
          </a:r>
          <a:r>
            <a:rPr lang="es-ES" sz="1600" kern="1200" dirty="0">
              <a:highlight>
                <a:srgbClr val="0000FF"/>
              </a:highlight>
            </a:rPr>
            <a:t>patrones</a:t>
          </a:r>
          <a:r>
            <a:rPr lang="es-ES" sz="1600" kern="1200" dirty="0"/>
            <a:t>, relaciones y tendencias de los datos que no son visibles con otras técnicas de datos</a:t>
          </a:r>
        </a:p>
      </dsp:txBody>
      <dsp:txXfrm>
        <a:off x="1547381" y="3015722"/>
        <a:ext cx="5665377" cy="823884"/>
      </dsp:txXfrm>
    </dsp:sp>
    <dsp:sp modelId="{8F2DDB28-2D3F-45E4-8B07-1C898EBCE100}">
      <dsp:nvSpPr>
        <dsp:cNvPr id="0" name=""/>
        <dsp:cNvSpPr/>
      </dsp:nvSpPr>
      <dsp:spPr>
        <a:xfrm>
          <a:off x="2028999" y="3986786"/>
          <a:ext cx="6792738" cy="875148"/>
        </a:xfrm>
        <a:prstGeom prst="roundRect">
          <a:avLst>
            <a:gd name="adj" fmla="val 10000"/>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kern="1200" dirty="0">
              <a:highlight>
                <a:srgbClr val="0000FF"/>
              </a:highlight>
            </a:rPr>
            <a:t>Información: </a:t>
          </a:r>
          <a:r>
            <a:rPr lang="es-ES" sz="1600" kern="1200" dirty="0"/>
            <a:t>Se asocian a Sistemas de recomendación para generar sugerencias, presentación de productos, etc. adaptándose automáticamente a requerimientos / necesidades del cliente / ciudadano.</a:t>
          </a:r>
        </a:p>
      </dsp:txBody>
      <dsp:txXfrm>
        <a:off x="2054631" y="4012418"/>
        <a:ext cx="5665377" cy="823884"/>
      </dsp:txXfrm>
    </dsp:sp>
    <dsp:sp modelId="{A9448FBC-2AAE-4192-B363-57D0F557479B}">
      <dsp:nvSpPr>
        <dsp:cNvPr id="0" name=""/>
        <dsp:cNvSpPr/>
      </dsp:nvSpPr>
      <dsp:spPr>
        <a:xfrm>
          <a:off x="6223891" y="639344"/>
          <a:ext cx="568846" cy="568846"/>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s-ES" sz="1600" kern="1200" dirty="0"/>
        </a:p>
      </dsp:txBody>
      <dsp:txXfrm>
        <a:off x="6351881" y="639344"/>
        <a:ext cx="312866" cy="428057"/>
      </dsp:txXfrm>
    </dsp:sp>
    <dsp:sp modelId="{60040D63-7375-481C-AE3B-89FEBC72E053}">
      <dsp:nvSpPr>
        <dsp:cNvPr id="0" name=""/>
        <dsp:cNvSpPr/>
      </dsp:nvSpPr>
      <dsp:spPr>
        <a:xfrm>
          <a:off x="6731141" y="1636041"/>
          <a:ext cx="568846" cy="568846"/>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s-ES" sz="1600" kern="1200" dirty="0"/>
        </a:p>
      </dsp:txBody>
      <dsp:txXfrm>
        <a:off x="6859131" y="1636041"/>
        <a:ext cx="312866" cy="428057"/>
      </dsp:txXfrm>
    </dsp:sp>
    <dsp:sp modelId="{6A2239BE-8EF9-48E6-B8C1-0AC9B6240727}">
      <dsp:nvSpPr>
        <dsp:cNvPr id="0" name=""/>
        <dsp:cNvSpPr/>
      </dsp:nvSpPr>
      <dsp:spPr>
        <a:xfrm>
          <a:off x="7238391" y="2618151"/>
          <a:ext cx="568846" cy="568846"/>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s-ES" sz="1600" kern="1200" dirty="0"/>
        </a:p>
      </dsp:txBody>
      <dsp:txXfrm>
        <a:off x="7366381" y="2618151"/>
        <a:ext cx="312866" cy="428057"/>
      </dsp:txXfrm>
    </dsp:sp>
    <dsp:sp modelId="{76981F0C-D753-4576-BDF1-CE6D68B665C7}">
      <dsp:nvSpPr>
        <dsp:cNvPr id="0" name=""/>
        <dsp:cNvSpPr/>
      </dsp:nvSpPr>
      <dsp:spPr>
        <a:xfrm>
          <a:off x="7745641" y="3624572"/>
          <a:ext cx="568846" cy="568846"/>
        </a:xfrm>
        <a:prstGeom prst="downArrow">
          <a:avLst>
            <a:gd name="adj1" fmla="val 55000"/>
            <a:gd name="adj2" fmla="val 45000"/>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s-ES" sz="1600" kern="1200" dirty="0"/>
        </a:p>
      </dsp:txBody>
      <dsp:txXfrm>
        <a:off x="7873631" y="3624572"/>
        <a:ext cx="312866" cy="428057"/>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0DB9A1-8D64-4E1C-A010-FA3C86F346D5}">
      <dsp:nvSpPr>
        <dsp:cNvPr id="0" name=""/>
        <dsp:cNvSpPr/>
      </dsp:nvSpPr>
      <dsp:spPr>
        <a:xfrm>
          <a:off x="11921" y="222100"/>
          <a:ext cx="1990474" cy="583236"/>
        </a:xfrm>
        <a:prstGeom prst="rect">
          <a:avLst/>
        </a:prstGeom>
        <a:solidFill>
          <a:schemeClr val="accent1">
            <a:shade val="8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b="1" kern="1200" dirty="0"/>
            <a:t>Clasificar / explicar</a:t>
          </a:r>
        </a:p>
      </dsp:txBody>
      <dsp:txXfrm>
        <a:off x="11921" y="222100"/>
        <a:ext cx="1990474" cy="583236"/>
      </dsp:txXfrm>
    </dsp:sp>
    <dsp:sp modelId="{378A83F2-452F-4A68-B361-71A26F67C5FE}">
      <dsp:nvSpPr>
        <dsp:cNvPr id="0" name=""/>
        <dsp:cNvSpPr/>
      </dsp:nvSpPr>
      <dsp:spPr>
        <a:xfrm>
          <a:off x="11921" y="805337"/>
          <a:ext cx="1990474" cy="31841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Reconocer el grupo/clase de personas, sucesos o cosas para responder/gestionarlos de forma más eficiente</a:t>
          </a:r>
        </a:p>
        <a:p>
          <a:pPr marL="342900" lvl="2" indent="-171450" algn="l" defTabSz="711200">
            <a:lnSpc>
              <a:spcPct val="90000"/>
            </a:lnSpc>
            <a:spcBef>
              <a:spcPct val="0"/>
            </a:spcBef>
            <a:spcAft>
              <a:spcPct val="15000"/>
            </a:spcAft>
            <a:buChar char="•"/>
          </a:pPr>
          <a:r>
            <a:rPr lang="es-ES" sz="1600" kern="1200" dirty="0"/>
            <a:t>Eje: Segmentación de usuarios para actividades de marketing/ofertas dirigidas</a:t>
          </a:r>
        </a:p>
      </dsp:txBody>
      <dsp:txXfrm>
        <a:off x="11921" y="805337"/>
        <a:ext cx="1990474" cy="3184199"/>
      </dsp:txXfrm>
    </dsp:sp>
    <dsp:sp modelId="{BD68D058-A270-4D0E-8288-F0CFCA8313A3}">
      <dsp:nvSpPr>
        <dsp:cNvPr id="0" name=""/>
        <dsp:cNvSpPr/>
      </dsp:nvSpPr>
      <dsp:spPr>
        <a:xfrm>
          <a:off x="2281061" y="222100"/>
          <a:ext cx="1990474" cy="583236"/>
        </a:xfrm>
        <a:prstGeom prst="rect">
          <a:avLst/>
        </a:prstGeom>
        <a:solidFill>
          <a:schemeClr val="accent1">
            <a:shade val="80000"/>
            <a:hueOff val="116428"/>
            <a:satOff val="-2085"/>
            <a:lumOff val="8862"/>
            <a:alphaOff val="0"/>
          </a:schemeClr>
        </a:solidFill>
        <a:ln w="12700" cap="flat" cmpd="sng" algn="ctr">
          <a:solidFill>
            <a:schemeClr val="accent1">
              <a:shade val="80000"/>
              <a:hueOff val="116428"/>
              <a:satOff val="-2085"/>
              <a:lumOff val="886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b="1" kern="1200" dirty="0"/>
            <a:t>Predecir</a:t>
          </a:r>
        </a:p>
      </dsp:txBody>
      <dsp:txXfrm>
        <a:off x="2281061" y="222100"/>
        <a:ext cx="1990474" cy="583236"/>
      </dsp:txXfrm>
    </dsp:sp>
    <dsp:sp modelId="{88F905CC-3BEC-4437-ABF5-B90CA8594AF7}">
      <dsp:nvSpPr>
        <dsp:cNvPr id="0" name=""/>
        <dsp:cNvSpPr/>
      </dsp:nvSpPr>
      <dsp:spPr>
        <a:xfrm>
          <a:off x="2281061" y="805337"/>
          <a:ext cx="1990474" cy="31841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Anticiparse a tendencias, decisiones o demandas de la sociedad a partir de un modelo o patrón y unas entradas predefinidas</a:t>
          </a:r>
        </a:p>
      </dsp:txBody>
      <dsp:txXfrm>
        <a:off x="2281061" y="805337"/>
        <a:ext cx="1990474" cy="3184199"/>
      </dsp:txXfrm>
    </dsp:sp>
    <dsp:sp modelId="{E8EED50E-FA01-41F6-9519-9BE6C518AEC3}">
      <dsp:nvSpPr>
        <dsp:cNvPr id="0" name=""/>
        <dsp:cNvSpPr/>
      </dsp:nvSpPr>
      <dsp:spPr>
        <a:xfrm>
          <a:off x="4550202" y="222100"/>
          <a:ext cx="1990474" cy="583236"/>
        </a:xfrm>
        <a:prstGeom prst="rect">
          <a:avLst/>
        </a:prstGeom>
        <a:solidFill>
          <a:schemeClr val="accent1">
            <a:shade val="80000"/>
            <a:hueOff val="232855"/>
            <a:satOff val="-4171"/>
            <a:lumOff val="17723"/>
            <a:alphaOff val="0"/>
          </a:schemeClr>
        </a:solidFill>
        <a:ln w="12700" cap="flat" cmpd="sng" algn="ctr">
          <a:solidFill>
            <a:schemeClr val="accent1">
              <a:shade val="80000"/>
              <a:hueOff val="232855"/>
              <a:satOff val="-4171"/>
              <a:lumOff val="1772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b="1" kern="1200" dirty="0">
              <a:solidFill>
                <a:schemeClr val="accent3">
                  <a:lumMod val="50000"/>
                </a:schemeClr>
              </a:solidFill>
            </a:rPr>
            <a:t>Prescribir / recomendar</a:t>
          </a:r>
        </a:p>
      </dsp:txBody>
      <dsp:txXfrm>
        <a:off x="4550202" y="222100"/>
        <a:ext cx="1990474" cy="583236"/>
      </dsp:txXfrm>
    </dsp:sp>
    <dsp:sp modelId="{4052698B-C5D8-4C39-8DA2-1E4A3E93505C}">
      <dsp:nvSpPr>
        <dsp:cNvPr id="0" name=""/>
        <dsp:cNvSpPr/>
      </dsp:nvSpPr>
      <dsp:spPr>
        <a:xfrm>
          <a:off x="4550202" y="805337"/>
          <a:ext cx="1990474" cy="31841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Obtener las reglas que optimizan los beneficios o casuísticas en futuras situaciones</a:t>
          </a:r>
        </a:p>
      </dsp:txBody>
      <dsp:txXfrm>
        <a:off x="4550202" y="805337"/>
        <a:ext cx="1990474" cy="3184199"/>
      </dsp:txXfrm>
    </dsp:sp>
    <dsp:sp modelId="{E4B14477-F791-49DF-B4CE-971F3242B53E}">
      <dsp:nvSpPr>
        <dsp:cNvPr id="0" name=""/>
        <dsp:cNvSpPr/>
      </dsp:nvSpPr>
      <dsp:spPr>
        <a:xfrm>
          <a:off x="6819342" y="222100"/>
          <a:ext cx="1990474" cy="583236"/>
        </a:xfrm>
        <a:prstGeom prst="rect">
          <a:avLst/>
        </a:prstGeom>
        <a:solidFill>
          <a:schemeClr val="accent1">
            <a:shade val="80000"/>
            <a:hueOff val="349283"/>
            <a:satOff val="-6256"/>
            <a:lumOff val="26585"/>
            <a:alphaOff val="0"/>
          </a:schemeClr>
        </a:solidFill>
        <a:ln w="12700" cap="flat" cmpd="sng" algn="ctr">
          <a:solidFill>
            <a:schemeClr val="accent1">
              <a:shade val="80000"/>
              <a:hueOff val="349283"/>
              <a:satOff val="-6256"/>
              <a:lumOff val="2658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s-ES" sz="1600" b="1" kern="1200" dirty="0">
              <a:solidFill>
                <a:schemeClr val="tx1"/>
              </a:solidFill>
            </a:rPr>
            <a:t>Tratar </a:t>
          </a:r>
        </a:p>
      </dsp:txBody>
      <dsp:txXfrm>
        <a:off x="6819342" y="222100"/>
        <a:ext cx="1990474" cy="583236"/>
      </dsp:txXfrm>
    </dsp:sp>
    <dsp:sp modelId="{498370B6-FEE5-4567-A76C-817279B36E49}">
      <dsp:nvSpPr>
        <dsp:cNvPr id="0" name=""/>
        <dsp:cNvSpPr/>
      </dsp:nvSpPr>
      <dsp:spPr>
        <a:xfrm>
          <a:off x="6819342" y="805337"/>
          <a:ext cx="1990474" cy="31841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s-ES" sz="1600" kern="1200" dirty="0"/>
            <a:t>Texto</a:t>
          </a:r>
        </a:p>
        <a:p>
          <a:pPr marL="171450" lvl="1" indent="-171450" algn="l" defTabSz="711200">
            <a:lnSpc>
              <a:spcPct val="90000"/>
            </a:lnSpc>
            <a:spcBef>
              <a:spcPct val="0"/>
            </a:spcBef>
            <a:spcAft>
              <a:spcPct val="15000"/>
            </a:spcAft>
            <a:buChar char="•"/>
          </a:pPr>
          <a:r>
            <a:rPr lang="es-ES" sz="1600" kern="1200" dirty="0"/>
            <a:t>Imágenes</a:t>
          </a:r>
        </a:p>
        <a:p>
          <a:pPr marL="171450" lvl="1" indent="-171450" algn="l" defTabSz="711200">
            <a:lnSpc>
              <a:spcPct val="90000"/>
            </a:lnSpc>
            <a:spcBef>
              <a:spcPct val="0"/>
            </a:spcBef>
            <a:spcAft>
              <a:spcPct val="15000"/>
            </a:spcAft>
            <a:buChar char="•"/>
          </a:pPr>
          <a:r>
            <a:rPr lang="es-ES" sz="1600" kern="1200" dirty="0"/>
            <a:t>Películas</a:t>
          </a:r>
        </a:p>
        <a:p>
          <a:pPr marL="171450" lvl="1" indent="-171450" algn="l" defTabSz="711200">
            <a:lnSpc>
              <a:spcPct val="90000"/>
            </a:lnSpc>
            <a:spcBef>
              <a:spcPct val="0"/>
            </a:spcBef>
            <a:spcAft>
              <a:spcPct val="15000"/>
            </a:spcAft>
            <a:buChar char="•"/>
          </a:pPr>
          <a:r>
            <a:rPr lang="es-ES" sz="1600" kern="1200" dirty="0"/>
            <a:t>Y otros formatos / orígenes</a:t>
          </a:r>
        </a:p>
      </dsp:txBody>
      <dsp:txXfrm>
        <a:off x="6819342" y="805337"/>
        <a:ext cx="1990474" cy="3184199"/>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C111AA-19C1-440C-8C63-7D5EB9F79BB5}">
      <dsp:nvSpPr>
        <dsp:cNvPr id="0" name=""/>
        <dsp:cNvSpPr/>
      </dsp:nvSpPr>
      <dsp:spPr>
        <a:xfrm>
          <a:off x="0" y="41219"/>
          <a:ext cx="5157787" cy="52767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Caracterización de los datos</a:t>
          </a:r>
        </a:p>
      </dsp:txBody>
      <dsp:txXfrm>
        <a:off x="25759" y="66978"/>
        <a:ext cx="5106269" cy="476152"/>
      </dsp:txXfrm>
    </dsp:sp>
    <dsp:sp modelId="{2854503D-425C-498D-812F-B0E69F6EAC79}">
      <dsp:nvSpPr>
        <dsp:cNvPr id="0" name=""/>
        <dsp:cNvSpPr/>
      </dsp:nvSpPr>
      <dsp:spPr>
        <a:xfrm>
          <a:off x="0" y="568890"/>
          <a:ext cx="5157787" cy="592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76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s-ES" sz="1700" kern="1200" dirty="0"/>
            <a:t>Basado en conocimiento de negocio</a:t>
          </a:r>
        </a:p>
        <a:p>
          <a:pPr marL="171450" lvl="1" indent="-171450" algn="l" defTabSz="755650">
            <a:lnSpc>
              <a:spcPct val="90000"/>
            </a:lnSpc>
            <a:spcBef>
              <a:spcPct val="0"/>
            </a:spcBef>
            <a:spcAft>
              <a:spcPct val="20000"/>
            </a:spcAft>
            <a:buChar char="•"/>
          </a:pPr>
          <a:r>
            <a:rPr lang="es-ES" sz="1700" kern="1200" dirty="0"/>
            <a:t>Intuición</a:t>
          </a:r>
        </a:p>
      </dsp:txBody>
      <dsp:txXfrm>
        <a:off x="0" y="568890"/>
        <a:ext cx="5157787" cy="592020"/>
      </dsp:txXfrm>
    </dsp:sp>
    <dsp:sp modelId="{523D5B6C-A9DA-4715-9F8F-DE557A3F0AA1}">
      <dsp:nvSpPr>
        <dsp:cNvPr id="0" name=""/>
        <dsp:cNvSpPr/>
      </dsp:nvSpPr>
      <dsp:spPr>
        <a:xfrm>
          <a:off x="0" y="1160910"/>
          <a:ext cx="5157787" cy="527670"/>
        </a:xfrm>
        <a:prstGeom prst="roundRect">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Modelado de Datos</a:t>
          </a:r>
        </a:p>
      </dsp:txBody>
      <dsp:txXfrm>
        <a:off x="25759" y="1186669"/>
        <a:ext cx="5106269" cy="476152"/>
      </dsp:txXfrm>
    </dsp:sp>
    <dsp:sp modelId="{D4E68584-F36F-4E61-8EC1-0325EB75C0DA}">
      <dsp:nvSpPr>
        <dsp:cNvPr id="0" name=""/>
        <dsp:cNvSpPr/>
      </dsp:nvSpPr>
      <dsp:spPr>
        <a:xfrm>
          <a:off x="0" y="1688580"/>
          <a:ext cx="5157787" cy="1457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76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s-ES" sz="1700" kern="1200" dirty="0"/>
            <a:t>Experiencias de Prueba/Error</a:t>
          </a:r>
        </a:p>
        <a:p>
          <a:pPr marL="171450" lvl="1" indent="-171450" algn="l" defTabSz="755650">
            <a:lnSpc>
              <a:spcPct val="90000"/>
            </a:lnSpc>
            <a:spcBef>
              <a:spcPct val="0"/>
            </a:spcBef>
            <a:spcAft>
              <a:spcPct val="20000"/>
            </a:spcAft>
            <a:buChar char="•"/>
          </a:pPr>
          <a:r>
            <a:rPr lang="es-ES" sz="1700" kern="1200" dirty="0"/>
            <a:t>Si A entonces r=a</a:t>
          </a:r>
        </a:p>
        <a:p>
          <a:pPr marL="171450" lvl="1" indent="-171450" algn="l" defTabSz="755650">
            <a:lnSpc>
              <a:spcPct val="90000"/>
            </a:lnSpc>
            <a:spcBef>
              <a:spcPct val="0"/>
            </a:spcBef>
            <a:spcAft>
              <a:spcPct val="20000"/>
            </a:spcAft>
            <a:buChar char="•"/>
          </a:pPr>
          <a:r>
            <a:rPr lang="es-ES" sz="1700" kern="1200" dirty="0"/>
            <a:t>Si B entonces r=b</a:t>
          </a:r>
        </a:p>
        <a:p>
          <a:pPr marL="171450" lvl="1" indent="-171450" algn="l" defTabSz="755650">
            <a:lnSpc>
              <a:spcPct val="90000"/>
            </a:lnSpc>
            <a:spcBef>
              <a:spcPct val="0"/>
            </a:spcBef>
            <a:spcAft>
              <a:spcPct val="20000"/>
            </a:spcAft>
            <a:buChar char="•"/>
          </a:pPr>
          <a:r>
            <a:rPr lang="es-ES" sz="1700" kern="1200" dirty="0"/>
            <a:t>Si C entonces r=c</a:t>
          </a:r>
        </a:p>
        <a:p>
          <a:pPr marL="171450" lvl="1" indent="-171450" algn="l" defTabSz="755650">
            <a:lnSpc>
              <a:spcPct val="90000"/>
            </a:lnSpc>
            <a:spcBef>
              <a:spcPct val="0"/>
            </a:spcBef>
            <a:spcAft>
              <a:spcPct val="20000"/>
            </a:spcAft>
            <a:buChar char="•"/>
          </a:pPr>
          <a:r>
            <a:rPr lang="es-ES" sz="1700" kern="1200" dirty="0"/>
            <a:t>…. Si Z entonces r=z</a:t>
          </a:r>
        </a:p>
      </dsp:txBody>
      <dsp:txXfrm>
        <a:off x="0" y="1688580"/>
        <a:ext cx="5157787" cy="1457280"/>
      </dsp:txXfrm>
    </dsp:sp>
    <dsp:sp modelId="{694B3A3F-C1D8-4039-8685-BDC179A279B2}">
      <dsp:nvSpPr>
        <dsp:cNvPr id="0" name=""/>
        <dsp:cNvSpPr/>
      </dsp:nvSpPr>
      <dsp:spPr>
        <a:xfrm>
          <a:off x="0" y="3145860"/>
          <a:ext cx="5157787" cy="52767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ES" sz="2200" kern="1200" dirty="0"/>
            <a:t>Si la realidad cambia las reglas no valen.</a:t>
          </a:r>
        </a:p>
      </dsp:txBody>
      <dsp:txXfrm>
        <a:off x="25759" y="3171619"/>
        <a:ext cx="5106269" cy="47615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F9D95-0799-4B5B-BB71-B4DCE39D6229}">
      <dsp:nvSpPr>
        <dsp:cNvPr id="0" name=""/>
        <dsp:cNvSpPr/>
      </dsp:nvSpPr>
      <dsp:spPr>
        <a:xfrm>
          <a:off x="0" y="16143"/>
          <a:ext cx="5183188" cy="755527"/>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Caracterización de los datos</a:t>
          </a:r>
        </a:p>
      </dsp:txBody>
      <dsp:txXfrm>
        <a:off x="36882" y="53025"/>
        <a:ext cx="5109424" cy="681763"/>
      </dsp:txXfrm>
    </dsp:sp>
    <dsp:sp modelId="{47F993B2-5E2F-44CB-9654-A679746F9CAC}">
      <dsp:nvSpPr>
        <dsp:cNvPr id="0" name=""/>
        <dsp:cNvSpPr/>
      </dsp:nvSpPr>
      <dsp:spPr>
        <a:xfrm>
          <a:off x="0" y="771671"/>
          <a:ext cx="5183188"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66"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Distribución de los datos (rango, valores más frecuentes…)</a:t>
          </a:r>
        </a:p>
        <a:p>
          <a:pPr marL="114300" lvl="1" indent="-114300" algn="l" defTabSz="622300">
            <a:lnSpc>
              <a:spcPct val="90000"/>
            </a:lnSpc>
            <a:spcBef>
              <a:spcPct val="0"/>
            </a:spcBef>
            <a:spcAft>
              <a:spcPct val="20000"/>
            </a:spcAft>
            <a:buChar char="•"/>
          </a:pPr>
          <a:r>
            <a:rPr lang="es-ES" sz="1400" kern="1200" dirty="0"/>
            <a:t>Modelo genérico de comportamiento</a:t>
          </a:r>
        </a:p>
        <a:p>
          <a:pPr marL="114300" lvl="1" indent="-114300" algn="l" defTabSz="622300">
            <a:lnSpc>
              <a:spcPct val="90000"/>
            </a:lnSpc>
            <a:spcBef>
              <a:spcPct val="0"/>
            </a:spcBef>
            <a:spcAft>
              <a:spcPct val="20000"/>
            </a:spcAft>
            <a:buChar char="•"/>
          </a:pPr>
          <a:r>
            <a:rPr lang="es-ES" sz="1400" kern="1200" dirty="0"/>
            <a:t>Lo que hay en los datos describe la realidad</a:t>
          </a:r>
        </a:p>
      </dsp:txBody>
      <dsp:txXfrm>
        <a:off x="0" y="771671"/>
        <a:ext cx="5183188" cy="726570"/>
      </dsp:txXfrm>
    </dsp:sp>
    <dsp:sp modelId="{E06EC1BF-152B-4EDE-88A6-E7F61867B557}">
      <dsp:nvSpPr>
        <dsp:cNvPr id="0" name=""/>
        <dsp:cNvSpPr/>
      </dsp:nvSpPr>
      <dsp:spPr>
        <a:xfrm>
          <a:off x="0" y="1498241"/>
          <a:ext cx="5183188" cy="755527"/>
        </a:xfrm>
        <a:prstGeom prst="roundRect">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dirty="0"/>
            <a:t>Modelado de los datos</a:t>
          </a:r>
        </a:p>
      </dsp:txBody>
      <dsp:txXfrm>
        <a:off x="36882" y="1535123"/>
        <a:ext cx="5109424" cy="681763"/>
      </dsp:txXfrm>
    </dsp:sp>
    <dsp:sp modelId="{003E9C84-83C2-4035-9ADB-867A7E2A2814}">
      <dsp:nvSpPr>
        <dsp:cNvPr id="0" name=""/>
        <dsp:cNvSpPr/>
      </dsp:nvSpPr>
      <dsp:spPr>
        <a:xfrm>
          <a:off x="0" y="2253768"/>
          <a:ext cx="5183188" cy="689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66"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Aprendizaje automático mediante datos históricos.</a:t>
          </a:r>
        </a:p>
        <a:p>
          <a:pPr marL="114300" lvl="1" indent="-114300" algn="l" defTabSz="622300">
            <a:lnSpc>
              <a:spcPct val="90000"/>
            </a:lnSpc>
            <a:spcBef>
              <a:spcPct val="0"/>
            </a:spcBef>
            <a:spcAft>
              <a:spcPct val="20000"/>
            </a:spcAft>
            <a:buChar char="•"/>
          </a:pPr>
          <a:r>
            <a:rPr lang="es-ES" sz="1400" kern="1200" dirty="0"/>
            <a:t>Se aprende de los datos para construir el algoritmo que “aprende” de ellos</a:t>
          </a:r>
        </a:p>
      </dsp:txBody>
      <dsp:txXfrm>
        <a:off x="0" y="2253768"/>
        <a:ext cx="5183188" cy="689310"/>
      </dsp:txXfrm>
    </dsp:sp>
    <dsp:sp modelId="{592D7F8F-1C2D-4E4A-9A31-42196D873FB4}">
      <dsp:nvSpPr>
        <dsp:cNvPr id="0" name=""/>
        <dsp:cNvSpPr/>
      </dsp:nvSpPr>
      <dsp:spPr>
        <a:xfrm>
          <a:off x="0" y="2943078"/>
          <a:ext cx="5183188" cy="755527"/>
        </a:xfrm>
        <a:prstGeom prst="roundRect">
          <a:avLst/>
        </a:prstGeom>
        <a:solidFill>
          <a:srgbClr val="ED7D31"/>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800100">
            <a:lnSpc>
              <a:spcPct val="90000"/>
            </a:lnSpc>
            <a:spcBef>
              <a:spcPct val="0"/>
            </a:spcBef>
            <a:spcAft>
              <a:spcPct val="35000"/>
            </a:spcAft>
            <a:buNone/>
          </a:pPr>
          <a:r>
            <a:rPr lang="es-ES" sz="1800" kern="1200" dirty="0"/>
            <a:t>Si la realidad cambia el algoritmo “aprende” de nuevo y se adapta.</a:t>
          </a:r>
        </a:p>
      </dsp:txBody>
      <dsp:txXfrm>
        <a:off x="36882" y="2979960"/>
        <a:ext cx="5109424" cy="681763"/>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5EBB3-468E-4892-A8B6-EEF8E2231ECD}">
      <dsp:nvSpPr>
        <dsp:cNvPr id="0" name=""/>
        <dsp:cNvSpPr/>
      </dsp:nvSpPr>
      <dsp:spPr>
        <a:xfrm rot="16200000">
          <a:off x="-1275347" y="2290544"/>
          <a:ext cx="3394043" cy="717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633210" bIns="0" numCol="1" spcCol="1270" anchor="t" anchorCtr="0">
          <a:noAutofit/>
        </a:bodyPr>
        <a:lstStyle/>
        <a:p>
          <a:pPr marL="0" lvl="0" indent="0" algn="r" defTabSz="1689100">
            <a:lnSpc>
              <a:spcPct val="90000"/>
            </a:lnSpc>
            <a:spcBef>
              <a:spcPct val="0"/>
            </a:spcBef>
            <a:spcAft>
              <a:spcPct val="35000"/>
            </a:spcAft>
            <a:buNone/>
          </a:pPr>
          <a:r>
            <a:rPr lang="es-ES" sz="3800" kern="1200" dirty="0">
              <a:highlight>
                <a:srgbClr val="FFCDCC"/>
              </a:highlight>
            </a:rPr>
            <a:t>Alucinaciones</a:t>
          </a:r>
        </a:p>
      </dsp:txBody>
      <dsp:txXfrm>
        <a:off x="-1275347" y="2290544"/>
        <a:ext cx="3394043" cy="717970"/>
      </dsp:txXfrm>
    </dsp:sp>
    <dsp:sp modelId="{122CAD2A-7EF6-4530-91A8-4810529C4DCD}">
      <dsp:nvSpPr>
        <dsp:cNvPr id="0" name=""/>
        <dsp:cNvSpPr/>
      </dsp:nvSpPr>
      <dsp:spPr>
        <a:xfrm>
          <a:off x="780659" y="952507"/>
          <a:ext cx="3961115" cy="339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633210" rIns="149352" bIns="14935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Respuesta segura de una IA que no se justifica por sus datos de entrenamiento. Es decir, la IA genera información que no se basa en la realidad, sino que es producto de su propia imaginación.</a:t>
          </a:r>
        </a:p>
        <a:p>
          <a:pPr marL="171450" lvl="1" indent="-171450" algn="l" defTabSz="711200">
            <a:lnSpc>
              <a:spcPct val="90000"/>
            </a:lnSpc>
            <a:spcBef>
              <a:spcPct val="0"/>
            </a:spcBef>
            <a:spcAft>
              <a:spcPct val="15000"/>
            </a:spcAft>
            <a:buChar char="•"/>
          </a:pPr>
          <a:r>
            <a:rPr lang="es-ES" sz="1600" b="1" kern="1200" dirty="0">
              <a:highlight>
                <a:srgbClr val="000080"/>
              </a:highlight>
            </a:rPr>
            <a:t>Causas:</a:t>
          </a:r>
        </a:p>
        <a:p>
          <a:pPr marL="342900" lvl="2" indent="-171450" algn="l" defTabSz="711200">
            <a:lnSpc>
              <a:spcPct val="90000"/>
            </a:lnSpc>
            <a:spcBef>
              <a:spcPct val="0"/>
            </a:spcBef>
            <a:spcAft>
              <a:spcPct val="15000"/>
            </a:spcAft>
            <a:buChar char="•"/>
          </a:pPr>
          <a:r>
            <a:rPr lang="es-ES" sz="1600" kern="1200" dirty="0"/>
            <a:t>Sesgos en los datos de entrenamiento.</a:t>
          </a:r>
        </a:p>
        <a:p>
          <a:pPr marL="342900" lvl="2" indent="-171450" algn="l" defTabSz="711200">
            <a:lnSpc>
              <a:spcPct val="90000"/>
            </a:lnSpc>
            <a:spcBef>
              <a:spcPct val="0"/>
            </a:spcBef>
            <a:spcAft>
              <a:spcPct val="15000"/>
            </a:spcAft>
            <a:buChar char="•"/>
          </a:pPr>
          <a:r>
            <a:rPr lang="es-ES" sz="1600" kern="1200" dirty="0"/>
            <a:t>Falta de datos.</a:t>
          </a:r>
        </a:p>
        <a:p>
          <a:pPr marL="342900" lvl="2" indent="-171450" algn="l" defTabSz="711200">
            <a:lnSpc>
              <a:spcPct val="90000"/>
            </a:lnSpc>
            <a:spcBef>
              <a:spcPct val="0"/>
            </a:spcBef>
            <a:spcAft>
              <a:spcPct val="15000"/>
            </a:spcAft>
            <a:buChar char="•"/>
          </a:pPr>
          <a:r>
            <a:rPr lang="es-ES" sz="1600" kern="1200" dirty="0"/>
            <a:t>Complejidad de los modelos.</a:t>
          </a:r>
        </a:p>
      </dsp:txBody>
      <dsp:txXfrm>
        <a:off x="780659" y="952507"/>
        <a:ext cx="3961115" cy="3394043"/>
      </dsp:txXfrm>
    </dsp:sp>
    <dsp:sp modelId="{20EE4719-84BB-45D0-84CF-6F83DC18DD04}">
      <dsp:nvSpPr>
        <dsp:cNvPr id="0" name=""/>
        <dsp:cNvSpPr/>
      </dsp:nvSpPr>
      <dsp:spPr>
        <a:xfrm>
          <a:off x="62688" y="4786"/>
          <a:ext cx="1435941" cy="1435941"/>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45000" r="-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E2DBABF-9963-416B-BD4B-BCC9F1B30FBE}">
      <dsp:nvSpPr>
        <dsp:cNvPr id="0" name=""/>
        <dsp:cNvSpPr/>
      </dsp:nvSpPr>
      <dsp:spPr>
        <a:xfrm rot="16200000">
          <a:off x="4435787" y="2290544"/>
          <a:ext cx="3394043" cy="717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633210" bIns="0" numCol="1" spcCol="1270" anchor="t" anchorCtr="0">
          <a:noAutofit/>
        </a:bodyPr>
        <a:lstStyle/>
        <a:p>
          <a:pPr marL="0" lvl="0" indent="0" algn="r" defTabSz="1689100">
            <a:lnSpc>
              <a:spcPct val="90000"/>
            </a:lnSpc>
            <a:spcBef>
              <a:spcPct val="0"/>
            </a:spcBef>
            <a:spcAft>
              <a:spcPct val="35000"/>
            </a:spcAft>
            <a:buNone/>
          </a:pPr>
          <a:r>
            <a:rPr lang="es-ES" sz="3800" kern="1200" dirty="0">
              <a:highlight>
                <a:srgbClr val="FFCDCC"/>
              </a:highlight>
            </a:rPr>
            <a:t>Sesgos</a:t>
          </a:r>
        </a:p>
      </dsp:txBody>
      <dsp:txXfrm>
        <a:off x="4435787" y="2290544"/>
        <a:ext cx="3394043" cy="717970"/>
      </dsp:txXfrm>
    </dsp:sp>
    <dsp:sp modelId="{7DC58D7C-12CA-4679-8AE4-5F572CA38077}">
      <dsp:nvSpPr>
        <dsp:cNvPr id="0" name=""/>
        <dsp:cNvSpPr/>
      </dsp:nvSpPr>
      <dsp:spPr>
        <a:xfrm>
          <a:off x="6491795" y="952507"/>
          <a:ext cx="3961115" cy="339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33210" rIns="113792" bIns="11379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Prejuicios involuntarios que se introducen en los sistemas de IA durante su desarrollo o uso. </a:t>
          </a:r>
        </a:p>
        <a:p>
          <a:pPr marL="171450" lvl="1" indent="-171450" algn="l" defTabSz="711200">
            <a:lnSpc>
              <a:spcPct val="90000"/>
            </a:lnSpc>
            <a:spcBef>
              <a:spcPct val="0"/>
            </a:spcBef>
            <a:spcAft>
              <a:spcPct val="15000"/>
            </a:spcAft>
            <a:buChar char="•"/>
          </a:pPr>
          <a:r>
            <a:rPr lang="es-ES" sz="1600" kern="1200" dirty="0"/>
            <a:t>Estos sesgos pueden tener un impacto negativo en la precisión, la equidad y la seguridad de la IA.</a:t>
          </a:r>
        </a:p>
        <a:p>
          <a:pPr marL="171450" lvl="1" indent="-171450" algn="l" defTabSz="711200">
            <a:lnSpc>
              <a:spcPct val="90000"/>
            </a:lnSpc>
            <a:spcBef>
              <a:spcPct val="0"/>
            </a:spcBef>
            <a:spcAft>
              <a:spcPct val="15000"/>
            </a:spcAft>
            <a:buChar char="•"/>
          </a:pPr>
          <a:r>
            <a:rPr lang="es-ES" sz="1600" b="1" kern="1200" dirty="0">
              <a:solidFill>
                <a:prstClr val="white"/>
              </a:solidFill>
              <a:highlight>
                <a:srgbClr val="000080"/>
              </a:highlight>
              <a:latin typeface="Avenir LT Std 35 Light" panose="020B0402020203020204" pitchFamily="34" charset="0"/>
              <a:ea typeface="+mn-ea"/>
              <a:cs typeface="+mn-cs"/>
            </a:rPr>
            <a:t>Causas:</a:t>
          </a:r>
        </a:p>
        <a:p>
          <a:pPr marL="342900" lvl="2" indent="-171450" algn="l" defTabSz="711200">
            <a:lnSpc>
              <a:spcPct val="90000"/>
            </a:lnSpc>
            <a:spcBef>
              <a:spcPct val="0"/>
            </a:spcBef>
            <a:spcAft>
              <a:spcPct val="15000"/>
            </a:spcAft>
            <a:buChar char="•"/>
          </a:pPr>
          <a:r>
            <a:rPr lang="es-ES" sz="1600" kern="1200" dirty="0"/>
            <a:t>Sesgos en los datos de entrenamiento</a:t>
          </a:r>
        </a:p>
        <a:p>
          <a:pPr marL="342900" lvl="2" indent="-171450" algn="l" defTabSz="711200">
            <a:lnSpc>
              <a:spcPct val="90000"/>
            </a:lnSpc>
            <a:spcBef>
              <a:spcPct val="0"/>
            </a:spcBef>
            <a:spcAft>
              <a:spcPct val="15000"/>
            </a:spcAft>
            <a:buChar char="•"/>
          </a:pPr>
          <a:r>
            <a:rPr lang="es-ES" sz="1600" kern="1200" dirty="0"/>
            <a:t>Sesgos en los algoritmos</a:t>
          </a:r>
        </a:p>
        <a:p>
          <a:pPr marL="342900" lvl="2" indent="-171450" algn="l" defTabSz="711200">
            <a:lnSpc>
              <a:spcPct val="90000"/>
            </a:lnSpc>
            <a:spcBef>
              <a:spcPct val="0"/>
            </a:spcBef>
            <a:spcAft>
              <a:spcPct val="15000"/>
            </a:spcAft>
            <a:buChar char="•"/>
          </a:pPr>
          <a:r>
            <a:rPr lang="es-ES" sz="1600" kern="1200" dirty="0"/>
            <a:t>Sesgos en el uso de la IA</a:t>
          </a:r>
        </a:p>
      </dsp:txBody>
      <dsp:txXfrm>
        <a:off x="6491795" y="952507"/>
        <a:ext cx="3961115" cy="3394043"/>
      </dsp:txXfrm>
    </dsp:sp>
    <dsp:sp modelId="{2D0E9687-AD06-4A42-A5DF-664E1ACEF4F3}">
      <dsp:nvSpPr>
        <dsp:cNvPr id="0" name=""/>
        <dsp:cNvSpPr/>
      </dsp:nvSpPr>
      <dsp:spPr>
        <a:xfrm>
          <a:off x="5773824" y="4786"/>
          <a:ext cx="1435941" cy="1435941"/>
        </a:xfrm>
        <a:prstGeom prst="rect">
          <a:avLst/>
        </a:prstGeom>
        <a:blipFill dpi="0" rotWithShape="1">
          <a:blip xmlns:r="http://schemas.openxmlformats.org/officeDocument/2006/relationships" r:embed="rId2"/>
          <a:srcRect/>
          <a:stretch>
            <a:fillRect t="16675" b="16675"/>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5F05D4-0A6F-47FE-90B2-F921CD36DD32}">
      <dsp:nvSpPr>
        <dsp:cNvPr id="0" name=""/>
        <dsp:cNvSpPr/>
      </dsp:nvSpPr>
      <dsp:spPr>
        <a:xfrm>
          <a:off x="2244436" y="781781"/>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2474308" y="824920"/>
        <a:ext cx="25807" cy="5161"/>
      </dsp:txXfrm>
    </dsp:sp>
    <dsp:sp modelId="{4851F5A9-DB68-4DA2-9D02-4BC5E7A09997}">
      <dsp:nvSpPr>
        <dsp:cNvPr id="0" name=""/>
        <dsp:cNvSpPr/>
      </dsp:nvSpPr>
      <dsp:spPr>
        <a:xfrm>
          <a:off x="2095" y="154259"/>
          <a:ext cx="2244141" cy="1346484"/>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Definir el caso / los datos</a:t>
          </a:r>
        </a:p>
      </dsp:txBody>
      <dsp:txXfrm>
        <a:off x="2095" y="154259"/>
        <a:ext cx="2244141" cy="1346484"/>
      </dsp:txXfrm>
    </dsp:sp>
    <dsp:sp modelId="{D4FADD8F-3981-4FE1-98AF-A1BE6E46C8D7}">
      <dsp:nvSpPr>
        <dsp:cNvPr id="0" name=""/>
        <dsp:cNvSpPr/>
      </dsp:nvSpPr>
      <dsp:spPr>
        <a:xfrm>
          <a:off x="5004729" y="781781"/>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234602" y="824920"/>
        <a:ext cx="25807" cy="5161"/>
      </dsp:txXfrm>
    </dsp:sp>
    <dsp:sp modelId="{AB0168F5-FA36-40B4-98DE-39F2234777E4}">
      <dsp:nvSpPr>
        <dsp:cNvPr id="0" name=""/>
        <dsp:cNvSpPr/>
      </dsp:nvSpPr>
      <dsp:spPr>
        <a:xfrm>
          <a:off x="2762388" y="154259"/>
          <a:ext cx="2244141" cy="1346484"/>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Business case?</a:t>
          </a:r>
        </a:p>
      </dsp:txBody>
      <dsp:txXfrm>
        <a:off x="2762388" y="154259"/>
        <a:ext cx="2244141" cy="1346484"/>
      </dsp:txXfrm>
    </dsp:sp>
    <dsp:sp modelId="{E6242BCA-020A-4284-A6FA-4F514D32A8DD}">
      <dsp:nvSpPr>
        <dsp:cNvPr id="0" name=""/>
        <dsp:cNvSpPr/>
      </dsp:nvSpPr>
      <dsp:spPr>
        <a:xfrm>
          <a:off x="7765023" y="781781"/>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7994895" y="824920"/>
        <a:ext cx="25807" cy="5161"/>
      </dsp:txXfrm>
    </dsp:sp>
    <dsp:sp modelId="{DA609FC1-D778-456B-93B0-11353652BE55}">
      <dsp:nvSpPr>
        <dsp:cNvPr id="0" name=""/>
        <dsp:cNvSpPr/>
      </dsp:nvSpPr>
      <dsp:spPr>
        <a:xfrm>
          <a:off x="5522682" y="154259"/>
          <a:ext cx="2244141" cy="1346484"/>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Ingesta de datos</a:t>
          </a:r>
        </a:p>
      </dsp:txBody>
      <dsp:txXfrm>
        <a:off x="5522682" y="154259"/>
        <a:ext cx="2244141" cy="1346484"/>
      </dsp:txXfrm>
    </dsp:sp>
    <dsp:sp modelId="{24B12BB4-6564-43A2-9E48-C3750B291C81}">
      <dsp:nvSpPr>
        <dsp:cNvPr id="0" name=""/>
        <dsp:cNvSpPr/>
      </dsp:nvSpPr>
      <dsp:spPr>
        <a:xfrm>
          <a:off x="1124165" y="1498943"/>
          <a:ext cx="8280880" cy="485552"/>
        </a:xfrm>
        <a:custGeom>
          <a:avLst/>
          <a:gdLst/>
          <a:ahLst/>
          <a:cxnLst/>
          <a:rect l="0" t="0" r="0" b="0"/>
          <a:pathLst>
            <a:path>
              <a:moveTo>
                <a:pt x="8280880" y="0"/>
              </a:moveTo>
              <a:lnTo>
                <a:pt x="8280880" y="259876"/>
              </a:lnTo>
              <a:lnTo>
                <a:pt x="0" y="259876"/>
              </a:lnTo>
              <a:lnTo>
                <a:pt x="0" y="485552"/>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7182" y="1739139"/>
        <a:ext cx="414847" cy="5161"/>
      </dsp:txXfrm>
    </dsp:sp>
    <dsp:sp modelId="{1DA6E9FB-CCEF-4363-B89D-644A64E3F69A}">
      <dsp:nvSpPr>
        <dsp:cNvPr id="0" name=""/>
        <dsp:cNvSpPr/>
      </dsp:nvSpPr>
      <dsp:spPr>
        <a:xfrm>
          <a:off x="8282975" y="154259"/>
          <a:ext cx="2244141" cy="1346484"/>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Limpieza de los datos</a:t>
          </a:r>
        </a:p>
      </dsp:txBody>
      <dsp:txXfrm>
        <a:off x="8282975" y="154259"/>
        <a:ext cx="2244141" cy="1346484"/>
      </dsp:txXfrm>
    </dsp:sp>
    <dsp:sp modelId="{20455616-B5FF-446B-B742-BB4DC84404AE}">
      <dsp:nvSpPr>
        <dsp:cNvPr id="0" name=""/>
        <dsp:cNvSpPr/>
      </dsp:nvSpPr>
      <dsp:spPr>
        <a:xfrm>
          <a:off x="2244436" y="2644418"/>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2474308" y="2687557"/>
        <a:ext cx="25807" cy="5161"/>
      </dsp:txXfrm>
    </dsp:sp>
    <dsp:sp modelId="{6B399F7A-D056-4F37-BF96-3C57BF597F32}">
      <dsp:nvSpPr>
        <dsp:cNvPr id="0" name=""/>
        <dsp:cNvSpPr/>
      </dsp:nvSpPr>
      <dsp:spPr>
        <a:xfrm>
          <a:off x="2095" y="2016896"/>
          <a:ext cx="2244141" cy="1346484"/>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Lago de datos</a:t>
          </a:r>
        </a:p>
      </dsp:txBody>
      <dsp:txXfrm>
        <a:off x="2095" y="2016896"/>
        <a:ext cx="2244141" cy="1346484"/>
      </dsp:txXfrm>
    </dsp:sp>
    <dsp:sp modelId="{F8C943FE-B189-41B0-8D52-661DC21B047E}">
      <dsp:nvSpPr>
        <dsp:cNvPr id="0" name=""/>
        <dsp:cNvSpPr/>
      </dsp:nvSpPr>
      <dsp:spPr>
        <a:xfrm>
          <a:off x="5004729" y="2644418"/>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234602" y="2687557"/>
        <a:ext cx="25807" cy="5161"/>
      </dsp:txXfrm>
    </dsp:sp>
    <dsp:sp modelId="{CEB7DDB8-4FCA-447B-873F-6EA9C50B3714}">
      <dsp:nvSpPr>
        <dsp:cNvPr id="0" name=""/>
        <dsp:cNvSpPr/>
      </dsp:nvSpPr>
      <dsp:spPr>
        <a:xfrm>
          <a:off x="2762388" y="2016896"/>
          <a:ext cx="2244141" cy="1346484"/>
        </a:xfrm>
        <a:prstGeom prst="rect">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Algoritmos</a:t>
          </a:r>
        </a:p>
      </dsp:txBody>
      <dsp:txXfrm>
        <a:off x="2762388" y="2016896"/>
        <a:ext cx="2244141" cy="1346484"/>
      </dsp:txXfrm>
    </dsp:sp>
    <dsp:sp modelId="{790B7DAB-9F73-4B58-B91C-9B2D69D20D17}">
      <dsp:nvSpPr>
        <dsp:cNvPr id="0" name=""/>
        <dsp:cNvSpPr/>
      </dsp:nvSpPr>
      <dsp:spPr>
        <a:xfrm>
          <a:off x="7765023" y="2644418"/>
          <a:ext cx="485552" cy="91440"/>
        </a:xfrm>
        <a:custGeom>
          <a:avLst/>
          <a:gdLst/>
          <a:ahLst/>
          <a:cxnLst/>
          <a:rect l="0" t="0" r="0" b="0"/>
          <a:pathLst>
            <a:path>
              <a:moveTo>
                <a:pt x="0" y="45720"/>
              </a:moveTo>
              <a:lnTo>
                <a:pt x="485552"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7994895" y="2687557"/>
        <a:ext cx="25807" cy="5161"/>
      </dsp:txXfrm>
    </dsp:sp>
    <dsp:sp modelId="{EF47211A-5361-4107-B1C1-F06A58917039}">
      <dsp:nvSpPr>
        <dsp:cNvPr id="0" name=""/>
        <dsp:cNvSpPr/>
      </dsp:nvSpPr>
      <dsp:spPr>
        <a:xfrm>
          <a:off x="5522682" y="2016896"/>
          <a:ext cx="2244141" cy="1346484"/>
        </a:xfrm>
        <a:prstGeom prst="rect">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IA - Entrenamiento</a:t>
          </a:r>
        </a:p>
        <a:p>
          <a:pPr marL="0" lvl="0" indent="0" algn="ctr" defTabSz="755650">
            <a:lnSpc>
              <a:spcPct val="90000"/>
            </a:lnSpc>
            <a:spcBef>
              <a:spcPct val="0"/>
            </a:spcBef>
            <a:spcAft>
              <a:spcPct val="35000"/>
            </a:spcAft>
            <a:buNone/>
          </a:pPr>
          <a:r>
            <a:rPr lang="es-ES" sz="1700" kern="1200" dirty="0"/>
            <a:t>Vs</a:t>
          </a:r>
          <a:br>
            <a:rPr lang="es-ES" sz="1700" kern="1200" dirty="0"/>
          </a:br>
          <a:r>
            <a:rPr lang="es-ES" sz="1700" kern="1200" dirty="0"/>
            <a:t>IAG - Grounding Finetuning</a:t>
          </a:r>
        </a:p>
      </dsp:txBody>
      <dsp:txXfrm>
        <a:off x="5522682" y="2016896"/>
        <a:ext cx="2244141" cy="1346484"/>
      </dsp:txXfrm>
    </dsp:sp>
    <dsp:sp modelId="{38FCFFC6-A49F-4B2B-81B1-B92120E9E3D2}">
      <dsp:nvSpPr>
        <dsp:cNvPr id="0" name=""/>
        <dsp:cNvSpPr/>
      </dsp:nvSpPr>
      <dsp:spPr>
        <a:xfrm>
          <a:off x="8282975" y="2016896"/>
          <a:ext cx="2244141" cy="1346484"/>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s-ES" sz="1700" kern="1200" dirty="0"/>
            <a:t>Conclusiones y resultados</a:t>
          </a:r>
        </a:p>
      </dsp:txBody>
      <dsp:txXfrm>
        <a:off x="8282975" y="2016896"/>
        <a:ext cx="2244141" cy="134648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847AEC-760C-4D87-A64D-78C3164BAFD5}">
      <dsp:nvSpPr>
        <dsp:cNvPr id="0" name=""/>
        <dsp:cNvSpPr/>
      </dsp:nvSpPr>
      <dsp:spPr>
        <a:xfrm>
          <a:off x="1119293" y="-6434"/>
          <a:ext cx="5514357" cy="5514357"/>
        </a:xfrm>
        <a:prstGeom prst="circularArrow">
          <a:avLst>
            <a:gd name="adj1" fmla="val 5274"/>
            <a:gd name="adj2" fmla="val 312630"/>
            <a:gd name="adj3" fmla="val 14233902"/>
            <a:gd name="adj4" fmla="val 17123642"/>
            <a:gd name="adj5" fmla="val 547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35DF23-7792-4D06-8BD5-D2BAE8D4C447}">
      <dsp:nvSpPr>
        <dsp:cNvPr id="0" name=""/>
        <dsp:cNvSpPr/>
      </dsp:nvSpPr>
      <dsp:spPr>
        <a:xfrm>
          <a:off x="2831641" y="390"/>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Entendimiento del caso de negocio</a:t>
          </a:r>
        </a:p>
      </dsp:txBody>
      <dsp:txXfrm>
        <a:off x="2882645" y="51394"/>
        <a:ext cx="1987652" cy="942822"/>
      </dsp:txXfrm>
    </dsp:sp>
    <dsp:sp modelId="{213C509B-973A-4E41-BA2A-DA6D1F3D2ADE}">
      <dsp:nvSpPr>
        <dsp:cNvPr id="0" name=""/>
        <dsp:cNvSpPr/>
      </dsp:nvSpPr>
      <dsp:spPr>
        <a:xfrm>
          <a:off x="4768994" y="1118921"/>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Entendimiento de los datos</a:t>
          </a:r>
        </a:p>
      </dsp:txBody>
      <dsp:txXfrm>
        <a:off x="4819998" y="1169925"/>
        <a:ext cx="1987652" cy="942822"/>
      </dsp:txXfrm>
    </dsp:sp>
    <dsp:sp modelId="{9DF2B110-725F-40BA-9868-2AA7772FE429}">
      <dsp:nvSpPr>
        <dsp:cNvPr id="0" name=""/>
        <dsp:cNvSpPr/>
      </dsp:nvSpPr>
      <dsp:spPr>
        <a:xfrm>
          <a:off x="4768994" y="3355983"/>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Preparación de los datos</a:t>
          </a:r>
        </a:p>
      </dsp:txBody>
      <dsp:txXfrm>
        <a:off x="4819998" y="3406987"/>
        <a:ext cx="1987652" cy="942822"/>
      </dsp:txXfrm>
    </dsp:sp>
    <dsp:sp modelId="{BF0A7631-1D32-4BB5-B5E8-04B167BE5102}">
      <dsp:nvSpPr>
        <dsp:cNvPr id="0" name=""/>
        <dsp:cNvSpPr/>
      </dsp:nvSpPr>
      <dsp:spPr>
        <a:xfrm>
          <a:off x="2831641" y="4474514"/>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Modelado y algoritmo</a:t>
          </a:r>
        </a:p>
      </dsp:txBody>
      <dsp:txXfrm>
        <a:off x="2882645" y="4525518"/>
        <a:ext cx="1987652" cy="942822"/>
      </dsp:txXfrm>
    </dsp:sp>
    <dsp:sp modelId="{1EA64458-AF99-4675-A8E1-74FB5D74DC5A}">
      <dsp:nvSpPr>
        <dsp:cNvPr id="0" name=""/>
        <dsp:cNvSpPr/>
      </dsp:nvSpPr>
      <dsp:spPr>
        <a:xfrm>
          <a:off x="894289" y="3355983"/>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Evaluación</a:t>
          </a:r>
        </a:p>
      </dsp:txBody>
      <dsp:txXfrm>
        <a:off x="945293" y="3406987"/>
        <a:ext cx="1987652" cy="942822"/>
      </dsp:txXfrm>
    </dsp:sp>
    <dsp:sp modelId="{5ABC2BBA-7D3B-4EDE-AAB2-DFD09BD1CB95}">
      <dsp:nvSpPr>
        <dsp:cNvPr id="0" name=""/>
        <dsp:cNvSpPr/>
      </dsp:nvSpPr>
      <dsp:spPr>
        <a:xfrm>
          <a:off x="894289" y="1118921"/>
          <a:ext cx="2089660" cy="1044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ES" sz="1900" kern="1200" dirty="0"/>
            <a:t>Despliegue</a:t>
          </a:r>
        </a:p>
      </dsp:txBody>
      <dsp:txXfrm>
        <a:off x="945293" y="1169925"/>
        <a:ext cx="1987652" cy="94282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8202FED3-7CF9-4D9C-8DB9-D33AE18C03DD}">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2657BA48-BD47-4BE1-858B-072D4CDBD2EB}">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08D88CB0-60AD-46C9-BC66-01E230BE336C}">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F393F410-F746-434F-AC7D-679C0E30025E}">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5DE45-E5C7-4022-B9AB-F082BFAE3BAD}">
      <dsp:nvSpPr>
        <dsp:cNvPr id="0" name=""/>
        <dsp:cNvSpPr/>
      </dsp:nvSpPr>
      <dsp:spPr>
        <a:xfrm>
          <a:off x="5173" y="621817"/>
          <a:ext cx="2462177" cy="1696440"/>
        </a:xfrm>
        <a:prstGeom prst="round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E490EA-399C-4A08-BE48-B38A88767BD2}">
      <dsp:nvSpPr>
        <dsp:cNvPr id="0" name=""/>
        <dsp:cNvSpPr/>
      </dsp:nvSpPr>
      <dsp:spPr>
        <a:xfrm>
          <a:off x="5173" y="2318257"/>
          <a:ext cx="2462177" cy="91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120904" rIns="120904" bIns="0" numCol="1" spcCol="1270" anchor="t" anchorCtr="0">
          <a:noAutofit/>
        </a:bodyPr>
        <a:lstStyle/>
        <a:p>
          <a:pPr marL="0" lvl="0" indent="0" algn="ctr" defTabSz="755650">
            <a:lnSpc>
              <a:spcPct val="90000"/>
            </a:lnSpc>
            <a:spcBef>
              <a:spcPct val="0"/>
            </a:spcBef>
            <a:spcAft>
              <a:spcPct val="35000"/>
            </a:spcAft>
            <a:buNone/>
          </a:pPr>
          <a:r>
            <a:rPr lang="es-ES" sz="1700" kern="1200" dirty="0"/>
            <a:t>Doug Cutting junto con Mike Cafarella crean Hadoop</a:t>
          </a:r>
        </a:p>
      </dsp:txBody>
      <dsp:txXfrm>
        <a:off x="5173" y="2318257"/>
        <a:ext cx="2462177" cy="913467"/>
      </dsp:txXfrm>
    </dsp:sp>
    <dsp:sp modelId="{BDBF0EDB-7409-4855-B321-562160D411B8}">
      <dsp:nvSpPr>
        <dsp:cNvPr id="0" name=""/>
        <dsp:cNvSpPr/>
      </dsp:nvSpPr>
      <dsp:spPr>
        <a:xfrm>
          <a:off x="2713672" y="621817"/>
          <a:ext cx="2462177" cy="1696440"/>
        </a:xfrm>
        <a:prstGeom prst="roundRect">
          <a:avLst/>
        </a:prstGeom>
        <a:blipFill rotWithShape="1">
          <a:blip xmlns:r="http://schemas.openxmlformats.org/officeDocument/2006/relationships" r:embed="rId2" cstate="screen">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0AED2B-B2AA-486F-9A37-5A828AB339F8}">
      <dsp:nvSpPr>
        <dsp:cNvPr id="0" name=""/>
        <dsp:cNvSpPr/>
      </dsp:nvSpPr>
      <dsp:spPr>
        <a:xfrm>
          <a:off x="2713672" y="2318257"/>
          <a:ext cx="2462177" cy="91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120904" rIns="120904" bIns="0" numCol="1" spcCol="1270" anchor="t" anchorCtr="0">
          <a:noAutofit/>
        </a:bodyPr>
        <a:lstStyle/>
        <a:p>
          <a:pPr marL="0" lvl="0" indent="0" algn="ctr" defTabSz="755650">
            <a:lnSpc>
              <a:spcPct val="90000"/>
            </a:lnSpc>
            <a:spcBef>
              <a:spcPct val="0"/>
            </a:spcBef>
            <a:spcAft>
              <a:spcPct val="35000"/>
            </a:spcAft>
            <a:buNone/>
          </a:pPr>
          <a:r>
            <a:rPr lang="es-ES" sz="1700" kern="1200" dirty="0"/>
            <a:t>Hadoop, el elefante era el juguete de su hijo.</a:t>
          </a:r>
        </a:p>
      </dsp:txBody>
      <dsp:txXfrm>
        <a:off x="2713672" y="2318257"/>
        <a:ext cx="2462177" cy="913467"/>
      </dsp:txXfrm>
    </dsp:sp>
    <dsp:sp modelId="{E9538196-935B-45FB-8B99-BA3509DB58FD}">
      <dsp:nvSpPr>
        <dsp:cNvPr id="0" name=""/>
        <dsp:cNvSpPr/>
      </dsp:nvSpPr>
      <dsp:spPr>
        <a:xfrm>
          <a:off x="5422170" y="621817"/>
          <a:ext cx="2462177" cy="1696440"/>
        </a:xfrm>
        <a:prstGeom prst="roundRect">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745238-98C3-4A40-9676-2492B5385883}">
      <dsp:nvSpPr>
        <dsp:cNvPr id="0" name=""/>
        <dsp:cNvSpPr/>
      </dsp:nvSpPr>
      <dsp:spPr>
        <a:xfrm>
          <a:off x="5422170" y="2318257"/>
          <a:ext cx="2462177" cy="91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120904" rIns="120904" bIns="0" numCol="1" spcCol="1270" anchor="t" anchorCtr="0">
          <a:noAutofit/>
        </a:bodyPr>
        <a:lstStyle/>
        <a:p>
          <a:pPr marL="0" lvl="0" indent="0" algn="ctr" defTabSz="755650">
            <a:lnSpc>
              <a:spcPct val="90000"/>
            </a:lnSpc>
            <a:spcBef>
              <a:spcPct val="0"/>
            </a:spcBef>
            <a:spcAft>
              <a:spcPct val="35000"/>
            </a:spcAft>
            <a:buNone/>
          </a:pPr>
          <a:r>
            <a:rPr lang="es-ES" sz="1700" b="1" kern="1200" dirty="0"/>
            <a:t>HDFS</a:t>
          </a:r>
        </a:p>
        <a:p>
          <a:pPr marL="0" lvl="0" indent="0" algn="ctr" defTabSz="755650">
            <a:lnSpc>
              <a:spcPct val="90000"/>
            </a:lnSpc>
            <a:spcBef>
              <a:spcPct val="0"/>
            </a:spcBef>
            <a:spcAft>
              <a:spcPct val="35000"/>
            </a:spcAft>
            <a:buNone/>
          </a:pPr>
          <a:r>
            <a:rPr lang="es-ES" sz="1700" kern="1200" dirty="0"/>
            <a:t>Almacenamiento</a:t>
          </a:r>
        </a:p>
      </dsp:txBody>
      <dsp:txXfrm>
        <a:off x="5422170" y="2318257"/>
        <a:ext cx="2462177" cy="913467"/>
      </dsp:txXfrm>
    </dsp:sp>
    <dsp:sp modelId="{0875336A-8217-46F8-9020-96188A3C849E}">
      <dsp:nvSpPr>
        <dsp:cNvPr id="0" name=""/>
        <dsp:cNvSpPr/>
      </dsp:nvSpPr>
      <dsp:spPr>
        <a:xfrm>
          <a:off x="8130668" y="621817"/>
          <a:ext cx="2462177" cy="1696440"/>
        </a:xfrm>
        <a:prstGeom prst="round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5FABEB-9F29-4E36-8FE4-265C1D0DDAEE}">
      <dsp:nvSpPr>
        <dsp:cNvPr id="0" name=""/>
        <dsp:cNvSpPr/>
      </dsp:nvSpPr>
      <dsp:spPr>
        <a:xfrm>
          <a:off x="8130668" y="2318257"/>
          <a:ext cx="2462177" cy="91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904" tIns="120904" rIns="120904" bIns="0" numCol="1" spcCol="1270" anchor="t" anchorCtr="0">
          <a:noAutofit/>
        </a:bodyPr>
        <a:lstStyle/>
        <a:p>
          <a:pPr marL="0" lvl="0" indent="0" algn="ctr" defTabSz="755650">
            <a:lnSpc>
              <a:spcPct val="90000"/>
            </a:lnSpc>
            <a:spcBef>
              <a:spcPct val="0"/>
            </a:spcBef>
            <a:spcAft>
              <a:spcPct val="35000"/>
            </a:spcAft>
            <a:buNone/>
          </a:pPr>
          <a:r>
            <a:rPr lang="es-ES" sz="1700" b="1" kern="1200" dirty="0"/>
            <a:t>Map Reduce</a:t>
          </a:r>
        </a:p>
        <a:p>
          <a:pPr marL="0" lvl="0" indent="0" algn="ctr" defTabSz="755650">
            <a:lnSpc>
              <a:spcPct val="90000"/>
            </a:lnSpc>
            <a:spcBef>
              <a:spcPct val="0"/>
            </a:spcBef>
            <a:spcAft>
              <a:spcPct val="35000"/>
            </a:spcAft>
            <a:buNone/>
          </a:pPr>
          <a:r>
            <a:rPr lang="es-ES" sz="1700" kern="1200" dirty="0"/>
            <a:t>Orquestador de procesos</a:t>
          </a:r>
        </a:p>
      </dsp:txBody>
      <dsp:txXfrm>
        <a:off x="8130668" y="2318257"/>
        <a:ext cx="2462177" cy="91346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3F974-0C05-4DB4-80AA-FF87C24F9641}">
      <dsp:nvSpPr>
        <dsp:cNvPr id="0" name=""/>
        <dsp:cNvSpPr/>
      </dsp:nvSpPr>
      <dsp:spPr>
        <a:xfrm>
          <a:off x="812916" y="186183"/>
          <a:ext cx="4050536" cy="4050536"/>
        </a:xfrm>
        <a:prstGeom prst="rect">
          <a:avLst/>
        </a:prstGeom>
        <a:blipFill rotWithShape="1">
          <a:blip xmlns:r="http://schemas.openxmlformats.org/officeDocument/2006/relationships" r:embed="rId1">
            <a:duotone>
              <a:prstClr val="black"/>
              <a:srgbClr val="D9C3A5">
                <a:tint val="50000"/>
                <a:satMod val="180000"/>
              </a:srgbClr>
            </a:duotone>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l="-25000" r="-25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6BFAFB-B418-4784-9A6C-5D4D9744C64E}">
      <dsp:nvSpPr>
        <dsp:cNvPr id="0" name=""/>
        <dsp:cNvSpPr/>
      </dsp:nvSpPr>
      <dsp:spPr>
        <a:xfrm rot="16200000">
          <a:off x="-1617404"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ntes</a:t>
          </a:r>
        </a:p>
      </dsp:txBody>
      <dsp:txXfrm>
        <a:off x="-1617404" y="1806398"/>
        <a:ext cx="4050536" cy="810107"/>
      </dsp:txXfrm>
    </dsp:sp>
    <dsp:sp modelId="{1B7587F5-0920-4468-A48D-A832A8370225}">
      <dsp:nvSpPr>
        <dsp:cNvPr id="0" name=""/>
        <dsp:cNvSpPr/>
      </dsp:nvSpPr>
      <dsp:spPr>
        <a:xfrm>
          <a:off x="5674489" y="186183"/>
          <a:ext cx="4050536" cy="4050536"/>
        </a:xfrm>
        <a:prstGeom prst="rect">
          <a:avLst/>
        </a:prstGeom>
        <a:blipFill rotWithShape="1">
          <a:blip xmlns:r="http://schemas.openxmlformats.org/officeDocument/2006/relationships" r:embed="rId3">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rcRect/>
          <a:stretch>
            <a:fillRect l="-39000" r="-39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95C83A-58C4-41C2-8215-081CE579FEC9}">
      <dsp:nvSpPr>
        <dsp:cNvPr id="0" name=""/>
        <dsp:cNvSpPr/>
      </dsp:nvSpPr>
      <dsp:spPr>
        <a:xfrm rot="16200000">
          <a:off x="3244168" y="1806398"/>
          <a:ext cx="4050536" cy="810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55" tIns="33655" rIns="33655" bIns="33655" numCol="1" spcCol="1270" anchor="b" anchorCtr="0">
          <a:noAutofit/>
        </a:bodyPr>
        <a:lstStyle/>
        <a:p>
          <a:pPr marL="0" lvl="0" indent="0" algn="l" defTabSz="2355850">
            <a:lnSpc>
              <a:spcPct val="90000"/>
            </a:lnSpc>
            <a:spcBef>
              <a:spcPct val="0"/>
            </a:spcBef>
            <a:spcAft>
              <a:spcPct val="35000"/>
            </a:spcAft>
            <a:buNone/>
          </a:pPr>
          <a:r>
            <a:rPr lang="es-ES" sz="5300" kern="1200" dirty="0"/>
            <a:t>Ahora</a:t>
          </a:r>
        </a:p>
      </dsp:txBody>
      <dsp:txXfrm>
        <a:off x="3244168" y="1806398"/>
        <a:ext cx="4050536" cy="810107"/>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7707A2-54BD-40CC-ABBE-FA5B0A59DBDA}">
      <dsp:nvSpPr>
        <dsp:cNvPr id="0" name=""/>
        <dsp:cNvSpPr/>
      </dsp:nvSpPr>
      <dsp:spPr>
        <a:xfrm>
          <a:off x="0" y="3881423"/>
          <a:ext cx="4568256" cy="63677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Machine Learning y Artificial Intelligence</a:t>
          </a:r>
        </a:p>
      </dsp:txBody>
      <dsp:txXfrm>
        <a:off x="0" y="3881423"/>
        <a:ext cx="4568256" cy="636779"/>
      </dsp:txXfrm>
    </dsp:sp>
    <dsp:sp modelId="{E75254D6-DF8C-4B1B-AE19-2CFA87023C24}">
      <dsp:nvSpPr>
        <dsp:cNvPr id="0" name=""/>
        <dsp:cNvSpPr/>
      </dsp:nvSpPr>
      <dsp:spPr>
        <a:xfrm rot="10800000">
          <a:off x="0" y="2911607"/>
          <a:ext cx="4568256" cy="979367"/>
        </a:xfrm>
        <a:prstGeom prst="upArrowCallout">
          <a:avLst/>
        </a:prstGeom>
        <a:solidFill>
          <a:schemeClr val="accent3">
            <a:hueOff val="677650"/>
            <a:satOff val="25000"/>
            <a:lumOff val="-36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Tratamiento / computación de los datos. Batch, Tiempo Real, Streaming.</a:t>
          </a:r>
        </a:p>
      </dsp:txBody>
      <dsp:txXfrm rot="10800000">
        <a:off x="0" y="2911607"/>
        <a:ext cx="4568256" cy="636363"/>
      </dsp:txXfrm>
    </dsp:sp>
    <dsp:sp modelId="{4CBEC877-62E5-431C-BA63-E2F34899C180}">
      <dsp:nvSpPr>
        <dsp:cNvPr id="0" name=""/>
        <dsp:cNvSpPr/>
      </dsp:nvSpPr>
      <dsp:spPr>
        <a:xfrm rot="10800000">
          <a:off x="0" y="1941792"/>
          <a:ext cx="4568256" cy="979367"/>
        </a:xfrm>
        <a:prstGeom prst="upArrowCallout">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BBDD NoSQL. Almacenamiento de los datos</a:t>
          </a:r>
        </a:p>
      </dsp:txBody>
      <dsp:txXfrm rot="10800000">
        <a:off x="0" y="1941792"/>
        <a:ext cx="4568256" cy="636363"/>
      </dsp:txXfrm>
    </dsp:sp>
    <dsp:sp modelId="{D8E5C10C-D0B9-4EB2-8489-5B15A6DDE64A}">
      <dsp:nvSpPr>
        <dsp:cNvPr id="0" name=""/>
        <dsp:cNvSpPr/>
      </dsp:nvSpPr>
      <dsp:spPr>
        <a:xfrm rot="10800000">
          <a:off x="0" y="971976"/>
          <a:ext cx="4568256" cy="979367"/>
        </a:xfrm>
        <a:prstGeom prst="upArrowCallout">
          <a:avLst/>
        </a:prstGeom>
        <a:solidFill>
          <a:schemeClr val="accent3">
            <a:hueOff val="2032949"/>
            <a:satOff val="75000"/>
            <a:lumOff val="-110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Redefinición de los datos: Limpieza de datos, redefinición, agregaciones </a:t>
          </a:r>
        </a:p>
      </dsp:txBody>
      <dsp:txXfrm rot="10800000">
        <a:off x="0" y="971976"/>
        <a:ext cx="4568256" cy="636363"/>
      </dsp:txXfrm>
    </dsp:sp>
    <dsp:sp modelId="{13927F08-15BE-4415-9CC9-4C31E27E14A2}">
      <dsp:nvSpPr>
        <dsp:cNvPr id="0" name=""/>
        <dsp:cNvSpPr/>
      </dsp:nvSpPr>
      <dsp:spPr>
        <a:xfrm rot="10800000">
          <a:off x="0" y="2160"/>
          <a:ext cx="4568256" cy="979367"/>
        </a:xfrm>
        <a:prstGeom prst="upArrowCallou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Almacenamiento. RAW Data (Datos en crudo, sin tratar) habitualmente: HDFS</a:t>
          </a:r>
        </a:p>
      </dsp:txBody>
      <dsp:txXfrm rot="10800000">
        <a:off x="0" y="2160"/>
        <a:ext cx="4568256" cy="636363"/>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45C02F-B77D-4069-90D5-FDA6CD1B2727}">
      <dsp:nvSpPr>
        <dsp:cNvPr id="0" name=""/>
        <dsp:cNvSpPr/>
      </dsp:nvSpPr>
      <dsp:spPr>
        <a:xfrm>
          <a:off x="2226" y="0"/>
          <a:ext cx="4747318" cy="613505"/>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latin typeface="Avenir LT Std 35 Light" panose="020B0402020203020204" pitchFamily="34" charset="0"/>
              <a:cs typeface="Calibri" panose="020F0502020204030204" pitchFamily="34" charset="0"/>
            </a:rPr>
            <a:t>Data Science y Data Engineering</a:t>
          </a:r>
          <a:endParaRPr lang="es-ES" sz="2600" kern="1200" dirty="0"/>
        </a:p>
      </dsp:txBody>
      <dsp:txXfrm>
        <a:off x="20195" y="17969"/>
        <a:ext cx="4711380" cy="577567"/>
      </dsp:txXfrm>
    </dsp:sp>
    <dsp:sp modelId="{174C5534-3B65-42D5-9F89-E4EA977A2566}">
      <dsp:nvSpPr>
        <dsp:cNvPr id="0" name=""/>
        <dsp:cNvSpPr/>
      </dsp:nvSpPr>
      <dsp:spPr>
        <a:xfrm>
          <a:off x="5224276" y="0"/>
          <a:ext cx="1006431" cy="613505"/>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s-ES" sz="2100" kern="1200" dirty="0"/>
        </a:p>
      </dsp:txBody>
      <dsp:txXfrm>
        <a:off x="5224276" y="122701"/>
        <a:ext cx="822380" cy="368103"/>
      </dsp:txXfrm>
    </dsp:sp>
    <dsp:sp modelId="{4453482D-3DBB-4950-AF0A-9F96C158AACC}">
      <dsp:nvSpPr>
        <dsp:cNvPr id="0" name=""/>
        <dsp:cNvSpPr/>
      </dsp:nvSpPr>
      <dsp:spPr>
        <a:xfrm>
          <a:off x="6648472" y="0"/>
          <a:ext cx="4747318" cy="613505"/>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dirty="0">
              <a:latin typeface="Avenir LT Std 35 Light" panose="020B0402020203020204" pitchFamily="34" charset="0"/>
              <a:cs typeface="Calibri" panose="020F0502020204030204" pitchFamily="34" charset="0"/>
            </a:rPr>
            <a:t>Data Analyze</a:t>
          </a:r>
          <a:endParaRPr lang="es-ES" sz="2600" kern="1200" dirty="0"/>
        </a:p>
      </dsp:txBody>
      <dsp:txXfrm>
        <a:off x="6666441" y="17969"/>
        <a:ext cx="4711380" cy="577567"/>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36E09F-8934-4285-A861-B9C73800EE32}">
      <dsp:nvSpPr>
        <dsp:cNvPr id="0" name=""/>
        <dsp:cNvSpPr/>
      </dsp:nvSpPr>
      <dsp:spPr>
        <a:xfrm>
          <a:off x="1130554" y="90"/>
          <a:ext cx="2061974" cy="1237184"/>
        </a:xfrm>
        <a:prstGeom prst="rect">
          <a:avLst/>
        </a:prstGeom>
        <a:solidFill>
          <a:schemeClr val="accent2">
            <a:lumMod val="75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b="1" kern="1200" dirty="0"/>
            <a:t>Volume</a:t>
          </a:r>
        </a:p>
      </dsp:txBody>
      <dsp:txXfrm>
        <a:off x="1130554" y="90"/>
        <a:ext cx="2061974" cy="1237184"/>
      </dsp:txXfrm>
    </dsp:sp>
    <dsp:sp modelId="{487A2008-EC0F-4BE3-9EA3-DF087257C902}">
      <dsp:nvSpPr>
        <dsp:cNvPr id="0" name=""/>
        <dsp:cNvSpPr/>
      </dsp:nvSpPr>
      <dsp:spPr>
        <a:xfrm>
          <a:off x="3398726" y="90"/>
          <a:ext cx="2061974" cy="1237184"/>
        </a:xfrm>
        <a:prstGeom prst="rect">
          <a:avLst/>
        </a:prstGeom>
        <a:solidFill>
          <a:schemeClr val="accent2">
            <a:lumMod val="75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b="1" kern="1200" dirty="0"/>
            <a:t>Velocity</a:t>
          </a:r>
        </a:p>
      </dsp:txBody>
      <dsp:txXfrm>
        <a:off x="3398726" y="90"/>
        <a:ext cx="2061974" cy="1237184"/>
      </dsp:txXfrm>
    </dsp:sp>
    <dsp:sp modelId="{43A1766D-F10E-479F-A578-31A534E6BAD8}">
      <dsp:nvSpPr>
        <dsp:cNvPr id="0" name=""/>
        <dsp:cNvSpPr/>
      </dsp:nvSpPr>
      <dsp:spPr>
        <a:xfrm>
          <a:off x="5666899" y="90"/>
          <a:ext cx="2061974" cy="1237184"/>
        </a:xfrm>
        <a:prstGeom prst="rect">
          <a:avLst/>
        </a:prstGeom>
        <a:solidFill>
          <a:schemeClr val="accent2">
            <a:lumMod val="75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b="1" kern="1200" dirty="0"/>
            <a:t>Variety</a:t>
          </a:r>
        </a:p>
      </dsp:txBody>
      <dsp:txXfrm>
        <a:off x="5666899" y="90"/>
        <a:ext cx="2061974" cy="1237184"/>
      </dsp:txXfrm>
    </dsp:sp>
    <dsp:sp modelId="{07BEC846-AC90-45CB-8DD9-FDDBB083F023}">
      <dsp:nvSpPr>
        <dsp:cNvPr id="0" name=""/>
        <dsp:cNvSpPr/>
      </dsp:nvSpPr>
      <dsp:spPr>
        <a:xfrm>
          <a:off x="7935071" y="90"/>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isibility</a:t>
          </a:r>
        </a:p>
      </dsp:txBody>
      <dsp:txXfrm>
        <a:off x="7935071" y="90"/>
        <a:ext cx="2061974" cy="1237184"/>
      </dsp:txXfrm>
    </dsp:sp>
    <dsp:sp modelId="{63BF8B16-4CE7-4760-AE87-DADCF864AFA6}">
      <dsp:nvSpPr>
        <dsp:cNvPr id="0" name=""/>
        <dsp:cNvSpPr/>
      </dsp:nvSpPr>
      <dsp:spPr>
        <a:xfrm>
          <a:off x="1130554" y="1443472"/>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iscosity</a:t>
          </a:r>
        </a:p>
      </dsp:txBody>
      <dsp:txXfrm>
        <a:off x="1130554" y="1443472"/>
        <a:ext cx="2061974" cy="1237184"/>
      </dsp:txXfrm>
    </dsp:sp>
    <dsp:sp modelId="{3F3A95FF-479D-4DE6-838B-9AC80FD39C95}">
      <dsp:nvSpPr>
        <dsp:cNvPr id="0" name=""/>
        <dsp:cNvSpPr/>
      </dsp:nvSpPr>
      <dsp:spPr>
        <a:xfrm>
          <a:off x="3398726" y="1443472"/>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alue</a:t>
          </a:r>
        </a:p>
      </dsp:txBody>
      <dsp:txXfrm>
        <a:off x="3398726" y="1443472"/>
        <a:ext cx="2061974" cy="1237184"/>
      </dsp:txXfrm>
    </dsp:sp>
    <dsp:sp modelId="{6E69D63D-66E3-4069-B894-5B923DAF177D}">
      <dsp:nvSpPr>
        <dsp:cNvPr id="0" name=""/>
        <dsp:cNvSpPr/>
      </dsp:nvSpPr>
      <dsp:spPr>
        <a:xfrm>
          <a:off x="5666899" y="1443472"/>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eracity</a:t>
          </a:r>
        </a:p>
      </dsp:txBody>
      <dsp:txXfrm>
        <a:off x="5666899" y="1443472"/>
        <a:ext cx="2061974" cy="1237184"/>
      </dsp:txXfrm>
    </dsp:sp>
    <dsp:sp modelId="{5ED29B55-47D9-4C66-BC60-734F1FD25EC1}">
      <dsp:nvSpPr>
        <dsp:cNvPr id="0" name=""/>
        <dsp:cNvSpPr/>
      </dsp:nvSpPr>
      <dsp:spPr>
        <a:xfrm>
          <a:off x="7935071" y="1443472"/>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aquero</a:t>
          </a:r>
        </a:p>
      </dsp:txBody>
      <dsp:txXfrm>
        <a:off x="7935071" y="1443472"/>
        <a:ext cx="2061974" cy="1237184"/>
      </dsp:txXfrm>
    </dsp:sp>
    <dsp:sp modelId="{A0BD516C-3321-41E6-986A-2D8B3392B076}">
      <dsp:nvSpPr>
        <dsp:cNvPr id="0" name=""/>
        <dsp:cNvSpPr/>
      </dsp:nvSpPr>
      <dsp:spPr>
        <a:xfrm>
          <a:off x="1130554" y="2886854"/>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erónica</a:t>
          </a:r>
        </a:p>
      </dsp:txBody>
      <dsp:txXfrm>
        <a:off x="1130554" y="2886854"/>
        <a:ext cx="2061974" cy="1237184"/>
      </dsp:txXfrm>
    </dsp:sp>
    <dsp:sp modelId="{1A6A6051-0F43-4085-BC24-E4659F227DC8}">
      <dsp:nvSpPr>
        <dsp:cNvPr id="0" name=""/>
        <dsp:cNvSpPr/>
      </dsp:nvSpPr>
      <dsp:spPr>
        <a:xfrm>
          <a:off x="3398726" y="2886854"/>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elociraptor</a:t>
          </a:r>
        </a:p>
      </dsp:txBody>
      <dsp:txXfrm>
        <a:off x="3398726" y="2886854"/>
        <a:ext cx="2061974" cy="1237184"/>
      </dsp:txXfrm>
    </dsp:sp>
    <dsp:sp modelId="{C9AA378C-160C-422C-861E-9BBC80C5C837}">
      <dsp:nvSpPr>
        <dsp:cNvPr id="0" name=""/>
        <dsp:cNvSpPr/>
      </dsp:nvSpPr>
      <dsp:spPr>
        <a:xfrm>
          <a:off x="5666899" y="2886854"/>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elvet….</a:t>
          </a:r>
        </a:p>
      </dsp:txBody>
      <dsp:txXfrm>
        <a:off x="5666899" y="2886854"/>
        <a:ext cx="2061974" cy="1237184"/>
      </dsp:txXfrm>
    </dsp:sp>
    <dsp:sp modelId="{46518082-DA87-4CEE-9302-2A1818FA8BDA}">
      <dsp:nvSpPr>
        <dsp:cNvPr id="0" name=""/>
        <dsp:cNvSpPr/>
      </dsp:nvSpPr>
      <dsp:spPr>
        <a:xfrm>
          <a:off x="7935071" y="2886854"/>
          <a:ext cx="2061974" cy="123718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dirty="0"/>
            <a:t>Vaya tontería….</a:t>
          </a:r>
        </a:p>
      </dsp:txBody>
      <dsp:txXfrm>
        <a:off x="7935071" y="2886854"/>
        <a:ext cx="2061974" cy="1237184"/>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C4078A-E650-4435-AD93-428B59A03713}">
      <dsp:nvSpPr>
        <dsp:cNvPr id="0" name=""/>
        <dsp:cNvSpPr/>
      </dsp:nvSpPr>
      <dsp:spPr>
        <a:xfrm>
          <a:off x="0" y="597518"/>
          <a:ext cx="5181600" cy="5967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noProof="0" dirty="0"/>
            <a:t>“Si tuviésemos ordenadores que fuesen capaces de saber todo lo que pudiese saberse de cualquier cosa</a:t>
          </a:r>
          <a:endParaRPr lang="es-ES" sz="1500" kern="1200" dirty="0"/>
        </a:p>
      </dsp:txBody>
      <dsp:txXfrm>
        <a:off x="29128" y="626646"/>
        <a:ext cx="5123344" cy="538444"/>
      </dsp:txXfrm>
    </dsp:sp>
    <dsp:sp modelId="{A5A968B4-993D-4FCB-B5C2-F8E73320D426}">
      <dsp:nvSpPr>
        <dsp:cNvPr id="0" name=""/>
        <dsp:cNvSpPr/>
      </dsp:nvSpPr>
      <dsp:spPr>
        <a:xfrm>
          <a:off x="0" y="1237418"/>
          <a:ext cx="5181600" cy="5967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noProof="0" dirty="0"/>
            <a:t>–usando datos recolectados sin intervención humana– </a:t>
          </a:r>
        </a:p>
      </dsp:txBody>
      <dsp:txXfrm>
        <a:off x="29128" y="1266546"/>
        <a:ext cx="5123344" cy="538444"/>
      </dsp:txXfrm>
    </dsp:sp>
    <dsp:sp modelId="{EF714D8F-D5A9-4528-BE82-C658FC704FCE}">
      <dsp:nvSpPr>
        <dsp:cNvPr id="0" name=""/>
        <dsp:cNvSpPr/>
      </dsp:nvSpPr>
      <dsp:spPr>
        <a:xfrm>
          <a:off x="0" y="1877319"/>
          <a:ext cx="5181600" cy="5967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noProof="0" dirty="0"/>
            <a:t>seríamos capaces de hacer seguimiento detallado de todo, y poder reducir de forma importante los costes y malos usos. </a:t>
          </a:r>
        </a:p>
      </dsp:txBody>
      <dsp:txXfrm>
        <a:off x="29128" y="1906447"/>
        <a:ext cx="5123344" cy="538444"/>
      </dsp:txXfrm>
    </dsp:sp>
    <dsp:sp modelId="{D238DF9E-215E-4643-AB43-D613C391C186}">
      <dsp:nvSpPr>
        <dsp:cNvPr id="0" name=""/>
        <dsp:cNvSpPr/>
      </dsp:nvSpPr>
      <dsp:spPr>
        <a:xfrm>
          <a:off x="0" y="2517219"/>
          <a:ext cx="5181600" cy="5967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noProof="0" dirty="0"/>
            <a:t>Sabríamos cuando las cosas necesitan ser reparadas, cambiadas o recuperadas, incluso si están frescas o pasadas de fecha. </a:t>
          </a:r>
        </a:p>
      </dsp:txBody>
      <dsp:txXfrm>
        <a:off x="29128" y="2546347"/>
        <a:ext cx="5123344" cy="538444"/>
      </dsp:txXfrm>
    </dsp:sp>
    <dsp:sp modelId="{6FF98F4F-A46F-4537-8FFB-A47AC6BA51E4}">
      <dsp:nvSpPr>
        <dsp:cNvPr id="0" name=""/>
        <dsp:cNvSpPr/>
      </dsp:nvSpPr>
      <dsp:spPr>
        <a:xfrm>
          <a:off x="0" y="3157119"/>
          <a:ext cx="5181600" cy="5967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noProof="0" dirty="0"/>
            <a:t>El Internet de las Cosas tiene el potencial de cambiar el mundo como ya lo hizo Internet. O incluso más.”</a:t>
          </a:r>
        </a:p>
      </dsp:txBody>
      <dsp:txXfrm>
        <a:off x="29128" y="3186247"/>
        <a:ext cx="5123344" cy="53844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B084A6-7AC0-4E86-9F13-E9A237D892D8}">
      <dsp:nvSpPr>
        <dsp:cNvPr id="0" name=""/>
        <dsp:cNvSpPr/>
      </dsp:nvSpPr>
      <dsp:spPr>
        <a:xfrm>
          <a:off x="4479" y="91370"/>
          <a:ext cx="3845446" cy="8208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s-ES" sz="1900" kern="1200" dirty="0"/>
            <a:t>Si los objetos</a:t>
          </a:r>
        </a:p>
      </dsp:txBody>
      <dsp:txXfrm>
        <a:off x="4479" y="91370"/>
        <a:ext cx="3845446" cy="547200"/>
      </dsp:txXfrm>
    </dsp:sp>
    <dsp:sp modelId="{A9C3D3F1-08CD-4117-AC4B-462BA80474A6}">
      <dsp:nvSpPr>
        <dsp:cNvPr id="0" name=""/>
        <dsp:cNvSpPr/>
      </dsp:nvSpPr>
      <dsp:spPr>
        <a:xfrm>
          <a:off x="792101" y="638570"/>
          <a:ext cx="3845446" cy="33302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es-ES" sz="1900" kern="1200" dirty="0"/>
            <a:t>Libros</a:t>
          </a:r>
        </a:p>
        <a:p>
          <a:pPr marL="171450" lvl="1" indent="-171450" algn="l" defTabSz="844550">
            <a:lnSpc>
              <a:spcPct val="90000"/>
            </a:lnSpc>
            <a:spcBef>
              <a:spcPct val="0"/>
            </a:spcBef>
            <a:spcAft>
              <a:spcPct val="15000"/>
            </a:spcAft>
            <a:buChar char="•"/>
          </a:pPr>
          <a:r>
            <a:rPr lang="es-ES" sz="1900" kern="1200" dirty="0"/>
            <a:t>Termostatos</a:t>
          </a:r>
        </a:p>
        <a:p>
          <a:pPr marL="171450" lvl="1" indent="-171450" algn="l" defTabSz="844550">
            <a:lnSpc>
              <a:spcPct val="90000"/>
            </a:lnSpc>
            <a:spcBef>
              <a:spcPct val="0"/>
            </a:spcBef>
            <a:spcAft>
              <a:spcPct val="15000"/>
            </a:spcAft>
            <a:buChar char="•"/>
          </a:pPr>
          <a:r>
            <a:rPr lang="es-ES" sz="1900" kern="1200" dirty="0"/>
            <a:t>Refrigeradores</a:t>
          </a:r>
        </a:p>
        <a:p>
          <a:pPr marL="171450" lvl="1" indent="-171450" algn="l" defTabSz="844550">
            <a:lnSpc>
              <a:spcPct val="90000"/>
            </a:lnSpc>
            <a:spcBef>
              <a:spcPct val="0"/>
            </a:spcBef>
            <a:spcAft>
              <a:spcPct val="15000"/>
            </a:spcAft>
            <a:buChar char="•"/>
          </a:pPr>
          <a:r>
            <a:rPr lang="es-ES" sz="1900" kern="1200" dirty="0"/>
            <a:t>La paquetería</a:t>
          </a:r>
        </a:p>
        <a:p>
          <a:pPr marL="171450" lvl="1" indent="-171450" algn="l" defTabSz="844550">
            <a:lnSpc>
              <a:spcPct val="90000"/>
            </a:lnSpc>
            <a:spcBef>
              <a:spcPct val="0"/>
            </a:spcBef>
            <a:spcAft>
              <a:spcPct val="15000"/>
            </a:spcAft>
            <a:buChar char="•"/>
          </a:pPr>
          <a:r>
            <a:rPr lang="es-ES" sz="1900" kern="1200" dirty="0"/>
            <a:t>Lámparas</a:t>
          </a:r>
        </a:p>
        <a:p>
          <a:pPr marL="171450" lvl="1" indent="-171450" algn="l" defTabSz="844550">
            <a:lnSpc>
              <a:spcPct val="90000"/>
            </a:lnSpc>
            <a:spcBef>
              <a:spcPct val="0"/>
            </a:spcBef>
            <a:spcAft>
              <a:spcPct val="15000"/>
            </a:spcAft>
            <a:buChar char="•"/>
          </a:pPr>
          <a:r>
            <a:rPr lang="es-ES" sz="1900" kern="1200" dirty="0"/>
            <a:t>Botiquines</a:t>
          </a:r>
        </a:p>
        <a:p>
          <a:pPr marL="171450" lvl="1" indent="-171450" algn="l" defTabSz="844550">
            <a:lnSpc>
              <a:spcPct val="90000"/>
            </a:lnSpc>
            <a:spcBef>
              <a:spcPct val="0"/>
            </a:spcBef>
            <a:spcAft>
              <a:spcPct val="15000"/>
            </a:spcAft>
            <a:buChar char="•"/>
          </a:pPr>
          <a:r>
            <a:rPr lang="es-ES" sz="1900" kern="1200" dirty="0"/>
            <a:t>Partes automotrices … </a:t>
          </a:r>
        </a:p>
      </dsp:txBody>
      <dsp:txXfrm>
        <a:off x="889640" y="736109"/>
        <a:ext cx="3650368" cy="3135147"/>
      </dsp:txXfrm>
    </dsp:sp>
    <dsp:sp modelId="{545C600C-98CB-480E-8BE1-5E02A3F04FC7}">
      <dsp:nvSpPr>
        <dsp:cNvPr id="0" name=""/>
        <dsp:cNvSpPr/>
      </dsp:nvSpPr>
      <dsp:spPr>
        <a:xfrm>
          <a:off x="4432881" y="-113731"/>
          <a:ext cx="1235866" cy="95740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s-ES" sz="1500" kern="1200" dirty="0"/>
        </a:p>
      </dsp:txBody>
      <dsp:txXfrm>
        <a:off x="4432881" y="77750"/>
        <a:ext cx="948645" cy="574442"/>
      </dsp:txXfrm>
    </dsp:sp>
    <dsp:sp modelId="{7F64404A-89F2-444B-ADCF-8D0BC1A3984B}">
      <dsp:nvSpPr>
        <dsp:cNvPr id="0" name=""/>
        <dsp:cNvSpPr/>
      </dsp:nvSpPr>
      <dsp:spPr>
        <a:xfrm>
          <a:off x="6181748" y="91370"/>
          <a:ext cx="3845446" cy="820800"/>
        </a:xfrm>
        <a:prstGeom prst="roundRect">
          <a:avLst>
            <a:gd name="adj" fmla="val 10000"/>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s-ES" sz="1900" kern="1200" dirty="0"/>
            <a:t>estuvieran conectados a internet</a:t>
          </a:r>
        </a:p>
      </dsp:txBody>
      <dsp:txXfrm>
        <a:off x="6181748" y="91370"/>
        <a:ext cx="3845446" cy="547200"/>
      </dsp:txXfrm>
    </dsp:sp>
    <dsp:sp modelId="{DC26DC09-CF06-4197-BC78-76EC2F647F16}">
      <dsp:nvSpPr>
        <dsp:cNvPr id="0" name=""/>
        <dsp:cNvSpPr/>
      </dsp:nvSpPr>
      <dsp:spPr>
        <a:xfrm>
          <a:off x="6969370" y="638570"/>
          <a:ext cx="3845446" cy="33302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es-ES" sz="1900" kern="1200" dirty="0"/>
            <a:t>No existirían (en teoría): Artículos fuera de stock o medicinas caducas</a:t>
          </a:r>
        </a:p>
        <a:p>
          <a:pPr marL="171450" lvl="1" indent="-171450" algn="l" defTabSz="844550">
            <a:lnSpc>
              <a:spcPct val="90000"/>
            </a:lnSpc>
            <a:spcBef>
              <a:spcPct val="0"/>
            </a:spcBef>
            <a:spcAft>
              <a:spcPct val="15000"/>
            </a:spcAft>
            <a:buChar char="•"/>
          </a:pPr>
          <a:r>
            <a:rPr lang="es-ES" sz="1900" kern="1200" dirty="0"/>
            <a:t>Sabríamos exactamente la ubicación</a:t>
          </a:r>
        </a:p>
        <a:p>
          <a:pPr marL="171450" lvl="1" indent="-171450" algn="l" defTabSz="844550">
            <a:lnSpc>
              <a:spcPct val="90000"/>
            </a:lnSpc>
            <a:spcBef>
              <a:spcPct val="0"/>
            </a:spcBef>
            <a:spcAft>
              <a:spcPct val="15000"/>
            </a:spcAft>
            <a:buChar char="•"/>
          </a:pPr>
          <a:r>
            <a:rPr lang="es-ES" sz="1900" kern="1200" dirty="0"/>
            <a:t>Cómo se consumen en el mundo</a:t>
          </a:r>
        </a:p>
        <a:p>
          <a:pPr marL="171450" lvl="1" indent="-171450" algn="l" defTabSz="844550">
            <a:lnSpc>
              <a:spcPct val="90000"/>
            </a:lnSpc>
            <a:spcBef>
              <a:spcPct val="0"/>
            </a:spcBef>
            <a:spcAft>
              <a:spcPct val="15000"/>
            </a:spcAft>
            <a:buChar char="•"/>
          </a:pPr>
          <a:r>
            <a:rPr lang="es-ES" sz="1900" kern="1200" dirty="0"/>
            <a:t>El extravío sería cosa del pasado</a:t>
          </a:r>
        </a:p>
        <a:p>
          <a:pPr marL="171450" lvl="1" indent="-171450" algn="l" defTabSz="844550">
            <a:lnSpc>
              <a:spcPct val="90000"/>
            </a:lnSpc>
            <a:spcBef>
              <a:spcPct val="0"/>
            </a:spcBef>
            <a:spcAft>
              <a:spcPct val="15000"/>
            </a:spcAft>
            <a:buChar char="•"/>
          </a:pPr>
          <a:r>
            <a:rPr lang="es-ES" sz="1900" kern="1200" dirty="0"/>
            <a:t>Sabríamos qué está encendido y qué está apagado = ahorro energético.</a:t>
          </a:r>
        </a:p>
      </dsp:txBody>
      <dsp:txXfrm>
        <a:off x="7066909" y="736109"/>
        <a:ext cx="3650368" cy="3135147"/>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AB09D-6A84-48C1-903E-23FAAD45425D}">
      <dsp:nvSpPr>
        <dsp:cNvPr id="0" name=""/>
        <dsp:cNvSpPr/>
      </dsp:nvSpPr>
      <dsp:spPr>
        <a:xfrm>
          <a:off x="4764" y="905763"/>
          <a:ext cx="2083200" cy="1367100"/>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s-ES" sz="2300" kern="1200" dirty="0">
              <a:latin typeface="Avenir LT Std 35 Light" panose="020B0402020203020204" pitchFamily="34" charset="0"/>
              <a:cs typeface="Calibri" panose="020F0502020204030204" pitchFamily="34" charset="0"/>
            </a:rPr>
            <a:t>Dispositivo</a:t>
          </a:r>
        </a:p>
        <a:p>
          <a:pPr marL="0" lvl="0" indent="0" algn="ctr" defTabSz="1022350">
            <a:lnSpc>
              <a:spcPct val="90000"/>
            </a:lnSpc>
            <a:spcBef>
              <a:spcPct val="0"/>
            </a:spcBef>
            <a:spcAft>
              <a:spcPct val="35000"/>
            </a:spcAft>
            <a:buNone/>
          </a:pPr>
          <a:r>
            <a:rPr lang="es-ES" sz="2300" kern="1200" dirty="0">
              <a:latin typeface="Avenir LT Std 35 Light" panose="020B0402020203020204" pitchFamily="34" charset="0"/>
              <a:cs typeface="Calibri" panose="020F0502020204030204" pitchFamily="34" charset="0"/>
            </a:rPr>
            <a:t>IOT</a:t>
          </a:r>
        </a:p>
      </dsp:txBody>
      <dsp:txXfrm>
        <a:off x="44805" y="945804"/>
        <a:ext cx="2003118" cy="1287018"/>
      </dsp:txXfrm>
    </dsp:sp>
    <dsp:sp modelId="{1AB8B324-756B-4E70-9CAB-F0E4D3B318B5}">
      <dsp:nvSpPr>
        <dsp:cNvPr id="0" name=""/>
        <dsp:cNvSpPr/>
      </dsp:nvSpPr>
      <dsp:spPr>
        <a:xfrm>
          <a:off x="2296284" y="1330997"/>
          <a:ext cx="441638" cy="516633"/>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s-ES" sz="1900" kern="1200" dirty="0">
            <a:latin typeface="Calibri" panose="020F0502020204030204" pitchFamily="34" charset="0"/>
            <a:cs typeface="Calibri" panose="020F0502020204030204" pitchFamily="34" charset="0"/>
          </a:endParaRPr>
        </a:p>
      </dsp:txBody>
      <dsp:txXfrm>
        <a:off x="2296284" y="1434324"/>
        <a:ext cx="309147" cy="309979"/>
      </dsp:txXfrm>
    </dsp:sp>
    <dsp:sp modelId="{071F995F-320C-430C-A6C2-537B3F9856B4}">
      <dsp:nvSpPr>
        <dsp:cNvPr id="0" name=""/>
        <dsp:cNvSpPr/>
      </dsp:nvSpPr>
      <dsp:spPr>
        <a:xfrm>
          <a:off x="2921245" y="905763"/>
          <a:ext cx="2083200" cy="1367100"/>
        </a:xfrm>
        <a:prstGeom prst="roundRect">
          <a:avLst>
            <a:gd name="adj" fmla="val 10000"/>
          </a:avLst>
        </a:prstGeom>
        <a:solidFill>
          <a:schemeClr val="accent1">
            <a:shade val="80000"/>
            <a:hueOff val="116428"/>
            <a:satOff val="-2085"/>
            <a:lumOff val="8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s-ES" sz="2300" kern="1200" dirty="0">
              <a:latin typeface="Avenir LT Std 35 Light" panose="020B0402020203020204" pitchFamily="34" charset="0"/>
              <a:cs typeface="Calibri" panose="020F0502020204030204" pitchFamily="34" charset="0"/>
            </a:rPr>
            <a:t>Plataforma (Arduino / </a:t>
          </a:r>
          <a:r>
            <a:rPr lang="es-ES" sz="2300" kern="1200" dirty="0">
              <a:latin typeface="Avenir LT Std 35 Light" panose="020B0402020203020204" pitchFamily="34" charset="0"/>
            </a:rPr>
            <a:t>Raspberry PI)</a:t>
          </a:r>
          <a:endParaRPr lang="es-ES" sz="2300" kern="1200" dirty="0">
            <a:latin typeface="Avenir LT Std 35 Light" panose="020B0402020203020204" pitchFamily="34" charset="0"/>
            <a:cs typeface="Calibri" panose="020F0502020204030204" pitchFamily="34" charset="0"/>
          </a:endParaRPr>
        </a:p>
      </dsp:txBody>
      <dsp:txXfrm>
        <a:off x="2961286" y="945804"/>
        <a:ext cx="2003118" cy="1287018"/>
      </dsp:txXfrm>
    </dsp:sp>
    <dsp:sp modelId="{77DBC1C6-1EC6-4C04-A088-CAB0BD155FD5}">
      <dsp:nvSpPr>
        <dsp:cNvPr id="0" name=""/>
        <dsp:cNvSpPr/>
      </dsp:nvSpPr>
      <dsp:spPr>
        <a:xfrm rot="21532425">
          <a:off x="5218465" y="1301850"/>
          <a:ext cx="453902" cy="516633"/>
        </a:xfrm>
        <a:prstGeom prst="rightArrow">
          <a:avLst>
            <a:gd name="adj1" fmla="val 60000"/>
            <a:gd name="adj2" fmla="val 50000"/>
          </a:avLst>
        </a:prstGeom>
        <a:solidFill>
          <a:schemeClr val="accent1">
            <a:shade val="90000"/>
            <a:hueOff val="174613"/>
            <a:satOff val="-2991"/>
            <a:lumOff val="1198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s-ES" sz="1900" kern="1200" dirty="0"/>
        </a:p>
      </dsp:txBody>
      <dsp:txXfrm>
        <a:off x="5218478" y="1406515"/>
        <a:ext cx="317731" cy="309979"/>
      </dsp:txXfrm>
    </dsp:sp>
    <dsp:sp modelId="{D1328F9A-4ED8-4DED-A757-21991B6BE66F}">
      <dsp:nvSpPr>
        <dsp:cNvPr id="0" name=""/>
        <dsp:cNvSpPr/>
      </dsp:nvSpPr>
      <dsp:spPr>
        <a:xfrm>
          <a:off x="5860699" y="847976"/>
          <a:ext cx="2083200" cy="1367100"/>
        </a:xfrm>
        <a:prstGeom prst="roundRect">
          <a:avLst>
            <a:gd name="adj" fmla="val 10000"/>
          </a:avLst>
        </a:prstGeom>
        <a:solidFill>
          <a:schemeClr val="accent1">
            <a:shade val="80000"/>
            <a:hueOff val="232855"/>
            <a:satOff val="-4171"/>
            <a:lumOff val="17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s-ES" sz="2300" kern="1200" dirty="0">
              <a:latin typeface="Avenir LT Std 35 Light" panose="020B0402020203020204" pitchFamily="34" charset="0"/>
              <a:cs typeface="Calibri" panose="020F0502020204030204" pitchFamily="34" charset="0"/>
            </a:rPr>
            <a:t>Red / Internet / 4G – 5G</a:t>
          </a:r>
        </a:p>
      </dsp:txBody>
      <dsp:txXfrm>
        <a:off x="5900740" y="888017"/>
        <a:ext cx="2003118" cy="1287018"/>
      </dsp:txXfrm>
    </dsp:sp>
    <dsp:sp modelId="{64B07935-8255-4532-B70F-50CE013043CA}">
      <dsp:nvSpPr>
        <dsp:cNvPr id="0" name=""/>
        <dsp:cNvSpPr/>
      </dsp:nvSpPr>
      <dsp:spPr>
        <a:xfrm rot="68647">
          <a:off x="8146433" y="1302346"/>
          <a:ext cx="429548" cy="516633"/>
        </a:xfrm>
        <a:prstGeom prst="rightArrow">
          <a:avLst>
            <a:gd name="adj1" fmla="val 60000"/>
            <a:gd name="adj2" fmla="val 50000"/>
          </a:avLst>
        </a:prstGeom>
        <a:solidFill>
          <a:schemeClr val="accent1">
            <a:shade val="90000"/>
            <a:hueOff val="349225"/>
            <a:satOff val="-5981"/>
            <a:lumOff val="239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s-ES" sz="1900" kern="1200" dirty="0">
            <a:latin typeface="Calibri" panose="020F0502020204030204" pitchFamily="34" charset="0"/>
            <a:cs typeface="Calibri" panose="020F0502020204030204" pitchFamily="34" charset="0"/>
          </a:endParaRPr>
        </a:p>
      </dsp:txBody>
      <dsp:txXfrm>
        <a:off x="8146446" y="1404386"/>
        <a:ext cx="300684" cy="309979"/>
      </dsp:txXfrm>
    </dsp:sp>
    <dsp:sp modelId="{93A5F429-1753-4A1B-AE83-D2299122C38B}">
      <dsp:nvSpPr>
        <dsp:cNvPr id="0" name=""/>
        <dsp:cNvSpPr/>
      </dsp:nvSpPr>
      <dsp:spPr>
        <a:xfrm>
          <a:off x="8754206" y="905763"/>
          <a:ext cx="2083200" cy="1367100"/>
        </a:xfrm>
        <a:prstGeom prst="roundRect">
          <a:avLst>
            <a:gd name="adj" fmla="val 10000"/>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solidFill>
                <a:schemeClr val="tx1"/>
              </a:solidFill>
              <a:latin typeface="Avenir LT Std 35 Light" panose="020B0402020203020204" pitchFamily="34" charset="0"/>
              <a:cs typeface="Calibri" panose="020F0502020204030204" pitchFamily="34" charset="0"/>
            </a:rPr>
            <a:t>Herramientas de tomas de decisiones: AI + Machine learning</a:t>
          </a:r>
        </a:p>
      </dsp:txBody>
      <dsp:txXfrm>
        <a:off x="8794247" y="945804"/>
        <a:ext cx="2003118" cy="1287018"/>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F1FB5-04E7-4969-A012-D915F8610E0C}">
      <dsp:nvSpPr>
        <dsp:cNvPr id="0" name=""/>
        <dsp:cNvSpPr/>
      </dsp:nvSpPr>
      <dsp:spPr>
        <a:xfrm>
          <a:off x="0" y="12031"/>
          <a:ext cx="10429284" cy="1848231"/>
        </a:xfrm>
        <a:prstGeom prst="roundRect">
          <a:avLst>
            <a:gd name="adj" fmla="val 10000"/>
          </a:avLst>
        </a:prstGeom>
        <a:solidFill>
          <a:schemeClr val="lt1">
            <a:alpha val="90000"/>
            <a:tint val="40000"/>
            <a:hueOff val="0"/>
            <a:satOff val="0"/>
            <a:lumOff val="0"/>
            <a:alphaOff val="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FF00879-3A92-4D0B-84FB-B86D91A57945}">
      <dsp:nvSpPr>
        <dsp:cNvPr id="0" name=""/>
        <dsp:cNvSpPr/>
      </dsp:nvSpPr>
      <dsp:spPr>
        <a:xfrm>
          <a:off x="316229" y="246430"/>
          <a:ext cx="1814226" cy="1355369"/>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A30626-75B3-4DD5-9947-64AC1F3F2782}">
      <dsp:nvSpPr>
        <dsp:cNvPr id="0" name=""/>
        <dsp:cNvSpPr/>
      </dsp:nvSpPr>
      <dsp:spPr>
        <a:xfrm rot="10800000">
          <a:off x="316229"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r>
            <a:rPr lang="es-ES" sz="1700" kern="1200" dirty="0"/>
            <a:t>Sensores de humedad y temperatura para el riego. Se contrastan con la predicción meteorológica</a:t>
          </a:r>
        </a:p>
      </dsp:txBody>
      <dsp:txXfrm rot="10800000">
        <a:off x="372023" y="1848231"/>
        <a:ext cx="1702638" cy="2203155"/>
      </dsp:txXfrm>
    </dsp:sp>
    <dsp:sp modelId="{1DAA83BB-5020-4FEA-8710-EEADEDFD4A2E}">
      <dsp:nvSpPr>
        <dsp:cNvPr id="0" name=""/>
        <dsp:cNvSpPr/>
      </dsp:nvSpPr>
      <dsp:spPr>
        <a:xfrm>
          <a:off x="2311878" y="246430"/>
          <a:ext cx="1814226" cy="1355369"/>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B6E656-F42C-4E30-84C8-618D9D6D6E24}">
      <dsp:nvSpPr>
        <dsp:cNvPr id="0" name=""/>
        <dsp:cNvSpPr/>
      </dsp:nvSpPr>
      <dsp:spPr>
        <a:xfrm rot="10800000">
          <a:off x="231187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r>
            <a:rPr lang="es-ES" sz="1700" kern="1200" dirty="0"/>
            <a:t>Sensores de velocidad, estado del motor, etc en los buses</a:t>
          </a:r>
        </a:p>
      </dsp:txBody>
      <dsp:txXfrm rot="10800000">
        <a:off x="2367672" y="1848231"/>
        <a:ext cx="1702638" cy="2203155"/>
      </dsp:txXfrm>
    </dsp:sp>
    <dsp:sp modelId="{9A6F995A-0315-4141-BF40-D02D0393B16D}">
      <dsp:nvSpPr>
        <dsp:cNvPr id="0" name=""/>
        <dsp:cNvSpPr/>
      </dsp:nvSpPr>
      <dsp:spPr>
        <a:xfrm>
          <a:off x="4307528" y="246430"/>
          <a:ext cx="1814226" cy="1355369"/>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5E44F06-CD77-4AE5-9DA0-64B5927769EE}">
      <dsp:nvSpPr>
        <dsp:cNvPr id="0" name=""/>
        <dsp:cNvSpPr/>
      </dsp:nvSpPr>
      <dsp:spPr>
        <a:xfrm rot="10800000">
          <a:off x="430752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r>
            <a:rPr lang="es-ES" sz="1700" kern="1200" dirty="0"/>
            <a:t>Sensores de llenado, temperatura y movimiento en los contenedores</a:t>
          </a:r>
        </a:p>
      </dsp:txBody>
      <dsp:txXfrm rot="10800000">
        <a:off x="4363322" y="1848231"/>
        <a:ext cx="1702638" cy="2203155"/>
      </dsp:txXfrm>
    </dsp:sp>
    <dsp:sp modelId="{68912EC1-152E-4B0E-868E-D9A70B5D9E03}">
      <dsp:nvSpPr>
        <dsp:cNvPr id="0" name=""/>
        <dsp:cNvSpPr/>
      </dsp:nvSpPr>
      <dsp:spPr>
        <a:xfrm>
          <a:off x="6303178" y="246430"/>
          <a:ext cx="1814226" cy="1355369"/>
        </a:xfrm>
        <a:prstGeom prst="roundRect">
          <a:avLst>
            <a:gd name="adj" fmla="val 10000"/>
          </a:avLst>
        </a:prstGeom>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4AF100-AC58-410E-B65B-0CA0B0F7995B}">
      <dsp:nvSpPr>
        <dsp:cNvPr id="0" name=""/>
        <dsp:cNvSpPr/>
      </dsp:nvSpPr>
      <dsp:spPr>
        <a:xfrm rot="10800000">
          <a:off x="630317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r>
            <a:rPr lang="es-ES" sz="1700" kern="1200" dirty="0"/>
            <a:t>Contadores de personas en los edificios públicos</a:t>
          </a:r>
        </a:p>
      </dsp:txBody>
      <dsp:txXfrm rot="10800000">
        <a:off x="6358972" y="1848231"/>
        <a:ext cx="1702638" cy="2203155"/>
      </dsp:txXfrm>
    </dsp:sp>
    <dsp:sp modelId="{74945C8A-578B-47F9-849B-203712598721}">
      <dsp:nvSpPr>
        <dsp:cNvPr id="0" name=""/>
        <dsp:cNvSpPr/>
      </dsp:nvSpPr>
      <dsp:spPr>
        <a:xfrm>
          <a:off x="8298827" y="246430"/>
          <a:ext cx="1814226" cy="1355369"/>
        </a:xfrm>
        <a:prstGeom prst="roundRect">
          <a:avLst>
            <a:gd name="adj" fmla="val 10000"/>
          </a:avLst>
        </a:prstGeom>
        <a:blipFill rotWithShape="1">
          <a:blip xmlns:r="http://schemas.openxmlformats.org/officeDocument/2006/relationships" r:embed="rId5">
            <a:extLst>
              <a:ext uri="{28A0092B-C50C-407E-A947-70E740481C1C}">
                <a14:useLocalDpi xmlns:a14="http://schemas.microsoft.com/office/drawing/2010/main" val="0"/>
              </a:ext>
            </a:extLst>
          </a:blip>
          <a:stretch>
            <a:fillRect/>
          </a:stretch>
        </a:blip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BF32D0-8C94-44CD-8E73-FD6882702EEF}">
      <dsp:nvSpPr>
        <dsp:cNvPr id="0" name=""/>
        <dsp:cNvSpPr/>
      </dsp:nvSpPr>
      <dsp:spPr>
        <a:xfrm rot="10800000">
          <a:off x="8298827"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r>
            <a:rPr lang="es-ES" sz="1700" kern="1200" dirty="0"/>
            <a:t>Contadores de paso de vehículos en los cruces</a:t>
          </a:r>
        </a:p>
      </dsp:txBody>
      <dsp:txXfrm rot="10800000">
        <a:off x="8354621" y="1848231"/>
        <a:ext cx="1702638" cy="2203155"/>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701CC3-AE89-44C6-8157-CAB535B8A6C0}">
      <dsp:nvSpPr>
        <dsp:cNvPr id="0" name=""/>
        <dsp:cNvSpPr/>
      </dsp:nvSpPr>
      <dsp:spPr>
        <a:xfrm>
          <a:off x="0" y="0"/>
          <a:ext cx="10429284" cy="1848231"/>
        </a:xfrm>
        <a:prstGeom prst="roundRect">
          <a:avLst>
            <a:gd name="adj" fmla="val 10000"/>
          </a:avLst>
        </a:prstGeom>
        <a:solidFill>
          <a:schemeClr val="lt1">
            <a:alpha val="90000"/>
            <a:tint val="40000"/>
            <a:hueOff val="0"/>
            <a:satOff val="0"/>
            <a:lumOff val="0"/>
            <a:alphaOff val="0"/>
          </a:schemeClr>
        </a:solidFill>
        <a:ln w="12700" cap="flat" cmpd="sng" algn="ctr">
          <a:solidFill>
            <a:schemeClr val="accent6">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7A73A66-34E7-4045-9E77-35DCC2152F29}">
      <dsp:nvSpPr>
        <dsp:cNvPr id="0" name=""/>
        <dsp:cNvSpPr/>
      </dsp:nvSpPr>
      <dsp:spPr>
        <a:xfrm>
          <a:off x="316229" y="246430"/>
          <a:ext cx="1814226" cy="1355369"/>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FA33FB-60C2-494F-87D3-3260F37C2E39}">
      <dsp:nvSpPr>
        <dsp:cNvPr id="0" name=""/>
        <dsp:cNvSpPr/>
      </dsp:nvSpPr>
      <dsp:spPr>
        <a:xfrm rot="10800000">
          <a:off x="316229"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Medición de calidad del aire en varios puntos de la ciudad (polen, CO, CO2, …)</a:t>
          </a:r>
        </a:p>
      </dsp:txBody>
      <dsp:txXfrm rot="10800000">
        <a:off x="372023" y="1848231"/>
        <a:ext cx="1702638" cy="2203155"/>
      </dsp:txXfrm>
    </dsp:sp>
    <dsp:sp modelId="{672E45F6-BBFE-46F7-8765-0791A2C576A3}">
      <dsp:nvSpPr>
        <dsp:cNvPr id="0" name=""/>
        <dsp:cNvSpPr/>
      </dsp:nvSpPr>
      <dsp:spPr>
        <a:xfrm>
          <a:off x="2311878" y="246430"/>
          <a:ext cx="1814226" cy="1355369"/>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E50B858-2765-417E-8653-8CB9DF98FE0C}">
      <dsp:nvSpPr>
        <dsp:cNvPr id="0" name=""/>
        <dsp:cNvSpPr/>
      </dsp:nvSpPr>
      <dsp:spPr>
        <a:xfrm rot="10800000">
          <a:off x="231187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Medición de calidad del agua en todos los distritos</a:t>
          </a:r>
        </a:p>
      </dsp:txBody>
      <dsp:txXfrm rot="10800000">
        <a:off x="2367672" y="1848231"/>
        <a:ext cx="1702638" cy="2203155"/>
      </dsp:txXfrm>
    </dsp:sp>
    <dsp:sp modelId="{569EA94C-408F-4607-8DD3-85A968509727}">
      <dsp:nvSpPr>
        <dsp:cNvPr id="0" name=""/>
        <dsp:cNvSpPr/>
      </dsp:nvSpPr>
      <dsp:spPr>
        <a:xfrm>
          <a:off x="4307528" y="246430"/>
          <a:ext cx="1814226" cy="1355369"/>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tretch>
            <a:fillRect/>
          </a:stretch>
        </a:blip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BB160B-D23B-4832-9E84-44205EA26A5C}">
      <dsp:nvSpPr>
        <dsp:cNvPr id="0" name=""/>
        <dsp:cNvSpPr/>
      </dsp:nvSpPr>
      <dsp:spPr>
        <a:xfrm rot="10800000">
          <a:off x="430752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Medición del ruido en diferentes puntos</a:t>
          </a:r>
        </a:p>
      </dsp:txBody>
      <dsp:txXfrm rot="10800000">
        <a:off x="4363322" y="1848231"/>
        <a:ext cx="1702638" cy="2203155"/>
      </dsp:txXfrm>
    </dsp:sp>
    <dsp:sp modelId="{0415D11A-48C2-46A6-B32C-664A5889444C}">
      <dsp:nvSpPr>
        <dsp:cNvPr id="0" name=""/>
        <dsp:cNvSpPr/>
      </dsp:nvSpPr>
      <dsp:spPr>
        <a:xfrm>
          <a:off x="6303178" y="246430"/>
          <a:ext cx="1814226" cy="1355369"/>
        </a:xfrm>
        <a:prstGeom prst="roundRect">
          <a:avLst>
            <a:gd name="adj" fmla="val 10000"/>
          </a:avLst>
        </a:prstGeom>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E453F-F5BB-4FAF-96AA-66DD98077BC3}">
      <dsp:nvSpPr>
        <dsp:cNvPr id="0" name=""/>
        <dsp:cNvSpPr/>
      </dsp:nvSpPr>
      <dsp:spPr>
        <a:xfrm rot="10800000">
          <a:off x="6303178"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Medición del consumo energético de edificios municipales</a:t>
          </a:r>
        </a:p>
      </dsp:txBody>
      <dsp:txXfrm rot="10800000">
        <a:off x="6358972" y="1848231"/>
        <a:ext cx="1702638" cy="2203155"/>
      </dsp:txXfrm>
    </dsp:sp>
    <dsp:sp modelId="{BAFBD851-0174-4848-A6FC-535EC72AEC91}">
      <dsp:nvSpPr>
        <dsp:cNvPr id="0" name=""/>
        <dsp:cNvSpPr/>
      </dsp:nvSpPr>
      <dsp:spPr>
        <a:xfrm>
          <a:off x="8298827" y="246430"/>
          <a:ext cx="1814226" cy="1355369"/>
        </a:xfrm>
        <a:prstGeom prst="roundRect">
          <a:avLst>
            <a:gd name="adj" fmla="val 10000"/>
          </a:avLst>
        </a:prstGeom>
        <a:blipFill rotWithShape="1">
          <a:blip xmlns:r="http://schemas.openxmlformats.org/officeDocument/2006/relationships" r:embed="rId5">
            <a:extLst>
              <a:ext uri="{28A0092B-C50C-407E-A947-70E740481C1C}">
                <a14:useLocalDpi xmlns:a14="http://schemas.microsoft.com/office/drawing/2010/main" val="0"/>
              </a:ext>
            </a:extLst>
          </a:blip>
          <a:stretch>
            <a:fillRect/>
          </a:stretch>
        </a:blip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E9DF10-3558-41AD-9628-60BA6C85F344}">
      <dsp:nvSpPr>
        <dsp:cNvPr id="0" name=""/>
        <dsp:cNvSpPr/>
      </dsp:nvSpPr>
      <dsp:spPr>
        <a:xfrm rot="10800000">
          <a:off x="8298827" y="1848231"/>
          <a:ext cx="1814226" cy="2258949"/>
        </a:xfrm>
        <a:prstGeom prst="round2SameRect">
          <a:avLst>
            <a:gd name="adj1" fmla="val 10500"/>
            <a:gd name="adj2" fmla="val 0"/>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Medición de la calidad del agua de las piscinas municipales</a:t>
          </a:r>
        </a:p>
      </dsp:txBody>
      <dsp:txXfrm rot="10800000">
        <a:off x="8354621" y="1848231"/>
        <a:ext cx="1702638" cy="2203155"/>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91BA38-432C-4412-B1C0-3B6C37A9B9B6}">
      <dsp:nvSpPr>
        <dsp:cNvPr id="0" name=""/>
        <dsp:cNvSpPr/>
      </dsp:nvSpPr>
      <dsp:spPr>
        <a:xfrm>
          <a:off x="0" y="0"/>
          <a:ext cx="4561542" cy="1828800"/>
        </a:xfrm>
        <a:prstGeom prst="roundRect">
          <a:avLst>
            <a:gd name="adj" fmla="val 10000"/>
          </a:avLst>
        </a:prstGeom>
        <a:solidFill>
          <a:schemeClr val="lt1">
            <a:alpha val="90000"/>
            <a:tint val="40000"/>
            <a:hueOff val="0"/>
            <a:satOff val="0"/>
            <a:lumOff val="0"/>
            <a:alphaOff val="0"/>
          </a:schemeClr>
        </a:solidFill>
        <a:ln w="12700" cap="flat" cmpd="sng" algn="ctr">
          <a:solidFill>
            <a:schemeClr val="dk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6BBF354-9988-4D4B-B229-D4F73DD4DFFF}">
      <dsp:nvSpPr>
        <dsp:cNvPr id="0" name=""/>
        <dsp:cNvSpPr/>
      </dsp:nvSpPr>
      <dsp:spPr>
        <a:xfrm>
          <a:off x="137369" y="243840"/>
          <a:ext cx="2041334" cy="1341120"/>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072B8B-E24F-44A0-A1B6-0141CFAD42CA}">
      <dsp:nvSpPr>
        <dsp:cNvPr id="0" name=""/>
        <dsp:cNvSpPr/>
      </dsp:nvSpPr>
      <dsp:spPr>
        <a:xfrm rot="10800000">
          <a:off x="137369" y="1828799"/>
          <a:ext cx="2041334" cy="2235200"/>
        </a:xfrm>
        <a:prstGeom prst="round2SameRect">
          <a:avLst>
            <a:gd name="adj1" fmla="val 10500"/>
            <a:gd name="adj2" fmla="val 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Análisis inteligente de las cámaras de vídeo (lectura de matrículas, identificación facial, …)</a:t>
          </a:r>
        </a:p>
      </dsp:txBody>
      <dsp:txXfrm rot="10800000">
        <a:off x="200147" y="1828799"/>
        <a:ext cx="1915778" cy="2172422"/>
      </dsp:txXfrm>
    </dsp:sp>
    <dsp:sp modelId="{1251AE94-5044-42D6-874E-BA02BB3A44E3}">
      <dsp:nvSpPr>
        <dsp:cNvPr id="0" name=""/>
        <dsp:cNvSpPr/>
      </dsp:nvSpPr>
      <dsp:spPr>
        <a:xfrm>
          <a:off x="2382837" y="243840"/>
          <a:ext cx="2041334" cy="1341120"/>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743CE6-F309-4447-877F-442FC7C08F41}">
      <dsp:nvSpPr>
        <dsp:cNvPr id="0" name=""/>
        <dsp:cNvSpPr/>
      </dsp:nvSpPr>
      <dsp:spPr>
        <a:xfrm rot="10800000">
          <a:off x="2382837" y="1828799"/>
          <a:ext cx="2041334" cy="2235200"/>
        </a:xfrm>
        <a:prstGeom prst="round2SameRect">
          <a:avLst>
            <a:gd name="adj1" fmla="val 10500"/>
            <a:gd name="adj2" fmla="val 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s-ES" sz="1900" kern="1200" dirty="0"/>
            <a:t>Análisis de movimiento de dispositivos WiFi en redes municipales.</a:t>
          </a:r>
        </a:p>
      </dsp:txBody>
      <dsp:txXfrm rot="10800000">
        <a:off x="2445615" y="1828799"/>
        <a:ext cx="1915778" cy="2172422"/>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680221-F565-480F-8E46-F5FD83DFD16E}">
      <dsp:nvSpPr>
        <dsp:cNvPr id="0" name=""/>
        <dsp:cNvSpPr/>
      </dsp:nvSpPr>
      <dsp:spPr>
        <a:xfrm>
          <a:off x="2187" y="0"/>
          <a:ext cx="4664493" cy="80002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300"/>
            </a:spcAft>
            <a:buNone/>
          </a:pPr>
          <a:r>
            <a:rPr lang="es-ES" sz="1800" kern="1200" dirty="0"/>
            <a:t>IPv4 (3 x 4 octetos)</a:t>
          </a:r>
        </a:p>
        <a:p>
          <a:pPr marL="0" lvl="0" indent="0" algn="ctr" defTabSz="800100">
            <a:lnSpc>
              <a:spcPct val="100000"/>
            </a:lnSpc>
            <a:spcBef>
              <a:spcPct val="0"/>
            </a:spcBef>
            <a:spcAft>
              <a:spcPts val="300"/>
            </a:spcAft>
            <a:buNone/>
          </a:pPr>
          <a:r>
            <a:rPr lang="es-ES" sz="1800" kern="1200" dirty="0"/>
            <a:t>Decimal</a:t>
          </a:r>
        </a:p>
      </dsp:txBody>
      <dsp:txXfrm>
        <a:off x="25619" y="23432"/>
        <a:ext cx="4617629" cy="753162"/>
      </dsp:txXfrm>
    </dsp:sp>
    <dsp:sp modelId="{46B14A3D-E6EC-4796-B60C-145A6E487812}">
      <dsp:nvSpPr>
        <dsp:cNvPr id="0" name=""/>
        <dsp:cNvSpPr/>
      </dsp:nvSpPr>
      <dsp:spPr>
        <a:xfrm>
          <a:off x="5133130" y="0"/>
          <a:ext cx="988872" cy="80002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100000"/>
            </a:lnSpc>
            <a:spcBef>
              <a:spcPct val="0"/>
            </a:spcBef>
            <a:spcAft>
              <a:spcPts val="300"/>
            </a:spcAft>
            <a:buNone/>
          </a:pPr>
          <a:endParaRPr lang="es-ES" sz="1400" kern="1200" dirty="0"/>
        </a:p>
      </dsp:txBody>
      <dsp:txXfrm>
        <a:off x="5133130" y="160005"/>
        <a:ext cx="748864" cy="480016"/>
      </dsp:txXfrm>
    </dsp:sp>
    <dsp:sp modelId="{316D12B2-7CBF-475F-A77F-0C5E788D2FCF}">
      <dsp:nvSpPr>
        <dsp:cNvPr id="0" name=""/>
        <dsp:cNvSpPr/>
      </dsp:nvSpPr>
      <dsp:spPr>
        <a:xfrm>
          <a:off x="6532478" y="0"/>
          <a:ext cx="4664493" cy="800026"/>
        </a:xfrm>
        <a:prstGeom prst="roundRect">
          <a:avLst>
            <a:gd name="adj" fmla="val 10000"/>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ts val="300"/>
            </a:spcAft>
            <a:buNone/>
          </a:pPr>
          <a:r>
            <a:rPr lang="es-ES" sz="1800" kern="1200" dirty="0"/>
            <a:t>IPv6 (4 x 8 octetos)</a:t>
          </a:r>
        </a:p>
        <a:p>
          <a:pPr marL="0" lvl="0" indent="0" algn="ctr" defTabSz="800100">
            <a:lnSpc>
              <a:spcPct val="100000"/>
            </a:lnSpc>
            <a:spcBef>
              <a:spcPct val="0"/>
            </a:spcBef>
            <a:spcAft>
              <a:spcPts val="300"/>
            </a:spcAft>
            <a:buNone/>
          </a:pPr>
          <a:r>
            <a:rPr lang="es-ES" sz="1800" kern="1200" dirty="0"/>
            <a:t>Hexadecimal</a:t>
          </a:r>
        </a:p>
      </dsp:txBody>
      <dsp:txXfrm>
        <a:off x="6555910" y="23432"/>
        <a:ext cx="4617629" cy="7531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7643FE-F9D3-41E2-B961-8794F58A0167}">
      <dsp:nvSpPr>
        <dsp:cNvPr id="0" name=""/>
        <dsp:cNvSpPr/>
      </dsp:nvSpPr>
      <dsp:spPr>
        <a:xfrm>
          <a:off x="0" y="1318291"/>
          <a:ext cx="11394829" cy="1757722"/>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67E68B-2DF4-4618-8ED7-C6C3C25619B1}">
      <dsp:nvSpPr>
        <dsp:cNvPr id="0" name=""/>
        <dsp:cNvSpPr/>
      </dsp:nvSpPr>
      <dsp:spPr>
        <a:xfrm>
          <a:off x="1857" y="0"/>
          <a:ext cx="1278162"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s-ES" sz="1600" kern="1200" dirty="0"/>
            <a:t>1994</a:t>
          </a:r>
          <a:endParaRPr lang="en-US" sz="1600" kern="1200" dirty="0"/>
        </a:p>
        <a:p>
          <a:pPr marL="57150" lvl="1" indent="-57150" algn="l" defTabSz="466725">
            <a:lnSpc>
              <a:spcPct val="90000"/>
            </a:lnSpc>
            <a:spcBef>
              <a:spcPct val="0"/>
            </a:spcBef>
            <a:spcAft>
              <a:spcPct val="15000"/>
            </a:spcAft>
            <a:buChar char="•"/>
          </a:pPr>
          <a:r>
            <a:rPr lang="es-ES" sz="1050" kern="1200" dirty="0"/>
            <a:t>Da forma a su modelo de negocio: Cadabra</a:t>
          </a:r>
        </a:p>
        <a:p>
          <a:pPr marL="57150" lvl="1" indent="-57150" algn="l" defTabSz="466725">
            <a:lnSpc>
              <a:spcPct val="90000"/>
            </a:lnSpc>
            <a:spcBef>
              <a:spcPct val="0"/>
            </a:spcBef>
            <a:spcAft>
              <a:spcPct val="15000"/>
            </a:spcAft>
            <a:buChar char="•"/>
          </a:pPr>
          <a:r>
            <a:rPr lang="es-ES" sz="1050" kern="1200" dirty="0"/>
            <a:t>Jeff Preston, 33 años.</a:t>
          </a:r>
        </a:p>
      </dsp:txBody>
      <dsp:txXfrm>
        <a:off x="1857" y="0"/>
        <a:ext cx="1278162" cy="1757722"/>
      </dsp:txXfrm>
    </dsp:sp>
    <dsp:sp modelId="{0BBDA9FC-7A1C-4B6A-925B-3DFF68A14BB9}">
      <dsp:nvSpPr>
        <dsp:cNvPr id="0" name=""/>
        <dsp:cNvSpPr/>
      </dsp:nvSpPr>
      <dsp:spPr>
        <a:xfrm>
          <a:off x="421223"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504B35-370B-40AA-9EE0-2AF848C998A1}">
      <dsp:nvSpPr>
        <dsp:cNvPr id="0" name=""/>
        <dsp:cNvSpPr/>
      </dsp:nvSpPr>
      <dsp:spPr>
        <a:xfrm>
          <a:off x="1343928" y="2636583"/>
          <a:ext cx="3541277"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1">
          <a:noAutofit/>
        </a:bodyPr>
        <a:lstStyle/>
        <a:p>
          <a:pPr marL="0" lvl="0" indent="0" algn="l" defTabSz="711200">
            <a:lnSpc>
              <a:spcPct val="90000"/>
            </a:lnSpc>
            <a:spcBef>
              <a:spcPct val="0"/>
            </a:spcBef>
            <a:spcAft>
              <a:spcPct val="35000"/>
            </a:spcAft>
            <a:buNone/>
          </a:pPr>
          <a:r>
            <a:rPr lang="es-ES" sz="1600" kern="1200" dirty="0"/>
            <a:t>1995</a:t>
          </a:r>
        </a:p>
        <a:p>
          <a:pPr marL="57150" lvl="1" indent="-57150" algn="l" defTabSz="466725">
            <a:lnSpc>
              <a:spcPct val="90000"/>
            </a:lnSpc>
            <a:spcBef>
              <a:spcPct val="0"/>
            </a:spcBef>
            <a:spcAft>
              <a:spcPct val="15000"/>
            </a:spcAft>
            <a:buChar char="•"/>
          </a:pPr>
          <a:r>
            <a:rPr lang="es-ES" sz="1050" kern="1200" dirty="0"/>
            <a:t>Sede en Seattle, Washington</a:t>
          </a:r>
        </a:p>
        <a:p>
          <a:pPr marL="57150" lvl="1" indent="-57150" algn="l" defTabSz="466725">
            <a:lnSpc>
              <a:spcPct val="90000"/>
            </a:lnSpc>
            <a:spcBef>
              <a:spcPct val="0"/>
            </a:spcBef>
            <a:spcAft>
              <a:spcPct val="15000"/>
            </a:spcAft>
            <a:buChar char="•"/>
          </a:pPr>
          <a:r>
            <a:rPr lang="es-ES" sz="1050" kern="1200" dirty="0"/>
            <a:t>Jeff Bezos (1º Preston)</a:t>
          </a:r>
        </a:p>
        <a:p>
          <a:pPr marL="57150" lvl="1" indent="-57150" algn="l" defTabSz="466725">
            <a:lnSpc>
              <a:spcPct val="90000"/>
            </a:lnSpc>
            <a:spcBef>
              <a:spcPct val="0"/>
            </a:spcBef>
            <a:spcAft>
              <a:spcPct val="15000"/>
            </a:spcAft>
            <a:buChar char="•"/>
          </a:pPr>
          <a:r>
            <a:rPr lang="es-ES" sz="1050" kern="1200" dirty="0"/>
            <a:t>Nace  16 de Julio de 1995 Amazon.com (1º Cadabra, 2º Relentless)</a:t>
          </a:r>
        </a:p>
        <a:p>
          <a:pPr marL="57150" lvl="1" indent="-57150" algn="l" defTabSz="466725">
            <a:lnSpc>
              <a:spcPct val="90000"/>
            </a:lnSpc>
            <a:spcBef>
              <a:spcPct val="0"/>
            </a:spcBef>
            <a:spcAft>
              <a:spcPct val="15000"/>
            </a:spcAft>
            <a:buChar char="•"/>
          </a:pPr>
          <a:r>
            <a:rPr lang="es-ES" sz="1050" kern="1200" dirty="0"/>
            <a:t>300,000 USD de la jubilación de sus padres adoptivos.</a:t>
          </a:r>
        </a:p>
        <a:p>
          <a:pPr marL="57150" lvl="1" indent="-57150" algn="l" defTabSz="466725">
            <a:lnSpc>
              <a:spcPct val="90000"/>
            </a:lnSpc>
            <a:spcBef>
              <a:spcPct val="0"/>
            </a:spcBef>
            <a:spcAft>
              <a:spcPct val="15000"/>
            </a:spcAft>
            <a:buChar char="•"/>
          </a:pPr>
          <a:r>
            <a:rPr lang="es-ES" sz="1050" kern="1200" dirty="0"/>
            <a:t>Una librería online. Libros, poco coste, mucha demanda.</a:t>
          </a:r>
        </a:p>
        <a:p>
          <a:pPr marL="57150" lvl="1" indent="-57150" algn="l" defTabSz="466725">
            <a:lnSpc>
              <a:spcPct val="90000"/>
            </a:lnSpc>
            <a:spcBef>
              <a:spcPct val="0"/>
            </a:spcBef>
            <a:spcAft>
              <a:spcPct val="15000"/>
            </a:spcAft>
            <a:buChar char="•"/>
          </a:pPr>
          <a:r>
            <a:rPr lang="es-ES" sz="1050" kern="1200" dirty="0"/>
            <a:t>30 días más tarde Amazon.com sin promoción vendía libros en todo EEUU y en 45 países.</a:t>
          </a:r>
        </a:p>
      </dsp:txBody>
      <dsp:txXfrm>
        <a:off x="1343928" y="2636583"/>
        <a:ext cx="3541277" cy="1757722"/>
      </dsp:txXfrm>
    </dsp:sp>
    <dsp:sp modelId="{66CFA31B-D7C1-49F3-99F8-C93730F1072F}">
      <dsp:nvSpPr>
        <dsp:cNvPr id="0" name=""/>
        <dsp:cNvSpPr/>
      </dsp:nvSpPr>
      <dsp:spPr>
        <a:xfrm>
          <a:off x="2894851"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0E21BB-6D04-41C0-87C9-E5C1528B23D2}">
      <dsp:nvSpPr>
        <dsp:cNvPr id="0" name=""/>
        <dsp:cNvSpPr/>
      </dsp:nvSpPr>
      <dsp:spPr>
        <a:xfrm>
          <a:off x="4949113" y="0"/>
          <a:ext cx="1278162"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s-ES" sz="1600" kern="1200" dirty="0"/>
            <a:t>1996</a:t>
          </a:r>
        </a:p>
        <a:p>
          <a:pPr marL="57150" lvl="1" indent="-57150" algn="l" defTabSz="466725">
            <a:lnSpc>
              <a:spcPct val="90000"/>
            </a:lnSpc>
            <a:spcBef>
              <a:spcPct val="0"/>
            </a:spcBef>
            <a:spcAft>
              <a:spcPct val="15000"/>
            </a:spcAft>
            <a:buChar char="•"/>
          </a:pPr>
          <a:r>
            <a:rPr lang="es-ES" sz="1050" kern="1200" dirty="0"/>
            <a:t>La web, más de 2,000 visitantes al día. </a:t>
          </a:r>
        </a:p>
      </dsp:txBody>
      <dsp:txXfrm>
        <a:off x="4949113" y="0"/>
        <a:ext cx="1278162" cy="1757722"/>
      </dsp:txXfrm>
    </dsp:sp>
    <dsp:sp modelId="{147789C0-6FAE-4CF8-856B-9510292FB384}">
      <dsp:nvSpPr>
        <dsp:cNvPr id="0" name=""/>
        <dsp:cNvSpPr/>
      </dsp:nvSpPr>
      <dsp:spPr>
        <a:xfrm>
          <a:off x="5368479"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A28608-D99C-4380-8818-D374ACB700CA}">
      <dsp:nvSpPr>
        <dsp:cNvPr id="0" name=""/>
        <dsp:cNvSpPr/>
      </dsp:nvSpPr>
      <dsp:spPr>
        <a:xfrm>
          <a:off x="6291184" y="2636583"/>
          <a:ext cx="1278162"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1">
          <a:noAutofit/>
        </a:bodyPr>
        <a:lstStyle/>
        <a:p>
          <a:pPr marL="0" lvl="0" indent="0" algn="l" defTabSz="711200">
            <a:lnSpc>
              <a:spcPct val="90000"/>
            </a:lnSpc>
            <a:spcBef>
              <a:spcPct val="0"/>
            </a:spcBef>
            <a:spcAft>
              <a:spcPct val="35000"/>
            </a:spcAft>
            <a:buNone/>
          </a:pPr>
          <a:r>
            <a:rPr lang="es-ES" sz="1600" kern="1200" dirty="0"/>
            <a:t>1997 </a:t>
          </a:r>
        </a:p>
        <a:p>
          <a:pPr marL="57150" lvl="1" indent="-57150" algn="l" defTabSz="466725">
            <a:lnSpc>
              <a:spcPct val="90000"/>
            </a:lnSpc>
            <a:spcBef>
              <a:spcPct val="0"/>
            </a:spcBef>
            <a:spcAft>
              <a:spcPct val="15000"/>
            </a:spcAft>
            <a:buChar char="•"/>
          </a:pPr>
          <a:r>
            <a:rPr lang="es-ES" sz="1050" kern="1200" dirty="0"/>
            <a:t>La web tenía más de 2,000 x 25 = 50,000 visitantes al día.</a:t>
          </a:r>
        </a:p>
        <a:p>
          <a:pPr marL="57150" lvl="1" indent="-57150" algn="l" defTabSz="466725">
            <a:lnSpc>
              <a:spcPct val="90000"/>
            </a:lnSpc>
            <a:spcBef>
              <a:spcPct val="0"/>
            </a:spcBef>
            <a:spcAft>
              <a:spcPct val="15000"/>
            </a:spcAft>
            <a:buChar char="•"/>
          </a:pPr>
          <a:r>
            <a:rPr lang="es-ES" sz="1050" b="0" i="0" kern="1200" dirty="0"/>
            <a:t>OPS. Salió a bolsa el 15 de mayo,  proporcionando los fondos necesarios para su expansión.</a:t>
          </a:r>
          <a:endParaRPr lang="es-ES" sz="1050" kern="1200" dirty="0"/>
        </a:p>
      </dsp:txBody>
      <dsp:txXfrm>
        <a:off x="6291184" y="2636583"/>
        <a:ext cx="1278162" cy="1757722"/>
      </dsp:txXfrm>
    </dsp:sp>
    <dsp:sp modelId="{0C4FEBFB-A036-4E8D-A1D2-D45748F64C5E}">
      <dsp:nvSpPr>
        <dsp:cNvPr id="0" name=""/>
        <dsp:cNvSpPr/>
      </dsp:nvSpPr>
      <dsp:spPr>
        <a:xfrm>
          <a:off x="6710550"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0A2595-B0A2-4D6C-8A2D-2F3F3BC71098}">
      <dsp:nvSpPr>
        <dsp:cNvPr id="0" name=""/>
        <dsp:cNvSpPr/>
      </dsp:nvSpPr>
      <dsp:spPr>
        <a:xfrm>
          <a:off x="7633255" y="0"/>
          <a:ext cx="1278162"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s-ES" sz="1600" kern="1200" dirty="0"/>
            <a:t>1998</a:t>
          </a:r>
        </a:p>
        <a:p>
          <a:pPr marL="57150" lvl="1" indent="-57150" algn="l" defTabSz="466725">
            <a:lnSpc>
              <a:spcPct val="90000"/>
            </a:lnSpc>
            <a:spcBef>
              <a:spcPct val="0"/>
            </a:spcBef>
            <a:spcAft>
              <a:spcPct val="15000"/>
            </a:spcAft>
            <a:buChar char="•"/>
          </a:pPr>
          <a:r>
            <a:rPr lang="es-ES" sz="1050" kern="1200" dirty="0"/>
            <a:t>Música en CD, vídeos en DVD, software y videojuegos.</a:t>
          </a:r>
        </a:p>
      </dsp:txBody>
      <dsp:txXfrm>
        <a:off x="7633255" y="0"/>
        <a:ext cx="1278162" cy="1757722"/>
      </dsp:txXfrm>
    </dsp:sp>
    <dsp:sp modelId="{B7517367-5D36-4A0E-8C15-85D6C512D9CA}">
      <dsp:nvSpPr>
        <dsp:cNvPr id="0" name=""/>
        <dsp:cNvSpPr/>
      </dsp:nvSpPr>
      <dsp:spPr>
        <a:xfrm>
          <a:off x="8052621"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F9BC1-9693-4DF9-B1D3-A8437C6FBAA4}">
      <dsp:nvSpPr>
        <dsp:cNvPr id="0" name=""/>
        <dsp:cNvSpPr/>
      </dsp:nvSpPr>
      <dsp:spPr>
        <a:xfrm>
          <a:off x="8975326" y="2636583"/>
          <a:ext cx="1278162" cy="1757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1">
          <a:noAutofit/>
        </a:bodyPr>
        <a:lstStyle/>
        <a:p>
          <a:pPr marL="0" lvl="0" indent="0" algn="l" defTabSz="711200">
            <a:lnSpc>
              <a:spcPct val="90000"/>
            </a:lnSpc>
            <a:spcBef>
              <a:spcPct val="0"/>
            </a:spcBef>
            <a:spcAft>
              <a:spcPct val="35000"/>
            </a:spcAft>
            <a:buNone/>
          </a:pPr>
          <a:r>
            <a:rPr lang="es-ES" sz="1600" kern="1200" dirty="0"/>
            <a:t>1999</a:t>
          </a:r>
        </a:p>
        <a:p>
          <a:pPr marL="57150" lvl="1" indent="-57150" algn="l" defTabSz="466725">
            <a:lnSpc>
              <a:spcPct val="90000"/>
            </a:lnSpc>
            <a:spcBef>
              <a:spcPct val="0"/>
            </a:spcBef>
            <a:spcAft>
              <a:spcPct val="15000"/>
            </a:spcAft>
            <a:buChar char="•"/>
          </a:pPr>
          <a:r>
            <a:rPr lang="es-ES" sz="1050" kern="1200" dirty="0"/>
            <a:t>Diciembre la revista Time nombraba a Jeff Bezos Personaje del Año y le aclamaban como "el rey del cibercomercio".</a:t>
          </a:r>
        </a:p>
      </dsp:txBody>
      <dsp:txXfrm>
        <a:off x="8975326" y="2636583"/>
        <a:ext cx="1278162" cy="1757722"/>
      </dsp:txXfrm>
    </dsp:sp>
    <dsp:sp modelId="{993C501E-ACB3-4DDC-B913-EA8A36BD4F9E}">
      <dsp:nvSpPr>
        <dsp:cNvPr id="0" name=""/>
        <dsp:cNvSpPr/>
      </dsp:nvSpPr>
      <dsp:spPr>
        <a:xfrm>
          <a:off x="9394692" y="1977437"/>
          <a:ext cx="439430" cy="43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DA9D5B-CFA1-40F1-9689-1AC77E0B1BF6}">
      <dsp:nvSpPr>
        <dsp:cNvPr id="0" name=""/>
        <dsp:cNvSpPr/>
      </dsp:nvSpPr>
      <dsp:spPr>
        <a:xfrm>
          <a:off x="5656" y="105897"/>
          <a:ext cx="2788071" cy="756000"/>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kern="1200" dirty="0"/>
            <a:t>2008 - 2012 - 2017</a:t>
          </a:r>
        </a:p>
      </dsp:txBody>
      <dsp:txXfrm>
        <a:off x="383656" y="105897"/>
        <a:ext cx="2032071" cy="756000"/>
      </dsp:txXfrm>
    </dsp:sp>
    <dsp:sp modelId="{8BBBA088-DF55-4B48-A0F7-98047E1522BC}">
      <dsp:nvSpPr>
        <dsp:cNvPr id="0" name=""/>
        <dsp:cNvSpPr/>
      </dsp:nvSpPr>
      <dsp:spPr>
        <a:xfrm>
          <a:off x="5656" y="956397"/>
          <a:ext cx="2230457" cy="3289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s-ES" sz="1400" kern="1200" dirty="0"/>
            <a:t>El gobierno de los Estados Unidos ordenó el despliegue de IPv6 por todas sus agencias federales.</a:t>
          </a:r>
        </a:p>
        <a:p>
          <a:pPr marL="114300" lvl="1" indent="-114300" algn="l" defTabSz="622300">
            <a:lnSpc>
              <a:spcPct val="90000"/>
            </a:lnSpc>
            <a:spcBef>
              <a:spcPct val="0"/>
            </a:spcBef>
            <a:spcAft>
              <a:spcPct val="15000"/>
            </a:spcAft>
            <a:buChar char="•"/>
          </a:pPr>
          <a:r>
            <a:rPr lang="es-ES" sz="1400" kern="1200" dirty="0"/>
            <a:t>El 6 de junio de 2012 a las 00:00 GMT, se lleva a cabo el Lanzamiento Mundial de IPv6.</a:t>
          </a:r>
        </a:p>
        <a:p>
          <a:pPr marL="114300" lvl="1" indent="-114300" algn="l" defTabSz="622300">
            <a:lnSpc>
              <a:spcPct val="90000"/>
            </a:lnSpc>
            <a:spcBef>
              <a:spcPct val="0"/>
            </a:spcBef>
            <a:spcAft>
              <a:spcPct val="15000"/>
            </a:spcAft>
            <a:buChar char="•"/>
          </a:pPr>
          <a:r>
            <a:rPr lang="es-ES" sz="1400" kern="1200" dirty="0"/>
            <a:t>2017 - Las conexiones en ipv6 representaban un 9.67% del total. BitTorrent</a:t>
          </a:r>
        </a:p>
      </dsp:txBody>
      <dsp:txXfrm>
        <a:off x="5656" y="956397"/>
        <a:ext cx="2230457" cy="3289042"/>
      </dsp:txXfrm>
    </dsp:sp>
    <dsp:sp modelId="{856BD50A-316B-4209-B850-0C51613511A0}">
      <dsp:nvSpPr>
        <dsp:cNvPr id="0" name=""/>
        <dsp:cNvSpPr/>
      </dsp:nvSpPr>
      <dsp:spPr>
        <a:xfrm>
          <a:off x="2577728" y="105897"/>
          <a:ext cx="2788071" cy="756000"/>
        </a:xfrm>
        <a:prstGeom prst="chevron">
          <a:avLst/>
        </a:prstGeom>
        <a:solidFill>
          <a:schemeClr val="accent1">
            <a:shade val="80000"/>
            <a:hueOff val="116428"/>
            <a:satOff val="-2085"/>
            <a:lumOff val="8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kern="1200" dirty="0"/>
            <a:t>2019 - 2020</a:t>
          </a:r>
        </a:p>
      </dsp:txBody>
      <dsp:txXfrm>
        <a:off x="2955728" y="105897"/>
        <a:ext cx="2032071" cy="756000"/>
      </dsp:txXfrm>
    </dsp:sp>
    <dsp:sp modelId="{8661F058-E4BA-42F9-B816-B069A1EFD944}">
      <dsp:nvSpPr>
        <dsp:cNvPr id="0" name=""/>
        <dsp:cNvSpPr/>
      </dsp:nvSpPr>
      <dsp:spPr>
        <a:xfrm>
          <a:off x="2577728" y="956397"/>
          <a:ext cx="2230457" cy="3289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s-ES" sz="1400" kern="1200" dirty="0"/>
            <a:t>Junio 2019 La implantación de IPv6 en España en es del 2.28%.</a:t>
          </a:r>
        </a:p>
        <a:p>
          <a:pPr marL="114300" lvl="1" indent="-114300" algn="l" defTabSz="622300">
            <a:lnSpc>
              <a:spcPct val="90000"/>
            </a:lnSpc>
            <a:spcBef>
              <a:spcPct val="0"/>
            </a:spcBef>
            <a:spcAft>
              <a:spcPct val="15000"/>
            </a:spcAft>
            <a:buChar char="•"/>
          </a:pPr>
          <a:r>
            <a:rPr lang="es-ES" sz="1400" kern="1200" dirty="0"/>
            <a:t>La adopción en el mundo es del 29,6%.​</a:t>
          </a:r>
        </a:p>
        <a:p>
          <a:pPr marL="114300" lvl="1" indent="-114300" algn="l" defTabSz="622300">
            <a:lnSpc>
              <a:spcPct val="90000"/>
            </a:lnSpc>
            <a:spcBef>
              <a:spcPct val="0"/>
            </a:spcBef>
            <a:spcAft>
              <a:spcPct val="15000"/>
            </a:spcAft>
            <a:buChar char="•"/>
          </a:pPr>
          <a:r>
            <a:rPr lang="es-ES" sz="1400" kern="1200" dirty="0"/>
            <a:t>La incorporación es irregular. Las zonas más adaptadas son América, algunos países Europeos, el sur de Asia y Australia.</a:t>
          </a:r>
        </a:p>
      </dsp:txBody>
      <dsp:txXfrm>
        <a:off x="2577728" y="956397"/>
        <a:ext cx="2230457" cy="3289042"/>
      </dsp:txXfrm>
    </dsp:sp>
    <dsp:sp modelId="{7917DEEF-41A2-460A-8B8C-89C3C656C894}">
      <dsp:nvSpPr>
        <dsp:cNvPr id="0" name=""/>
        <dsp:cNvSpPr/>
      </dsp:nvSpPr>
      <dsp:spPr>
        <a:xfrm>
          <a:off x="5149800" y="105897"/>
          <a:ext cx="2788071" cy="756000"/>
        </a:xfrm>
        <a:prstGeom prst="chevron">
          <a:avLst/>
        </a:prstGeom>
        <a:solidFill>
          <a:schemeClr val="accent1">
            <a:shade val="80000"/>
            <a:hueOff val="232855"/>
            <a:satOff val="-4171"/>
            <a:lumOff val="17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kern="1200" dirty="0"/>
            <a:t>2023</a:t>
          </a:r>
        </a:p>
      </dsp:txBody>
      <dsp:txXfrm>
        <a:off x="5527800" y="105897"/>
        <a:ext cx="2032071" cy="756000"/>
      </dsp:txXfrm>
    </dsp:sp>
    <dsp:sp modelId="{487FCB66-D3BE-4E22-8396-73B0EB662848}">
      <dsp:nvSpPr>
        <dsp:cNvPr id="0" name=""/>
        <dsp:cNvSpPr/>
      </dsp:nvSpPr>
      <dsp:spPr>
        <a:xfrm>
          <a:off x="5149800" y="956397"/>
          <a:ext cx="2230457" cy="3289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s-ES" sz="1400" kern="1200" dirty="0"/>
            <a:t>A nivel global: la tasa de adopción de IPv6 se sitúa en torno al 45% (2 de diciembre de 2023 - Google).</a:t>
          </a:r>
        </a:p>
        <a:p>
          <a:pPr marL="114300" lvl="1" indent="-114300" algn="l" defTabSz="622300">
            <a:lnSpc>
              <a:spcPct val="90000"/>
            </a:lnSpc>
            <a:spcBef>
              <a:spcPct val="0"/>
            </a:spcBef>
            <a:spcAft>
              <a:spcPct val="15000"/>
            </a:spcAft>
            <a:buChar char="•"/>
          </a:pPr>
          <a:r>
            <a:rPr lang="es-ES" sz="1400" kern="1200" dirty="0"/>
            <a:t>Por países: </a:t>
          </a:r>
        </a:p>
        <a:p>
          <a:pPr marL="228600" lvl="2" indent="-114300" algn="l" defTabSz="622300">
            <a:lnSpc>
              <a:spcPct val="90000"/>
            </a:lnSpc>
            <a:spcBef>
              <a:spcPct val="0"/>
            </a:spcBef>
            <a:spcAft>
              <a:spcPct val="15000"/>
            </a:spcAft>
            <a:buChar char="•"/>
          </a:pPr>
          <a:r>
            <a:rPr lang="es-ES" sz="1400" kern="1200" dirty="0"/>
            <a:t>India (62%) y Estados Unidos (46%),</a:t>
          </a:r>
        </a:p>
        <a:p>
          <a:pPr marL="228600" lvl="2" indent="-114300" algn="l" defTabSz="622300">
            <a:lnSpc>
              <a:spcPct val="90000"/>
            </a:lnSpc>
            <a:spcBef>
              <a:spcPct val="0"/>
            </a:spcBef>
            <a:spcAft>
              <a:spcPct val="15000"/>
            </a:spcAft>
            <a:buChar char="•"/>
          </a:pPr>
          <a:r>
            <a:rPr lang="es-ES" sz="1400" kern="1200" dirty="0"/>
            <a:t>España (menos del 6%).</a:t>
          </a:r>
        </a:p>
        <a:p>
          <a:pPr marL="114300" lvl="1" indent="-114300" algn="l" defTabSz="622300">
            <a:lnSpc>
              <a:spcPct val="90000"/>
            </a:lnSpc>
            <a:spcBef>
              <a:spcPct val="0"/>
            </a:spcBef>
            <a:spcAft>
              <a:spcPct val="15000"/>
            </a:spcAft>
            <a:buChar char="•"/>
          </a:pPr>
          <a:r>
            <a:rPr lang="es-ES" sz="1400" kern="1200" dirty="0"/>
            <a:t>Por regiones: </a:t>
          </a:r>
        </a:p>
        <a:p>
          <a:pPr marL="228600" lvl="2" indent="-114300" algn="l" defTabSz="622300">
            <a:lnSpc>
              <a:spcPct val="90000"/>
            </a:lnSpc>
            <a:spcBef>
              <a:spcPct val="0"/>
            </a:spcBef>
            <a:spcAft>
              <a:spcPct val="15000"/>
            </a:spcAft>
            <a:buChar char="•"/>
          </a:pPr>
          <a:r>
            <a:rPr lang="es-ES" sz="1400" kern="1200" dirty="0"/>
            <a:t>Europa tiene una tasa de adopción superior al 40%.</a:t>
          </a:r>
        </a:p>
      </dsp:txBody>
      <dsp:txXfrm>
        <a:off x="5149800" y="956397"/>
        <a:ext cx="2230457" cy="3289042"/>
      </dsp:txXfrm>
    </dsp:sp>
    <dsp:sp modelId="{0A55BDE6-B174-4893-BEEB-A668CD6C0CC0}">
      <dsp:nvSpPr>
        <dsp:cNvPr id="0" name=""/>
        <dsp:cNvSpPr/>
      </dsp:nvSpPr>
      <dsp:spPr>
        <a:xfrm>
          <a:off x="7721871" y="105897"/>
          <a:ext cx="2788071" cy="756000"/>
        </a:xfrm>
        <a:prstGeom prst="chevron">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kern="1200" dirty="0"/>
            <a:t>2024</a:t>
          </a:r>
        </a:p>
      </dsp:txBody>
      <dsp:txXfrm>
        <a:off x="8099871" y="105897"/>
        <a:ext cx="2032071" cy="756000"/>
      </dsp:txXfrm>
    </dsp:sp>
    <dsp:sp modelId="{71E02D34-369F-4240-B05D-610E51267B54}">
      <dsp:nvSpPr>
        <dsp:cNvPr id="0" name=""/>
        <dsp:cNvSpPr/>
      </dsp:nvSpPr>
      <dsp:spPr>
        <a:xfrm>
          <a:off x="7721871" y="956397"/>
          <a:ext cx="2230457" cy="3289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s-ES" sz="1400" kern="1200" dirty="0"/>
            <a:t>Las tasas de adopción de IPv6 muestran una variación significativa en las distintas regiones:
Adopción global: Aproximadamente el 37,58 % (Cisco IPv6 Lab).</a:t>
          </a:r>
        </a:p>
        <a:p>
          <a:pPr marL="114300" lvl="1" indent="-114300" algn="l" defTabSz="622300">
            <a:lnSpc>
              <a:spcPct val="90000"/>
            </a:lnSpc>
            <a:spcBef>
              <a:spcPct val="0"/>
            </a:spcBef>
            <a:spcAft>
              <a:spcPct val="15000"/>
            </a:spcAft>
            <a:buChar char="•"/>
          </a:pPr>
          <a:r>
            <a:rPr lang="es-ES" sz="1400" kern="1200" dirty="0"/>
            <a:t>India: 66%</a:t>
          </a:r>
        </a:p>
        <a:p>
          <a:pPr marL="114300" lvl="1" indent="-114300" algn="l" defTabSz="622300">
            <a:lnSpc>
              <a:spcPct val="90000"/>
            </a:lnSpc>
            <a:spcBef>
              <a:spcPct val="0"/>
            </a:spcBef>
            <a:spcAft>
              <a:spcPct val="15000"/>
            </a:spcAft>
            <a:buChar char="•"/>
          </a:pPr>
          <a:r>
            <a:rPr lang="es-ES" sz="1400" kern="1200" dirty="0"/>
            <a:t>Usa 50%
Europa: La tasa de adopción se sitúa en torno al 30,8 % (Wikipedia).
España: La tasa de adopción de IPv6 es de aproximadamente el 21,45 % (APNIC Stats) (Wikipedia).</a:t>
          </a:r>
        </a:p>
      </dsp:txBody>
      <dsp:txXfrm>
        <a:off x="7721871" y="956397"/>
        <a:ext cx="2230457" cy="3289042"/>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3EA2D8-FE02-4830-91C9-244DC6A9C1B6}">
      <dsp:nvSpPr>
        <dsp:cNvPr id="0" name=""/>
        <dsp:cNvSpPr/>
      </dsp:nvSpPr>
      <dsp:spPr>
        <a:xfrm>
          <a:off x="285505" y="3572"/>
          <a:ext cx="3664159" cy="2735217"/>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A las funciones qué </a:t>
          </a:r>
          <a:r>
            <a:rPr lang="es-ES" sz="1600" kern="1200" dirty="0">
              <a:highlight>
                <a:srgbClr val="00FF00"/>
              </a:highlight>
            </a:rPr>
            <a:t>generan Tokens se les llama funciones hash</a:t>
          </a:r>
          <a:r>
            <a:rPr lang="es-ES" sz="1600" kern="1200" dirty="0"/>
            <a:t> (otros funciones digest).​​​</a:t>
          </a:r>
        </a:p>
        <a:p>
          <a:pPr marL="171450" lvl="1" indent="-171450" algn="l" defTabSz="711200">
            <a:lnSpc>
              <a:spcPct val="90000"/>
            </a:lnSpc>
            <a:spcBef>
              <a:spcPct val="0"/>
            </a:spcBef>
            <a:spcAft>
              <a:spcPct val="15000"/>
            </a:spcAft>
            <a:buChar char="•"/>
          </a:pPr>
          <a:r>
            <a:rPr lang="es-ES" sz="1600" kern="1200" dirty="0"/>
            <a:t>Esta función mediante un algoritmo: Habitual la función </a:t>
          </a:r>
          <a:r>
            <a:rPr lang="es-ES" sz="1600" kern="1200" dirty="0">
              <a:highlight>
                <a:srgbClr val="00FF00"/>
              </a:highlight>
            </a:rPr>
            <a:t>SHA 256</a:t>
          </a:r>
          <a:r>
            <a:rPr lang="es-ES" sz="1600" kern="1200" dirty="0"/>
            <a:t>.</a:t>
          </a:r>
        </a:p>
        <a:p>
          <a:pPr marL="171450" lvl="1" indent="-171450" algn="l" defTabSz="711200">
            <a:lnSpc>
              <a:spcPct val="90000"/>
            </a:lnSpc>
            <a:spcBef>
              <a:spcPct val="0"/>
            </a:spcBef>
            <a:spcAft>
              <a:spcPct val="15000"/>
            </a:spcAft>
            <a:buChar char="•"/>
          </a:pPr>
          <a:r>
            <a:rPr lang="es-ES" sz="1600" kern="1200" dirty="0">
              <a:highlight>
                <a:srgbClr val="00FF00"/>
              </a:highlight>
            </a:rPr>
            <a:t>Entrada:</a:t>
          </a:r>
          <a:r>
            <a:rPr lang="es-ES" sz="1600" kern="1200" dirty="0"/>
            <a:t> un conjunto de elementos, que suelen ser cadenas de información</a:t>
          </a:r>
        </a:p>
        <a:p>
          <a:pPr marL="171450" lvl="1" indent="-171450" algn="l" defTabSz="711200">
            <a:lnSpc>
              <a:spcPct val="90000"/>
            </a:lnSpc>
            <a:spcBef>
              <a:spcPct val="0"/>
            </a:spcBef>
            <a:spcAft>
              <a:spcPct val="15000"/>
            </a:spcAft>
            <a:buChar char="•"/>
          </a:pPr>
          <a:r>
            <a:rPr lang="es-ES" sz="1600" u="none" kern="1200" dirty="0">
              <a:highlight>
                <a:srgbClr val="00FF00"/>
              </a:highlight>
            </a:rPr>
            <a:t>Salida:</a:t>
          </a:r>
          <a:r>
            <a:rPr lang="es-ES" sz="1600" u="none" kern="1200" dirty="0"/>
            <a:t> Los </a:t>
          </a:r>
          <a:r>
            <a:rPr lang="es-ES" sz="1600" kern="1200" dirty="0"/>
            <a:t>convierte normalmente en cadenas de longitud fija. Normalmente 64 caracteres hexadecimales.</a:t>
          </a:r>
        </a:p>
      </dsp:txBody>
      <dsp:txXfrm>
        <a:off x="349594" y="67661"/>
        <a:ext cx="3535981" cy="2671128"/>
      </dsp:txXfrm>
    </dsp:sp>
    <dsp:sp modelId="{D9A1CACE-3034-4AEB-B1D8-5DD257FFCF55}">
      <dsp:nvSpPr>
        <dsp:cNvPr id="0" name=""/>
        <dsp:cNvSpPr/>
      </dsp:nvSpPr>
      <dsp:spPr>
        <a:xfrm>
          <a:off x="285505" y="2738790"/>
          <a:ext cx="3664159" cy="11761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0" rIns="53340" bIns="0" numCol="1" spcCol="1270" anchor="ctr" anchorCtr="0">
          <a:noAutofit/>
        </a:bodyPr>
        <a:lstStyle/>
        <a:p>
          <a:pPr marL="0" lvl="0" indent="0" algn="l" defTabSz="1866900">
            <a:lnSpc>
              <a:spcPct val="90000"/>
            </a:lnSpc>
            <a:spcBef>
              <a:spcPct val="0"/>
            </a:spcBef>
            <a:spcAft>
              <a:spcPct val="35000"/>
            </a:spcAft>
            <a:buNone/>
          </a:pPr>
          <a:r>
            <a:rPr lang="es-ES" sz="4200" kern="1200" dirty="0"/>
            <a:t>Funciones Hash</a:t>
          </a:r>
        </a:p>
      </dsp:txBody>
      <dsp:txXfrm>
        <a:off x="285505" y="2738790"/>
        <a:ext cx="2580394" cy="1176143"/>
      </dsp:txXfrm>
    </dsp:sp>
    <dsp:sp modelId="{E388A1C7-EBF3-41A4-B111-603242F7E426}">
      <dsp:nvSpPr>
        <dsp:cNvPr id="0" name=""/>
        <dsp:cNvSpPr/>
      </dsp:nvSpPr>
      <dsp:spPr>
        <a:xfrm>
          <a:off x="2969552" y="2925609"/>
          <a:ext cx="1282455" cy="1282455"/>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49C4EB-A946-48B3-B318-58B91C8D2E31}">
      <dsp:nvSpPr>
        <dsp:cNvPr id="0" name=""/>
        <dsp:cNvSpPr/>
      </dsp:nvSpPr>
      <dsp:spPr>
        <a:xfrm>
          <a:off x="4569729" y="3572"/>
          <a:ext cx="3664159" cy="2735217"/>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European council regulation </a:t>
          </a:r>
          <a:r>
            <a:rPr lang="es-ES" sz="1600" kern="1200" dirty="0">
              <a:highlight>
                <a:srgbClr val="00FF00"/>
              </a:highlight>
            </a:rPr>
            <a:t>MICA</a:t>
          </a:r>
          <a:r>
            <a:rPr lang="es-ES" sz="1600" kern="1200" dirty="0"/>
            <a:t>	</a:t>
          </a:r>
        </a:p>
      </dsp:txBody>
      <dsp:txXfrm>
        <a:off x="4633818" y="67661"/>
        <a:ext cx="3535981" cy="2671128"/>
      </dsp:txXfrm>
    </dsp:sp>
    <dsp:sp modelId="{71F20EF1-983E-493F-9321-D32C0D222AE6}">
      <dsp:nvSpPr>
        <dsp:cNvPr id="0" name=""/>
        <dsp:cNvSpPr/>
      </dsp:nvSpPr>
      <dsp:spPr>
        <a:xfrm>
          <a:off x="4569729" y="2738790"/>
          <a:ext cx="3664159" cy="11761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0" rIns="53340" bIns="0" numCol="1" spcCol="1270" anchor="ctr" anchorCtr="0">
          <a:noAutofit/>
        </a:bodyPr>
        <a:lstStyle/>
        <a:p>
          <a:pPr marL="0" lvl="0" indent="0" algn="l" defTabSz="1866900">
            <a:lnSpc>
              <a:spcPct val="90000"/>
            </a:lnSpc>
            <a:spcBef>
              <a:spcPct val="0"/>
            </a:spcBef>
            <a:spcAft>
              <a:spcPct val="35000"/>
            </a:spcAft>
            <a:buNone/>
          </a:pPr>
          <a:r>
            <a:rPr lang="es-ES" sz="4200" kern="1200" dirty="0"/>
            <a:t>Seguridad Jurídica</a:t>
          </a:r>
        </a:p>
      </dsp:txBody>
      <dsp:txXfrm>
        <a:off x="4569729" y="2738790"/>
        <a:ext cx="2580394" cy="1176143"/>
      </dsp:txXfrm>
    </dsp:sp>
    <dsp:sp modelId="{708102CA-D999-423C-B78D-F346E451DABA}">
      <dsp:nvSpPr>
        <dsp:cNvPr id="0" name=""/>
        <dsp:cNvSpPr/>
      </dsp:nvSpPr>
      <dsp:spPr>
        <a:xfrm>
          <a:off x="7253776" y="2925609"/>
          <a:ext cx="1282455" cy="1282455"/>
        </a:xfrm>
        <a:prstGeom prst="ellipse">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21917" b="21917"/>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58208-CFAC-4689-8B07-F63A09DD727A}">
      <dsp:nvSpPr>
        <dsp:cNvPr id="0" name=""/>
        <dsp:cNvSpPr/>
      </dsp:nvSpPr>
      <dsp:spPr>
        <a:xfrm>
          <a:off x="2756" y="155378"/>
          <a:ext cx="2687873"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s-ES" sz="2000" kern="1200" dirty="0"/>
            <a:t>Tipos</a:t>
          </a:r>
        </a:p>
      </dsp:txBody>
      <dsp:txXfrm>
        <a:off x="2756" y="155378"/>
        <a:ext cx="2687873" cy="576000"/>
      </dsp:txXfrm>
    </dsp:sp>
    <dsp:sp modelId="{F605190E-A0EA-4C04-AA91-3AFA7E169F06}">
      <dsp:nvSpPr>
        <dsp:cNvPr id="0" name=""/>
        <dsp:cNvSpPr/>
      </dsp:nvSpPr>
      <dsp:spPr>
        <a:xfrm>
          <a:off x="2756" y="731378"/>
          <a:ext cx="2687873" cy="332488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s-ES" sz="2000" kern="1200" dirty="0">
              <a:highlight>
                <a:srgbClr val="00FF00"/>
              </a:highlight>
            </a:rPr>
            <a:t>Investment</a:t>
          </a:r>
          <a:r>
            <a:rPr lang="es-ES" sz="2000" kern="1200" dirty="0"/>
            <a:t> Tokens</a:t>
          </a:r>
        </a:p>
        <a:p>
          <a:pPr marL="457200" lvl="2" indent="-228600" algn="l" defTabSz="889000">
            <a:lnSpc>
              <a:spcPct val="90000"/>
            </a:lnSpc>
            <a:spcBef>
              <a:spcPct val="0"/>
            </a:spcBef>
            <a:spcAft>
              <a:spcPct val="15000"/>
            </a:spcAft>
            <a:buChar char="•"/>
          </a:pPr>
          <a:r>
            <a:rPr lang="es-ES" sz="2000" kern="1200" dirty="0"/>
            <a:t>(atención que puede haber MiFID II).</a:t>
          </a:r>
        </a:p>
        <a:p>
          <a:pPr marL="228600" lvl="1" indent="-228600" algn="l" defTabSz="889000">
            <a:lnSpc>
              <a:spcPct val="90000"/>
            </a:lnSpc>
            <a:spcBef>
              <a:spcPct val="0"/>
            </a:spcBef>
            <a:spcAft>
              <a:spcPct val="15000"/>
            </a:spcAft>
            <a:buChar char="•"/>
          </a:pPr>
          <a:r>
            <a:rPr lang="es-ES" sz="2000" kern="1200" dirty="0">
              <a:highlight>
                <a:srgbClr val="00FF00"/>
              </a:highlight>
            </a:rPr>
            <a:t>Utility</a:t>
          </a:r>
          <a:r>
            <a:rPr lang="es-ES" sz="2000" kern="1200" dirty="0"/>
            <a:t> tokens</a:t>
          </a:r>
        </a:p>
        <a:p>
          <a:pPr marL="228600" lvl="1" indent="-228600" algn="l" defTabSz="889000">
            <a:lnSpc>
              <a:spcPct val="90000"/>
            </a:lnSpc>
            <a:spcBef>
              <a:spcPct val="0"/>
            </a:spcBef>
            <a:spcAft>
              <a:spcPct val="15000"/>
            </a:spcAft>
            <a:buChar char="•"/>
          </a:pPr>
          <a:r>
            <a:rPr lang="es-ES" sz="2000" kern="1200" dirty="0">
              <a:highlight>
                <a:srgbClr val="00FF00"/>
              </a:highlight>
            </a:rPr>
            <a:t>Payments</a:t>
          </a:r>
          <a:r>
            <a:rPr lang="es-ES" sz="2000" kern="1200" dirty="0"/>
            <a:t> tokens.</a:t>
          </a:r>
        </a:p>
      </dsp:txBody>
      <dsp:txXfrm>
        <a:off x="2756" y="731378"/>
        <a:ext cx="2687873" cy="3324881"/>
      </dsp:txXfrm>
    </dsp:sp>
    <dsp:sp modelId="{5E7BC163-C38E-40EB-9735-5DF856F0302C}">
      <dsp:nvSpPr>
        <dsp:cNvPr id="0" name=""/>
        <dsp:cNvSpPr/>
      </dsp:nvSpPr>
      <dsp:spPr>
        <a:xfrm>
          <a:off x="3066932" y="155378"/>
          <a:ext cx="2687873"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s-ES" sz="2000" kern="1200" dirty="0"/>
            <a:t>Por su mutabilidad</a:t>
          </a:r>
        </a:p>
      </dsp:txBody>
      <dsp:txXfrm>
        <a:off x="3066932" y="155378"/>
        <a:ext cx="2687873" cy="576000"/>
      </dsp:txXfrm>
    </dsp:sp>
    <dsp:sp modelId="{094ADE85-FE5F-46FD-B16B-093CD692DCF6}">
      <dsp:nvSpPr>
        <dsp:cNvPr id="0" name=""/>
        <dsp:cNvSpPr/>
      </dsp:nvSpPr>
      <dsp:spPr>
        <a:xfrm>
          <a:off x="3066932" y="731378"/>
          <a:ext cx="2687873" cy="332488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s-ES" sz="2000" kern="1200" dirty="0">
              <a:highlight>
                <a:srgbClr val="00FF00"/>
              </a:highlight>
            </a:rPr>
            <a:t>Fungibles</a:t>
          </a:r>
          <a:r>
            <a:rPr lang="es-ES" sz="2000" kern="1200" dirty="0"/>
            <a:t> o mutables</a:t>
          </a:r>
        </a:p>
        <a:p>
          <a:pPr marL="457200" lvl="2" indent="-228600" algn="l" defTabSz="889000">
            <a:lnSpc>
              <a:spcPct val="90000"/>
            </a:lnSpc>
            <a:spcBef>
              <a:spcPct val="0"/>
            </a:spcBef>
            <a:spcAft>
              <a:spcPct val="15000"/>
            </a:spcAft>
            <a:buChar char="•"/>
          </a:pPr>
          <a:r>
            <a:rPr lang="es-ES" sz="2000" kern="1200" dirty="0"/>
            <a:t>(Dinero, commodities)</a:t>
          </a:r>
        </a:p>
        <a:p>
          <a:pPr marL="457200" lvl="2" indent="-228600" algn="l" defTabSz="889000">
            <a:lnSpc>
              <a:spcPct val="90000"/>
            </a:lnSpc>
            <a:spcBef>
              <a:spcPct val="0"/>
            </a:spcBef>
            <a:spcAft>
              <a:spcPct val="15000"/>
            </a:spcAft>
            <a:buChar char="•"/>
          </a:pPr>
          <a:r>
            <a:rPr lang="es-ES" sz="2000" kern="1200" dirty="0"/>
            <a:t>Pagos, Utility, Security</a:t>
          </a:r>
        </a:p>
        <a:p>
          <a:pPr marL="228600" lvl="1" indent="-228600" algn="l" defTabSz="889000">
            <a:lnSpc>
              <a:spcPct val="90000"/>
            </a:lnSpc>
            <a:spcBef>
              <a:spcPct val="0"/>
            </a:spcBef>
            <a:spcAft>
              <a:spcPct val="15000"/>
            </a:spcAft>
            <a:buChar char="•"/>
          </a:pPr>
          <a:r>
            <a:rPr lang="es-ES" sz="2000" kern="1200" dirty="0">
              <a:highlight>
                <a:srgbClr val="00FF00"/>
              </a:highlight>
            </a:rPr>
            <a:t>No fungibles</a:t>
          </a:r>
          <a:r>
            <a:rPr lang="es-ES" sz="2000" kern="1200" dirty="0"/>
            <a:t> o inmutables </a:t>
          </a:r>
          <a:r>
            <a:rPr lang="es-ES" sz="2000" kern="1200" dirty="0">
              <a:highlight>
                <a:srgbClr val="00FF00"/>
              </a:highlight>
            </a:rPr>
            <a:t>(NFT)</a:t>
          </a:r>
        </a:p>
        <a:p>
          <a:pPr marL="457200" lvl="2" indent="-228600" algn="l" defTabSz="889000">
            <a:lnSpc>
              <a:spcPct val="90000"/>
            </a:lnSpc>
            <a:spcBef>
              <a:spcPct val="0"/>
            </a:spcBef>
            <a:spcAft>
              <a:spcPct val="15000"/>
            </a:spcAft>
            <a:buChar char="•"/>
          </a:pPr>
          <a:r>
            <a:rPr lang="es-ES" sz="2000" kern="1200" dirty="0"/>
            <a:t>Arte</a:t>
          </a:r>
        </a:p>
        <a:p>
          <a:pPr marL="457200" lvl="2" indent="-228600" algn="l" defTabSz="889000">
            <a:lnSpc>
              <a:spcPct val="90000"/>
            </a:lnSpc>
            <a:spcBef>
              <a:spcPct val="0"/>
            </a:spcBef>
            <a:spcAft>
              <a:spcPct val="15000"/>
            </a:spcAft>
            <a:buChar char="•"/>
          </a:pPr>
          <a:r>
            <a:rPr lang="es-ES" sz="2000" kern="1200" dirty="0"/>
            <a:t>Bienes: Aceite, vino…</a:t>
          </a:r>
        </a:p>
      </dsp:txBody>
      <dsp:txXfrm>
        <a:off x="3066932" y="731378"/>
        <a:ext cx="2687873" cy="3324881"/>
      </dsp:txXfrm>
    </dsp:sp>
    <dsp:sp modelId="{94B2575B-BEF4-44D7-82E9-2E3169B4BE7C}">
      <dsp:nvSpPr>
        <dsp:cNvPr id="0" name=""/>
        <dsp:cNvSpPr/>
      </dsp:nvSpPr>
      <dsp:spPr>
        <a:xfrm>
          <a:off x="6131107" y="155378"/>
          <a:ext cx="2687873"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s-ES" sz="2000" kern="1200" dirty="0"/>
            <a:t>Por su naturaleza:</a:t>
          </a:r>
        </a:p>
      </dsp:txBody>
      <dsp:txXfrm>
        <a:off x="6131107" y="155378"/>
        <a:ext cx="2687873" cy="576000"/>
      </dsp:txXfrm>
    </dsp:sp>
    <dsp:sp modelId="{3492B318-6454-455D-8ACD-50143EA00E52}">
      <dsp:nvSpPr>
        <dsp:cNvPr id="0" name=""/>
        <dsp:cNvSpPr/>
      </dsp:nvSpPr>
      <dsp:spPr>
        <a:xfrm>
          <a:off x="6131107" y="731378"/>
          <a:ext cx="2687873" cy="332488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s-ES" sz="2000" kern="1200" dirty="0">
              <a:highlight>
                <a:srgbClr val="00FF00"/>
              </a:highlight>
            </a:rPr>
            <a:t>Intangibles</a:t>
          </a:r>
        </a:p>
        <a:p>
          <a:pPr marL="457200" lvl="2" indent="-228600" algn="l" defTabSz="889000">
            <a:lnSpc>
              <a:spcPct val="90000"/>
            </a:lnSpc>
            <a:spcBef>
              <a:spcPct val="0"/>
            </a:spcBef>
            <a:spcAft>
              <a:spcPct val="15000"/>
            </a:spcAft>
            <a:buChar char="•"/>
          </a:pPr>
          <a:r>
            <a:rPr lang="es-ES" sz="2000" kern="1200" dirty="0"/>
            <a:t>Derechos de autor</a:t>
          </a:r>
        </a:p>
        <a:p>
          <a:pPr marL="457200" lvl="2" indent="-228600" algn="l" defTabSz="889000">
            <a:lnSpc>
              <a:spcPct val="90000"/>
            </a:lnSpc>
            <a:spcBef>
              <a:spcPct val="0"/>
            </a:spcBef>
            <a:spcAft>
              <a:spcPct val="15000"/>
            </a:spcAft>
            <a:buChar char="•"/>
          </a:pPr>
          <a:r>
            <a:rPr lang="es-ES" sz="2000" kern="1200" dirty="0"/>
            <a:t>Patentes</a:t>
          </a:r>
        </a:p>
        <a:p>
          <a:pPr marL="457200" lvl="2" indent="-228600" algn="l" defTabSz="889000">
            <a:lnSpc>
              <a:spcPct val="90000"/>
            </a:lnSpc>
            <a:spcBef>
              <a:spcPct val="0"/>
            </a:spcBef>
            <a:spcAft>
              <a:spcPct val="15000"/>
            </a:spcAft>
            <a:buChar char="•"/>
          </a:pPr>
          <a:r>
            <a:rPr lang="es-ES" sz="2000" kern="1200" dirty="0"/>
            <a:t>Reconocimiento de marca</a:t>
          </a:r>
        </a:p>
        <a:p>
          <a:pPr marL="228600" lvl="1" indent="-228600" algn="l" defTabSz="889000">
            <a:lnSpc>
              <a:spcPct val="90000"/>
            </a:lnSpc>
            <a:spcBef>
              <a:spcPct val="0"/>
            </a:spcBef>
            <a:spcAft>
              <a:spcPct val="15000"/>
            </a:spcAft>
            <a:buChar char="•"/>
          </a:pPr>
          <a:r>
            <a:rPr lang="es-ES" sz="2000" kern="1200" dirty="0">
              <a:highlight>
                <a:srgbClr val="00FF00"/>
              </a:highlight>
            </a:rPr>
            <a:t>Tangibles</a:t>
          </a:r>
        </a:p>
        <a:p>
          <a:pPr marL="457200" lvl="2" indent="-228600" algn="l" defTabSz="889000">
            <a:lnSpc>
              <a:spcPct val="90000"/>
            </a:lnSpc>
            <a:spcBef>
              <a:spcPct val="0"/>
            </a:spcBef>
            <a:spcAft>
              <a:spcPct val="15000"/>
            </a:spcAft>
            <a:buChar char="•"/>
          </a:pPr>
          <a:r>
            <a:rPr lang="es-ES" sz="2000" kern="1200" dirty="0"/>
            <a:t>Activos físicos.</a:t>
          </a:r>
        </a:p>
      </dsp:txBody>
      <dsp:txXfrm>
        <a:off x="6131107" y="731378"/>
        <a:ext cx="2687873" cy="3324881"/>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366DDD-63D9-40F0-9B9B-677455243401}">
      <dsp:nvSpPr>
        <dsp:cNvPr id="0" name=""/>
        <dsp:cNvSpPr/>
      </dsp:nvSpPr>
      <dsp:spPr>
        <a:xfrm>
          <a:off x="0" y="313903"/>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b="1" kern="1200" dirty="0">
              <a:highlight>
                <a:srgbClr val="FFCDCC"/>
              </a:highlight>
              <a:latin typeface="+mn-lt"/>
            </a:rPr>
            <a:t>Banca: </a:t>
          </a:r>
        </a:p>
        <a:p>
          <a:pPr marL="171450" lvl="1" indent="-171450" algn="l" defTabSz="711200">
            <a:lnSpc>
              <a:spcPct val="90000"/>
            </a:lnSpc>
            <a:spcBef>
              <a:spcPct val="0"/>
            </a:spcBef>
            <a:spcAft>
              <a:spcPct val="15000"/>
            </a:spcAft>
            <a:buChar char="•"/>
          </a:pPr>
          <a:r>
            <a:rPr lang="es-ES" sz="1600" kern="1200" dirty="0">
              <a:latin typeface="+mn-lt"/>
            </a:rPr>
            <a:t>Contratos inteligentes para:</a:t>
          </a:r>
        </a:p>
        <a:p>
          <a:pPr marL="171450" lvl="1" indent="-171450" algn="l" defTabSz="711200">
            <a:lnSpc>
              <a:spcPct val="90000"/>
            </a:lnSpc>
            <a:spcBef>
              <a:spcPct val="0"/>
            </a:spcBef>
            <a:spcAft>
              <a:spcPct val="15000"/>
            </a:spcAft>
            <a:buChar char="•"/>
          </a:pPr>
          <a:r>
            <a:rPr lang="es-ES" sz="1600" kern="1200" dirty="0">
              <a:latin typeface="+mn-lt"/>
            </a:rPr>
            <a:t>Pagos, financiación, activos digitales (derechos a emitir).</a:t>
          </a:r>
        </a:p>
      </dsp:txBody>
      <dsp:txXfrm>
        <a:off x="0" y="313903"/>
        <a:ext cx="2756793" cy="1654075"/>
      </dsp:txXfrm>
    </dsp:sp>
    <dsp:sp modelId="{4EA53999-7030-4A5A-BB71-B9F14440A681}">
      <dsp:nvSpPr>
        <dsp:cNvPr id="0" name=""/>
        <dsp:cNvSpPr/>
      </dsp:nvSpPr>
      <dsp:spPr>
        <a:xfrm>
          <a:off x="3032472" y="313903"/>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Administración: </a:t>
          </a:r>
        </a:p>
        <a:p>
          <a:pPr marL="114300" lvl="1" indent="0" algn="l" defTabSz="533400">
            <a:lnSpc>
              <a:spcPct val="90000"/>
            </a:lnSpc>
            <a:spcBef>
              <a:spcPct val="0"/>
            </a:spcBef>
            <a:spcAft>
              <a:spcPct val="15000"/>
            </a:spcAft>
            <a:buChar char="•"/>
          </a:pPr>
          <a:r>
            <a:rPr lang="es-ES" sz="1600" kern="1200" dirty="0">
              <a:latin typeface="+mn-lt"/>
            </a:rPr>
            <a:t>Eliminación de fraude</a:t>
          </a:r>
        </a:p>
      </dsp:txBody>
      <dsp:txXfrm>
        <a:off x="3032472" y="313903"/>
        <a:ext cx="2756793" cy="1654075"/>
      </dsp:txXfrm>
    </dsp:sp>
    <dsp:sp modelId="{1BFD0E69-3359-4013-BE7E-E6F663E623B3}">
      <dsp:nvSpPr>
        <dsp:cNvPr id="0" name=""/>
        <dsp:cNvSpPr/>
      </dsp:nvSpPr>
      <dsp:spPr>
        <a:xfrm>
          <a:off x="6064944" y="313903"/>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Servicio de Registro: </a:t>
          </a:r>
        </a:p>
        <a:p>
          <a:pPr marL="114300" lvl="1" indent="0" algn="l" defTabSz="533400">
            <a:lnSpc>
              <a:spcPct val="90000"/>
            </a:lnSpc>
            <a:spcBef>
              <a:spcPct val="0"/>
            </a:spcBef>
            <a:spcAft>
              <a:spcPct val="15000"/>
            </a:spcAft>
            <a:buChar char="•"/>
          </a:pPr>
          <a:r>
            <a:rPr lang="es-ES" sz="1600" kern="1200" dirty="0">
              <a:latin typeface="+mn-lt"/>
            </a:rPr>
            <a:t>Dando fe de una operación (Notario electrónico).</a:t>
          </a:r>
        </a:p>
      </dsp:txBody>
      <dsp:txXfrm>
        <a:off x="6064944" y="313903"/>
        <a:ext cx="2756793" cy="1654075"/>
      </dsp:txXfrm>
    </dsp:sp>
    <dsp:sp modelId="{7E8EAD82-737A-4A21-A433-CFBD6AF4804B}">
      <dsp:nvSpPr>
        <dsp:cNvPr id="0" name=""/>
        <dsp:cNvSpPr/>
      </dsp:nvSpPr>
      <dsp:spPr>
        <a:xfrm>
          <a:off x="0" y="2243658"/>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Metaverso: </a:t>
          </a:r>
        </a:p>
        <a:p>
          <a:pPr marL="114300" lvl="1" indent="0" algn="l" defTabSz="533400">
            <a:lnSpc>
              <a:spcPct val="90000"/>
            </a:lnSpc>
            <a:spcBef>
              <a:spcPct val="0"/>
            </a:spcBef>
            <a:spcAft>
              <a:spcPct val="15000"/>
            </a:spcAft>
            <a:buChar char="•"/>
          </a:pPr>
          <a:r>
            <a:rPr lang="es-ES" sz="1600" kern="1200" dirty="0">
              <a:latin typeface="+mn-lt"/>
            </a:rPr>
            <a:t>Cryptokitties y dar fe de las transacciones.</a:t>
          </a:r>
        </a:p>
        <a:p>
          <a:pPr marL="114300" lvl="1" indent="0" algn="l" defTabSz="533400">
            <a:lnSpc>
              <a:spcPct val="90000"/>
            </a:lnSpc>
            <a:spcBef>
              <a:spcPct val="0"/>
            </a:spcBef>
            <a:spcAft>
              <a:spcPct val="15000"/>
            </a:spcAft>
            <a:buChar char="•"/>
          </a:pPr>
          <a:r>
            <a:rPr lang="es-ES" sz="1600" kern="1200" dirty="0">
              <a:latin typeface="+mn-lt"/>
            </a:rPr>
            <a:t>Binance se integra en metaverso con NFT y Blockchain</a:t>
          </a:r>
        </a:p>
      </dsp:txBody>
      <dsp:txXfrm>
        <a:off x="0" y="2243658"/>
        <a:ext cx="2756793" cy="1654075"/>
      </dsp:txXfrm>
    </dsp:sp>
    <dsp:sp modelId="{0944FF49-28E4-4851-9273-360F4749C705}">
      <dsp:nvSpPr>
        <dsp:cNvPr id="0" name=""/>
        <dsp:cNvSpPr/>
      </dsp:nvSpPr>
      <dsp:spPr>
        <a:xfrm>
          <a:off x="3032472" y="2243658"/>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Juegos: </a:t>
          </a:r>
        </a:p>
        <a:p>
          <a:pPr marL="114300" lvl="1" indent="0" algn="l" defTabSz="533400">
            <a:lnSpc>
              <a:spcPct val="90000"/>
            </a:lnSpc>
            <a:spcBef>
              <a:spcPct val="0"/>
            </a:spcBef>
            <a:spcAft>
              <a:spcPct val="15000"/>
            </a:spcAft>
            <a:buChar char="•"/>
          </a:pPr>
          <a:r>
            <a:rPr lang="es-ES" sz="1600" kern="1200" dirty="0">
              <a:latin typeface="+mn-lt"/>
            </a:rPr>
            <a:t>Comprar equipamiento y puntos.</a:t>
          </a:r>
        </a:p>
      </dsp:txBody>
      <dsp:txXfrm>
        <a:off x="3032472" y="2243658"/>
        <a:ext cx="2756793" cy="1654075"/>
      </dsp:txXfrm>
    </dsp:sp>
    <dsp:sp modelId="{C12C3F86-44C4-4C96-8FCE-A05350E4E164}">
      <dsp:nvSpPr>
        <dsp:cNvPr id="0" name=""/>
        <dsp:cNvSpPr/>
      </dsp:nvSpPr>
      <dsp:spPr>
        <a:xfrm>
          <a:off x="6064944" y="2243658"/>
          <a:ext cx="2756793" cy="1654075"/>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622300">
            <a:lnSpc>
              <a:spcPct val="90000"/>
            </a:lnSpc>
            <a:spcBef>
              <a:spcPct val="0"/>
            </a:spcBef>
            <a:spcAft>
              <a:spcPct val="35000"/>
            </a:spcAft>
            <a:buNone/>
          </a:pPr>
          <a:r>
            <a:rPr lang="es-ES" sz="1800" b="1" kern="1200" dirty="0">
              <a:solidFill>
                <a:srgbClr val="455F51">
                  <a:hueOff val="0"/>
                  <a:satOff val="0"/>
                  <a:lumOff val="0"/>
                  <a:alphaOff val="0"/>
                </a:srgbClr>
              </a:solidFill>
              <a:highlight>
                <a:srgbClr val="FFCDCC"/>
              </a:highlight>
              <a:latin typeface="+mn-lt"/>
              <a:ea typeface="+mn-ea"/>
              <a:cs typeface="+mn-cs"/>
            </a:rPr>
            <a:t>Pymes:</a:t>
          </a:r>
        </a:p>
        <a:p>
          <a:pPr marL="114300" lvl="1" indent="0" algn="l" defTabSz="533400">
            <a:lnSpc>
              <a:spcPct val="90000"/>
            </a:lnSpc>
            <a:spcBef>
              <a:spcPct val="0"/>
            </a:spcBef>
            <a:spcAft>
              <a:spcPct val="15000"/>
            </a:spcAft>
            <a:buChar char="•"/>
          </a:pPr>
          <a:r>
            <a:rPr lang="es-ES" sz="1600" kern="1200" dirty="0">
              <a:latin typeface="+mn-lt"/>
            </a:rPr>
            <a:t>Casa de Alba, ha tokenizado las memorias de Colón a los Reyes Católicos.</a:t>
          </a:r>
        </a:p>
        <a:p>
          <a:pPr marL="114300" lvl="1" indent="0" algn="l" defTabSz="533400">
            <a:lnSpc>
              <a:spcPct val="90000"/>
            </a:lnSpc>
            <a:spcBef>
              <a:spcPct val="0"/>
            </a:spcBef>
            <a:spcAft>
              <a:spcPct val="15000"/>
            </a:spcAft>
            <a:buChar char="•"/>
          </a:pPr>
          <a:r>
            <a:rPr lang="es-ES" sz="1600" kern="1200" dirty="0">
              <a:latin typeface="+mn-lt"/>
            </a:rPr>
            <a:t>Algún club de golf sustituye las acciones por NFT.</a:t>
          </a:r>
        </a:p>
      </dsp:txBody>
      <dsp:txXfrm>
        <a:off x="6064944" y="2243658"/>
        <a:ext cx="2756793" cy="1654075"/>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0A008-051C-47A0-BB3F-81F54D140866}">
      <dsp:nvSpPr>
        <dsp:cNvPr id="0" name=""/>
        <dsp:cNvSpPr/>
      </dsp:nvSpPr>
      <dsp:spPr>
        <a:xfrm>
          <a:off x="0" y="213111"/>
          <a:ext cx="8214716" cy="11151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7553" tIns="249936" rIns="637553" bIns="11379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Vende al por mayor y al minorista Aceite de Oliva</a:t>
          </a:r>
        </a:p>
        <a:p>
          <a:pPr marL="171450" lvl="1" indent="-171450" algn="l" defTabSz="711200">
            <a:lnSpc>
              <a:spcPct val="90000"/>
            </a:lnSpc>
            <a:spcBef>
              <a:spcPct val="0"/>
            </a:spcBef>
            <a:spcAft>
              <a:spcPct val="15000"/>
            </a:spcAft>
            <a:buChar char="•"/>
          </a:pPr>
          <a:r>
            <a:rPr lang="es-ES" sz="1600" kern="1200" dirty="0"/>
            <a:t>No produce suficiente</a:t>
          </a:r>
        </a:p>
        <a:p>
          <a:pPr marL="171450" lvl="1" indent="-171450" algn="l" defTabSz="711200">
            <a:lnSpc>
              <a:spcPct val="90000"/>
            </a:lnSpc>
            <a:spcBef>
              <a:spcPct val="0"/>
            </a:spcBef>
            <a:spcAft>
              <a:spcPct val="15000"/>
            </a:spcAft>
            <a:buChar char="•"/>
          </a:pPr>
          <a:r>
            <a:rPr lang="es-ES" sz="1600" kern="1200" dirty="0"/>
            <a:t>Tiene que comprar a terceros</a:t>
          </a:r>
        </a:p>
      </dsp:txBody>
      <dsp:txXfrm>
        <a:off x="0" y="213111"/>
        <a:ext cx="8214716" cy="1115100"/>
      </dsp:txXfrm>
    </dsp:sp>
    <dsp:sp modelId="{39E506AB-F042-4E94-AE8A-6428F8FB8596}">
      <dsp:nvSpPr>
        <dsp:cNvPr id="0" name=""/>
        <dsp:cNvSpPr/>
      </dsp:nvSpPr>
      <dsp:spPr>
        <a:xfrm>
          <a:off x="410735" y="35991"/>
          <a:ext cx="5750301"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348" tIns="0" rIns="217348" bIns="0" numCol="1" spcCol="1270" anchor="ctr" anchorCtr="0">
          <a:noAutofit/>
        </a:bodyPr>
        <a:lstStyle/>
        <a:p>
          <a:pPr marL="0" lvl="0" indent="0" algn="l" defTabSz="711200">
            <a:lnSpc>
              <a:spcPct val="90000"/>
            </a:lnSpc>
            <a:spcBef>
              <a:spcPct val="0"/>
            </a:spcBef>
            <a:spcAft>
              <a:spcPct val="35000"/>
            </a:spcAft>
            <a:buNone/>
          </a:pPr>
          <a:r>
            <a:rPr lang="es-ES" sz="1600" kern="1200" dirty="0"/>
            <a:t>DEOLEO</a:t>
          </a:r>
        </a:p>
      </dsp:txBody>
      <dsp:txXfrm>
        <a:off x="428028" y="53284"/>
        <a:ext cx="5715715" cy="319654"/>
      </dsp:txXfrm>
    </dsp:sp>
    <dsp:sp modelId="{3D80CE5C-4428-4F00-AD93-99D66FBE6C44}">
      <dsp:nvSpPr>
        <dsp:cNvPr id="0" name=""/>
        <dsp:cNvSpPr/>
      </dsp:nvSpPr>
      <dsp:spPr>
        <a:xfrm>
          <a:off x="0" y="1570131"/>
          <a:ext cx="8214716" cy="1077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7553" tIns="249936" rIns="637553" bIns="11379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Produce, pero no vende bien.</a:t>
          </a:r>
        </a:p>
        <a:p>
          <a:pPr marL="171450" lvl="1" indent="-171450" algn="l" defTabSz="711200">
            <a:lnSpc>
              <a:spcPct val="90000"/>
            </a:lnSpc>
            <a:spcBef>
              <a:spcPct val="0"/>
            </a:spcBef>
            <a:spcAft>
              <a:spcPct val="15000"/>
            </a:spcAft>
            <a:buChar char="•"/>
          </a:pPr>
          <a:r>
            <a:rPr lang="es-ES" sz="1600" kern="1200" dirty="0"/>
            <a:t>Andalucía el 85%, Castilla La-Mancha (6,60%), Extremadura (2,70%), Cataluña(2,20%) y Aragón (1%).</a:t>
          </a:r>
        </a:p>
      </dsp:txBody>
      <dsp:txXfrm>
        <a:off x="0" y="1570131"/>
        <a:ext cx="8214716" cy="1077300"/>
      </dsp:txXfrm>
    </dsp:sp>
    <dsp:sp modelId="{5881B1FF-FA8C-4B76-810C-558312AFA4FB}">
      <dsp:nvSpPr>
        <dsp:cNvPr id="0" name=""/>
        <dsp:cNvSpPr/>
      </dsp:nvSpPr>
      <dsp:spPr>
        <a:xfrm>
          <a:off x="410735" y="1393011"/>
          <a:ext cx="5750301"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348" tIns="0" rIns="217348" bIns="0" numCol="1" spcCol="1270" anchor="ctr" anchorCtr="0">
          <a:noAutofit/>
        </a:bodyPr>
        <a:lstStyle/>
        <a:p>
          <a:pPr marL="0" lvl="0" indent="0" algn="l" defTabSz="711200">
            <a:lnSpc>
              <a:spcPct val="90000"/>
            </a:lnSpc>
            <a:spcBef>
              <a:spcPct val="0"/>
            </a:spcBef>
            <a:spcAft>
              <a:spcPct val="35000"/>
            </a:spcAft>
            <a:buNone/>
          </a:pPr>
          <a:r>
            <a:rPr lang="es-ES" sz="1600" kern="1200" dirty="0"/>
            <a:t>La almazara Española: </a:t>
          </a:r>
        </a:p>
      </dsp:txBody>
      <dsp:txXfrm>
        <a:off x="428028" y="1410304"/>
        <a:ext cx="5715715" cy="319654"/>
      </dsp:txXfrm>
    </dsp:sp>
    <dsp:sp modelId="{AFC1F8A6-D22B-4B45-90FB-BBE5BEF24C6E}">
      <dsp:nvSpPr>
        <dsp:cNvPr id="0" name=""/>
        <dsp:cNvSpPr/>
      </dsp:nvSpPr>
      <dsp:spPr>
        <a:xfrm>
          <a:off x="0" y="2889351"/>
          <a:ext cx="8214716" cy="812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7553" tIns="249936" rIns="637553" bIns="11379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Yo te compro sí me demuestras que tú aceite es DOVE (Denominación de origen Virgen Extra)</a:t>
          </a:r>
        </a:p>
      </dsp:txBody>
      <dsp:txXfrm>
        <a:off x="0" y="2889351"/>
        <a:ext cx="8214716" cy="812700"/>
      </dsp:txXfrm>
    </dsp:sp>
    <dsp:sp modelId="{78C30E61-8134-4C11-82FA-28C8D7339C42}">
      <dsp:nvSpPr>
        <dsp:cNvPr id="0" name=""/>
        <dsp:cNvSpPr/>
      </dsp:nvSpPr>
      <dsp:spPr>
        <a:xfrm>
          <a:off x="410735" y="2712231"/>
          <a:ext cx="5750301"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348" tIns="0" rIns="217348" bIns="0" numCol="1" spcCol="1270" anchor="ctr" anchorCtr="0">
          <a:noAutofit/>
        </a:bodyPr>
        <a:lstStyle/>
        <a:p>
          <a:pPr marL="0" lvl="0" indent="0" algn="l" defTabSz="711200">
            <a:lnSpc>
              <a:spcPct val="90000"/>
            </a:lnSpc>
            <a:spcBef>
              <a:spcPct val="0"/>
            </a:spcBef>
            <a:spcAft>
              <a:spcPct val="35000"/>
            </a:spcAft>
            <a:buNone/>
          </a:pPr>
          <a:r>
            <a:rPr lang="es-ES" sz="1600" kern="1200" dirty="0"/>
            <a:t>Italiano: </a:t>
          </a:r>
        </a:p>
      </dsp:txBody>
      <dsp:txXfrm>
        <a:off x="428028" y="2729524"/>
        <a:ext cx="5715715" cy="319654"/>
      </dsp:txXfrm>
    </dsp:sp>
    <dsp:sp modelId="{75BFCC40-7B54-4837-8BCA-E07C17AAF00C}">
      <dsp:nvSpPr>
        <dsp:cNvPr id="0" name=""/>
        <dsp:cNvSpPr/>
      </dsp:nvSpPr>
      <dsp:spPr>
        <a:xfrm>
          <a:off x="0" y="3943971"/>
          <a:ext cx="8214716" cy="812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7553" tIns="249936" rIns="637553" bIns="113792" numCol="1" spcCol="1270" anchor="t" anchorCtr="0">
          <a:noAutofit/>
        </a:bodyPr>
        <a:lstStyle/>
        <a:p>
          <a:pPr marL="171450" lvl="1" indent="-171450" algn="l" defTabSz="711200">
            <a:lnSpc>
              <a:spcPct val="90000"/>
            </a:lnSpc>
            <a:spcBef>
              <a:spcPct val="0"/>
            </a:spcBef>
            <a:spcAft>
              <a:spcPct val="15000"/>
            </a:spcAft>
            <a:buChar char="•"/>
          </a:pPr>
          <a:r>
            <a:rPr lang="es-ES" sz="1600" kern="1200" dirty="0"/>
            <a:t>¿Cómo te demuestro yo: Lugar, abono, condiciones atmosféricas, tractoreo, recogida, primer prensado en frío, almacenamiento, transporte?</a:t>
          </a:r>
        </a:p>
      </dsp:txBody>
      <dsp:txXfrm>
        <a:off x="0" y="3943971"/>
        <a:ext cx="8214716" cy="812700"/>
      </dsp:txXfrm>
    </dsp:sp>
    <dsp:sp modelId="{56C57F0B-57E9-4FA5-B0BE-C0B4A6406FCB}">
      <dsp:nvSpPr>
        <dsp:cNvPr id="0" name=""/>
        <dsp:cNvSpPr/>
      </dsp:nvSpPr>
      <dsp:spPr>
        <a:xfrm>
          <a:off x="410735" y="3766851"/>
          <a:ext cx="5750301"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348" tIns="0" rIns="217348" bIns="0" numCol="1" spcCol="1270" anchor="ctr" anchorCtr="0">
          <a:noAutofit/>
        </a:bodyPr>
        <a:lstStyle/>
        <a:p>
          <a:pPr marL="0" lvl="0" indent="0" algn="l" defTabSz="711200">
            <a:lnSpc>
              <a:spcPct val="90000"/>
            </a:lnSpc>
            <a:spcBef>
              <a:spcPct val="0"/>
            </a:spcBef>
            <a:spcAft>
              <a:spcPct val="35000"/>
            </a:spcAft>
            <a:buNone/>
          </a:pPr>
          <a:r>
            <a:rPr lang="es-ES" sz="1600" kern="1200" dirty="0"/>
            <a:t>Español:</a:t>
          </a:r>
        </a:p>
      </dsp:txBody>
      <dsp:txXfrm>
        <a:off x="428028" y="3784144"/>
        <a:ext cx="5715715" cy="319654"/>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89D90-DB0F-4717-BEB5-EA9A3524A803}">
      <dsp:nvSpPr>
        <dsp:cNvPr id="0" name=""/>
        <dsp:cNvSpPr/>
      </dsp:nvSpPr>
      <dsp:spPr>
        <a:xfrm>
          <a:off x="2567" y="1718692"/>
          <a:ext cx="2284883" cy="913953"/>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1</a:t>
          </a:r>
        </a:p>
      </dsp:txBody>
      <dsp:txXfrm>
        <a:off x="459544" y="1718692"/>
        <a:ext cx="1370930" cy="913953"/>
      </dsp:txXfrm>
    </dsp:sp>
    <dsp:sp modelId="{E1558D32-9566-44BD-8A5B-E83CF4804E43}">
      <dsp:nvSpPr>
        <dsp:cNvPr id="0" name=""/>
        <dsp:cNvSpPr/>
      </dsp:nvSpPr>
      <dsp:spPr>
        <a:xfrm>
          <a:off x="2058962" y="1718692"/>
          <a:ext cx="2284883" cy="913953"/>
        </a:xfrm>
        <a:prstGeom prst="chevron">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solidFill>
                <a:schemeClr val="accent5">
                  <a:lumMod val="50000"/>
                </a:schemeClr>
              </a:solidFill>
            </a:rPr>
            <a:t>Dia …</a:t>
          </a:r>
        </a:p>
      </dsp:txBody>
      <dsp:txXfrm>
        <a:off x="2515939" y="1718692"/>
        <a:ext cx="1370930" cy="913953"/>
      </dsp:txXfrm>
    </dsp:sp>
    <dsp:sp modelId="{B391E9BF-5F32-45B9-9BCD-33CA8A7FBFAF}">
      <dsp:nvSpPr>
        <dsp:cNvPr id="0" name=""/>
        <dsp:cNvSpPr/>
      </dsp:nvSpPr>
      <dsp:spPr>
        <a:xfrm>
          <a:off x="4115358" y="1718692"/>
          <a:ext cx="2284883" cy="913953"/>
        </a:xfrm>
        <a:prstGeom prst="chevron">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83</a:t>
          </a:r>
        </a:p>
      </dsp:txBody>
      <dsp:txXfrm>
        <a:off x="4572335" y="1718692"/>
        <a:ext cx="1370930" cy="913953"/>
      </dsp:txXfrm>
    </dsp:sp>
    <dsp:sp modelId="{B8B89C3F-832D-44D5-AEE4-E511C26B1C60}">
      <dsp:nvSpPr>
        <dsp:cNvPr id="0" name=""/>
        <dsp:cNvSpPr/>
      </dsp:nvSpPr>
      <dsp:spPr>
        <a:xfrm>
          <a:off x="6171753" y="1718692"/>
          <a:ext cx="2284883" cy="913953"/>
        </a:xfrm>
        <a:prstGeom prst="chevron">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solidFill>
                <a:schemeClr val="accent5">
                  <a:lumMod val="50000"/>
                </a:schemeClr>
              </a:solidFill>
            </a:rPr>
            <a:t>Día …</a:t>
          </a:r>
        </a:p>
      </dsp:txBody>
      <dsp:txXfrm>
        <a:off x="6628730" y="1718692"/>
        <a:ext cx="1370930" cy="913953"/>
      </dsp:txXfrm>
    </dsp:sp>
    <dsp:sp modelId="{A962575C-4341-4F05-84C4-15E82F2F1A26}">
      <dsp:nvSpPr>
        <dsp:cNvPr id="0" name=""/>
        <dsp:cNvSpPr/>
      </dsp:nvSpPr>
      <dsp:spPr>
        <a:xfrm>
          <a:off x="8228148" y="1718692"/>
          <a:ext cx="2284883" cy="913953"/>
        </a:xfrm>
        <a:prstGeom prst="chevron">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365</a:t>
          </a:r>
        </a:p>
      </dsp:txBody>
      <dsp:txXfrm>
        <a:off x="8685125" y="1718692"/>
        <a:ext cx="1370930" cy="913953"/>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89D90-DB0F-4717-BEB5-EA9A3524A803}">
      <dsp:nvSpPr>
        <dsp:cNvPr id="0" name=""/>
        <dsp:cNvSpPr/>
      </dsp:nvSpPr>
      <dsp:spPr>
        <a:xfrm>
          <a:off x="2567" y="126186"/>
          <a:ext cx="2284883" cy="913953"/>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1</a:t>
          </a:r>
        </a:p>
      </dsp:txBody>
      <dsp:txXfrm>
        <a:off x="459544" y="126186"/>
        <a:ext cx="1370930" cy="913953"/>
      </dsp:txXfrm>
    </dsp:sp>
    <dsp:sp modelId="{E1558D32-9566-44BD-8A5B-E83CF4804E43}">
      <dsp:nvSpPr>
        <dsp:cNvPr id="0" name=""/>
        <dsp:cNvSpPr/>
      </dsp:nvSpPr>
      <dsp:spPr>
        <a:xfrm>
          <a:off x="2058962" y="126186"/>
          <a:ext cx="2284883" cy="913953"/>
        </a:xfrm>
        <a:prstGeom prst="chevron">
          <a:avLst/>
        </a:prstGeom>
        <a:solidFill>
          <a:schemeClr val="accent1">
            <a:shade val="80000"/>
            <a:hueOff val="87321"/>
            <a:satOff val="-1564"/>
            <a:lumOff val="6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ia …</a:t>
          </a:r>
        </a:p>
      </dsp:txBody>
      <dsp:txXfrm>
        <a:off x="2515939" y="126186"/>
        <a:ext cx="1370930" cy="913953"/>
      </dsp:txXfrm>
    </dsp:sp>
    <dsp:sp modelId="{B391E9BF-5F32-45B9-9BCD-33CA8A7FBFAF}">
      <dsp:nvSpPr>
        <dsp:cNvPr id="0" name=""/>
        <dsp:cNvSpPr/>
      </dsp:nvSpPr>
      <dsp:spPr>
        <a:xfrm>
          <a:off x="4115358" y="126186"/>
          <a:ext cx="2284883" cy="913953"/>
        </a:xfrm>
        <a:prstGeom prst="chevron">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83</a:t>
          </a:r>
        </a:p>
      </dsp:txBody>
      <dsp:txXfrm>
        <a:off x="4572335" y="126186"/>
        <a:ext cx="1370930" cy="913953"/>
      </dsp:txXfrm>
    </dsp:sp>
    <dsp:sp modelId="{B8B89C3F-832D-44D5-AEE4-E511C26B1C60}">
      <dsp:nvSpPr>
        <dsp:cNvPr id="0" name=""/>
        <dsp:cNvSpPr/>
      </dsp:nvSpPr>
      <dsp:spPr>
        <a:xfrm>
          <a:off x="6171753" y="126186"/>
          <a:ext cx="2284883" cy="913953"/>
        </a:xfrm>
        <a:prstGeom prst="chevron">
          <a:avLst/>
        </a:prstGeom>
        <a:solidFill>
          <a:schemeClr val="accent1">
            <a:shade val="80000"/>
            <a:hueOff val="261962"/>
            <a:satOff val="-4692"/>
            <a:lumOff val="199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a:t>
          </a:r>
        </a:p>
      </dsp:txBody>
      <dsp:txXfrm>
        <a:off x="6628730" y="126186"/>
        <a:ext cx="1370930" cy="913953"/>
      </dsp:txXfrm>
    </dsp:sp>
    <dsp:sp modelId="{A962575C-4341-4F05-84C4-15E82F2F1A26}">
      <dsp:nvSpPr>
        <dsp:cNvPr id="0" name=""/>
        <dsp:cNvSpPr/>
      </dsp:nvSpPr>
      <dsp:spPr>
        <a:xfrm>
          <a:off x="8228148" y="126186"/>
          <a:ext cx="2284883" cy="913953"/>
        </a:xfrm>
        <a:prstGeom prst="chevron">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40005" rIns="40005" bIns="40005" numCol="1" spcCol="1270" anchor="ctr" anchorCtr="0">
          <a:noAutofit/>
        </a:bodyPr>
        <a:lstStyle/>
        <a:p>
          <a:pPr marL="0" lvl="0" indent="0" algn="ctr" defTabSz="1333500">
            <a:lnSpc>
              <a:spcPct val="90000"/>
            </a:lnSpc>
            <a:spcBef>
              <a:spcPct val="0"/>
            </a:spcBef>
            <a:spcAft>
              <a:spcPct val="35000"/>
            </a:spcAft>
            <a:buNone/>
          </a:pPr>
          <a:r>
            <a:rPr lang="es-ES" sz="3000" kern="1200" dirty="0"/>
            <a:t>Día 365</a:t>
          </a:r>
        </a:p>
      </dsp:txBody>
      <dsp:txXfrm>
        <a:off x="8685125" y="126186"/>
        <a:ext cx="1370930" cy="913953"/>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080036-D364-4623-804A-695B0AB8C503}">
      <dsp:nvSpPr>
        <dsp:cNvPr id="0" name=""/>
        <dsp:cNvSpPr/>
      </dsp:nvSpPr>
      <dsp:spPr>
        <a:xfrm>
          <a:off x="0" y="39687"/>
          <a:ext cx="3286125" cy="1971675"/>
        </a:xfrm>
        <a:prstGeom prst="rect">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Un histórico de operaciones = Trazable</a:t>
          </a:r>
        </a:p>
      </dsp:txBody>
      <dsp:txXfrm>
        <a:off x="0" y="39687"/>
        <a:ext cx="3286125" cy="1971675"/>
      </dsp:txXfrm>
    </dsp:sp>
    <dsp:sp modelId="{6F50A47B-9434-4383-9C77-55CF615BBCF7}">
      <dsp:nvSpPr>
        <dsp:cNvPr id="0" name=""/>
        <dsp:cNvSpPr/>
      </dsp:nvSpPr>
      <dsp:spPr>
        <a:xfrm>
          <a:off x="3614737" y="39687"/>
          <a:ext cx="3286125" cy="1971675"/>
        </a:xfrm>
        <a:prstGeom prst="rect">
          <a:avLst/>
        </a:prstGeom>
        <a:solidFill>
          <a:schemeClr val="accent3">
            <a:shade val="80000"/>
            <a:hueOff val="0"/>
            <a:satOff val="0"/>
            <a:lumOff val="38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Con un sistema de verificación de cada nueva operación = Seguro</a:t>
          </a:r>
          <a:endParaRPr lang="es-ES" sz="2500" kern="1200" baseline="30000" dirty="0"/>
        </a:p>
      </dsp:txBody>
      <dsp:txXfrm>
        <a:off x="3614737" y="39687"/>
        <a:ext cx="3286125" cy="1971675"/>
      </dsp:txXfrm>
    </dsp:sp>
    <dsp:sp modelId="{C83DC467-D1C0-4145-B8F3-7C4372532DDB}">
      <dsp:nvSpPr>
        <dsp:cNvPr id="0" name=""/>
        <dsp:cNvSpPr/>
      </dsp:nvSpPr>
      <dsp:spPr>
        <a:xfrm>
          <a:off x="7229475" y="39687"/>
          <a:ext cx="3286125" cy="1971675"/>
        </a:xfrm>
        <a:prstGeom prst="rect">
          <a:avLst/>
        </a:prstGeom>
        <a:solidFill>
          <a:schemeClr val="accent3">
            <a:shade val="80000"/>
            <a:hueOff val="0"/>
            <a:satOff val="0"/>
            <a:lumOff val="76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Por cada porción del histórico (Bloque)</a:t>
          </a:r>
        </a:p>
      </dsp:txBody>
      <dsp:txXfrm>
        <a:off x="7229475" y="39687"/>
        <a:ext cx="3286125" cy="1971675"/>
      </dsp:txXfrm>
    </dsp:sp>
    <dsp:sp modelId="{652318C9-7121-40F1-BA0A-8E504903A9BF}">
      <dsp:nvSpPr>
        <dsp:cNvPr id="0" name=""/>
        <dsp:cNvSpPr/>
      </dsp:nvSpPr>
      <dsp:spPr>
        <a:xfrm>
          <a:off x="0" y="2339975"/>
          <a:ext cx="3286125" cy="1971675"/>
        </a:xfrm>
        <a:prstGeom prst="rect">
          <a:avLst/>
        </a:prstGeom>
        <a:solidFill>
          <a:schemeClr val="accent3">
            <a:shade val="80000"/>
            <a:hueOff val="0"/>
            <a:satOff val="0"/>
            <a:lumOff val="114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Ponemos una clave del bloque anterior + clave para todo el bloque + Encriptamos = Inviolable</a:t>
          </a:r>
        </a:p>
      </dsp:txBody>
      <dsp:txXfrm>
        <a:off x="0" y="2339975"/>
        <a:ext cx="3286125" cy="1971675"/>
      </dsp:txXfrm>
    </dsp:sp>
    <dsp:sp modelId="{489221B8-35D3-4290-9D33-3A1422889658}">
      <dsp:nvSpPr>
        <dsp:cNvPr id="0" name=""/>
        <dsp:cNvSpPr/>
      </dsp:nvSpPr>
      <dsp:spPr>
        <a:xfrm>
          <a:off x="3614737" y="2339975"/>
          <a:ext cx="3286125" cy="1971675"/>
        </a:xfrm>
        <a:prstGeom prst="rect">
          <a:avLst/>
        </a:prstGeom>
        <a:solidFill>
          <a:schemeClr val="accent3">
            <a:shade val="80000"/>
            <a:hueOff val="0"/>
            <a:satOff val="0"/>
            <a:lumOff val="152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A disposición de todos los participantes = Confiable</a:t>
          </a:r>
        </a:p>
      </dsp:txBody>
      <dsp:txXfrm>
        <a:off x="3614737" y="2339975"/>
        <a:ext cx="3286125" cy="1971675"/>
      </dsp:txXfrm>
    </dsp:sp>
    <dsp:sp modelId="{5765C76D-DA52-4787-9BF6-4CB1D37E6335}">
      <dsp:nvSpPr>
        <dsp:cNvPr id="0" name=""/>
        <dsp:cNvSpPr/>
      </dsp:nvSpPr>
      <dsp:spPr>
        <a:xfrm>
          <a:off x="7229475" y="2339975"/>
          <a:ext cx="3286125" cy="1971675"/>
        </a:xfrm>
        <a:prstGeom prst="rect">
          <a:avLst/>
        </a:prstGeom>
        <a:solidFill>
          <a:schemeClr val="accent3">
            <a:shade val="80000"/>
            <a:hueOff val="0"/>
            <a:satOff val="0"/>
            <a:lumOff val="190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s-ES" sz="2500" kern="1200" dirty="0"/>
            <a:t>Con un sistema de consulta = Confiable</a:t>
          </a:r>
          <a:r>
            <a:rPr lang="es-ES" sz="2500" kern="1200" baseline="30000" dirty="0"/>
            <a:t>2</a:t>
          </a:r>
        </a:p>
      </dsp:txBody>
      <dsp:txXfrm>
        <a:off x="7229475" y="2339975"/>
        <a:ext cx="3286125" cy="1971675"/>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F0377-0299-4E6D-9BE2-F3109E419733}">
      <dsp:nvSpPr>
        <dsp:cNvPr id="0" name=""/>
        <dsp:cNvSpPr/>
      </dsp:nvSpPr>
      <dsp:spPr>
        <a:xfrm>
          <a:off x="0" y="64674"/>
          <a:ext cx="5181600" cy="455715"/>
        </a:xfrm>
        <a:prstGeom prst="round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b="1" kern="1200" noProof="0" dirty="0"/>
            <a:t>Ex Ante. </a:t>
          </a:r>
          <a:endParaRPr lang="es-ES" sz="1900" kern="1200" dirty="0"/>
        </a:p>
      </dsp:txBody>
      <dsp:txXfrm>
        <a:off x="22246" y="86920"/>
        <a:ext cx="5137108" cy="411223"/>
      </dsp:txXfrm>
    </dsp:sp>
    <dsp:sp modelId="{F15A3592-5F75-4ED0-9AAD-9796D865F9CA}">
      <dsp:nvSpPr>
        <dsp:cNvPr id="0" name=""/>
        <dsp:cNvSpPr/>
      </dsp:nvSpPr>
      <dsp:spPr>
        <a:xfrm>
          <a:off x="0" y="520389"/>
          <a:ext cx="5181600"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noProof="0" dirty="0"/>
            <a:t>Conocer donde y cuando hay que barrer.</a:t>
          </a:r>
        </a:p>
        <a:p>
          <a:pPr marL="114300" lvl="1" indent="-114300" algn="l" defTabSz="666750">
            <a:lnSpc>
              <a:spcPct val="90000"/>
            </a:lnSpc>
            <a:spcBef>
              <a:spcPct val="0"/>
            </a:spcBef>
            <a:spcAft>
              <a:spcPct val="20000"/>
            </a:spcAft>
            <a:buChar char="•"/>
          </a:pPr>
          <a:r>
            <a:rPr lang="es-ES" sz="1500" kern="1200" noProof="0" dirty="0"/>
            <a:t>Enviar a la barredora. Par ordenado: [Situación x Idoneidad].</a:t>
          </a:r>
        </a:p>
        <a:p>
          <a:pPr marL="114300" lvl="1" indent="-114300" algn="l" defTabSz="666750">
            <a:lnSpc>
              <a:spcPct val="90000"/>
            </a:lnSpc>
            <a:spcBef>
              <a:spcPct val="0"/>
            </a:spcBef>
            <a:spcAft>
              <a:spcPct val="20000"/>
            </a:spcAft>
            <a:buChar char="•"/>
          </a:pPr>
          <a:r>
            <a:rPr lang="es-ES" sz="1500" kern="1200" noProof="0" dirty="0"/>
            <a:t>Dirigir la barredora.</a:t>
          </a:r>
        </a:p>
      </dsp:txBody>
      <dsp:txXfrm>
        <a:off x="0" y="520389"/>
        <a:ext cx="5181600" cy="786599"/>
      </dsp:txXfrm>
    </dsp:sp>
    <dsp:sp modelId="{374EB655-C399-4EE2-9A45-4D60C90B595E}">
      <dsp:nvSpPr>
        <dsp:cNvPr id="0" name=""/>
        <dsp:cNvSpPr/>
      </dsp:nvSpPr>
      <dsp:spPr>
        <a:xfrm>
          <a:off x="0" y="1306989"/>
          <a:ext cx="5181600" cy="455715"/>
        </a:xfrm>
        <a:prstGeom prst="roundRect">
          <a:avLst/>
        </a:prstGeom>
        <a:solidFill>
          <a:schemeClr val="accent3">
            <a:shade val="50000"/>
            <a:hueOff val="0"/>
            <a:satOff val="0"/>
            <a:lumOff val="17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b="1" kern="1200" noProof="0" dirty="0"/>
            <a:t>Ex post. </a:t>
          </a:r>
        </a:p>
      </dsp:txBody>
      <dsp:txXfrm>
        <a:off x="22246" y="1329235"/>
        <a:ext cx="5137108" cy="411223"/>
      </dsp:txXfrm>
    </dsp:sp>
    <dsp:sp modelId="{367F359D-CE96-45A0-9F1A-DEEAD0C2B2A2}">
      <dsp:nvSpPr>
        <dsp:cNvPr id="0" name=""/>
        <dsp:cNvSpPr/>
      </dsp:nvSpPr>
      <dsp:spPr>
        <a:xfrm>
          <a:off x="0" y="1762704"/>
          <a:ext cx="5181600"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noProof="0" dirty="0"/>
            <a:t>Comprobar los resultados</a:t>
          </a:r>
        </a:p>
      </dsp:txBody>
      <dsp:txXfrm>
        <a:off x="0" y="1762704"/>
        <a:ext cx="5181600" cy="314640"/>
      </dsp:txXfrm>
    </dsp:sp>
    <dsp:sp modelId="{F08411B5-9B84-40AA-A451-9E7E5CF60F06}">
      <dsp:nvSpPr>
        <dsp:cNvPr id="0" name=""/>
        <dsp:cNvSpPr/>
      </dsp:nvSpPr>
      <dsp:spPr>
        <a:xfrm>
          <a:off x="0" y="2077344"/>
          <a:ext cx="5181600" cy="455715"/>
        </a:xfrm>
        <a:prstGeom prst="roundRect">
          <a:avLst/>
        </a:prstGeom>
        <a:solidFill>
          <a:schemeClr val="accent3">
            <a:shade val="50000"/>
            <a:hueOff val="0"/>
            <a:satOff val="0"/>
            <a:lumOff val="359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b="1" kern="1200" noProof="0" dirty="0"/>
            <a:t>Fuentes de información: </a:t>
          </a:r>
        </a:p>
      </dsp:txBody>
      <dsp:txXfrm>
        <a:off x="22246" y="2099590"/>
        <a:ext cx="5137108" cy="411223"/>
      </dsp:txXfrm>
    </dsp:sp>
    <dsp:sp modelId="{8281B759-3617-418A-9031-0C5E64C30139}">
      <dsp:nvSpPr>
        <dsp:cNvPr id="0" name=""/>
        <dsp:cNvSpPr/>
      </dsp:nvSpPr>
      <dsp:spPr>
        <a:xfrm>
          <a:off x="0" y="2533059"/>
          <a:ext cx="5181600"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noProof="0" dirty="0"/>
            <a:t>Cámaras, sensores y social media de forma amplia.</a:t>
          </a:r>
        </a:p>
      </dsp:txBody>
      <dsp:txXfrm>
        <a:off x="0" y="2533059"/>
        <a:ext cx="5181600" cy="314640"/>
      </dsp:txXfrm>
    </dsp:sp>
    <dsp:sp modelId="{52FE23E3-C808-4533-993A-B9C4550F1722}">
      <dsp:nvSpPr>
        <dsp:cNvPr id="0" name=""/>
        <dsp:cNvSpPr/>
      </dsp:nvSpPr>
      <dsp:spPr>
        <a:xfrm>
          <a:off x="0" y="2847699"/>
          <a:ext cx="5181600" cy="455715"/>
        </a:xfrm>
        <a:prstGeom prst="roundRect">
          <a:avLst/>
        </a:prstGeom>
        <a:solidFill>
          <a:schemeClr val="accent3">
            <a:shade val="50000"/>
            <a:hueOff val="0"/>
            <a:satOff val="0"/>
            <a:lumOff val="17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b="1" kern="1200" noProof="0" dirty="0"/>
            <a:t>Futuro: </a:t>
          </a:r>
        </a:p>
      </dsp:txBody>
      <dsp:txXfrm>
        <a:off x="22246" y="2869945"/>
        <a:ext cx="5137108" cy="411223"/>
      </dsp:txXfrm>
    </dsp:sp>
    <dsp:sp modelId="{A031C092-B61C-4E4A-A961-E3F4F11EAA8F}">
      <dsp:nvSpPr>
        <dsp:cNvPr id="0" name=""/>
        <dsp:cNvSpPr/>
      </dsp:nvSpPr>
      <dsp:spPr>
        <a:xfrm>
          <a:off x="0" y="3303414"/>
          <a:ext cx="5181600" cy="983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noProof="0" dirty="0"/>
            <a:t>Desde los resultados y mediante Blockchain y Smart contract de forma automática:</a:t>
          </a:r>
        </a:p>
        <a:p>
          <a:pPr marL="114300" lvl="1" indent="-114300" algn="l" defTabSz="666750">
            <a:lnSpc>
              <a:spcPct val="90000"/>
            </a:lnSpc>
            <a:spcBef>
              <a:spcPct val="0"/>
            </a:spcBef>
            <a:spcAft>
              <a:spcPct val="20000"/>
            </a:spcAft>
            <a:buChar char="•"/>
          </a:pPr>
          <a:r>
            <a:rPr lang="es-ES" sz="1500" kern="1200" noProof="0" dirty="0"/>
            <a:t>Abonar el servicio a la contrata.</a:t>
          </a:r>
        </a:p>
        <a:p>
          <a:pPr marL="114300" lvl="1" indent="-114300" algn="l" defTabSz="666750">
            <a:lnSpc>
              <a:spcPct val="90000"/>
            </a:lnSpc>
            <a:spcBef>
              <a:spcPct val="0"/>
            </a:spcBef>
            <a:spcAft>
              <a:spcPct val="20000"/>
            </a:spcAft>
            <a:buChar char="•"/>
          </a:pPr>
          <a:r>
            <a:rPr lang="es-ES" sz="1500" kern="1200" noProof="0" dirty="0"/>
            <a:t>Cargar penalizaciones a la contrata. </a:t>
          </a:r>
        </a:p>
      </dsp:txBody>
      <dsp:txXfrm>
        <a:off x="0" y="3303414"/>
        <a:ext cx="5181600" cy="983250"/>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600F63-463C-431B-9F25-6FC9773E67D8}">
      <dsp:nvSpPr>
        <dsp:cNvPr id="0" name=""/>
        <dsp:cNvSpPr/>
      </dsp:nvSpPr>
      <dsp:spPr>
        <a:xfrm>
          <a:off x="0" y="320319"/>
          <a:ext cx="5181600" cy="45571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Finanzas: </a:t>
          </a:r>
        </a:p>
      </dsp:txBody>
      <dsp:txXfrm>
        <a:off x="22246" y="342565"/>
        <a:ext cx="5137108" cy="411223"/>
      </dsp:txXfrm>
    </dsp:sp>
    <dsp:sp modelId="{E38856C5-E548-45FD-9959-65AF3CAA69D6}">
      <dsp:nvSpPr>
        <dsp:cNvPr id="0" name=""/>
        <dsp:cNvSpPr/>
      </dsp:nvSpPr>
      <dsp:spPr>
        <a:xfrm>
          <a:off x="0" y="776034"/>
          <a:ext cx="5181600"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dirty="0"/>
            <a:t>Se usa para desarrollar nuevas aplicaciones financieras, p.ej criptomonedas, las remesas y los pagos transfronterizos.</a:t>
          </a:r>
        </a:p>
      </dsp:txBody>
      <dsp:txXfrm>
        <a:off x="0" y="776034"/>
        <a:ext cx="5181600" cy="471960"/>
      </dsp:txXfrm>
    </dsp:sp>
    <dsp:sp modelId="{E2278566-93FF-427B-AFA1-A370C3DB7B2C}">
      <dsp:nvSpPr>
        <dsp:cNvPr id="0" name=""/>
        <dsp:cNvSpPr/>
      </dsp:nvSpPr>
      <dsp:spPr>
        <a:xfrm>
          <a:off x="0" y="1247994"/>
          <a:ext cx="5181600" cy="455715"/>
        </a:xfrm>
        <a:prstGeom prst="roundRect">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Cadena de suministro: </a:t>
          </a:r>
        </a:p>
      </dsp:txBody>
      <dsp:txXfrm>
        <a:off x="22246" y="1270240"/>
        <a:ext cx="5137108" cy="411223"/>
      </dsp:txXfrm>
    </dsp:sp>
    <dsp:sp modelId="{3028CC36-4066-46B2-AB07-7B2193EEF57E}">
      <dsp:nvSpPr>
        <dsp:cNvPr id="0" name=""/>
        <dsp:cNvSpPr/>
      </dsp:nvSpPr>
      <dsp:spPr>
        <a:xfrm>
          <a:off x="0" y="1703709"/>
          <a:ext cx="5181600"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dirty="0"/>
            <a:t>Se está utilizando para mejorar la trazabilidad y la transparencia de las mismas.</a:t>
          </a:r>
        </a:p>
      </dsp:txBody>
      <dsp:txXfrm>
        <a:off x="0" y="1703709"/>
        <a:ext cx="5181600" cy="471960"/>
      </dsp:txXfrm>
    </dsp:sp>
    <dsp:sp modelId="{D34B91A1-85AB-4077-98D1-1EBCCAA4EBE8}">
      <dsp:nvSpPr>
        <dsp:cNvPr id="0" name=""/>
        <dsp:cNvSpPr/>
      </dsp:nvSpPr>
      <dsp:spPr>
        <a:xfrm>
          <a:off x="0" y="2175669"/>
          <a:ext cx="5181600" cy="455715"/>
        </a:xfrm>
        <a:prstGeom prst="roundRect">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Atención médica: </a:t>
          </a:r>
        </a:p>
      </dsp:txBody>
      <dsp:txXfrm>
        <a:off x="22246" y="2197915"/>
        <a:ext cx="5137108" cy="411223"/>
      </dsp:txXfrm>
    </dsp:sp>
    <dsp:sp modelId="{68B0C3ED-4DFA-4BDE-8E9B-C94D8B352D1E}">
      <dsp:nvSpPr>
        <dsp:cNvPr id="0" name=""/>
        <dsp:cNvSpPr/>
      </dsp:nvSpPr>
      <dsp:spPr>
        <a:xfrm>
          <a:off x="0" y="2631383"/>
          <a:ext cx="5181600"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dirty="0"/>
            <a:t>Se está utilizando para compartir registros médicos de forma segura y eficiente.</a:t>
          </a:r>
        </a:p>
      </dsp:txBody>
      <dsp:txXfrm>
        <a:off x="0" y="2631383"/>
        <a:ext cx="5181600" cy="471960"/>
      </dsp:txXfrm>
    </dsp:sp>
    <dsp:sp modelId="{054DC60E-250B-42D1-ACCF-CD2E634DE054}">
      <dsp:nvSpPr>
        <dsp:cNvPr id="0" name=""/>
        <dsp:cNvSpPr/>
      </dsp:nvSpPr>
      <dsp:spPr>
        <a:xfrm>
          <a:off x="0" y="3103344"/>
          <a:ext cx="5181600" cy="455715"/>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s-ES" sz="1900" kern="1200" dirty="0"/>
            <a:t>Gobierno: </a:t>
          </a:r>
        </a:p>
      </dsp:txBody>
      <dsp:txXfrm>
        <a:off x="22246" y="3125590"/>
        <a:ext cx="5137108" cy="411223"/>
      </dsp:txXfrm>
    </dsp:sp>
    <dsp:sp modelId="{C1733044-1576-46C4-B21A-84639D038D29}">
      <dsp:nvSpPr>
        <dsp:cNvPr id="0" name=""/>
        <dsp:cNvSpPr/>
      </dsp:nvSpPr>
      <dsp:spPr>
        <a:xfrm>
          <a:off x="0" y="3559059"/>
          <a:ext cx="5181600" cy="471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s-ES" sz="1500" kern="1200" dirty="0"/>
            <a:t>Se está utilizando para desarrollar aplicaciones de gobierno electrónico, como la identidad digital y el voto electrónico.</a:t>
          </a:r>
        </a:p>
      </dsp:txBody>
      <dsp:txXfrm>
        <a:off x="0" y="3559059"/>
        <a:ext cx="5181600" cy="4719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7B9C1-9E98-4AD3-8F65-3147376C01A9}">
      <dsp:nvSpPr>
        <dsp:cNvPr id="0" name=""/>
        <dsp:cNvSpPr/>
      </dsp:nvSpPr>
      <dsp:spPr>
        <a:xfrm>
          <a:off x="0" y="1300204"/>
          <a:ext cx="11364685" cy="173360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8F74C5-5C5D-49E0-83A5-F12FC9CC96E0}">
      <dsp:nvSpPr>
        <dsp:cNvPr id="0" name=""/>
        <dsp:cNvSpPr/>
      </dsp:nvSpPr>
      <dsp:spPr>
        <a:xfrm>
          <a:off x="873" y="0"/>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1">
          <a:noAutofit/>
        </a:bodyPr>
        <a:lstStyle/>
        <a:p>
          <a:pPr marL="0" lvl="0" indent="0" algn="l" defTabSz="666750">
            <a:lnSpc>
              <a:spcPct val="90000"/>
            </a:lnSpc>
            <a:spcBef>
              <a:spcPct val="0"/>
            </a:spcBef>
            <a:spcAft>
              <a:spcPct val="35000"/>
            </a:spcAft>
            <a:buNone/>
          </a:pPr>
          <a:r>
            <a:rPr lang="es-ES" sz="1500" kern="1200" dirty="0"/>
            <a:t>2000</a:t>
          </a:r>
          <a:endParaRPr lang="en-US" sz="1500" kern="1200" dirty="0"/>
        </a:p>
        <a:p>
          <a:pPr marL="114300" lvl="1" indent="-114300" algn="l" defTabSz="533400">
            <a:lnSpc>
              <a:spcPct val="90000"/>
            </a:lnSpc>
            <a:spcBef>
              <a:spcPct val="0"/>
            </a:spcBef>
            <a:spcAft>
              <a:spcPct val="15000"/>
            </a:spcAft>
            <a:buChar char="•"/>
          </a:pPr>
          <a:r>
            <a:rPr lang="es-ES" sz="1200" kern="1200" dirty="0"/>
            <a:t>Se convierte en Marketplace, todos compran y venden.</a:t>
          </a:r>
        </a:p>
        <a:p>
          <a:pPr marL="114300" lvl="1" indent="-114300" algn="l" defTabSz="533400">
            <a:lnSpc>
              <a:spcPct val="90000"/>
            </a:lnSpc>
            <a:spcBef>
              <a:spcPct val="0"/>
            </a:spcBef>
            <a:spcAft>
              <a:spcPct val="15000"/>
            </a:spcAft>
            <a:buChar char="•"/>
          </a:pPr>
          <a:r>
            <a:rPr lang="es-ES" sz="1200" kern="1200" dirty="0"/>
            <a:t>Amazon garantiza calidad y logística.</a:t>
          </a:r>
        </a:p>
      </dsp:txBody>
      <dsp:txXfrm>
        <a:off x="873" y="0"/>
        <a:ext cx="1400886" cy="1733606"/>
      </dsp:txXfrm>
    </dsp:sp>
    <dsp:sp modelId="{E033D30F-D957-4782-8955-C2B8A25FCE46}">
      <dsp:nvSpPr>
        <dsp:cNvPr id="0" name=""/>
        <dsp:cNvSpPr/>
      </dsp:nvSpPr>
      <dsp:spPr>
        <a:xfrm>
          <a:off x="484616"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DBC4E7-4FD3-4192-8F7D-8126B3224AEC}">
      <dsp:nvSpPr>
        <dsp:cNvPr id="0" name=""/>
        <dsp:cNvSpPr/>
      </dsp:nvSpPr>
      <dsp:spPr>
        <a:xfrm>
          <a:off x="1471804" y="2600409"/>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1">
          <a:noAutofit/>
        </a:bodyPr>
        <a:lstStyle/>
        <a:p>
          <a:pPr marL="0" lvl="0" indent="0" algn="l" defTabSz="666750">
            <a:lnSpc>
              <a:spcPct val="90000"/>
            </a:lnSpc>
            <a:spcBef>
              <a:spcPct val="0"/>
            </a:spcBef>
            <a:spcAft>
              <a:spcPct val="35000"/>
            </a:spcAft>
            <a:buNone/>
          </a:pPr>
          <a:r>
            <a:rPr lang="en-US" sz="1500" kern="1200" dirty="0"/>
            <a:t>2002</a:t>
          </a:r>
        </a:p>
        <a:p>
          <a:pPr marL="114300" lvl="1" indent="-114300" algn="l" defTabSz="533400">
            <a:lnSpc>
              <a:spcPct val="90000"/>
            </a:lnSpc>
            <a:spcBef>
              <a:spcPct val="0"/>
            </a:spcBef>
            <a:spcAft>
              <a:spcPct val="15000"/>
            </a:spcAft>
            <a:buChar char="•"/>
          </a:pPr>
          <a:r>
            <a:rPr lang="en-US" sz="1200" kern="1200" dirty="0"/>
            <a:t>AWS: Nube</a:t>
          </a:r>
        </a:p>
      </dsp:txBody>
      <dsp:txXfrm>
        <a:off x="1471804" y="2600409"/>
        <a:ext cx="1400886" cy="1733606"/>
      </dsp:txXfrm>
    </dsp:sp>
    <dsp:sp modelId="{59469A8A-B26B-44A8-82EC-51B1E80BEC4E}">
      <dsp:nvSpPr>
        <dsp:cNvPr id="0" name=""/>
        <dsp:cNvSpPr/>
      </dsp:nvSpPr>
      <dsp:spPr>
        <a:xfrm>
          <a:off x="1955546"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E21488-7EF8-4782-8F2E-C60D5041F894}">
      <dsp:nvSpPr>
        <dsp:cNvPr id="0" name=""/>
        <dsp:cNvSpPr/>
      </dsp:nvSpPr>
      <dsp:spPr>
        <a:xfrm>
          <a:off x="2942734" y="0"/>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1">
          <a:noAutofit/>
        </a:bodyPr>
        <a:lstStyle/>
        <a:p>
          <a:pPr marL="0" lvl="0" indent="0" algn="l" defTabSz="666750">
            <a:lnSpc>
              <a:spcPct val="90000"/>
            </a:lnSpc>
            <a:spcBef>
              <a:spcPct val="0"/>
            </a:spcBef>
            <a:spcAft>
              <a:spcPct val="35000"/>
            </a:spcAft>
            <a:buNone/>
          </a:pPr>
          <a:r>
            <a:rPr lang="en-US" sz="1500" kern="1200" dirty="0"/>
            <a:t>2005</a:t>
          </a:r>
        </a:p>
        <a:p>
          <a:pPr marL="114300" lvl="1" indent="-114300" algn="l" defTabSz="533400">
            <a:lnSpc>
              <a:spcPct val="90000"/>
            </a:lnSpc>
            <a:spcBef>
              <a:spcPct val="0"/>
            </a:spcBef>
            <a:spcAft>
              <a:spcPct val="15000"/>
            </a:spcAft>
            <a:buChar char="•"/>
          </a:pPr>
          <a:r>
            <a:rPr lang="en-US" sz="1200" kern="1200" dirty="0"/>
            <a:t>Amazon Prime (Suscripción)</a:t>
          </a:r>
        </a:p>
      </dsp:txBody>
      <dsp:txXfrm>
        <a:off x="2942734" y="0"/>
        <a:ext cx="1400886" cy="1733606"/>
      </dsp:txXfrm>
    </dsp:sp>
    <dsp:sp modelId="{F0340A46-EA1E-4F51-8103-ACAD802906A9}">
      <dsp:nvSpPr>
        <dsp:cNvPr id="0" name=""/>
        <dsp:cNvSpPr/>
      </dsp:nvSpPr>
      <dsp:spPr>
        <a:xfrm>
          <a:off x="3426477"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11378A-94C9-4D67-8A59-0EC64FE52B20}">
      <dsp:nvSpPr>
        <dsp:cNvPr id="0" name=""/>
        <dsp:cNvSpPr/>
      </dsp:nvSpPr>
      <dsp:spPr>
        <a:xfrm>
          <a:off x="4413665" y="2600409"/>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1">
          <a:noAutofit/>
        </a:bodyPr>
        <a:lstStyle/>
        <a:p>
          <a:pPr marL="0" lvl="0" indent="0" algn="l" defTabSz="666750">
            <a:lnSpc>
              <a:spcPct val="90000"/>
            </a:lnSpc>
            <a:spcBef>
              <a:spcPct val="0"/>
            </a:spcBef>
            <a:spcAft>
              <a:spcPct val="35000"/>
            </a:spcAft>
            <a:buNone/>
          </a:pPr>
          <a:r>
            <a:rPr lang="en-US" sz="1500" kern="1200" dirty="0"/>
            <a:t>2016</a:t>
          </a:r>
        </a:p>
        <a:p>
          <a:pPr marL="114300" lvl="1" indent="-114300" algn="l" defTabSz="533400">
            <a:lnSpc>
              <a:spcPct val="90000"/>
            </a:lnSpc>
            <a:spcBef>
              <a:spcPct val="0"/>
            </a:spcBef>
            <a:spcAft>
              <a:spcPct val="15000"/>
            </a:spcAft>
            <a:buChar char="•"/>
          </a:pPr>
          <a:r>
            <a:rPr lang="en-US" sz="1200" kern="1200" dirty="0"/>
            <a:t>Amazon Go – Tiendas físicas para empleados</a:t>
          </a:r>
        </a:p>
      </dsp:txBody>
      <dsp:txXfrm>
        <a:off x="4413665" y="2600409"/>
        <a:ext cx="1400886" cy="1733606"/>
      </dsp:txXfrm>
    </dsp:sp>
    <dsp:sp modelId="{66D5039F-05BA-482B-B5C5-8C9277EAC8EE}">
      <dsp:nvSpPr>
        <dsp:cNvPr id="0" name=""/>
        <dsp:cNvSpPr/>
      </dsp:nvSpPr>
      <dsp:spPr>
        <a:xfrm>
          <a:off x="4897407"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8E8C2C-DEF8-45C9-871E-743BEEF07A97}">
      <dsp:nvSpPr>
        <dsp:cNvPr id="0" name=""/>
        <dsp:cNvSpPr/>
      </dsp:nvSpPr>
      <dsp:spPr>
        <a:xfrm>
          <a:off x="5884595" y="0"/>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1">
          <a:noAutofit/>
        </a:bodyPr>
        <a:lstStyle/>
        <a:p>
          <a:pPr marL="0" lvl="0" indent="0" algn="l" defTabSz="666750">
            <a:lnSpc>
              <a:spcPct val="90000"/>
            </a:lnSpc>
            <a:spcBef>
              <a:spcPct val="0"/>
            </a:spcBef>
            <a:spcAft>
              <a:spcPct val="35000"/>
            </a:spcAft>
            <a:buNone/>
          </a:pPr>
          <a:r>
            <a:rPr lang="en-US" sz="1500" kern="1200" dirty="0"/>
            <a:t>2017</a:t>
          </a:r>
        </a:p>
        <a:p>
          <a:pPr marL="114300" lvl="1" indent="-114300" algn="l" defTabSz="533400">
            <a:lnSpc>
              <a:spcPct val="90000"/>
            </a:lnSpc>
            <a:spcBef>
              <a:spcPct val="0"/>
            </a:spcBef>
            <a:spcAft>
              <a:spcPct val="15000"/>
            </a:spcAft>
            <a:buChar char="•"/>
          </a:pPr>
          <a:r>
            <a:rPr lang="es-ES" sz="1200" b="1" i="0" kern="1200" dirty="0"/>
            <a:t>Jeff Bezos se convierte en la persona más rica del mundo </a:t>
          </a:r>
          <a:endParaRPr lang="en-US" sz="1200" kern="1200" dirty="0"/>
        </a:p>
      </dsp:txBody>
      <dsp:txXfrm>
        <a:off x="5884595" y="0"/>
        <a:ext cx="1400886" cy="1733606"/>
      </dsp:txXfrm>
    </dsp:sp>
    <dsp:sp modelId="{F18CE6D0-C25C-4FAF-93EA-17F363014D8E}">
      <dsp:nvSpPr>
        <dsp:cNvPr id="0" name=""/>
        <dsp:cNvSpPr/>
      </dsp:nvSpPr>
      <dsp:spPr>
        <a:xfrm>
          <a:off x="6368337"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3184EC-2F7C-47D9-9DC8-E25642BE0651}">
      <dsp:nvSpPr>
        <dsp:cNvPr id="0" name=""/>
        <dsp:cNvSpPr/>
      </dsp:nvSpPr>
      <dsp:spPr>
        <a:xfrm>
          <a:off x="7355526" y="2600409"/>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1">
          <a:noAutofit/>
        </a:bodyPr>
        <a:lstStyle/>
        <a:p>
          <a:pPr marL="0" lvl="0" indent="0" algn="l" defTabSz="666750">
            <a:lnSpc>
              <a:spcPct val="90000"/>
            </a:lnSpc>
            <a:spcBef>
              <a:spcPct val="0"/>
            </a:spcBef>
            <a:spcAft>
              <a:spcPct val="35000"/>
            </a:spcAft>
            <a:buNone/>
          </a:pPr>
          <a:r>
            <a:rPr lang="en-US" sz="1500" kern="1200" dirty="0"/>
            <a:t>2018</a:t>
          </a:r>
        </a:p>
        <a:p>
          <a:pPr marL="114300" lvl="1" indent="-114300" algn="l" defTabSz="533400">
            <a:lnSpc>
              <a:spcPct val="90000"/>
            </a:lnSpc>
            <a:spcBef>
              <a:spcPct val="0"/>
            </a:spcBef>
            <a:spcAft>
              <a:spcPct val="15000"/>
            </a:spcAft>
            <a:buChar char="•"/>
          </a:pPr>
          <a:r>
            <a:rPr lang="en-US" sz="1200" kern="1200" dirty="0"/>
            <a:t>22 de enero, tiendas físicas para todos</a:t>
          </a:r>
        </a:p>
      </dsp:txBody>
      <dsp:txXfrm>
        <a:off x="7355526" y="2600409"/>
        <a:ext cx="1400886" cy="1733606"/>
      </dsp:txXfrm>
    </dsp:sp>
    <dsp:sp modelId="{0C43E290-CA23-48FD-9DAB-C96066CBD69F}">
      <dsp:nvSpPr>
        <dsp:cNvPr id="0" name=""/>
        <dsp:cNvSpPr/>
      </dsp:nvSpPr>
      <dsp:spPr>
        <a:xfrm>
          <a:off x="7839268"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5F731F-FCCB-4671-BE43-68E8B330BFDF}">
      <dsp:nvSpPr>
        <dsp:cNvPr id="0" name=""/>
        <dsp:cNvSpPr/>
      </dsp:nvSpPr>
      <dsp:spPr>
        <a:xfrm>
          <a:off x="8826456" y="0"/>
          <a:ext cx="1400886" cy="1733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1">
          <a:noAutofit/>
        </a:bodyPr>
        <a:lstStyle/>
        <a:p>
          <a:pPr marL="0" lvl="0" indent="0" algn="l" defTabSz="666750">
            <a:lnSpc>
              <a:spcPct val="90000"/>
            </a:lnSpc>
            <a:spcBef>
              <a:spcPct val="0"/>
            </a:spcBef>
            <a:spcAft>
              <a:spcPct val="35000"/>
            </a:spcAft>
            <a:buNone/>
          </a:pPr>
          <a:r>
            <a:rPr lang="en-US" sz="1500" kern="1200" dirty="0"/>
            <a:t>2019</a:t>
          </a:r>
        </a:p>
        <a:p>
          <a:pPr marL="114300" lvl="1" indent="-114300" algn="l" defTabSz="533400">
            <a:lnSpc>
              <a:spcPct val="90000"/>
            </a:lnSpc>
            <a:spcBef>
              <a:spcPct val="0"/>
            </a:spcBef>
            <a:spcAft>
              <a:spcPct val="15000"/>
            </a:spcAft>
            <a:buChar char="•"/>
          </a:pPr>
          <a:r>
            <a:rPr lang="en-US" sz="1200" kern="1200" dirty="0"/>
            <a:t>Amazon Prime Day. ofertas flash en millones de productos </a:t>
          </a:r>
        </a:p>
      </dsp:txBody>
      <dsp:txXfrm>
        <a:off x="8826456" y="0"/>
        <a:ext cx="1400886" cy="1733606"/>
      </dsp:txXfrm>
    </dsp:sp>
    <dsp:sp modelId="{4AE86F56-13D3-4140-B70D-71E5BDEC4CED}">
      <dsp:nvSpPr>
        <dsp:cNvPr id="0" name=""/>
        <dsp:cNvSpPr/>
      </dsp:nvSpPr>
      <dsp:spPr>
        <a:xfrm>
          <a:off x="9310198" y="1950306"/>
          <a:ext cx="433401" cy="4334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FF00D7-7909-4F70-8A0F-85973FD5DD0B}">
      <dsp:nvSpPr>
        <dsp:cNvPr id="0" name=""/>
        <dsp:cNvSpPr/>
      </dsp:nvSpPr>
      <dsp:spPr>
        <a:xfrm>
          <a:off x="0" y="9121"/>
          <a:ext cx="5181600" cy="623610"/>
        </a:xfrm>
        <a:prstGeom prst="roundRect">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s-ES" sz="2600" kern="1200" dirty="0"/>
            <a:t>Regulación: </a:t>
          </a:r>
        </a:p>
      </dsp:txBody>
      <dsp:txXfrm>
        <a:off x="30442" y="39563"/>
        <a:ext cx="5120716" cy="562726"/>
      </dsp:txXfrm>
    </dsp:sp>
    <dsp:sp modelId="{2A5BAC74-B727-427D-87E0-87C36FC5FE1B}">
      <dsp:nvSpPr>
        <dsp:cNvPr id="0" name=""/>
        <dsp:cNvSpPr/>
      </dsp:nvSpPr>
      <dsp:spPr>
        <a:xfrm>
          <a:off x="0" y="632731"/>
          <a:ext cx="5181600" cy="632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s-ES" sz="2000" kern="1200" dirty="0"/>
            <a:t>La no existencia de un marco regulatorio claro</a:t>
          </a:r>
        </a:p>
      </dsp:txBody>
      <dsp:txXfrm>
        <a:off x="0" y="632731"/>
        <a:ext cx="5181600" cy="632385"/>
      </dsp:txXfrm>
    </dsp:sp>
    <dsp:sp modelId="{290EBA2D-80A7-4381-A82C-658592659D3A}">
      <dsp:nvSpPr>
        <dsp:cNvPr id="0" name=""/>
        <dsp:cNvSpPr/>
      </dsp:nvSpPr>
      <dsp:spPr>
        <a:xfrm>
          <a:off x="0" y="1265116"/>
          <a:ext cx="5181600" cy="623610"/>
        </a:xfrm>
        <a:prstGeom prst="roundRect">
          <a:avLst/>
        </a:prstGeom>
        <a:solidFill>
          <a:schemeClr val="accent5">
            <a:shade val="50000"/>
            <a:hueOff val="222839"/>
            <a:satOff val="5970"/>
            <a:lumOff val="263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s-ES" sz="2600" kern="1200" dirty="0"/>
            <a:t>Escalabilidad: </a:t>
          </a:r>
        </a:p>
      </dsp:txBody>
      <dsp:txXfrm>
        <a:off x="30442" y="1295558"/>
        <a:ext cx="5120716" cy="562726"/>
      </dsp:txXfrm>
    </dsp:sp>
    <dsp:sp modelId="{CACBB4AA-748B-47CC-8CCC-7DCE5F46FEA2}">
      <dsp:nvSpPr>
        <dsp:cNvPr id="0" name=""/>
        <dsp:cNvSpPr/>
      </dsp:nvSpPr>
      <dsp:spPr>
        <a:xfrm>
          <a:off x="0" y="1888726"/>
          <a:ext cx="5181600" cy="91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s-ES" sz="2000" kern="1200" dirty="0"/>
            <a:t>Las redes Blockchain actuales pueden tener problemas de escalabilidad para gestionar un gran número de transacciones.</a:t>
          </a:r>
        </a:p>
      </dsp:txBody>
      <dsp:txXfrm>
        <a:off x="0" y="1888726"/>
        <a:ext cx="5181600" cy="914940"/>
      </dsp:txXfrm>
    </dsp:sp>
    <dsp:sp modelId="{1ADC3064-570E-4C1D-8234-D453A810D400}">
      <dsp:nvSpPr>
        <dsp:cNvPr id="0" name=""/>
        <dsp:cNvSpPr/>
      </dsp:nvSpPr>
      <dsp:spPr>
        <a:xfrm>
          <a:off x="0" y="2803666"/>
          <a:ext cx="5181600" cy="623610"/>
        </a:xfrm>
        <a:prstGeom prst="roundRect">
          <a:avLst/>
        </a:prstGeom>
        <a:solidFill>
          <a:schemeClr val="accent5">
            <a:shade val="50000"/>
            <a:hueOff val="222839"/>
            <a:satOff val="5970"/>
            <a:lumOff val="263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s-ES" sz="2600" kern="1200" dirty="0"/>
            <a:t>Interoperabilidad: </a:t>
          </a:r>
        </a:p>
      </dsp:txBody>
      <dsp:txXfrm>
        <a:off x="30442" y="2834108"/>
        <a:ext cx="5120716" cy="562726"/>
      </dsp:txXfrm>
    </dsp:sp>
    <dsp:sp modelId="{26883009-6745-42E5-A591-C39B50CE8DC4}">
      <dsp:nvSpPr>
        <dsp:cNvPr id="0" name=""/>
        <dsp:cNvSpPr/>
      </dsp:nvSpPr>
      <dsp:spPr>
        <a:xfrm>
          <a:off x="0" y="3427276"/>
          <a:ext cx="5181600" cy="914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s-ES" sz="2000" kern="1200" dirty="0"/>
            <a:t>La falta de interoperabilidad entre diferentes plataformas Blockchain puede dificultar la adopción de la tecnología.</a:t>
          </a:r>
        </a:p>
      </dsp:txBody>
      <dsp:txXfrm>
        <a:off x="0" y="3427276"/>
        <a:ext cx="5181600" cy="914940"/>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6C421D-1A2D-43D2-864E-416D96764C50}">
      <dsp:nvSpPr>
        <dsp:cNvPr id="0" name=""/>
        <dsp:cNvSpPr/>
      </dsp:nvSpPr>
      <dsp:spPr>
        <a:xfrm>
          <a:off x="1011108" y="110193"/>
          <a:ext cx="2367809" cy="1749802"/>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A21DA831-24BC-45BE-B541-D3E84516B553}">
      <dsp:nvSpPr>
        <dsp:cNvPr id="0" name=""/>
        <dsp:cNvSpPr/>
      </dsp:nvSpPr>
      <dsp:spPr>
        <a:xfrm>
          <a:off x="1489708" y="1542723"/>
          <a:ext cx="2040346" cy="49032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marL="0" lvl="0" indent="0" algn="ctr" defTabSz="755650">
            <a:lnSpc>
              <a:spcPct val="90000"/>
            </a:lnSpc>
            <a:spcBef>
              <a:spcPct val="0"/>
            </a:spcBef>
            <a:spcAft>
              <a:spcPct val="5000"/>
            </a:spcAft>
            <a:buNone/>
          </a:pPr>
          <a:r>
            <a:rPr lang="es-ES" sz="1700" kern="1200" dirty="0"/>
            <a:t>Reuniones virtuales</a:t>
          </a:r>
        </a:p>
      </dsp:txBody>
      <dsp:txXfrm>
        <a:off x="1489708" y="1542723"/>
        <a:ext cx="2040346" cy="490329"/>
      </dsp:txXfrm>
    </dsp:sp>
    <dsp:sp modelId="{F57DF087-5E8A-4A95-81CE-51E6F71F7237}">
      <dsp:nvSpPr>
        <dsp:cNvPr id="0" name=""/>
        <dsp:cNvSpPr/>
      </dsp:nvSpPr>
      <dsp:spPr>
        <a:xfrm>
          <a:off x="3998327" y="110193"/>
          <a:ext cx="2367809" cy="1749802"/>
        </a:xfrm>
        <a:prstGeom prst="rect">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9C2CBB75-DBEA-457B-BBF0-9BBCBE46BFE5}">
      <dsp:nvSpPr>
        <dsp:cNvPr id="0" name=""/>
        <dsp:cNvSpPr/>
      </dsp:nvSpPr>
      <dsp:spPr>
        <a:xfrm>
          <a:off x="4476926" y="1542723"/>
          <a:ext cx="2040346" cy="49032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marL="0" lvl="0" indent="0" algn="ctr" defTabSz="755650">
            <a:lnSpc>
              <a:spcPct val="90000"/>
            </a:lnSpc>
            <a:spcBef>
              <a:spcPct val="0"/>
            </a:spcBef>
            <a:spcAft>
              <a:spcPct val="5000"/>
            </a:spcAft>
            <a:buNone/>
          </a:pPr>
          <a:r>
            <a:rPr lang="es-ES" sz="1700" kern="1200" dirty="0"/>
            <a:t>Moda</a:t>
          </a:r>
        </a:p>
      </dsp:txBody>
      <dsp:txXfrm>
        <a:off x="4476926" y="1542723"/>
        <a:ext cx="2040346" cy="490329"/>
      </dsp:txXfrm>
    </dsp:sp>
    <dsp:sp modelId="{DE6E2F9F-0901-499B-B6DA-675C051426FC}">
      <dsp:nvSpPr>
        <dsp:cNvPr id="0" name=""/>
        <dsp:cNvSpPr/>
      </dsp:nvSpPr>
      <dsp:spPr>
        <a:xfrm>
          <a:off x="6985545" y="110193"/>
          <a:ext cx="2367809" cy="1749802"/>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00BE6E95-4991-4092-B8F1-4F4142125F35}">
      <dsp:nvSpPr>
        <dsp:cNvPr id="0" name=""/>
        <dsp:cNvSpPr/>
      </dsp:nvSpPr>
      <dsp:spPr>
        <a:xfrm>
          <a:off x="7464145" y="1542723"/>
          <a:ext cx="2040346" cy="49032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marL="0" lvl="0" indent="0" algn="ctr" defTabSz="755650">
            <a:lnSpc>
              <a:spcPct val="90000"/>
            </a:lnSpc>
            <a:spcBef>
              <a:spcPct val="0"/>
            </a:spcBef>
            <a:spcAft>
              <a:spcPct val="5000"/>
            </a:spcAft>
            <a:buNone/>
          </a:pPr>
          <a:r>
            <a:rPr lang="es-ES" sz="1700" kern="1200" dirty="0"/>
            <a:t>Introducir una fabrica</a:t>
          </a:r>
        </a:p>
      </dsp:txBody>
      <dsp:txXfrm>
        <a:off x="7464145" y="1542723"/>
        <a:ext cx="2040346" cy="490329"/>
      </dsp:txXfrm>
    </dsp:sp>
    <dsp:sp modelId="{11680F86-9EDB-4165-BE9B-8E20D0B0B2F5}">
      <dsp:nvSpPr>
        <dsp:cNvPr id="0" name=""/>
        <dsp:cNvSpPr/>
      </dsp:nvSpPr>
      <dsp:spPr>
        <a:xfrm>
          <a:off x="2504717" y="2284947"/>
          <a:ext cx="2367809" cy="1749802"/>
        </a:xfrm>
        <a:prstGeom prst="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B70EC5EB-569F-4993-B207-DF628F93914D}">
      <dsp:nvSpPr>
        <dsp:cNvPr id="0" name=""/>
        <dsp:cNvSpPr/>
      </dsp:nvSpPr>
      <dsp:spPr>
        <a:xfrm>
          <a:off x="2983317" y="3717477"/>
          <a:ext cx="2040346" cy="49032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marL="0" lvl="0" indent="0" algn="ctr" defTabSz="755650">
            <a:lnSpc>
              <a:spcPct val="90000"/>
            </a:lnSpc>
            <a:spcBef>
              <a:spcPct val="0"/>
            </a:spcBef>
            <a:spcAft>
              <a:spcPct val="5000"/>
            </a:spcAft>
            <a:buNone/>
          </a:pPr>
          <a:r>
            <a:rPr lang="es-ES" sz="1700" kern="1200" dirty="0"/>
            <a:t>Viajar</a:t>
          </a:r>
        </a:p>
      </dsp:txBody>
      <dsp:txXfrm>
        <a:off x="2983317" y="3717477"/>
        <a:ext cx="2040346" cy="490329"/>
      </dsp:txXfrm>
    </dsp:sp>
    <dsp:sp modelId="{655CE1AB-3E5A-405D-90A0-5A8357F391EF}">
      <dsp:nvSpPr>
        <dsp:cNvPr id="0" name=""/>
        <dsp:cNvSpPr/>
      </dsp:nvSpPr>
      <dsp:spPr>
        <a:xfrm>
          <a:off x="5491936" y="2284947"/>
          <a:ext cx="2367809" cy="1749802"/>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t="-9000" b="-9000"/>
          </a:stretch>
        </a:blipFill>
        <a:ln>
          <a:noFill/>
        </a:ln>
        <a:effectLst/>
      </dsp:spPr>
      <dsp:style>
        <a:lnRef idx="0">
          <a:scrgbClr r="0" g="0" b="0"/>
        </a:lnRef>
        <a:fillRef idx="1">
          <a:scrgbClr r="0" g="0" b="0"/>
        </a:fillRef>
        <a:effectRef idx="0">
          <a:scrgbClr r="0" g="0" b="0"/>
        </a:effectRef>
        <a:fontRef idx="minor"/>
      </dsp:style>
    </dsp:sp>
    <dsp:sp modelId="{D27EC81F-D630-44D8-9C10-61176657503D}">
      <dsp:nvSpPr>
        <dsp:cNvPr id="0" name=""/>
        <dsp:cNvSpPr/>
      </dsp:nvSpPr>
      <dsp:spPr>
        <a:xfrm>
          <a:off x="5970536" y="3717477"/>
          <a:ext cx="2040346" cy="490329"/>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marL="0" lvl="0" indent="0" algn="ctr" defTabSz="755650">
            <a:lnSpc>
              <a:spcPct val="90000"/>
            </a:lnSpc>
            <a:spcBef>
              <a:spcPct val="0"/>
            </a:spcBef>
            <a:spcAft>
              <a:spcPct val="5000"/>
            </a:spcAft>
            <a:buNone/>
          </a:pPr>
          <a:r>
            <a:rPr lang="es-ES" sz="1700" kern="1200" dirty="0"/>
            <a:t>Networking</a:t>
          </a:r>
        </a:p>
      </dsp:txBody>
      <dsp:txXfrm>
        <a:off x="5970536" y="3717477"/>
        <a:ext cx="2040346" cy="490329"/>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A0FDDF-EB97-4D1D-9CA4-4E0FD07E8617}">
      <dsp:nvSpPr>
        <dsp:cNvPr id="0" name=""/>
        <dsp:cNvSpPr/>
      </dsp:nvSpPr>
      <dsp:spPr>
        <a:xfrm>
          <a:off x="0" y="173260"/>
          <a:ext cx="2708175" cy="1624905"/>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solidFill>
                <a:schemeClr val="tx1"/>
              </a:solidFill>
            </a:rPr>
            <a:t>Muy </a:t>
          </a:r>
          <a:r>
            <a:rPr lang="es-ES" sz="1800" kern="1200" dirty="0">
              <a:solidFill>
                <a:schemeClr val="bg1"/>
              </a:solidFill>
              <a:highlight>
                <a:srgbClr val="0000FF"/>
              </a:highlight>
            </a:rPr>
            <a:t>inmersivo</a:t>
          </a:r>
          <a:r>
            <a:rPr lang="es-ES" sz="1800" kern="1200" dirty="0">
              <a:solidFill>
                <a:schemeClr val="bg1"/>
              </a:solidFill>
            </a:rPr>
            <a:t> </a:t>
          </a:r>
        </a:p>
      </dsp:txBody>
      <dsp:txXfrm>
        <a:off x="0" y="173260"/>
        <a:ext cx="2708175" cy="1624905"/>
      </dsp:txXfrm>
    </dsp:sp>
    <dsp:sp modelId="{8AFB655C-3E16-403A-ACFB-D603763FAFA9}">
      <dsp:nvSpPr>
        <dsp:cNvPr id="0" name=""/>
        <dsp:cNvSpPr/>
      </dsp:nvSpPr>
      <dsp:spPr>
        <a:xfrm>
          <a:off x="2978993" y="173260"/>
          <a:ext cx="2708175" cy="1624905"/>
        </a:xfrm>
        <a:prstGeom prst="rect">
          <a:avLst/>
        </a:prstGeom>
        <a:solidFill>
          <a:schemeClr val="accent1">
            <a:shade val="50000"/>
            <a:hueOff val="134164"/>
            <a:satOff val="-3267"/>
            <a:lumOff val="142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Origen - Novela 1992: Neal Stephenson y su novela </a:t>
          </a:r>
          <a:r>
            <a:rPr lang="es-ES" sz="1800" kern="1200" dirty="0">
              <a:highlight>
                <a:srgbClr val="0000FF"/>
              </a:highlight>
            </a:rPr>
            <a:t>'Snow Crash'</a:t>
          </a:r>
        </a:p>
      </dsp:txBody>
      <dsp:txXfrm>
        <a:off x="2978993" y="173260"/>
        <a:ext cx="2708175" cy="1624905"/>
      </dsp:txXfrm>
    </dsp:sp>
    <dsp:sp modelId="{40E91179-6F13-48D6-8B2B-6CABDD9AE697}">
      <dsp:nvSpPr>
        <dsp:cNvPr id="0" name=""/>
        <dsp:cNvSpPr/>
      </dsp:nvSpPr>
      <dsp:spPr>
        <a:xfrm>
          <a:off x="5957986" y="173260"/>
          <a:ext cx="2708175" cy="1624905"/>
        </a:xfrm>
        <a:prstGeom prst="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Metaverso es un conjunto de tecnologías que construyen un </a:t>
          </a:r>
          <a:r>
            <a:rPr lang="es-ES" sz="1800" kern="1200" dirty="0">
              <a:highlight>
                <a:srgbClr val="0000FF"/>
              </a:highlight>
            </a:rPr>
            <a:t>mundo virtual que prolonga el Real </a:t>
          </a:r>
        </a:p>
      </dsp:txBody>
      <dsp:txXfrm>
        <a:off x="5957986" y="173260"/>
        <a:ext cx="2708175" cy="1624905"/>
      </dsp:txXfrm>
    </dsp:sp>
    <dsp:sp modelId="{0AD251E8-CC27-4343-ACE5-0F9BA5DE8F3E}">
      <dsp:nvSpPr>
        <dsp:cNvPr id="0" name=""/>
        <dsp:cNvSpPr/>
      </dsp:nvSpPr>
      <dsp:spPr>
        <a:xfrm>
          <a:off x="0" y="2068983"/>
          <a:ext cx="2708175" cy="1624905"/>
        </a:xfrm>
        <a:prstGeom prst="rect">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Entramos en metaverso mediante un </a:t>
          </a:r>
          <a:r>
            <a:rPr lang="es-ES" sz="1800" kern="1200" dirty="0">
              <a:highlight>
                <a:srgbClr val="0000FF"/>
              </a:highlight>
            </a:rPr>
            <a:t>avatar</a:t>
          </a:r>
          <a:r>
            <a:rPr lang="es-ES" sz="1800" kern="1200" dirty="0"/>
            <a:t> que tiene componentes: Social, Económico y político emocional </a:t>
          </a:r>
        </a:p>
      </dsp:txBody>
      <dsp:txXfrm>
        <a:off x="0" y="2068983"/>
        <a:ext cx="2708175" cy="1624905"/>
      </dsp:txXfrm>
    </dsp:sp>
    <dsp:sp modelId="{9516B939-BBE7-4C2B-9D6B-02773D7F9D31}">
      <dsp:nvSpPr>
        <dsp:cNvPr id="0" name=""/>
        <dsp:cNvSpPr/>
      </dsp:nvSpPr>
      <dsp:spPr>
        <a:xfrm>
          <a:off x="2978993" y="2068983"/>
          <a:ext cx="2708175" cy="1624905"/>
        </a:xfrm>
        <a:prstGeom prst="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Se vive en </a:t>
          </a:r>
          <a:r>
            <a:rPr lang="es-ES" sz="1800" kern="1200" dirty="0">
              <a:highlight>
                <a:srgbClr val="0000FF"/>
              </a:highlight>
            </a:rPr>
            <a:t>islas</a:t>
          </a:r>
          <a:r>
            <a:rPr lang="es-ES" sz="1800" kern="1200" dirty="0"/>
            <a:t> que crean las empresas </a:t>
          </a:r>
        </a:p>
      </dsp:txBody>
      <dsp:txXfrm>
        <a:off x="2978993" y="2068983"/>
        <a:ext cx="2708175" cy="1624905"/>
      </dsp:txXfrm>
    </dsp:sp>
    <dsp:sp modelId="{D32F3186-84A4-4BCF-AFDE-8633D31CB94A}">
      <dsp:nvSpPr>
        <dsp:cNvPr id="0" name=""/>
        <dsp:cNvSpPr/>
      </dsp:nvSpPr>
      <dsp:spPr>
        <a:xfrm>
          <a:off x="5957986" y="2068983"/>
          <a:ext cx="2708175" cy="1624905"/>
        </a:xfrm>
        <a:prstGeom prst="rect">
          <a:avLst/>
        </a:prstGeom>
        <a:solidFill>
          <a:schemeClr val="accent1">
            <a:shade val="50000"/>
            <a:hueOff val="134164"/>
            <a:satOff val="-3267"/>
            <a:lumOff val="142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solidFill>
                <a:schemeClr val="tx1"/>
              </a:solidFill>
            </a:rPr>
            <a:t>Lo relacionado con metaverso es </a:t>
          </a:r>
          <a:r>
            <a:rPr lang="es-ES" sz="1800" kern="1200" dirty="0">
              <a:solidFill>
                <a:schemeClr val="bg1"/>
              </a:solidFill>
              <a:highlight>
                <a:srgbClr val="0000FF"/>
              </a:highlight>
            </a:rPr>
            <a:t>Open Source. Basado en Blockchain</a:t>
          </a:r>
          <a:r>
            <a:rPr lang="es-ES" sz="1800" kern="1200" dirty="0">
              <a:solidFill>
                <a:schemeClr val="tx1"/>
              </a:solidFill>
            </a:rPr>
            <a:t>. Cada participante coloca su información </a:t>
          </a:r>
        </a:p>
      </dsp:txBody>
      <dsp:txXfrm>
        <a:off x="5957986" y="2068983"/>
        <a:ext cx="2708175" cy="1624905"/>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FD59C-7EC7-439C-807A-54F12692D68D}">
      <dsp:nvSpPr>
        <dsp:cNvPr id="0" name=""/>
        <dsp:cNvSpPr/>
      </dsp:nvSpPr>
      <dsp:spPr>
        <a:xfrm>
          <a:off x="234617" y="401177"/>
          <a:ext cx="5496019" cy="1871995"/>
        </a:xfrm>
        <a:prstGeom prst="rect">
          <a:avLst/>
        </a:prstGeom>
        <a:solidFill>
          <a:schemeClr val="lt2">
            <a:alpha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63324"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Es el conjunto de procesos, funciones, políticas, normas y mediciones que garantizan el uso eficaz y eficiente de la información </a:t>
          </a:r>
        </a:p>
        <a:p>
          <a:pPr marL="114300" lvl="1" indent="-114300" algn="l" defTabSz="622300">
            <a:lnSpc>
              <a:spcPct val="90000"/>
            </a:lnSpc>
            <a:spcBef>
              <a:spcPct val="0"/>
            </a:spcBef>
            <a:spcAft>
              <a:spcPct val="15000"/>
            </a:spcAft>
            <a:buChar char="•"/>
          </a:pPr>
          <a:r>
            <a:rPr lang="es-ES" sz="1400" kern="1200" dirty="0"/>
            <a:t>Sobre una base de datos y en todo el Data lake</a:t>
          </a:r>
        </a:p>
        <a:p>
          <a:pPr marL="114300" lvl="1" indent="-114300" algn="l" defTabSz="622300">
            <a:lnSpc>
              <a:spcPct val="90000"/>
            </a:lnSpc>
            <a:spcBef>
              <a:spcPct val="0"/>
            </a:spcBef>
            <a:spcAft>
              <a:spcPct val="15000"/>
            </a:spcAft>
            <a:buChar char="•"/>
          </a:pPr>
          <a:r>
            <a:rPr lang="es-ES" sz="1400" kern="1200" dirty="0"/>
            <a:t>obviando errores</a:t>
          </a:r>
        </a:p>
        <a:p>
          <a:pPr marL="114300" lvl="1" indent="-114300" algn="l" defTabSz="622300">
            <a:lnSpc>
              <a:spcPct val="90000"/>
            </a:lnSpc>
            <a:spcBef>
              <a:spcPct val="0"/>
            </a:spcBef>
            <a:spcAft>
              <a:spcPct val="15000"/>
            </a:spcAft>
            <a:buChar char="•"/>
          </a:pPr>
          <a:r>
            <a:rPr lang="es-ES" sz="1400" kern="1200" dirty="0"/>
            <a:t>manteniendo la privacidad y la seguridad.</a:t>
          </a:r>
        </a:p>
      </dsp:txBody>
      <dsp:txXfrm>
        <a:off x="234617" y="401177"/>
        <a:ext cx="5496019" cy="1871995"/>
      </dsp:txXfrm>
    </dsp:sp>
    <dsp:sp modelId="{EB51F41C-F1D6-4355-B198-5F4E0839527B}">
      <dsp:nvSpPr>
        <dsp:cNvPr id="0" name=""/>
        <dsp:cNvSpPr/>
      </dsp:nvSpPr>
      <dsp:spPr>
        <a:xfrm>
          <a:off x="5616" y="230337"/>
          <a:ext cx="1202254" cy="1803381"/>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47FBF2-A732-4BF5-B118-100E0B8A9DEE}">
      <dsp:nvSpPr>
        <dsp:cNvPr id="0" name=""/>
        <dsp:cNvSpPr/>
      </dsp:nvSpPr>
      <dsp:spPr>
        <a:xfrm>
          <a:off x="6188136" y="517044"/>
          <a:ext cx="5496019" cy="1717506"/>
        </a:xfrm>
        <a:prstGeom prst="rect">
          <a:avLst/>
        </a:prstGeom>
        <a:solidFill>
          <a:schemeClr val="lt2">
            <a:alpha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63324"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Un programa de  de gobierno del dato: </a:t>
          </a:r>
        </a:p>
        <a:p>
          <a:pPr marL="0" lvl="1" indent="0" algn="l" defTabSz="622300">
            <a:lnSpc>
              <a:spcPct val="90000"/>
            </a:lnSpc>
            <a:spcBef>
              <a:spcPct val="0"/>
            </a:spcBef>
            <a:spcAft>
              <a:spcPct val="15000"/>
            </a:spcAft>
            <a:buChar char="•"/>
          </a:pPr>
          <a:r>
            <a:rPr lang="es-ES" sz="1400" kern="1200" dirty="0"/>
            <a:t>un órgano o consejo de gobierno</a:t>
          </a:r>
        </a:p>
        <a:p>
          <a:pPr marL="0" lvl="1" indent="0" algn="l" defTabSz="622300">
            <a:lnSpc>
              <a:spcPct val="90000"/>
            </a:lnSpc>
            <a:spcBef>
              <a:spcPct val="0"/>
            </a:spcBef>
            <a:spcAft>
              <a:spcPct val="15000"/>
            </a:spcAft>
            <a:buChar char="•"/>
          </a:pPr>
          <a:r>
            <a:rPr lang="es-ES" sz="1400" kern="1200" dirty="0"/>
            <a:t>un conjunto de procedimientos definidos</a:t>
          </a:r>
        </a:p>
        <a:p>
          <a:pPr marL="0" lvl="1" indent="0" algn="l" defTabSz="622300">
            <a:lnSpc>
              <a:spcPct val="90000"/>
            </a:lnSpc>
            <a:spcBef>
              <a:spcPct val="0"/>
            </a:spcBef>
            <a:spcAft>
              <a:spcPct val="15000"/>
            </a:spcAft>
            <a:buChar char="•"/>
          </a:pPr>
          <a:r>
            <a:rPr lang="es-ES" sz="1400" kern="1200" dirty="0"/>
            <a:t>un plan para ejecutar dichos procedimientos.</a:t>
          </a:r>
        </a:p>
      </dsp:txBody>
      <dsp:txXfrm>
        <a:off x="6188136" y="517044"/>
        <a:ext cx="5496019" cy="1717506"/>
      </dsp:txXfrm>
    </dsp:sp>
    <dsp:sp modelId="{A43EF1A6-E7B4-42BC-BD23-34B7C3518B39}">
      <dsp:nvSpPr>
        <dsp:cNvPr id="0" name=""/>
        <dsp:cNvSpPr/>
      </dsp:nvSpPr>
      <dsp:spPr>
        <a:xfrm>
          <a:off x="5959135" y="268960"/>
          <a:ext cx="1202254" cy="1803381"/>
        </a:xfrm>
        <a:prstGeom prst="rect">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DA5751-0BF2-445E-9CCE-13E1CCE9691F}">
      <dsp:nvSpPr>
        <dsp:cNvPr id="0" name=""/>
        <dsp:cNvSpPr/>
      </dsp:nvSpPr>
      <dsp:spPr>
        <a:xfrm>
          <a:off x="3211376" y="2717816"/>
          <a:ext cx="5496019" cy="1717506"/>
        </a:xfrm>
        <a:prstGeom prst="rect">
          <a:avLst/>
        </a:prstGeom>
        <a:solidFill>
          <a:schemeClr val="lt2">
            <a:alpha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63324"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Manuales:</a:t>
          </a:r>
        </a:p>
        <a:p>
          <a:pPr marL="114300" lvl="1" indent="-114300" algn="l" defTabSz="622300">
            <a:lnSpc>
              <a:spcPct val="90000"/>
            </a:lnSpc>
            <a:spcBef>
              <a:spcPct val="0"/>
            </a:spcBef>
            <a:spcAft>
              <a:spcPct val="15000"/>
            </a:spcAft>
            <a:buChar char="•"/>
          </a:pPr>
          <a:r>
            <a:rPr lang="es-ES" sz="1400" kern="1200" dirty="0"/>
            <a:t>(MDM - Master Data Management) = Maestro de la gestión de datos.</a:t>
          </a:r>
        </a:p>
        <a:p>
          <a:pPr marL="114300" lvl="1" indent="-114300" algn="l" defTabSz="622300">
            <a:lnSpc>
              <a:spcPct val="90000"/>
            </a:lnSpc>
            <a:spcBef>
              <a:spcPct val="0"/>
            </a:spcBef>
            <a:spcAft>
              <a:spcPct val="15000"/>
            </a:spcAft>
            <a:buChar char="•"/>
          </a:pPr>
          <a:r>
            <a:rPr lang="es-ES" sz="1400" kern="1200" dirty="0"/>
            <a:t>(DQM - Data Quality Management)=  calidad de los datos</a:t>
          </a:r>
        </a:p>
        <a:p>
          <a:pPr marL="114300" lvl="1" indent="-114300" algn="l" defTabSz="622300">
            <a:lnSpc>
              <a:spcPct val="90000"/>
            </a:lnSpc>
            <a:spcBef>
              <a:spcPct val="0"/>
            </a:spcBef>
            <a:spcAft>
              <a:spcPct val="15000"/>
            </a:spcAft>
            <a:buChar char="•"/>
          </a:pPr>
          <a:r>
            <a:rPr lang="es-ES" sz="1400" kern="1200" dirty="0"/>
            <a:t>(BG - Business Glossary) = diccionario de datos.</a:t>
          </a:r>
        </a:p>
        <a:p>
          <a:pPr marL="114300" lvl="1" indent="-114300" algn="l" defTabSz="622300">
            <a:lnSpc>
              <a:spcPct val="90000"/>
            </a:lnSpc>
            <a:spcBef>
              <a:spcPct val="0"/>
            </a:spcBef>
            <a:spcAft>
              <a:spcPct val="15000"/>
            </a:spcAft>
            <a:buChar char="•"/>
          </a:pPr>
          <a:r>
            <a:rPr lang="es-ES" sz="1400" kern="1200" dirty="0"/>
            <a:t>(EMM - Entreprise Metadata Management) = gestión de los metadatos-</a:t>
          </a:r>
        </a:p>
      </dsp:txBody>
      <dsp:txXfrm>
        <a:off x="3211376" y="2717816"/>
        <a:ext cx="5496019" cy="1717506"/>
      </dsp:txXfrm>
    </dsp:sp>
    <dsp:sp modelId="{C65821D6-9191-48FA-A915-FC43ADC4B738}">
      <dsp:nvSpPr>
        <dsp:cNvPr id="0" name=""/>
        <dsp:cNvSpPr/>
      </dsp:nvSpPr>
      <dsp:spPr>
        <a:xfrm>
          <a:off x="2982375" y="2469731"/>
          <a:ext cx="1202254" cy="1803381"/>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8DA7B9-9221-493A-A16A-FC3A17091B00}">
      <dsp:nvSpPr>
        <dsp:cNvPr id="0" name=""/>
        <dsp:cNvSpPr/>
      </dsp:nvSpPr>
      <dsp:spPr>
        <a:xfrm>
          <a:off x="0" y="4017889"/>
          <a:ext cx="7843838" cy="43967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El gobierno del dato debe ser flexible y adaptable para poder evolucionar con las necesidades de la organizació</a:t>
          </a:r>
          <a:r>
            <a:rPr lang="it-IT" sz="1300" kern="1200" dirty="0"/>
            <a:t>n.</a:t>
          </a:r>
          <a:endParaRPr lang="es-ES" sz="1300" kern="1200" dirty="0"/>
        </a:p>
      </dsp:txBody>
      <dsp:txXfrm>
        <a:off x="0" y="4017889"/>
        <a:ext cx="7843838" cy="439675"/>
      </dsp:txXfrm>
    </dsp:sp>
    <dsp:sp modelId="{B80FE12E-7C8B-4019-8F66-7ED3B5F7F10A}">
      <dsp:nvSpPr>
        <dsp:cNvPr id="0" name=""/>
        <dsp:cNvSpPr/>
      </dsp:nvSpPr>
      <dsp:spPr>
        <a:xfrm rot="10800000">
          <a:off x="0" y="3348263"/>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Contar con el apoyo de la alta dirección</a:t>
          </a:r>
          <a:endParaRPr lang="es-ES" sz="1300" kern="1200" dirty="0"/>
        </a:p>
      </dsp:txBody>
      <dsp:txXfrm rot="10800000">
        <a:off x="0" y="3348263"/>
        <a:ext cx="7843838" cy="439387"/>
      </dsp:txXfrm>
    </dsp:sp>
    <dsp:sp modelId="{A455BB3E-5F9E-4950-89FA-5C5CD96690C8}">
      <dsp:nvSpPr>
        <dsp:cNvPr id="0" name=""/>
        <dsp:cNvSpPr/>
      </dsp:nvSpPr>
      <dsp:spPr>
        <a:xfrm rot="10800000">
          <a:off x="0" y="2678638"/>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El gobierno del dato no es solo tecnología</a:t>
          </a:r>
          <a:r>
            <a:rPr lang="it-IT" sz="1300" kern="1200" dirty="0"/>
            <a:t>, </a:t>
          </a:r>
          <a:r>
            <a:rPr lang="es-ES_tradnl" sz="1300" kern="1200" dirty="0"/>
            <a:t>sino tambi</a:t>
          </a:r>
          <a:r>
            <a:rPr lang="fr-FR" sz="1300" kern="1200" dirty="0"/>
            <a:t>é</a:t>
          </a:r>
          <a:r>
            <a:rPr lang="es-ES_tradnl" sz="1300" kern="1200" dirty="0"/>
            <a:t>n de personas y procesos.</a:t>
          </a:r>
          <a:endParaRPr lang="es-ES" sz="1300" kern="1200" dirty="0"/>
        </a:p>
      </dsp:txBody>
      <dsp:txXfrm rot="10800000">
        <a:off x="0" y="2678638"/>
        <a:ext cx="7843838" cy="439387"/>
      </dsp:txXfrm>
    </dsp:sp>
    <dsp:sp modelId="{DEBBA9F8-17CA-4D45-B629-95FC88AC651E}">
      <dsp:nvSpPr>
        <dsp:cNvPr id="0" name=""/>
        <dsp:cNvSpPr/>
      </dsp:nvSpPr>
      <dsp:spPr>
        <a:xfrm rot="10800000">
          <a:off x="0" y="2009012"/>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 sz="1300" kern="1200" dirty="0"/>
            <a:t>Controlar todos los datos que entran, qus salen, quién los altera, quién los usa.</a:t>
          </a:r>
        </a:p>
      </dsp:txBody>
      <dsp:txXfrm rot="10800000">
        <a:off x="0" y="2009012"/>
        <a:ext cx="7843838" cy="439387"/>
      </dsp:txXfrm>
    </dsp:sp>
    <dsp:sp modelId="{0B0CC049-CB1B-495E-B2E6-04C2853D1490}">
      <dsp:nvSpPr>
        <dsp:cNvPr id="0" name=""/>
        <dsp:cNvSpPr/>
      </dsp:nvSpPr>
      <dsp:spPr>
        <a:xfrm rot="10800000">
          <a:off x="0" y="1339386"/>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Alinear los datos con los objetivos estrat</a:t>
          </a:r>
          <a:r>
            <a:rPr lang="fr-FR" sz="1300" kern="1200" dirty="0"/>
            <a:t>é</a:t>
          </a:r>
          <a:r>
            <a:rPr lang="pt-PT" sz="1300" kern="1200" dirty="0"/>
            <a:t>gicos</a:t>
          </a:r>
          <a:r>
            <a:rPr lang="it-IT" sz="1300" kern="1200" dirty="0"/>
            <a:t> </a:t>
          </a:r>
          <a:r>
            <a:rPr lang="es-ES_tradnl" sz="1300" kern="1200" dirty="0"/>
            <a:t>de la organizació</a:t>
          </a:r>
          <a:r>
            <a:rPr lang="it-IT" sz="1300" kern="1200" dirty="0"/>
            <a:t>n.</a:t>
          </a:r>
          <a:endParaRPr lang="es-ES" sz="1300" kern="1200" dirty="0"/>
        </a:p>
      </dsp:txBody>
      <dsp:txXfrm rot="10800000">
        <a:off x="0" y="1339386"/>
        <a:ext cx="7843838" cy="439387"/>
      </dsp:txXfrm>
    </dsp:sp>
    <dsp:sp modelId="{B5C4098F-4E96-48BC-A961-BB21552674AA}">
      <dsp:nvSpPr>
        <dsp:cNvPr id="0" name=""/>
        <dsp:cNvSpPr/>
      </dsp:nvSpPr>
      <dsp:spPr>
        <a:xfrm rot="10800000">
          <a:off x="0" y="669760"/>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Un marco para garantizar que los datos sean</a:t>
          </a:r>
          <a:r>
            <a:rPr lang="it-IT" sz="1300" kern="1200"/>
            <a:t> </a:t>
          </a:r>
          <a:r>
            <a:rPr lang="es-ES_tradnl" sz="1300" kern="1200" dirty="0"/>
            <a:t>fiables, accesibles, seguros y </a:t>
          </a:r>
          <a:r>
            <a:rPr lang="it-IT" sz="1300" kern="1200"/>
            <a:t>ú</a:t>
          </a:r>
          <a:r>
            <a:rPr lang="pt-PT" sz="1300" kern="1200"/>
            <a:t>tiles.</a:t>
          </a:r>
          <a:endParaRPr lang="es-ES" sz="1300" kern="1200" dirty="0"/>
        </a:p>
      </dsp:txBody>
      <dsp:txXfrm rot="10800000">
        <a:off x="0" y="669760"/>
        <a:ext cx="7843838" cy="439387"/>
      </dsp:txXfrm>
    </dsp:sp>
    <dsp:sp modelId="{F4AF63BD-5C52-4DDF-9720-C8AF6147C02B}">
      <dsp:nvSpPr>
        <dsp:cNvPr id="0" name=""/>
        <dsp:cNvSpPr/>
      </dsp:nvSpPr>
      <dsp:spPr>
        <a:xfrm rot="10800000">
          <a:off x="0" y="134"/>
          <a:ext cx="7843838" cy="676220"/>
        </a:xfrm>
        <a:prstGeom prst="upArrowCallou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s-ES_tradnl" sz="1300" kern="1200" dirty="0"/>
            <a:t>Conjunto de</a:t>
          </a:r>
          <a:r>
            <a:rPr lang="it-IT" sz="1300" kern="1200" dirty="0"/>
            <a:t> polí</a:t>
          </a:r>
          <a:r>
            <a:rPr lang="es-ES_tradnl" sz="1300" kern="1200" dirty="0"/>
            <a:t>ticas, procesos y roles</a:t>
          </a:r>
          <a:r>
            <a:rPr lang="it-IT" sz="1300" kern="1200" dirty="0"/>
            <a:t> </a:t>
          </a:r>
          <a:r>
            <a:rPr lang="es-ES_tradnl" sz="1300" kern="1200" dirty="0"/>
            <a:t>que rigen la gestió</a:t>
          </a:r>
          <a:r>
            <a:rPr lang="pt-PT" sz="1300" kern="1200" dirty="0"/>
            <a:t>n de datos.</a:t>
          </a:r>
          <a:endParaRPr lang="es-ES" sz="1300" kern="1200" dirty="0"/>
        </a:p>
      </dsp:txBody>
      <dsp:txXfrm rot="10800000">
        <a:off x="0" y="134"/>
        <a:ext cx="7843838" cy="439387"/>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A7BB3A-2DE4-4759-894D-6E5719D2C99A}">
      <dsp:nvSpPr>
        <dsp:cNvPr id="0" name=""/>
        <dsp:cNvSpPr/>
      </dsp:nvSpPr>
      <dsp:spPr>
        <a:xfrm>
          <a:off x="0" y="536374"/>
          <a:ext cx="11491365" cy="715165"/>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61A64D-F825-4C7D-8160-479A85E00FAD}">
      <dsp:nvSpPr>
        <dsp:cNvPr id="0" name=""/>
        <dsp:cNvSpPr/>
      </dsp:nvSpPr>
      <dsp:spPr>
        <a:xfrm>
          <a:off x="4544" y="0"/>
          <a:ext cx="1987142" cy="715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s-ES_tradnl" sz="1600" kern="1200" dirty="0"/>
            <a:t>Definir una estrategia de gobierno del dato.</a:t>
          </a:r>
          <a:endParaRPr lang="es-ES" sz="1600" kern="1200" dirty="0"/>
        </a:p>
      </dsp:txBody>
      <dsp:txXfrm>
        <a:off x="4544" y="0"/>
        <a:ext cx="1987142" cy="715165"/>
      </dsp:txXfrm>
    </dsp:sp>
    <dsp:sp modelId="{D956CE67-2AB5-4F38-9280-0C26184AD5A6}">
      <dsp:nvSpPr>
        <dsp:cNvPr id="0" name=""/>
        <dsp:cNvSpPr/>
      </dsp:nvSpPr>
      <dsp:spPr>
        <a:xfrm>
          <a:off x="908720" y="804561"/>
          <a:ext cx="178791" cy="1787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16A1A0-CE4F-4FFA-8E93-E52D2B35C23A}">
      <dsp:nvSpPr>
        <dsp:cNvPr id="0" name=""/>
        <dsp:cNvSpPr/>
      </dsp:nvSpPr>
      <dsp:spPr>
        <a:xfrm>
          <a:off x="2091044" y="1072748"/>
          <a:ext cx="1987142" cy="715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s-ES_tradnl" sz="1600" kern="1200" dirty="0"/>
            <a:t>Establecer roles y responsabilidades.</a:t>
          </a:r>
          <a:endParaRPr lang="es-ES" sz="1600" kern="1200" dirty="0"/>
        </a:p>
      </dsp:txBody>
      <dsp:txXfrm>
        <a:off x="2091044" y="1072748"/>
        <a:ext cx="1987142" cy="715165"/>
      </dsp:txXfrm>
    </dsp:sp>
    <dsp:sp modelId="{FAEAFEA5-8FC2-432D-B8AF-9CA3536F6EC8}">
      <dsp:nvSpPr>
        <dsp:cNvPr id="0" name=""/>
        <dsp:cNvSpPr/>
      </dsp:nvSpPr>
      <dsp:spPr>
        <a:xfrm>
          <a:off x="2995219" y="804561"/>
          <a:ext cx="178791" cy="1787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4EE396-C0BC-47C1-ACF3-238DD8E0C5BF}">
      <dsp:nvSpPr>
        <dsp:cNvPr id="0" name=""/>
        <dsp:cNvSpPr/>
      </dsp:nvSpPr>
      <dsp:spPr>
        <a:xfrm>
          <a:off x="4177543" y="0"/>
          <a:ext cx="1987142" cy="715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s-ES_tradnl" sz="1600" kern="1200" dirty="0"/>
            <a:t>Desarrollar pol</a:t>
          </a:r>
          <a:r>
            <a:rPr lang="it-IT" sz="1600" kern="1200" dirty="0"/>
            <a:t>í</a:t>
          </a:r>
          <a:r>
            <a:rPr lang="es-ES_tradnl" sz="1600" kern="1200" dirty="0"/>
            <a:t>ticas y procesos.</a:t>
          </a:r>
          <a:endParaRPr lang="es-ES" sz="1600" kern="1200" dirty="0"/>
        </a:p>
      </dsp:txBody>
      <dsp:txXfrm>
        <a:off x="4177543" y="0"/>
        <a:ext cx="1987142" cy="715165"/>
      </dsp:txXfrm>
    </dsp:sp>
    <dsp:sp modelId="{EE089CC5-8787-41F3-A8A0-CA24F48A2BEF}">
      <dsp:nvSpPr>
        <dsp:cNvPr id="0" name=""/>
        <dsp:cNvSpPr/>
      </dsp:nvSpPr>
      <dsp:spPr>
        <a:xfrm>
          <a:off x="5081718" y="804561"/>
          <a:ext cx="178791" cy="1787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BB5850-389D-4033-976A-310FDB3982B6}">
      <dsp:nvSpPr>
        <dsp:cNvPr id="0" name=""/>
        <dsp:cNvSpPr/>
      </dsp:nvSpPr>
      <dsp:spPr>
        <a:xfrm>
          <a:off x="6264042" y="1072748"/>
          <a:ext cx="1987142" cy="715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it-IT" sz="1600" kern="1200"/>
            <a:t>Implementar tecnologí</a:t>
          </a:r>
          <a:r>
            <a:rPr lang="es-ES_tradnl" sz="1600" kern="1200" dirty="0"/>
            <a:t>as de gobierno del dato.</a:t>
          </a:r>
          <a:endParaRPr lang="es-ES" sz="1600" kern="1200" dirty="0"/>
        </a:p>
      </dsp:txBody>
      <dsp:txXfrm>
        <a:off x="6264042" y="1072748"/>
        <a:ext cx="1987142" cy="715165"/>
      </dsp:txXfrm>
    </dsp:sp>
    <dsp:sp modelId="{77A5E741-E0E4-4EE8-9B3D-BEF39738B990}">
      <dsp:nvSpPr>
        <dsp:cNvPr id="0" name=""/>
        <dsp:cNvSpPr/>
      </dsp:nvSpPr>
      <dsp:spPr>
        <a:xfrm>
          <a:off x="7168217" y="804561"/>
          <a:ext cx="178791" cy="1787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CE10ED-FEE9-480C-BDC9-2F54FE95E76E}">
      <dsp:nvSpPr>
        <dsp:cNvPr id="0" name=""/>
        <dsp:cNvSpPr/>
      </dsp:nvSpPr>
      <dsp:spPr>
        <a:xfrm>
          <a:off x="8350541" y="0"/>
          <a:ext cx="1987142" cy="715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s-ES_tradnl" sz="1600" kern="1200" dirty="0"/>
            <a:t>Monitorear y evaluar el programa de gobierno del dato.</a:t>
          </a:r>
          <a:endParaRPr lang="es-ES" sz="1600" kern="1200" dirty="0"/>
        </a:p>
      </dsp:txBody>
      <dsp:txXfrm>
        <a:off x="8350541" y="0"/>
        <a:ext cx="1987142" cy="715165"/>
      </dsp:txXfrm>
    </dsp:sp>
    <dsp:sp modelId="{D961FB85-B5B5-42CE-A140-3255364BE009}">
      <dsp:nvSpPr>
        <dsp:cNvPr id="0" name=""/>
        <dsp:cNvSpPr/>
      </dsp:nvSpPr>
      <dsp:spPr>
        <a:xfrm>
          <a:off x="9254716" y="804561"/>
          <a:ext cx="178791" cy="1787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955DF-F00B-4410-9BE4-62DD1ED9D3C1}">
      <dsp:nvSpPr>
        <dsp:cNvPr id="0" name=""/>
        <dsp:cNvSpPr/>
      </dsp:nvSpPr>
      <dsp:spPr>
        <a:xfrm>
          <a:off x="0" y="13770"/>
          <a:ext cx="7843838" cy="5756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kern="1200" dirty="0"/>
            <a:t>Solución de Business Intelligence(*)</a:t>
          </a:r>
        </a:p>
      </dsp:txBody>
      <dsp:txXfrm>
        <a:off x="28100" y="41870"/>
        <a:ext cx="7787638" cy="519439"/>
      </dsp:txXfrm>
    </dsp:sp>
    <dsp:sp modelId="{BB5109AC-17C1-4DF6-9F27-55478476D846}">
      <dsp:nvSpPr>
        <dsp:cNvPr id="0" name=""/>
        <dsp:cNvSpPr/>
      </dsp:nvSpPr>
      <dsp:spPr>
        <a:xfrm>
          <a:off x="0" y="589409"/>
          <a:ext cx="7843838" cy="3278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042"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s-ES" sz="1900" kern="1200" dirty="0"/>
            <a:t>Las herramientas de BI son las del grupo HUF (herramientas de usuario final), las puede manejar un profesional no experto en informática.</a:t>
          </a:r>
        </a:p>
        <a:p>
          <a:pPr marL="171450" lvl="1" indent="-171450" algn="l" defTabSz="844550">
            <a:lnSpc>
              <a:spcPct val="90000"/>
            </a:lnSpc>
            <a:spcBef>
              <a:spcPct val="0"/>
            </a:spcBef>
            <a:spcAft>
              <a:spcPct val="20000"/>
            </a:spcAft>
            <a:buChar char="•"/>
          </a:pPr>
          <a:r>
            <a:rPr lang="es-ES" sz="1900" kern="1200" dirty="0"/>
            <a:t>Hacen búsquedas en Bases de Datos y contribuyen al descubrimiento de la información a partir de los datos. Es la habilidad para transformar los datos en información</a:t>
          </a:r>
        </a:p>
        <a:p>
          <a:pPr marL="171450" lvl="1" indent="-171450" algn="l" defTabSz="844550">
            <a:lnSpc>
              <a:spcPct val="90000"/>
            </a:lnSpc>
            <a:spcBef>
              <a:spcPct val="0"/>
            </a:spcBef>
            <a:spcAft>
              <a:spcPct val="20000"/>
            </a:spcAft>
            <a:buChar char="•"/>
          </a:pPr>
          <a:r>
            <a:rPr lang="es-ES" sz="1900" kern="1200" dirty="0"/>
            <a:t>Podrán ser open source como Google Data Studio o KNIME Analytics Platform o de pago como PowerBI</a:t>
          </a:r>
        </a:p>
        <a:p>
          <a:pPr marL="171450" lvl="1" indent="-171450" algn="l" defTabSz="844550">
            <a:lnSpc>
              <a:spcPct val="90000"/>
            </a:lnSpc>
            <a:spcBef>
              <a:spcPct val="0"/>
            </a:spcBef>
            <a:spcAft>
              <a:spcPct val="20000"/>
            </a:spcAft>
            <a:buChar char="•"/>
          </a:pPr>
          <a:r>
            <a:rPr lang="es-ES" sz="1900" kern="1200" dirty="0"/>
            <a:t>Mediante pantallas, informes y cuadros de mando son capaces de  “interrogar” y descubrir la información cuyo origen fueron las fuentes de información ingestadas.</a:t>
          </a:r>
        </a:p>
        <a:p>
          <a:pPr marL="171450" lvl="1" indent="-171450" algn="l" defTabSz="844550">
            <a:lnSpc>
              <a:spcPct val="90000"/>
            </a:lnSpc>
            <a:spcBef>
              <a:spcPct val="0"/>
            </a:spcBef>
            <a:spcAft>
              <a:spcPct val="20000"/>
            </a:spcAft>
            <a:buChar char="•"/>
          </a:pPr>
          <a:r>
            <a:rPr lang="es-ES" sz="1900" kern="1200" dirty="0"/>
            <a:t>Las pantallas contendrán argumentos de búsqueda y filtros</a:t>
          </a:r>
        </a:p>
      </dsp:txBody>
      <dsp:txXfrm>
        <a:off x="0" y="589409"/>
        <a:ext cx="7843838" cy="3278880"/>
      </dsp:txXfrm>
    </dsp:sp>
    <dsp:sp modelId="{6665B221-D768-4D25-BCDD-DBFF3FA3A851}">
      <dsp:nvSpPr>
        <dsp:cNvPr id="0" name=""/>
        <dsp:cNvSpPr/>
      </dsp:nvSpPr>
      <dsp:spPr>
        <a:xfrm>
          <a:off x="0" y="3868290"/>
          <a:ext cx="7843838" cy="5756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kern="1200" dirty="0"/>
            <a:t>Otras aplicaciones / ERP / Herramientas</a:t>
          </a:r>
        </a:p>
      </dsp:txBody>
      <dsp:txXfrm>
        <a:off x="28100" y="3896390"/>
        <a:ext cx="7787638" cy="519439"/>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80BDD8-7010-4E25-B84F-15804A23760B}">
      <dsp:nvSpPr>
        <dsp:cNvPr id="0" name=""/>
        <dsp:cNvSpPr/>
      </dsp:nvSpPr>
      <dsp:spPr>
        <a:xfrm>
          <a:off x="2505" y="74363"/>
          <a:ext cx="2101305" cy="2101305"/>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4B057C-0605-486A-89C1-596ABFA39B0E}">
      <dsp:nvSpPr>
        <dsp:cNvPr id="0" name=""/>
        <dsp:cNvSpPr/>
      </dsp:nvSpPr>
      <dsp:spPr>
        <a:xfrm>
          <a:off x="2505" y="74363"/>
          <a:ext cx="210" cy="420261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752B64-E8DE-4BFE-B445-215ADB851A00}">
      <dsp:nvSpPr>
        <dsp:cNvPr id="0" name=""/>
        <dsp:cNvSpPr/>
      </dsp:nvSpPr>
      <dsp:spPr>
        <a:xfrm>
          <a:off x="2505" y="2175669"/>
          <a:ext cx="2101305" cy="2101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1941</a:t>
          </a:r>
        </a:p>
        <a:p>
          <a:pPr marL="114300" lvl="1" indent="-114300" algn="l" defTabSz="622300">
            <a:lnSpc>
              <a:spcPct val="90000"/>
            </a:lnSpc>
            <a:spcBef>
              <a:spcPct val="0"/>
            </a:spcBef>
            <a:spcAft>
              <a:spcPct val="15000"/>
            </a:spcAft>
            <a:buChar char="•"/>
          </a:pPr>
          <a:r>
            <a:rPr lang="es-ES" sz="1400" kern="1200" dirty="0"/>
            <a:t>Konrad Zuse crea Z3, la primera computadora programable y completamente automática.</a:t>
          </a:r>
        </a:p>
        <a:p>
          <a:pPr marL="114300" lvl="1" indent="-114300" algn="l" defTabSz="622300">
            <a:lnSpc>
              <a:spcPct val="90000"/>
            </a:lnSpc>
            <a:spcBef>
              <a:spcPct val="0"/>
            </a:spcBef>
            <a:spcAft>
              <a:spcPct val="15000"/>
            </a:spcAft>
            <a:buChar char="•"/>
          </a:pPr>
          <a:r>
            <a:rPr lang="es-ES" sz="1400" kern="1200" dirty="0"/>
            <a:t>Se considera el primer ordenador de la historia moderna.</a:t>
          </a:r>
        </a:p>
      </dsp:txBody>
      <dsp:txXfrm>
        <a:off x="2505" y="2175669"/>
        <a:ext cx="2101305" cy="2101305"/>
      </dsp:txXfrm>
    </dsp:sp>
    <dsp:sp modelId="{CBC9F2AD-0BC7-4B38-BD6B-566441BB46A1}">
      <dsp:nvSpPr>
        <dsp:cNvPr id="0" name=""/>
        <dsp:cNvSpPr/>
      </dsp:nvSpPr>
      <dsp:spPr>
        <a:xfrm>
          <a:off x="2104826" y="56865"/>
          <a:ext cx="2101305" cy="2101305"/>
        </a:xfrm>
        <a:prstGeom prst="rect">
          <a:avLst/>
        </a:prstGeom>
        <a:blipFill rotWithShape="1">
          <a:blip xmlns:r="http://schemas.openxmlformats.org/officeDocument/2006/relationships" r:embed="rId2"/>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BF1B2F9-387C-4959-9617-F33E98146857}">
      <dsp:nvSpPr>
        <dsp:cNvPr id="0" name=""/>
        <dsp:cNvSpPr/>
      </dsp:nvSpPr>
      <dsp:spPr>
        <a:xfrm>
          <a:off x="2104826" y="56865"/>
          <a:ext cx="210" cy="420261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FF75DD-84FB-4498-AE3A-55B128DBE933}">
      <dsp:nvSpPr>
        <dsp:cNvPr id="0" name=""/>
        <dsp:cNvSpPr/>
      </dsp:nvSpPr>
      <dsp:spPr>
        <a:xfrm>
          <a:off x="2122309" y="2180038"/>
          <a:ext cx="2101305" cy="2171299"/>
        </a:xfrm>
        <a:prstGeom prst="rect">
          <a:avLst/>
        </a:prstGeom>
        <a:solidFill>
          <a:srgbClr val="FFFF00"/>
        </a:solid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1950</a:t>
          </a:r>
        </a:p>
        <a:p>
          <a:pPr marL="114300" lvl="1" indent="-114300" algn="l" defTabSz="622300">
            <a:lnSpc>
              <a:spcPct val="90000"/>
            </a:lnSpc>
            <a:spcBef>
              <a:spcPct val="0"/>
            </a:spcBef>
            <a:spcAft>
              <a:spcPct val="15000"/>
            </a:spcAft>
            <a:buChar char="•"/>
          </a:pPr>
          <a:r>
            <a:rPr lang="es-ES" sz="1400" kern="1200" dirty="0"/>
            <a:t>En su histórico artículo Alan Turing preguntó: ¿puede pensar una máquina? propuso un «juego de imitación», el test de Turing</a:t>
          </a:r>
        </a:p>
        <a:p>
          <a:pPr marL="114300" lvl="1" indent="-114300" algn="l" defTabSz="622300">
            <a:lnSpc>
              <a:spcPct val="90000"/>
            </a:lnSpc>
            <a:spcBef>
              <a:spcPct val="0"/>
            </a:spcBef>
            <a:spcAft>
              <a:spcPct val="15000"/>
            </a:spcAft>
            <a:buChar char="•"/>
          </a:pPr>
          <a:r>
            <a:rPr lang="es-ES" sz="1400" kern="1200" dirty="0"/>
            <a:t>Compañero de Joan Clarke</a:t>
          </a:r>
        </a:p>
      </dsp:txBody>
      <dsp:txXfrm>
        <a:off x="2122309" y="2180038"/>
        <a:ext cx="2101305" cy="2171299"/>
      </dsp:txXfrm>
    </dsp:sp>
    <dsp:sp modelId="{6EC9C8D7-EFFB-4496-A3F5-BD915D10DEFA}">
      <dsp:nvSpPr>
        <dsp:cNvPr id="0" name=""/>
        <dsp:cNvSpPr/>
      </dsp:nvSpPr>
      <dsp:spPr>
        <a:xfrm>
          <a:off x="4207147" y="74363"/>
          <a:ext cx="2101305" cy="2101305"/>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4FF201-5F75-4FC3-A5D7-27EC9298559C}">
      <dsp:nvSpPr>
        <dsp:cNvPr id="0" name=""/>
        <dsp:cNvSpPr/>
      </dsp:nvSpPr>
      <dsp:spPr>
        <a:xfrm>
          <a:off x="4207147" y="74363"/>
          <a:ext cx="210" cy="420261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A208B3E-E651-4A18-8B2E-4CA13273EEFF}">
      <dsp:nvSpPr>
        <dsp:cNvPr id="0" name=""/>
        <dsp:cNvSpPr/>
      </dsp:nvSpPr>
      <dsp:spPr>
        <a:xfrm>
          <a:off x="4207147" y="2175669"/>
          <a:ext cx="2101305" cy="2101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1956, </a:t>
          </a:r>
        </a:p>
        <a:p>
          <a:pPr marL="114300" lvl="1" indent="-114300" algn="l" defTabSz="622300">
            <a:lnSpc>
              <a:spcPct val="90000"/>
            </a:lnSpc>
            <a:spcBef>
              <a:spcPct val="0"/>
            </a:spcBef>
            <a:spcAft>
              <a:spcPct val="15000"/>
            </a:spcAft>
            <a:buChar char="•"/>
          </a:pPr>
          <a:r>
            <a:rPr lang="es-ES" sz="1400" kern="1200" dirty="0"/>
            <a:t>Nace el término Inteligencia artificial</a:t>
          </a:r>
        </a:p>
        <a:p>
          <a:pPr marL="114300" lvl="1" indent="-114300" algn="l" defTabSz="622300">
            <a:lnSpc>
              <a:spcPct val="90000"/>
            </a:lnSpc>
            <a:spcBef>
              <a:spcPct val="0"/>
            </a:spcBef>
            <a:spcAft>
              <a:spcPct val="15000"/>
            </a:spcAft>
            <a:buChar char="•"/>
          </a:pPr>
          <a:r>
            <a:rPr lang="es-ES" sz="1400" kern="1200" dirty="0"/>
            <a:t>El informático John McCarthy acuña el término Inteligencia Artificial (conferencia de Darmouth)</a:t>
          </a:r>
        </a:p>
      </dsp:txBody>
      <dsp:txXfrm>
        <a:off x="4207147" y="2175669"/>
        <a:ext cx="2101305" cy="2101305"/>
      </dsp:txXfrm>
    </dsp:sp>
    <dsp:sp modelId="{1C7F089E-7D30-4CBD-8779-85C03138EFA7}">
      <dsp:nvSpPr>
        <dsp:cNvPr id="0" name=""/>
        <dsp:cNvSpPr/>
      </dsp:nvSpPr>
      <dsp:spPr>
        <a:xfrm>
          <a:off x="6309468" y="74363"/>
          <a:ext cx="2101305" cy="2101305"/>
        </a:xfrm>
        <a:prstGeom prst="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BE888C-77D1-4D14-9026-94D4F1F90D37}">
      <dsp:nvSpPr>
        <dsp:cNvPr id="0" name=""/>
        <dsp:cNvSpPr/>
      </dsp:nvSpPr>
      <dsp:spPr>
        <a:xfrm>
          <a:off x="6309468" y="74363"/>
          <a:ext cx="210" cy="420261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E1619C-A027-4524-BBE2-AE8DE0FB9304}">
      <dsp:nvSpPr>
        <dsp:cNvPr id="0" name=""/>
        <dsp:cNvSpPr/>
      </dsp:nvSpPr>
      <dsp:spPr>
        <a:xfrm>
          <a:off x="6309468" y="2175669"/>
          <a:ext cx="2101305" cy="2101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it-IT" sz="1800" kern="1200" dirty="0"/>
            <a:t>1957 </a:t>
          </a:r>
          <a:endParaRPr lang="es-ES" sz="1800" kern="1200" dirty="0"/>
        </a:p>
        <a:p>
          <a:pPr marL="114300" lvl="1" indent="-114300" algn="l" defTabSz="622300">
            <a:lnSpc>
              <a:spcPct val="90000"/>
            </a:lnSpc>
            <a:spcBef>
              <a:spcPct val="0"/>
            </a:spcBef>
            <a:spcAft>
              <a:spcPct val="15000"/>
            </a:spcAft>
            <a:buChar char="•"/>
          </a:pPr>
          <a:r>
            <a:rPr lang="es-ES" sz="1400" kern="1200" dirty="0"/>
            <a:t>Frank Rosenblat diseña la primera red neuronal.</a:t>
          </a:r>
        </a:p>
      </dsp:txBody>
      <dsp:txXfrm>
        <a:off x="6309468" y="2175669"/>
        <a:ext cx="2101305" cy="2101305"/>
      </dsp:txXfrm>
    </dsp:sp>
    <dsp:sp modelId="{97DB6064-B2D9-457F-BD82-39545FF9DFF2}">
      <dsp:nvSpPr>
        <dsp:cNvPr id="0" name=""/>
        <dsp:cNvSpPr/>
      </dsp:nvSpPr>
      <dsp:spPr>
        <a:xfrm>
          <a:off x="8411789" y="74363"/>
          <a:ext cx="2101305" cy="2101305"/>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A41E29-C51D-4518-9203-BA88888BF4B5}">
      <dsp:nvSpPr>
        <dsp:cNvPr id="0" name=""/>
        <dsp:cNvSpPr/>
      </dsp:nvSpPr>
      <dsp:spPr>
        <a:xfrm>
          <a:off x="8411789" y="74363"/>
          <a:ext cx="210" cy="420261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566FDF-AA8A-463E-822F-54C05EB6FEBE}">
      <dsp:nvSpPr>
        <dsp:cNvPr id="0" name=""/>
        <dsp:cNvSpPr/>
      </dsp:nvSpPr>
      <dsp:spPr>
        <a:xfrm>
          <a:off x="8411789" y="2175669"/>
          <a:ext cx="2101305" cy="2101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s-ES" sz="1800" kern="1200" dirty="0"/>
            <a:t>1966</a:t>
          </a:r>
        </a:p>
        <a:p>
          <a:pPr marL="114300" lvl="1" indent="-114300" algn="l" defTabSz="622300">
            <a:lnSpc>
              <a:spcPct val="90000"/>
            </a:lnSpc>
            <a:spcBef>
              <a:spcPct val="0"/>
            </a:spcBef>
            <a:spcAft>
              <a:spcPct val="15000"/>
            </a:spcAft>
            <a:buChar char="•"/>
          </a:pPr>
          <a:r>
            <a:rPr lang="es-ES" sz="1400" kern="1200" dirty="0"/>
            <a:t>Joseph Weizenbaum (MIT), diseña el primer chatbot: ELIZA</a:t>
          </a:r>
        </a:p>
      </dsp:txBody>
      <dsp:txXfrm>
        <a:off x="8411789" y="2175669"/>
        <a:ext cx="2101305" cy="2101305"/>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55244D-FF15-4636-89DD-758FE3BD95C2}">
      <dsp:nvSpPr>
        <dsp:cNvPr id="0" name=""/>
        <dsp:cNvSpPr/>
      </dsp:nvSpPr>
      <dsp:spPr>
        <a:xfrm>
          <a:off x="8603" y="0"/>
          <a:ext cx="3814916" cy="3814916"/>
        </a:xfrm>
        <a:prstGeom prst="ellipse">
          <a:avLst/>
        </a:prstGeom>
        <a:gradFill rotWithShape="0">
          <a:gsLst>
            <a:gs pos="0">
              <a:schemeClr val="accent1">
                <a:shade val="50000"/>
                <a:hueOff val="0"/>
                <a:satOff val="0"/>
                <a:lumOff val="0"/>
                <a:alphaOff val="0"/>
                <a:lumMod val="110000"/>
                <a:satMod val="105000"/>
                <a:tint val="67000"/>
              </a:schemeClr>
            </a:gs>
            <a:gs pos="50000">
              <a:schemeClr val="accent1">
                <a:shade val="50000"/>
                <a:hueOff val="0"/>
                <a:satOff val="0"/>
                <a:lumOff val="0"/>
                <a:alphaOff val="0"/>
                <a:lumMod val="105000"/>
                <a:satMod val="103000"/>
                <a:tint val="73000"/>
              </a:schemeClr>
            </a:gs>
            <a:gs pos="100000">
              <a:schemeClr val="accent1">
                <a:shade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s-ES" sz="1800" b="1" kern="1200" noProof="0" dirty="0"/>
            <a:t>IA </a:t>
          </a:r>
          <a:r>
            <a:rPr lang="es-ES" sz="1800" kern="1200" noProof="0" dirty="0"/>
            <a:t>Inteligencia Artificial</a:t>
          </a:r>
          <a:endParaRPr lang="es-ES" sz="1800" kern="1200" dirty="0"/>
        </a:p>
      </dsp:txBody>
      <dsp:txXfrm>
        <a:off x="1249404" y="190745"/>
        <a:ext cx="1333313" cy="572237"/>
      </dsp:txXfrm>
    </dsp:sp>
    <dsp:sp modelId="{EDBD8C05-277E-4273-908B-19D80FED0128}">
      <dsp:nvSpPr>
        <dsp:cNvPr id="0" name=""/>
        <dsp:cNvSpPr/>
      </dsp:nvSpPr>
      <dsp:spPr>
        <a:xfrm>
          <a:off x="485467" y="953728"/>
          <a:ext cx="2861187" cy="2861187"/>
        </a:xfrm>
        <a:prstGeom prst="ellipse">
          <a:avLst/>
        </a:prstGeom>
        <a:gradFill rotWithShape="0">
          <a:gsLst>
            <a:gs pos="0">
              <a:schemeClr val="accent1">
                <a:shade val="50000"/>
                <a:hueOff val="268329"/>
                <a:satOff val="-6535"/>
                <a:lumOff val="28597"/>
                <a:alphaOff val="0"/>
                <a:lumMod val="110000"/>
                <a:satMod val="105000"/>
                <a:tint val="67000"/>
              </a:schemeClr>
            </a:gs>
            <a:gs pos="50000">
              <a:schemeClr val="accent1">
                <a:shade val="50000"/>
                <a:hueOff val="268329"/>
                <a:satOff val="-6535"/>
                <a:lumOff val="28597"/>
                <a:alphaOff val="0"/>
                <a:lumMod val="105000"/>
                <a:satMod val="103000"/>
                <a:tint val="73000"/>
              </a:schemeClr>
            </a:gs>
            <a:gs pos="100000">
              <a:schemeClr val="accent1">
                <a:shade val="50000"/>
                <a:hueOff val="268329"/>
                <a:satOff val="-6535"/>
                <a:lumOff val="2859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s-ES" sz="1800" b="1" kern="1200" noProof="0" dirty="0"/>
            <a:t>ML</a:t>
          </a:r>
          <a:r>
            <a:rPr lang="es-ES" sz="1800" kern="1200" noProof="0" dirty="0"/>
            <a:t> Machine Learning</a:t>
          </a:r>
          <a:endParaRPr lang="es-ES" sz="1800" kern="1200" dirty="0"/>
        </a:p>
      </dsp:txBody>
      <dsp:txXfrm>
        <a:off x="1249404" y="1132553"/>
        <a:ext cx="1333313" cy="536472"/>
      </dsp:txXfrm>
    </dsp:sp>
    <dsp:sp modelId="{0BE99B4A-5C51-4CC4-9EE1-643F601E773B}">
      <dsp:nvSpPr>
        <dsp:cNvPr id="0" name=""/>
        <dsp:cNvSpPr/>
      </dsp:nvSpPr>
      <dsp:spPr>
        <a:xfrm>
          <a:off x="962332" y="1907458"/>
          <a:ext cx="1907458" cy="1907458"/>
        </a:xfrm>
        <a:prstGeom prst="ellipse">
          <a:avLst/>
        </a:prstGeom>
        <a:gradFill rotWithShape="0">
          <a:gsLst>
            <a:gs pos="0">
              <a:schemeClr val="accent1">
                <a:shade val="50000"/>
                <a:hueOff val="268329"/>
                <a:satOff val="-6535"/>
                <a:lumOff val="28597"/>
                <a:alphaOff val="0"/>
                <a:lumMod val="110000"/>
                <a:satMod val="105000"/>
                <a:tint val="67000"/>
              </a:schemeClr>
            </a:gs>
            <a:gs pos="50000">
              <a:schemeClr val="accent1">
                <a:shade val="50000"/>
                <a:hueOff val="268329"/>
                <a:satOff val="-6535"/>
                <a:lumOff val="28597"/>
                <a:alphaOff val="0"/>
                <a:lumMod val="105000"/>
                <a:satMod val="103000"/>
                <a:tint val="73000"/>
              </a:schemeClr>
            </a:gs>
            <a:gs pos="100000">
              <a:schemeClr val="accent1">
                <a:shade val="50000"/>
                <a:hueOff val="268329"/>
                <a:satOff val="-6535"/>
                <a:lumOff val="2859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s-ES" sz="1800" b="1" kern="1200" noProof="0" dirty="0"/>
            <a:t>DL</a:t>
          </a:r>
        </a:p>
        <a:p>
          <a:pPr marL="0" lvl="0" indent="0" algn="ctr" defTabSz="800100">
            <a:lnSpc>
              <a:spcPct val="90000"/>
            </a:lnSpc>
            <a:spcBef>
              <a:spcPct val="0"/>
            </a:spcBef>
            <a:spcAft>
              <a:spcPct val="35000"/>
            </a:spcAft>
            <a:buNone/>
          </a:pPr>
          <a:r>
            <a:rPr lang="es-ES" sz="1800" kern="1200" noProof="0" dirty="0"/>
            <a:t>Deep Learning</a:t>
          </a:r>
          <a:endParaRPr lang="es-ES" sz="1800" kern="1200" dirty="0"/>
        </a:p>
      </dsp:txBody>
      <dsp:txXfrm>
        <a:off x="1241673" y="2384322"/>
        <a:ext cx="1348776" cy="95372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408941-0D95-42E4-9712-C3706383C42C}">
      <dsp:nvSpPr>
        <dsp:cNvPr id="0" name=""/>
        <dsp:cNvSpPr/>
      </dsp:nvSpPr>
      <dsp:spPr>
        <a:xfrm>
          <a:off x="0" y="1196501"/>
          <a:ext cx="10515601" cy="159533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9F505A-F89C-408C-BD41-CC801C2C632F}">
      <dsp:nvSpPr>
        <dsp:cNvPr id="0" name=""/>
        <dsp:cNvSpPr/>
      </dsp:nvSpPr>
      <dsp:spPr>
        <a:xfrm>
          <a:off x="566" y="0"/>
          <a:ext cx="2751804" cy="1595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n-US" sz="1600" kern="1200" dirty="0"/>
            <a:t>2020</a:t>
          </a:r>
          <a:endParaRPr lang="es-ES" sz="1600" kern="1200" dirty="0"/>
        </a:p>
        <a:p>
          <a:pPr marL="114300" lvl="1" indent="-114300" algn="l" defTabSz="533400">
            <a:lnSpc>
              <a:spcPct val="90000"/>
            </a:lnSpc>
            <a:spcBef>
              <a:spcPct val="0"/>
            </a:spcBef>
            <a:spcAft>
              <a:spcPct val="15000"/>
            </a:spcAft>
            <a:buChar char="•"/>
          </a:pPr>
          <a:r>
            <a:rPr lang="en-US" sz="1200" kern="1200" dirty="0"/>
            <a:t>Libros, música, Productora de cine, software, videojuegos, electrónica, ropa, muebles, comida… </a:t>
          </a:r>
        </a:p>
        <a:p>
          <a:pPr marL="114300" lvl="1" indent="-114300" algn="l" defTabSz="533400">
            <a:lnSpc>
              <a:spcPct val="90000"/>
            </a:lnSpc>
            <a:spcBef>
              <a:spcPct val="0"/>
            </a:spcBef>
            <a:spcAft>
              <a:spcPct val="15000"/>
            </a:spcAft>
            <a:buChar char="•"/>
          </a:pPr>
          <a:r>
            <a:rPr lang="en-US" sz="1200" kern="1200" dirty="0"/>
            <a:t>Opera en muchos sectores, siempre en el bando ganador.</a:t>
          </a:r>
        </a:p>
      </dsp:txBody>
      <dsp:txXfrm>
        <a:off x="566" y="0"/>
        <a:ext cx="2751804" cy="1595336"/>
      </dsp:txXfrm>
    </dsp:sp>
    <dsp:sp modelId="{DBD1C907-8679-4E06-BCD2-5E7AF0795A3B}">
      <dsp:nvSpPr>
        <dsp:cNvPr id="0" name=""/>
        <dsp:cNvSpPr/>
      </dsp:nvSpPr>
      <dsp:spPr>
        <a:xfrm>
          <a:off x="1177051" y="1794753"/>
          <a:ext cx="398834" cy="3988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F721B3-1E20-474C-B787-7321B1D08B54}">
      <dsp:nvSpPr>
        <dsp:cNvPr id="0" name=""/>
        <dsp:cNvSpPr/>
      </dsp:nvSpPr>
      <dsp:spPr>
        <a:xfrm>
          <a:off x="2812213" y="2393003"/>
          <a:ext cx="2092425" cy="1595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1">
          <a:noAutofit/>
        </a:bodyPr>
        <a:lstStyle/>
        <a:p>
          <a:pPr marL="0" lvl="0" indent="0" algn="l" defTabSz="711200">
            <a:lnSpc>
              <a:spcPct val="90000"/>
            </a:lnSpc>
            <a:spcBef>
              <a:spcPct val="0"/>
            </a:spcBef>
            <a:spcAft>
              <a:spcPct val="35000"/>
            </a:spcAft>
            <a:buNone/>
          </a:pPr>
          <a:r>
            <a:rPr lang="es-ES" sz="1600" kern="1200" dirty="0"/>
            <a:t>2021</a:t>
          </a:r>
        </a:p>
        <a:p>
          <a:pPr marL="114300" lvl="1" indent="-114300" algn="l" defTabSz="533400">
            <a:lnSpc>
              <a:spcPct val="90000"/>
            </a:lnSpc>
            <a:spcBef>
              <a:spcPct val="0"/>
            </a:spcBef>
            <a:spcAft>
              <a:spcPct val="15000"/>
            </a:spcAft>
            <a:buChar char="•"/>
          </a:pPr>
          <a:r>
            <a:rPr lang="es-ES" sz="1200" kern="1200" dirty="0"/>
            <a:t>Amazon compra los estudios de cine de Metro Goldwyn Mayer</a:t>
          </a:r>
        </a:p>
      </dsp:txBody>
      <dsp:txXfrm>
        <a:off x="2812213" y="2393003"/>
        <a:ext cx="2092425" cy="1595336"/>
      </dsp:txXfrm>
    </dsp:sp>
    <dsp:sp modelId="{ECE07D13-5868-47F8-AEE1-182AE16E9686}">
      <dsp:nvSpPr>
        <dsp:cNvPr id="0" name=""/>
        <dsp:cNvSpPr/>
      </dsp:nvSpPr>
      <dsp:spPr>
        <a:xfrm>
          <a:off x="3659009" y="1794753"/>
          <a:ext cx="398834" cy="3988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D16058-BFFD-4AFB-974B-790D3A5CC82C}">
      <dsp:nvSpPr>
        <dsp:cNvPr id="0" name=""/>
        <dsp:cNvSpPr/>
      </dsp:nvSpPr>
      <dsp:spPr>
        <a:xfrm>
          <a:off x="4964482" y="0"/>
          <a:ext cx="4498992" cy="1595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1">
          <a:noAutofit/>
        </a:bodyPr>
        <a:lstStyle/>
        <a:p>
          <a:pPr marL="0" lvl="0" indent="0" algn="l" defTabSz="711200">
            <a:lnSpc>
              <a:spcPct val="90000"/>
            </a:lnSpc>
            <a:spcBef>
              <a:spcPct val="0"/>
            </a:spcBef>
            <a:spcAft>
              <a:spcPct val="35000"/>
            </a:spcAft>
            <a:buNone/>
          </a:pPr>
          <a:r>
            <a:rPr lang="es-ES" sz="1600" kern="1200" dirty="0"/>
            <a:t>2022</a:t>
          </a:r>
        </a:p>
        <a:p>
          <a:pPr marL="114300" lvl="1" indent="-114300" algn="l" defTabSz="533400">
            <a:lnSpc>
              <a:spcPct val="90000"/>
            </a:lnSpc>
            <a:spcBef>
              <a:spcPct val="0"/>
            </a:spcBef>
            <a:spcAft>
              <a:spcPct val="15000"/>
            </a:spcAft>
            <a:buChar char="•"/>
          </a:pPr>
          <a:r>
            <a:rPr lang="es-ES" sz="1200" kern="1200" dirty="0">
              <a:highlight>
                <a:srgbClr val="C0C0C0"/>
              </a:highlight>
            </a:rPr>
            <a:t>Amazon</a:t>
          </a:r>
          <a:r>
            <a:rPr lang="es-ES" sz="1200" kern="1200" dirty="0"/>
            <a:t> duplica sus beneficios trimestrales y bate récord de subida en Bolsa. Gana 200.000 millones de dólares en capitalización bursátil, pese a los problemas en las cadenas de suministro y la falta de trabajadores.</a:t>
          </a:r>
        </a:p>
        <a:p>
          <a:pPr marL="114300" lvl="1" indent="-114300" algn="l" defTabSz="533400">
            <a:lnSpc>
              <a:spcPct val="90000"/>
            </a:lnSpc>
            <a:spcBef>
              <a:spcPct val="0"/>
            </a:spcBef>
            <a:spcAft>
              <a:spcPct val="15000"/>
            </a:spcAft>
            <a:buChar char="•"/>
          </a:pPr>
          <a:r>
            <a:rPr lang="es-ES" sz="1200" kern="1200" dirty="0">
              <a:highlight>
                <a:srgbClr val="C0C0C0"/>
              </a:highlight>
            </a:rPr>
            <a:t>Amazon Web Services (AWS), </a:t>
          </a:r>
          <a:r>
            <a:rPr lang="es-ES" sz="1200" kern="1200" dirty="0"/>
            <a:t>la más rentable de las áreas. 2021 aumentó un 37% (62.200 millones de dólares), por encima de Microsoft y Google. </a:t>
          </a:r>
        </a:p>
        <a:p>
          <a:pPr marL="114300" lvl="1" indent="-114300" algn="l" defTabSz="533400">
            <a:lnSpc>
              <a:spcPct val="90000"/>
            </a:lnSpc>
            <a:spcBef>
              <a:spcPct val="0"/>
            </a:spcBef>
            <a:spcAft>
              <a:spcPct val="15000"/>
            </a:spcAft>
            <a:buChar char="•"/>
          </a:pPr>
          <a:r>
            <a:rPr lang="es-ES" sz="1200" kern="1200" dirty="0">
              <a:highlight>
                <a:srgbClr val="C0C0C0"/>
              </a:highlight>
            </a:rPr>
            <a:t>El negocio publicitario </a:t>
          </a:r>
          <a:r>
            <a:rPr lang="es-ES" sz="1200" kern="1200" dirty="0"/>
            <a:t>de creció en 2021 a un ritmo acelerado y acorta la ventaja que le llevan sus competidores, Alphabet y Facebook,</a:t>
          </a:r>
        </a:p>
      </dsp:txBody>
      <dsp:txXfrm>
        <a:off x="4964482" y="0"/>
        <a:ext cx="4498992" cy="1595336"/>
      </dsp:txXfrm>
    </dsp:sp>
    <dsp:sp modelId="{D40A8508-6A7C-4CB5-897C-A4151B704FC0}">
      <dsp:nvSpPr>
        <dsp:cNvPr id="0" name=""/>
        <dsp:cNvSpPr/>
      </dsp:nvSpPr>
      <dsp:spPr>
        <a:xfrm>
          <a:off x="7014561" y="1794753"/>
          <a:ext cx="398834" cy="3988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26228A-1A3D-4673-B84B-5089E7F7257C}">
      <dsp:nvSpPr>
        <dsp:cNvPr id="0" name=""/>
        <dsp:cNvSpPr/>
      </dsp:nvSpPr>
      <dsp:spPr>
        <a:xfrm>
          <a:off x="7328" y="758049"/>
          <a:ext cx="3165152" cy="2362719"/>
        </a:xfrm>
        <a:prstGeom prst="round2SameRect">
          <a:avLst>
            <a:gd name="adj1" fmla="val 8000"/>
            <a:gd name="adj2" fmla="val 0"/>
          </a:avLst>
        </a:prstGeom>
        <a:solidFill>
          <a:schemeClr val="dk2">
            <a:alpha val="9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l" defTabSz="533400">
            <a:lnSpc>
              <a:spcPct val="90000"/>
            </a:lnSpc>
            <a:spcBef>
              <a:spcPct val="0"/>
            </a:spcBef>
            <a:spcAft>
              <a:spcPts val="600"/>
            </a:spcAft>
            <a:buChar char="•"/>
          </a:pPr>
          <a:r>
            <a:rPr lang="es-ES" sz="1200" kern="1200" noProof="0" dirty="0"/>
            <a:t>La definición más amplia posible de lo que es la Inteligencia Artificial.</a:t>
          </a:r>
          <a:endParaRPr lang="es-ES" sz="1200" kern="1200" dirty="0"/>
        </a:p>
        <a:p>
          <a:pPr marL="114300" lvl="1" indent="-114300" algn="l" defTabSz="533400">
            <a:lnSpc>
              <a:spcPct val="90000"/>
            </a:lnSpc>
            <a:spcBef>
              <a:spcPct val="0"/>
            </a:spcBef>
            <a:spcAft>
              <a:spcPts val="600"/>
            </a:spcAft>
            <a:buChar char="•"/>
          </a:pPr>
          <a:r>
            <a:rPr lang="es-ES" sz="1200" kern="1200" noProof="0" dirty="0"/>
            <a:t>Consiste en hacer que una máquina sea capaz de pensar como un ser humano. </a:t>
          </a:r>
          <a:endParaRPr lang="es-ES" sz="1200" kern="1200" dirty="0"/>
        </a:p>
        <a:p>
          <a:pPr marL="114300" lvl="1" indent="-114300" algn="l" defTabSz="533400">
            <a:lnSpc>
              <a:spcPct val="90000"/>
            </a:lnSpc>
            <a:spcBef>
              <a:spcPct val="0"/>
            </a:spcBef>
            <a:spcAft>
              <a:spcPts val="600"/>
            </a:spcAft>
            <a:buChar char="•"/>
          </a:pPr>
          <a:r>
            <a:rPr lang="es-ES" sz="1200" kern="1200" noProof="0" dirty="0"/>
            <a:t>Técnica basada en reglas, deterministas:</a:t>
          </a:r>
        </a:p>
        <a:p>
          <a:pPr marL="228600" lvl="2" indent="-114300" algn="l" defTabSz="533400">
            <a:lnSpc>
              <a:spcPct val="90000"/>
            </a:lnSpc>
            <a:spcBef>
              <a:spcPct val="0"/>
            </a:spcBef>
            <a:spcAft>
              <a:spcPts val="600"/>
            </a:spcAft>
            <a:buChar char="•"/>
          </a:pPr>
          <a:r>
            <a:rPr lang="es-ES" sz="1200" kern="1200" noProof="0" dirty="0"/>
            <a:t>Largas listas de, si X es verdadero</a:t>
          </a:r>
        </a:p>
        <a:p>
          <a:pPr marL="342900" lvl="3" indent="-114300" algn="l" defTabSz="533400">
            <a:lnSpc>
              <a:spcPct val="90000"/>
            </a:lnSpc>
            <a:spcBef>
              <a:spcPct val="0"/>
            </a:spcBef>
            <a:spcAft>
              <a:spcPts val="600"/>
            </a:spcAft>
            <a:buChar char="•"/>
          </a:pPr>
          <a:r>
            <a:rPr lang="es-ES" sz="1200" kern="1200" noProof="0" dirty="0"/>
            <a:t>Haz Y</a:t>
          </a:r>
        </a:p>
        <a:p>
          <a:pPr marL="342900" lvl="3" indent="-114300" algn="l" defTabSz="533400">
            <a:lnSpc>
              <a:spcPct val="90000"/>
            </a:lnSpc>
            <a:spcBef>
              <a:spcPct val="0"/>
            </a:spcBef>
            <a:spcAft>
              <a:spcPts val="600"/>
            </a:spcAft>
            <a:buChar char="•"/>
          </a:pPr>
          <a:r>
            <a:rPr lang="es-ES" sz="1200" kern="1200" noProof="0" dirty="0"/>
            <a:t>de lo contrario, haz Z.</a:t>
          </a:r>
        </a:p>
        <a:p>
          <a:pPr marL="228600" lvl="2" indent="-114300" algn="l" defTabSz="533400">
            <a:lnSpc>
              <a:spcPct val="90000"/>
            </a:lnSpc>
            <a:spcBef>
              <a:spcPct val="0"/>
            </a:spcBef>
            <a:spcAft>
              <a:spcPts val="600"/>
            </a:spcAft>
            <a:buChar char="•"/>
          </a:pPr>
          <a:r>
            <a:rPr lang="es-ES" sz="1200" kern="1200" noProof="0" dirty="0"/>
            <a:t>COBOL (1957) ya funcionaba así.</a:t>
          </a:r>
          <a:endParaRPr lang="es-ES" sz="1200" kern="1200" dirty="0"/>
        </a:p>
      </dsp:txBody>
      <dsp:txXfrm>
        <a:off x="62689" y="813410"/>
        <a:ext cx="3054430" cy="2307358"/>
      </dsp:txXfrm>
    </dsp:sp>
    <dsp:sp modelId="{658D8928-E969-4295-86B7-1E2282A00761}">
      <dsp:nvSpPr>
        <dsp:cNvPr id="0" name=""/>
        <dsp:cNvSpPr/>
      </dsp:nvSpPr>
      <dsp:spPr>
        <a:xfrm>
          <a:off x="7328" y="3120769"/>
          <a:ext cx="3165152" cy="101596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0970" tIns="0" rIns="46990" bIns="0" numCol="1" spcCol="1270" anchor="ctr" anchorCtr="0">
          <a:noAutofit/>
        </a:bodyPr>
        <a:lstStyle/>
        <a:p>
          <a:pPr marL="0" lvl="0" indent="0" algn="l" defTabSz="1644650">
            <a:lnSpc>
              <a:spcPct val="90000"/>
            </a:lnSpc>
            <a:spcBef>
              <a:spcPct val="0"/>
            </a:spcBef>
            <a:spcAft>
              <a:spcPct val="35000"/>
            </a:spcAft>
            <a:buNone/>
          </a:pPr>
          <a:r>
            <a:rPr lang="es-ES" sz="3700" kern="1200" dirty="0"/>
            <a:t>AI</a:t>
          </a:r>
        </a:p>
      </dsp:txBody>
      <dsp:txXfrm>
        <a:off x="7328" y="3120769"/>
        <a:ext cx="2228980" cy="1015969"/>
      </dsp:txXfrm>
    </dsp:sp>
    <dsp:sp modelId="{E28371BB-C2F9-4427-81C7-97EA734D823E}">
      <dsp:nvSpPr>
        <dsp:cNvPr id="0" name=""/>
        <dsp:cNvSpPr/>
      </dsp:nvSpPr>
      <dsp:spPr>
        <a:xfrm>
          <a:off x="2325846" y="3282146"/>
          <a:ext cx="1107803" cy="110780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6350" cap="flat" cmpd="sng" algn="ctr">
          <a:solidFill>
            <a:schemeClr val="dk2">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D7494EF6-804B-40FF-8F08-88F7AE32B0DC}">
      <dsp:nvSpPr>
        <dsp:cNvPr id="0" name=""/>
        <dsp:cNvSpPr/>
      </dsp:nvSpPr>
      <dsp:spPr>
        <a:xfrm>
          <a:off x="3708100" y="758049"/>
          <a:ext cx="3165152" cy="2362719"/>
        </a:xfrm>
        <a:prstGeom prst="round2SameRect">
          <a:avLst>
            <a:gd name="adj1" fmla="val 8000"/>
            <a:gd name="adj2" fmla="val 0"/>
          </a:avLst>
        </a:prstGeom>
        <a:solidFill>
          <a:schemeClr val="dk2">
            <a:alpha val="9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Es dotar a una máquina de la capacidad de aprender de las situaciones para resolver las cosas sin estas tengan que ser programadas explícitamente. </a:t>
          </a:r>
          <a:endParaRPr lang="es-ES" sz="1200" kern="1200" dirty="0">
            <a:solidFill>
              <a:srgbClr val="17406D">
                <a:hueOff val="0"/>
                <a:satOff val="0"/>
                <a:lumOff val="0"/>
                <a:alphaOff val="0"/>
              </a:srgbClr>
            </a:solidFill>
            <a:latin typeface="Avenir LT Std 35 Light" panose="020B0402020203020204" pitchFamily="34" charset="0"/>
            <a:ea typeface="+mn-ea"/>
            <a:cs typeface="+mn-cs"/>
          </a:endParaRPr>
        </a:p>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El Data Scientist le dice a la máquina qué buscar, y esta refina el criterio hasta que tenga un modelo específico de lo que le hemos pedido. </a:t>
          </a:r>
        </a:p>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Filtra los correos de SPAM</a:t>
          </a:r>
        </a:p>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Hace recomendaciones en Youtube</a:t>
          </a:r>
        </a:p>
        <a:p>
          <a:pPr marL="114300" lvl="1" indent="-114300" algn="l" defTabSz="533400">
            <a:lnSpc>
              <a:spcPct val="90000"/>
            </a:lnSpc>
            <a:spcBef>
              <a:spcPct val="0"/>
            </a:spcBef>
            <a:spcAft>
              <a:spcPts val="600"/>
            </a:spcAft>
            <a:buChar char="•"/>
          </a:pPr>
          <a:r>
            <a:rPr lang="es-ES" sz="1200" kern="1200" noProof="0" dirty="0">
              <a:solidFill>
                <a:srgbClr val="17406D">
                  <a:hueOff val="0"/>
                  <a:satOff val="0"/>
                  <a:lumOff val="0"/>
                  <a:alphaOff val="0"/>
                </a:srgbClr>
              </a:solidFill>
              <a:latin typeface="Avenir LT Std 35 Light" panose="020B0402020203020204" pitchFamily="34" charset="0"/>
              <a:ea typeface="+mn-ea"/>
              <a:cs typeface="+mn-cs"/>
            </a:rPr>
            <a:t>Modifica tu actividad en LinkeIn.</a:t>
          </a:r>
          <a:endParaRPr lang="es-ES" sz="1200" kern="1200" dirty="0">
            <a:solidFill>
              <a:srgbClr val="17406D">
                <a:hueOff val="0"/>
                <a:satOff val="0"/>
                <a:lumOff val="0"/>
                <a:alphaOff val="0"/>
              </a:srgbClr>
            </a:solidFill>
            <a:latin typeface="Avenir LT Std 35 Light" panose="020B0402020203020204" pitchFamily="34" charset="0"/>
            <a:ea typeface="+mn-ea"/>
            <a:cs typeface="+mn-cs"/>
          </a:endParaRPr>
        </a:p>
      </dsp:txBody>
      <dsp:txXfrm>
        <a:off x="3763461" y="813410"/>
        <a:ext cx="3054430" cy="2307358"/>
      </dsp:txXfrm>
    </dsp:sp>
    <dsp:sp modelId="{63D92E6F-D7A7-42AF-80EA-490E9AD25964}">
      <dsp:nvSpPr>
        <dsp:cNvPr id="0" name=""/>
        <dsp:cNvSpPr/>
      </dsp:nvSpPr>
      <dsp:spPr>
        <a:xfrm>
          <a:off x="3708100" y="3120769"/>
          <a:ext cx="3165152" cy="101596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0970" tIns="0" rIns="46990" bIns="0" numCol="1" spcCol="1270" anchor="ctr" anchorCtr="0">
          <a:noAutofit/>
        </a:bodyPr>
        <a:lstStyle/>
        <a:p>
          <a:pPr marL="0" lvl="0" indent="0" algn="l" defTabSz="1644650">
            <a:lnSpc>
              <a:spcPct val="90000"/>
            </a:lnSpc>
            <a:spcBef>
              <a:spcPct val="0"/>
            </a:spcBef>
            <a:spcAft>
              <a:spcPct val="35000"/>
            </a:spcAft>
            <a:buNone/>
          </a:pPr>
          <a:r>
            <a:rPr lang="es-ES" sz="3700" kern="1200" dirty="0"/>
            <a:t>Machine learning</a:t>
          </a:r>
        </a:p>
      </dsp:txBody>
      <dsp:txXfrm>
        <a:off x="3708100" y="3120769"/>
        <a:ext cx="2228980" cy="1015969"/>
      </dsp:txXfrm>
    </dsp:sp>
    <dsp:sp modelId="{77237DEF-D8AC-48CD-9D11-0CE5041CAB40}">
      <dsp:nvSpPr>
        <dsp:cNvPr id="0" name=""/>
        <dsp:cNvSpPr/>
      </dsp:nvSpPr>
      <dsp:spPr>
        <a:xfrm>
          <a:off x="6026618" y="3282146"/>
          <a:ext cx="1107803" cy="1107803"/>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6350" cap="flat" cmpd="sng" algn="ctr">
          <a:solidFill>
            <a:schemeClr val="dk2">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8AD9CF11-73F7-4E05-B5C3-FA02DD5F2DEE}">
      <dsp:nvSpPr>
        <dsp:cNvPr id="0" name=""/>
        <dsp:cNvSpPr/>
      </dsp:nvSpPr>
      <dsp:spPr>
        <a:xfrm>
          <a:off x="7408873" y="758049"/>
          <a:ext cx="3165152" cy="2362719"/>
        </a:xfrm>
        <a:prstGeom prst="round2SameRect">
          <a:avLst>
            <a:gd name="adj1" fmla="val 8000"/>
            <a:gd name="adj2" fmla="val 0"/>
          </a:avLst>
        </a:prstGeom>
        <a:solidFill>
          <a:schemeClr val="dk2">
            <a:alpha val="90000"/>
            <a:tint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es-ES" sz="1000" kern="1200" noProof="0" dirty="0"/>
            <a:t>La diferencia con Machine Learning es que el Data Scientist no enseña a la máquina cómo son los Coches, le da suficientes fotos de Coches y la máquina aprende que es un coche: Le da suficientes imágenes de Coches.</a:t>
          </a:r>
          <a:endParaRPr lang="es-ES" sz="1000" kern="1200" dirty="0"/>
        </a:p>
        <a:p>
          <a:pPr marL="57150" lvl="1" indent="-57150" algn="l" defTabSz="444500">
            <a:lnSpc>
              <a:spcPct val="90000"/>
            </a:lnSpc>
            <a:spcBef>
              <a:spcPct val="0"/>
            </a:spcBef>
            <a:spcAft>
              <a:spcPct val="15000"/>
            </a:spcAft>
            <a:buChar char="•"/>
          </a:pPr>
          <a:r>
            <a:rPr lang="es-ES" sz="1000" kern="1200" noProof="0" dirty="0"/>
            <a:t>El algoritmo inspeccionará las imágenes para ver qué tienen en común (pista: son Coches).</a:t>
          </a:r>
        </a:p>
        <a:p>
          <a:pPr marL="57150" lvl="1" indent="-57150" algn="l" defTabSz="444500">
            <a:lnSpc>
              <a:spcPct val="90000"/>
            </a:lnSpc>
            <a:spcBef>
              <a:spcPct val="0"/>
            </a:spcBef>
            <a:spcAft>
              <a:spcPct val="15000"/>
            </a:spcAft>
            <a:buChar char="•"/>
          </a:pPr>
          <a:r>
            <a:rPr lang="es-ES" sz="1000" kern="1200" noProof="0" dirty="0"/>
            <a:t>Cada imagen se deconstruirá en múltiples niveles de detalle, desde formas grandes y generales hasta líneas pequeñas. </a:t>
          </a:r>
        </a:p>
        <a:p>
          <a:pPr marL="57150" lvl="1" indent="-57150" algn="l" defTabSz="444500">
            <a:lnSpc>
              <a:spcPct val="90000"/>
            </a:lnSpc>
            <a:spcBef>
              <a:spcPct val="0"/>
            </a:spcBef>
            <a:spcAft>
              <a:spcPct val="15000"/>
            </a:spcAft>
            <a:buChar char="•"/>
          </a:pPr>
          <a:r>
            <a:rPr lang="es-ES" sz="1000" kern="1200" noProof="0" dirty="0"/>
            <a:t>Si una forma se repite mucho, el algoritmo lo etiquetará como una característica importante.</a:t>
          </a:r>
        </a:p>
        <a:p>
          <a:pPr marL="57150" lvl="1" indent="-57150" algn="l" defTabSz="444500">
            <a:lnSpc>
              <a:spcPct val="90000"/>
            </a:lnSpc>
            <a:spcBef>
              <a:spcPct val="0"/>
            </a:spcBef>
            <a:spcAft>
              <a:spcPct val="15000"/>
            </a:spcAft>
            <a:buChar char="•"/>
          </a:pPr>
          <a:r>
            <a:rPr lang="es-ES" sz="1000" kern="1200" noProof="0" dirty="0"/>
            <a:t>Tras analizar suficientes imágenes, el algoritmo ya sabrá reconocer los patrones que definen lo que es un Coche y podrá identificarlo en cualquier otro escenario</a:t>
          </a:r>
          <a:endParaRPr lang="es-ES" sz="1000" kern="1200" dirty="0"/>
        </a:p>
      </dsp:txBody>
      <dsp:txXfrm>
        <a:off x="7464234" y="813410"/>
        <a:ext cx="3054430" cy="2307358"/>
      </dsp:txXfrm>
    </dsp:sp>
    <dsp:sp modelId="{4F870585-6C66-4323-AACF-2EBBB7C0506D}">
      <dsp:nvSpPr>
        <dsp:cNvPr id="0" name=""/>
        <dsp:cNvSpPr/>
      </dsp:nvSpPr>
      <dsp:spPr>
        <a:xfrm>
          <a:off x="7408873" y="3120769"/>
          <a:ext cx="3165152" cy="101596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2">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0970" tIns="0" rIns="46990" bIns="0" numCol="1" spcCol="1270" anchor="ctr" anchorCtr="0">
          <a:noAutofit/>
        </a:bodyPr>
        <a:lstStyle/>
        <a:p>
          <a:pPr marL="0" lvl="0" indent="0" algn="l" defTabSz="1644650">
            <a:lnSpc>
              <a:spcPct val="90000"/>
            </a:lnSpc>
            <a:spcBef>
              <a:spcPct val="0"/>
            </a:spcBef>
            <a:spcAft>
              <a:spcPct val="35000"/>
            </a:spcAft>
            <a:buNone/>
          </a:pPr>
          <a:r>
            <a:rPr lang="es-ES" sz="3700" kern="1200" dirty="0"/>
            <a:t>Deep learning</a:t>
          </a:r>
        </a:p>
      </dsp:txBody>
      <dsp:txXfrm>
        <a:off x="7408873" y="3120769"/>
        <a:ext cx="2228980" cy="1015969"/>
      </dsp:txXfrm>
    </dsp:sp>
    <dsp:sp modelId="{812C3CE8-328F-4892-B2FD-DD039522DCE3}">
      <dsp:nvSpPr>
        <dsp:cNvPr id="0" name=""/>
        <dsp:cNvSpPr/>
      </dsp:nvSpPr>
      <dsp:spPr>
        <a:xfrm>
          <a:off x="9727391" y="3282146"/>
          <a:ext cx="1107803" cy="1107803"/>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6350" cap="flat" cmpd="sng" algn="ctr">
          <a:solidFill>
            <a:schemeClr val="dk2">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5032A1-B7A6-4593-8736-66E5462F04C1}">
      <dsp:nvSpPr>
        <dsp:cNvPr id="0" name=""/>
        <dsp:cNvSpPr/>
      </dsp:nvSpPr>
      <dsp:spPr>
        <a:xfrm>
          <a:off x="954" y="83978"/>
          <a:ext cx="2242478" cy="2242478"/>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530ECB41-4C4E-4091-8BA6-C9E1C5EAA570}">
      <dsp:nvSpPr>
        <dsp:cNvPr id="0" name=""/>
        <dsp:cNvSpPr/>
      </dsp:nvSpPr>
      <dsp:spPr>
        <a:xfrm>
          <a:off x="366009" y="1429465"/>
          <a:ext cx="2242478" cy="2242478"/>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Aprendizaje supervisado</a:t>
          </a:r>
        </a:p>
        <a:p>
          <a:pPr marL="114300" lvl="1" indent="-114300" algn="l" defTabSz="533400">
            <a:lnSpc>
              <a:spcPct val="90000"/>
            </a:lnSpc>
            <a:spcBef>
              <a:spcPct val="0"/>
            </a:spcBef>
            <a:spcAft>
              <a:spcPct val="15000"/>
            </a:spcAft>
            <a:buChar char="•"/>
          </a:pPr>
          <a:r>
            <a:rPr lang="es-ES" sz="1200" kern="1200" dirty="0"/>
            <a:t>se entrena a los sistemas con datos etiquetados o ejemplos concretos. </a:t>
          </a:r>
        </a:p>
        <a:p>
          <a:pPr marL="114300" lvl="1" indent="-114300" algn="l" defTabSz="533400">
            <a:lnSpc>
              <a:spcPct val="90000"/>
            </a:lnSpc>
            <a:spcBef>
              <a:spcPct val="0"/>
            </a:spcBef>
            <a:spcAft>
              <a:spcPct val="15000"/>
            </a:spcAft>
            <a:buChar char="•"/>
          </a:pPr>
          <a:r>
            <a:rPr lang="es-ES" sz="1200" kern="1200" dirty="0"/>
            <a:t>Con esta información previa, los algoritmos buscarán lo mismo en nuevos conjuntos de datos.</a:t>
          </a:r>
        </a:p>
      </dsp:txBody>
      <dsp:txXfrm>
        <a:off x="431689" y="1495145"/>
        <a:ext cx="2111118" cy="2111118"/>
      </dsp:txXfrm>
    </dsp:sp>
    <dsp:sp modelId="{D451815C-695F-4FD9-9015-8067EE104C17}">
      <dsp:nvSpPr>
        <dsp:cNvPr id="0" name=""/>
        <dsp:cNvSpPr/>
      </dsp:nvSpPr>
      <dsp:spPr>
        <a:xfrm>
          <a:off x="2675384" y="935799"/>
          <a:ext cx="431950" cy="538836"/>
        </a:xfrm>
        <a:prstGeom prst="rightArrow">
          <a:avLst>
            <a:gd name="adj1" fmla="val 60000"/>
            <a:gd name="adj2" fmla="val 50000"/>
          </a:avLst>
        </a:prstGeom>
        <a:gradFill rotWithShape="0">
          <a:gsLst>
            <a:gs pos="0">
              <a:schemeClr val="accent1">
                <a:tint val="60000"/>
                <a:hueOff val="0"/>
                <a:satOff val="0"/>
                <a:lumOff val="0"/>
                <a:alphaOff val="0"/>
                <a:lumMod val="110000"/>
                <a:satMod val="105000"/>
                <a:tint val="67000"/>
              </a:schemeClr>
            </a:gs>
            <a:gs pos="50000">
              <a:schemeClr val="accent1">
                <a:tint val="60000"/>
                <a:hueOff val="0"/>
                <a:satOff val="0"/>
                <a:lumOff val="0"/>
                <a:alphaOff val="0"/>
                <a:lumMod val="105000"/>
                <a:satMod val="103000"/>
                <a:tint val="73000"/>
              </a:schemeClr>
            </a:gs>
            <a:gs pos="100000">
              <a:schemeClr val="accent1">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s-ES" sz="2300" kern="1200"/>
        </a:p>
      </dsp:txBody>
      <dsp:txXfrm>
        <a:off x="2675384" y="1043566"/>
        <a:ext cx="302365" cy="323302"/>
      </dsp:txXfrm>
    </dsp:sp>
    <dsp:sp modelId="{E62258D9-E934-40E7-B2CB-466E8243E740}">
      <dsp:nvSpPr>
        <dsp:cNvPr id="0" name=""/>
        <dsp:cNvSpPr/>
      </dsp:nvSpPr>
      <dsp:spPr>
        <a:xfrm>
          <a:off x="3477579" y="83978"/>
          <a:ext cx="2242478" cy="2242478"/>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0242FCD2-F7DF-47C1-A91A-FEEE3134E99D}">
      <dsp:nvSpPr>
        <dsp:cNvPr id="0" name=""/>
        <dsp:cNvSpPr/>
      </dsp:nvSpPr>
      <dsp:spPr>
        <a:xfrm>
          <a:off x="3624687" y="1429465"/>
          <a:ext cx="2678371" cy="2242478"/>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Aprendizaje no supervisado</a:t>
          </a:r>
        </a:p>
        <a:p>
          <a:pPr marL="114300" lvl="1" indent="-114300" algn="l" defTabSz="533400">
            <a:lnSpc>
              <a:spcPct val="90000"/>
            </a:lnSpc>
            <a:spcBef>
              <a:spcPct val="0"/>
            </a:spcBef>
            <a:spcAft>
              <a:spcPct val="15000"/>
            </a:spcAft>
            <a:buChar char="•"/>
          </a:pPr>
          <a:r>
            <a:rPr lang="es-ES" sz="1200" kern="1200" dirty="0"/>
            <a:t>los algoritmos no cuentan con un conocimiento previo</a:t>
          </a:r>
        </a:p>
        <a:p>
          <a:pPr marL="114300" lvl="1" indent="-114300" algn="l" defTabSz="533400">
            <a:lnSpc>
              <a:spcPct val="90000"/>
            </a:lnSpc>
            <a:spcBef>
              <a:spcPct val="0"/>
            </a:spcBef>
            <a:spcAft>
              <a:spcPct val="15000"/>
            </a:spcAft>
            <a:buChar char="•"/>
          </a:pPr>
          <a:r>
            <a:rPr lang="es-ES" sz="1200" kern="1200" dirty="0"/>
            <a:t>Es el propio sistema el que observa las características o comportamientos de los datos y busca similitudes y patrones para agruparlos de alguna forma</a:t>
          </a:r>
        </a:p>
        <a:p>
          <a:pPr marL="114300" lvl="1" indent="-114300" algn="l" defTabSz="533400">
            <a:lnSpc>
              <a:spcPct val="90000"/>
            </a:lnSpc>
            <a:spcBef>
              <a:spcPct val="0"/>
            </a:spcBef>
            <a:spcAft>
              <a:spcPct val="15000"/>
            </a:spcAft>
            <a:buChar char="•"/>
          </a:pPr>
          <a:r>
            <a:rPr lang="es-ES" sz="1200" kern="1200" dirty="0"/>
            <a:t>O detectar patrones anómalos que pueden resultar de interés.</a:t>
          </a:r>
        </a:p>
      </dsp:txBody>
      <dsp:txXfrm>
        <a:off x="3690367" y="1495145"/>
        <a:ext cx="2547011" cy="2111118"/>
      </dsp:txXfrm>
    </dsp:sp>
    <dsp:sp modelId="{DE87525A-D008-424E-A581-BDBD5A605D84}">
      <dsp:nvSpPr>
        <dsp:cNvPr id="0" name=""/>
        <dsp:cNvSpPr/>
      </dsp:nvSpPr>
      <dsp:spPr>
        <a:xfrm>
          <a:off x="6228290" y="935799"/>
          <a:ext cx="508232" cy="538836"/>
        </a:xfrm>
        <a:prstGeom prst="rightArrow">
          <a:avLst>
            <a:gd name="adj1" fmla="val 60000"/>
            <a:gd name="adj2" fmla="val 50000"/>
          </a:avLst>
        </a:prstGeom>
        <a:gradFill rotWithShape="0">
          <a:gsLst>
            <a:gs pos="0">
              <a:schemeClr val="accent1">
                <a:tint val="60000"/>
                <a:hueOff val="0"/>
                <a:satOff val="0"/>
                <a:lumOff val="0"/>
                <a:alphaOff val="0"/>
                <a:lumMod val="110000"/>
                <a:satMod val="105000"/>
                <a:tint val="67000"/>
              </a:schemeClr>
            </a:gs>
            <a:gs pos="50000">
              <a:schemeClr val="accent1">
                <a:tint val="60000"/>
                <a:hueOff val="0"/>
                <a:satOff val="0"/>
                <a:lumOff val="0"/>
                <a:alphaOff val="0"/>
                <a:lumMod val="105000"/>
                <a:satMod val="103000"/>
                <a:tint val="73000"/>
              </a:schemeClr>
            </a:gs>
            <a:gs pos="100000">
              <a:schemeClr val="accent1">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s-ES" sz="2300" kern="1200"/>
        </a:p>
      </dsp:txBody>
      <dsp:txXfrm>
        <a:off x="6228290" y="1043566"/>
        <a:ext cx="355762" cy="323302"/>
      </dsp:txXfrm>
    </dsp:sp>
    <dsp:sp modelId="{1DA9BBE0-B4D7-4874-8756-C818598604A6}">
      <dsp:nvSpPr>
        <dsp:cNvPr id="0" name=""/>
        <dsp:cNvSpPr/>
      </dsp:nvSpPr>
      <dsp:spPr>
        <a:xfrm>
          <a:off x="7172150" y="83978"/>
          <a:ext cx="2242478" cy="2242478"/>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DEEC4AAA-85A8-4D70-A048-DB7A9404F56C}">
      <dsp:nvSpPr>
        <dsp:cNvPr id="0" name=""/>
        <dsp:cNvSpPr/>
      </dsp:nvSpPr>
      <dsp:spPr>
        <a:xfrm>
          <a:off x="7537205" y="1429465"/>
          <a:ext cx="2242478" cy="2242478"/>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s-ES" sz="1600" b="1" kern="1200" dirty="0"/>
            <a:t>Aprendizaje por refuerzo</a:t>
          </a:r>
        </a:p>
        <a:p>
          <a:pPr marL="114300" lvl="1" indent="-114300" algn="l" defTabSz="533400">
            <a:lnSpc>
              <a:spcPct val="90000"/>
            </a:lnSpc>
            <a:spcBef>
              <a:spcPct val="0"/>
            </a:spcBef>
            <a:spcAft>
              <a:spcPct val="15000"/>
            </a:spcAft>
            <a:buChar char="•"/>
          </a:pPr>
          <a:r>
            <a:rPr lang="es-ES" sz="1200" kern="1200" dirty="0"/>
            <a:t>el sistema aprende a partir de su propia experiencia</a:t>
          </a:r>
        </a:p>
        <a:p>
          <a:pPr marL="114300" lvl="1" indent="-114300" algn="l" defTabSz="533400">
            <a:lnSpc>
              <a:spcPct val="90000"/>
            </a:lnSpc>
            <a:spcBef>
              <a:spcPct val="0"/>
            </a:spcBef>
            <a:spcAft>
              <a:spcPct val="15000"/>
            </a:spcAft>
            <a:buChar char="•"/>
          </a:pPr>
          <a:r>
            <a:rPr lang="es-ES" sz="1200" kern="1200" dirty="0"/>
            <a:t>En base a un proceso de prueba y error y recompensas si toma decisiones correctas.</a:t>
          </a:r>
        </a:p>
        <a:p>
          <a:pPr marL="114300" lvl="1" indent="-114300" algn="l" defTabSz="533400">
            <a:lnSpc>
              <a:spcPct val="90000"/>
            </a:lnSpc>
            <a:spcBef>
              <a:spcPct val="0"/>
            </a:spcBef>
            <a:spcAft>
              <a:spcPct val="15000"/>
            </a:spcAft>
            <a:buChar char="•"/>
          </a:pPr>
          <a:r>
            <a:rPr lang="es-ES" sz="1200" kern="1200" dirty="0"/>
            <a:t>Así llegará a generar automáticamente estrategias</a:t>
          </a:r>
        </a:p>
      </dsp:txBody>
      <dsp:txXfrm>
        <a:off x="7602885" y="1495145"/>
        <a:ext cx="2111118" cy="2111118"/>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920A0B-9ACB-4B15-A936-143744E73C7C}">
      <dsp:nvSpPr>
        <dsp:cNvPr id="0" name=""/>
        <dsp:cNvSpPr/>
      </dsp:nvSpPr>
      <dsp:spPr>
        <a:xfrm>
          <a:off x="0" y="1187"/>
          <a:ext cx="11847164" cy="786240"/>
        </a:xfrm>
        <a:prstGeom prst="round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Se le recompensa cuando hace lo correcto y se le "castiga" (no se le recompensa) cuando se equivoca.</a:t>
          </a:r>
        </a:p>
      </dsp:txBody>
      <dsp:txXfrm>
        <a:off x="38381" y="39568"/>
        <a:ext cx="11770402" cy="709478"/>
      </dsp:txXfrm>
    </dsp:sp>
    <dsp:sp modelId="{69189A0C-FFF0-4B50-92E7-9DBFBD73E5B6}">
      <dsp:nvSpPr>
        <dsp:cNvPr id="0" name=""/>
        <dsp:cNvSpPr/>
      </dsp:nvSpPr>
      <dsp:spPr>
        <a:xfrm>
          <a:off x="0" y="908387"/>
          <a:ext cx="11847164" cy="786240"/>
        </a:xfrm>
        <a:prstGeom prst="roundRect">
          <a:avLst/>
        </a:prstGeom>
        <a:gradFill rotWithShape="0">
          <a:gsLst>
            <a:gs pos="0">
              <a:schemeClr val="accent1">
                <a:shade val="80000"/>
                <a:hueOff val="174641"/>
                <a:satOff val="-3128"/>
                <a:lumOff val="13293"/>
                <a:alphaOff val="0"/>
                <a:lumMod val="110000"/>
                <a:satMod val="105000"/>
                <a:tint val="67000"/>
              </a:schemeClr>
            </a:gs>
            <a:gs pos="50000">
              <a:schemeClr val="accent1">
                <a:shade val="80000"/>
                <a:hueOff val="174641"/>
                <a:satOff val="-3128"/>
                <a:lumOff val="13293"/>
                <a:alphaOff val="0"/>
                <a:lumMod val="105000"/>
                <a:satMod val="103000"/>
                <a:tint val="73000"/>
              </a:schemeClr>
            </a:gs>
            <a:gs pos="100000">
              <a:schemeClr val="accent1">
                <a:shade val="80000"/>
                <a:hueOff val="174641"/>
                <a:satOff val="-3128"/>
                <a:lumOff val="1329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Aprendizaje por Refuerzo Asistido (Se proporciona al algoritmo cierta información adicional para guiar su aprendizaje). Por ejemplo:</a:t>
          </a:r>
        </a:p>
      </dsp:txBody>
      <dsp:txXfrm>
        <a:off x="38381" y="946768"/>
        <a:ext cx="11770402" cy="709478"/>
      </dsp:txXfrm>
    </dsp:sp>
    <dsp:sp modelId="{A28EA74A-DE0C-4E49-8145-4A86774D375F}">
      <dsp:nvSpPr>
        <dsp:cNvPr id="0" name=""/>
        <dsp:cNvSpPr/>
      </dsp:nvSpPr>
      <dsp:spPr>
        <a:xfrm>
          <a:off x="0" y="1694627"/>
          <a:ext cx="11847164"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614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Demostraciones: Se muestra al algoritmo cómo realizar una tarea para que pueda imitarla.</a:t>
          </a:r>
        </a:p>
        <a:p>
          <a:pPr marL="114300" lvl="1" indent="-114300" algn="l" defTabSz="622300">
            <a:lnSpc>
              <a:spcPct val="90000"/>
            </a:lnSpc>
            <a:spcBef>
              <a:spcPct val="0"/>
            </a:spcBef>
            <a:spcAft>
              <a:spcPct val="20000"/>
            </a:spcAft>
            <a:buChar char="•"/>
          </a:pPr>
          <a:r>
            <a:rPr lang="es-ES" sz="1400" kern="1200" dirty="0"/>
            <a:t>Consejos: Se le dan sugerencias sobre las acciones que podría tomar.</a:t>
          </a:r>
        </a:p>
        <a:p>
          <a:pPr marL="114300" lvl="1" indent="-114300" algn="l" defTabSz="622300">
            <a:lnSpc>
              <a:spcPct val="90000"/>
            </a:lnSpc>
            <a:spcBef>
              <a:spcPct val="0"/>
            </a:spcBef>
            <a:spcAft>
              <a:spcPct val="20000"/>
            </a:spcAft>
            <a:buChar char="•"/>
          </a:pPr>
          <a:r>
            <a:rPr lang="es-ES" sz="1400" kern="1200" dirty="0"/>
            <a:t>Recompensas parciales: Se le otorgan recompensas intermedias para dirigirlo hacia el objetivo final.</a:t>
          </a:r>
        </a:p>
      </dsp:txBody>
      <dsp:txXfrm>
        <a:off x="0" y="1694627"/>
        <a:ext cx="11847164" cy="695520"/>
      </dsp:txXfrm>
    </dsp:sp>
    <dsp:sp modelId="{4FEE0E1D-F75C-477C-94C5-B503B30D3D5C}">
      <dsp:nvSpPr>
        <dsp:cNvPr id="0" name=""/>
        <dsp:cNvSpPr/>
      </dsp:nvSpPr>
      <dsp:spPr>
        <a:xfrm>
          <a:off x="0" y="2390147"/>
          <a:ext cx="11847164" cy="786240"/>
        </a:xfrm>
        <a:prstGeom prst="round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Aprendizaje por Refuerzo No Asistido: </a:t>
          </a:r>
        </a:p>
      </dsp:txBody>
      <dsp:txXfrm>
        <a:off x="38381" y="2428528"/>
        <a:ext cx="11770402" cy="709478"/>
      </dsp:txXfrm>
    </dsp:sp>
    <dsp:sp modelId="{74077333-20D6-4467-A424-EB1942F7294E}">
      <dsp:nvSpPr>
        <dsp:cNvPr id="0" name=""/>
        <dsp:cNvSpPr/>
      </dsp:nvSpPr>
      <dsp:spPr>
        <a:xfrm>
          <a:off x="0" y="3176387"/>
          <a:ext cx="11847164"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614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s-ES" sz="1400" kern="1200" dirty="0"/>
            <a:t>El algoritmo aprende completamente por sí solo, interactuando directamente con el entorno y recibiendo únicamente una señal de recompensa al final de cada episodio.</a:t>
          </a:r>
        </a:p>
      </dsp:txBody>
      <dsp:txXfrm>
        <a:off x="0" y="3176387"/>
        <a:ext cx="11847164" cy="695520"/>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5969A9-193E-4D9C-850A-94588BB7E103}">
      <dsp:nvSpPr>
        <dsp:cNvPr id="0" name=""/>
        <dsp:cNvSpPr/>
      </dsp:nvSpPr>
      <dsp:spPr>
        <a:xfrm>
          <a:off x="5553" y="129198"/>
          <a:ext cx="2128678" cy="64275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s-ES" sz="1300" b="1" kern="1200" dirty="0"/>
            <a:t>Q-learning:</a:t>
          </a:r>
        </a:p>
      </dsp:txBody>
      <dsp:txXfrm>
        <a:off x="5553" y="129198"/>
        <a:ext cx="2128678" cy="642752"/>
      </dsp:txXfrm>
    </dsp:sp>
    <dsp:sp modelId="{6A82D0D4-8AE0-40A2-A7FC-85F7E566FB85}">
      <dsp:nvSpPr>
        <dsp:cNvPr id="0" name=""/>
        <dsp:cNvSpPr/>
      </dsp:nvSpPr>
      <dsp:spPr>
        <a:xfrm>
          <a:off x="5553" y="771951"/>
          <a:ext cx="2128678" cy="378261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Funcionamiento:</a:t>
          </a:r>
          <a:r>
            <a:rPr lang="es-ES" sz="1300" kern="1200" dirty="0"/>
            <a:t> Es uno de los algoritmos más simples y populares. Crea una tabla Q que almacena el valor esperado de tomar una acción particular en un estado dado. A medida que el agente interactúa con el entorno, actualiza estos valore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Aplicación:</a:t>
          </a:r>
          <a:r>
            <a:rPr lang="es-ES" sz="1300" kern="1200" dirty="0"/>
            <a:t> Se utiliza en una amplia gama de problemas, desde juegos simples hasta control de robot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Desafíos:</a:t>
          </a:r>
          <a:r>
            <a:rPr lang="es-ES" sz="1300" kern="1200" dirty="0"/>
            <a:t> Puede ser computacionalmente costoso para entornos grandes y continuos.</a:t>
          </a:r>
        </a:p>
      </dsp:txBody>
      <dsp:txXfrm>
        <a:off x="5553" y="771951"/>
        <a:ext cx="2128678" cy="3782610"/>
      </dsp:txXfrm>
    </dsp:sp>
    <dsp:sp modelId="{EE3FB6B4-A7EF-438F-9E99-59DB6C7FAF1F}">
      <dsp:nvSpPr>
        <dsp:cNvPr id="0" name=""/>
        <dsp:cNvSpPr/>
      </dsp:nvSpPr>
      <dsp:spPr>
        <a:xfrm>
          <a:off x="2432246" y="129198"/>
          <a:ext cx="2128678" cy="64275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s-ES" sz="1300" b="1" kern="1200" dirty="0"/>
            <a:t>Gradiente de Políticas:</a:t>
          </a:r>
          <a:endParaRPr lang="es-ES" sz="1300" kern="1200" dirty="0"/>
        </a:p>
      </dsp:txBody>
      <dsp:txXfrm>
        <a:off x="2432246" y="129198"/>
        <a:ext cx="2128678" cy="642752"/>
      </dsp:txXfrm>
    </dsp:sp>
    <dsp:sp modelId="{AB838AA5-03FB-469C-A5C3-462484F108C0}">
      <dsp:nvSpPr>
        <dsp:cNvPr id="0" name=""/>
        <dsp:cNvSpPr/>
      </dsp:nvSpPr>
      <dsp:spPr>
        <a:xfrm>
          <a:off x="2432246" y="771951"/>
          <a:ext cx="2128678" cy="378261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Funcionamiento:</a:t>
          </a:r>
          <a:r>
            <a:rPr lang="es-ES" sz="1300" kern="1200" dirty="0"/>
            <a:t> En lugar de aprender los valores de los estados, estos métodos aprenden directamente una política que mapea los estados a acciones. Se utilizan técnicas de optimización para mejorar la política.</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Aplicación:</a:t>
          </a:r>
          <a:r>
            <a:rPr lang="es-ES" sz="1300" kern="1200" dirty="0"/>
            <a:t> Son ideales para problemas con espacios de acción continuo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Desafíos:</a:t>
          </a:r>
          <a:r>
            <a:rPr lang="es-ES" sz="1300" kern="1200" dirty="0"/>
            <a:t> La convergencia puede ser más lenta que en Q-learning y requiere un ajuste cuidadoso de los hiperparámetros.</a:t>
          </a:r>
        </a:p>
      </dsp:txBody>
      <dsp:txXfrm>
        <a:off x="2432246" y="771951"/>
        <a:ext cx="2128678" cy="3782610"/>
      </dsp:txXfrm>
    </dsp:sp>
    <dsp:sp modelId="{B145AF3F-7C9F-4B8C-BE2A-FB933CEDCF98}">
      <dsp:nvSpPr>
        <dsp:cNvPr id="0" name=""/>
        <dsp:cNvSpPr/>
      </dsp:nvSpPr>
      <dsp:spPr>
        <a:xfrm>
          <a:off x="4858940" y="129198"/>
          <a:ext cx="2128678" cy="64275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s-ES" sz="1300" b="1" kern="1200" dirty="0"/>
            <a:t>Monte Carlo:</a:t>
          </a:r>
          <a:endParaRPr lang="es-ES" sz="1300" kern="1200" dirty="0"/>
        </a:p>
      </dsp:txBody>
      <dsp:txXfrm>
        <a:off x="4858940" y="129198"/>
        <a:ext cx="2128678" cy="642752"/>
      </dsp:txXfrm>
    </dsp:sp>
    <dsp:sp modelId="{65B91BD6-B322-4619-8A26-C1AC9692AE9B}">
      <dsp:nvSpPr>
        <dsp:cNvPr id="0" name=""/>
        <dsp:cNvSpPr/>
      </dsp:nvSpPr>
      <dsp:spPr>
        <a:xfrm>
          <a:off x="4858940" y="771951"/>
          <a:ext cx="2128678" cy="378261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Funcionamiento:</a:t>
          </a:r>
          <a:r>
            <a:rPr lang="es-ES" sz="1300" kern="1200" dirty="0"/>
            <a:t> Se basan en estimar el valor de una política mediante simulación. El agente sigue una política y estima el valor de los estados visitados en cada episodio.</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Aplicación:</a:t>
          </a:r>
          <a:r>
            <a:rPr lang="es-ES" sz="1300" kern="1200" dirty="0"/>
            <a:t> Son útiles para problemas con entornos estocástico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Desafíos:</a:t>
          </a:r>
          <a:r>
            <a:rPr lang="es-ES" sz="1300" kern="1200" dirty="0"/>
            <a:t> Pueden ser ineficientes para problemas con horizontes de tiempo largos.</a:t>
          </a:r>
        </a:p>
      </dsp:txBody>
      <dsp:txXfrm>
        <a:off x="4858940" y="771951"/>
        <a:ext cx="2128678" cy="3782610"/>
      </dsp:txXfrm>
    </dsp:sp>
    <dsp:sp modelId="{8ABDB8A1-A510-4826-A5B3-1062D5250861}">
      <dsp:nvSpPr>
        <dsp:cNvPr id="0" name=""/>
        <dsp:cNvSpPr/>
      </dsp:nvSpPr>
      <dsp:spPr>
        <a:xfrm>
          <a:off x="7285634" y="129198"/>
          <a:ext cx="2128678" cy="64275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s-ES" sz="1300" b="1" kern="1200" dirty="0"/>
            <a:t>Aprendizaje por Diferencia Temporal (TD):</a:t>
          </a:r>
          <a:endParaRPr lang="es-ES" sz="1300" kern="1200" dirty="0"/>
        </a:p>
      </dsp:txBody>
      <dsp:txXfrm>
        <a:off x="7285634" y="129198"/>
        <a:ext cx="2128678" cy="642752"/>
      </dsp:txXfrm>
    </dsp:sp>
    <dsp:sp modelId="{E40ADE48-61A7-447F-A6EB-94373C333CFB}">
      <dsp:nvSpPr>
        <dsp:cNvPr id="0" name=""/>
        <dsp:cNvSpPr/>
      </dsp:nvSpPr>
      <dsp:spPr>
        <a:xfrm>
          <a:off x="7285634" y="771951"/>
          <a:ext cx="2128678" cy="378261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Funcionamiento:</a:t>
          </a:r>
          <a:r>
            <a:rPr lang="es-ES" sz="1300" kern="1200" dirty="0"/>
            <a:t> Combina elementos de los métodos de Monte Carlo y de los métodos de valor. Permite actualizar los valores de los estados antes de que termine un episodio.</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Aplicación:</a:t>
          </a:r>
          <a:r>
            <a:rPr lang="es-ES" sz="1300" kern="1200" dirty="0"/>
            <a:t> Se utiliza ampliamente en una variedad de problemas, como juegos y control de robot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Desafíos:</a:t>
          </a:r>
          <a:r>
            <a:rPr lang="es-ES" sz="1300" kern="1200" dirty="0"/>
            <a:t> La elección del factor de descuento es crucial para el rendimiento del algoritmo.</a:t>
          </a:r>
        </a:p>
      </dsp:txBody>
      <dsp:txXfrm>
        <a:off x="7285634" y="771951"/>
        <a:ext cx="2128678" cy="3782610"/>
      </dsp:txXfrm>
    </dsp:sp>
    <dsp:sp modelId="{B7C0019A-0E76-433E-8933-B4A838D0C311}">
      <dsp:nvSpPr>
        <dsp:cNvPr id="0" name=""/>
        <dsp:cNvSpPr/>
      </dsp:nvSpPr>
      <dsp:spPr>
        <a:xfrm>
          <a:off x="9712328" y="129198"/>
          <a:ext cx="2128678" cy="64275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s-ES" sz="1300" b="1" kern="1200" dirty="0"/>
            <a:t>Deep Reinforcement Learning:</a:t>
          </a:r>
          <a:endParaRPr lang="es-ES" sz="1300" kern="1200" dirty="0"/>
        </a:p>
      </dsp:txBody>
      <dsp:txXfrm>
        <a:off x="9712328" y="129198"/>
        <a:ext cx="2128678" cy="642752"/>
      </dsp:txXfrm>
    </dsp:sp>
    <dsp:sp modelId="{CCB42678-5751-44F9-8DD1-E1EA8C354B76}">
      <dsp:nvSpPr>
        <dsp:cNvPr id="0" name=""/>
        <dsp:cNvSpPr/>
      </dsp:nvSpPr>
      <dsp:spPr>
        <a:xfrm>
          <a:off x="9712328" y="771951"/>
          <a:ext cx="2128678" cy="378261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Funcionamiento:</a:t>
          </a:r>
          <a:r>
            <a:rPr lang="es-ES" sz="1300" kern="1200" dirty="0"/>
            <a:t> Combina redes neuronales profundas con aprendizaje por refuerzo para abordar problemas más complejos.</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Aplicación:</a:t>
          </a:r>
          <a:r>
            <a:rPr lang="es-ES" sz="1300" kern="1200" dirty="0"/>
            <a:t> Se utiliza en juegos como Go, Atari y en robótica avanzada.</a:t>
          </a:r>
        </a:p>
        <a:p>
          <a:pPr marL="114300" lvl="1" indent="-114300" algn="l" defTabSz="577850">
            <a:lnSpc>
              <a:spcPct val="90000"/>
            </a:lnSpc>
            <a:spcBef>
              <a:spcPct val="0"/>
            </a:spcBef>
            <a:spcAft>
              <a:spcPct val="15000"/>
            </a:spcAft>
            <a:buFont typeface="Arial" panose="020B0604020202020204" pitchFamily="34" charset="0"/>
            <a:buChar char="•"/>
          </a:pPr>
          <a:r>
            <a:rPr lang="es-ES" sz="1300" b="1" kern="1200" dirty="0"/>
            <a:t>Desafíos:</a:t>
          </a:r>
          <a:r>
            <a:rPr lang="es-ES" sz="1300" kern="1200" dirty="0"/>
            <a:t> Requiere grandes cantidades de datos y poder computacional.</a:t>
          </a:r>
        </a:p>
      </dsp:txBody>
      <dsp:txXfrm>
        <a:off x="9712328" y="771951"/>
        <a:ext cx="2128678" cy="3782610"/>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4EBB57-AAF9-40D1-A450-119741038344}">
      <dsp:nvSpPr>
        <dsp:cNvPr id="0" name=""/>
        <dsp:cNvSpPr/>
      </dsp:nvSpPr>
      <dsp:spPr>
        <a:xfrm>
          <a:off x="2733506" y="0"/>
          <a:ext cx="2128520" cy="2128520"/>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07FE5D-7169-47FA-9541-412CBBA4014F}">
      <dsp:nvSpPr>
        <dsp:cNvPr id="0" name=""/>
        <dsp:cNvSpPr/>
      </dsp:nvSpPr>
      <dsp:spPr>
        <a:xfrm>
          <a:off x="2733506" y="0"/>
          <a:ext cx="212" cy="4257040"/>
        </a:xfrm>
        <a:prstGeom prst="line">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CF592D-E978-4C91-83CB-5FBDB213E4AD}">
      <dsp:nvSpPr>
        <dsp:cNvPr id="0" name=""/>
        <dsp:cNvSpPr/>
      </dsp:nvSpPr>
      <dsp:spPr>
        <a:xfrm>
          <a:off x="2733506" y="2128520"/>
          <a:ext cx="2128520" cy="2128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s-ES" sz="1900" kern="1200" dirty="0"/>
            <a:t>Chat GPT</a:t>
          </a:r>
        </a:p>
        <a:p>
          <a:pPr marL="114300" lvl="1" indent="-114300" algn="l" defTabSz="666750">
            <a:lnSpc>
              <a:spcPct val="90000"/>
            </a:lnSpc>
            <a:spcBef>
              <a:spcPct val="0"/>
            </a:spcBef>
            <a:spcAft>
              <a:spcPct val="15000"/>
            </a:spcAft>
            <a:buChar char="•"/>
          </a:pPr>
          <a:r>
            <a:rPr lang="es-ES" sz="1500" kern="1200" dirty="0"/>
            <a:t>Open AI y Microsoft</a:t>
          </a:r>
        </a:p>
        <a:p>
          <a:pPr marL="114300" lvl="1" indent="-114300" algn="l" defTabSz="666750">
            <a:lnSpc>
              <a:spcPct val="90000"/>
            </a:lnSpc>
            <a:spcBef>
              <a:spcPct val="0"/>
            </a:spcBef>
            <a:spcAft>
              <a:spcPct val="15000"/>
            </a:spcAft>
            <a:buChar char="•"/>
          </a:pPr>
          <a:r>
            <a:rPr lang="es-ES" sz="1500" kern="1200" dirty="0"/>
            <a:t>Satya Nadella, Elon Musk, Sam Altman.</a:t>
          </a:r>
        </a:p>
        <a:p>
          <a:pPr marL="114300" lvl="1" indent="-114300" algn="l" defTabSz="666750">
            <a:lnSpc>
              <a:spcPct val="90000"/>
            </a:lnSpc>
            <a:spcBef>
              <a:spcPct val="0"/>
            </a:spcBef>
            <a:spcAft>
              <a:spcPct val="15000"/>
            </a:spcAft>
            <a:buChar char="•"/>
          </a:pPr>
          <a:r>
            <a:rPr lang="es-ES" sz="1500" kern="1200" dirty="0"/>
            <a:t>Entrenado a una fecha 2023</a:t>
          </a:r>
        </a:p>
        <a:p>
          <a:pPr marL="114300" lvl="1" indent="-114300" algn="l" defTabSz="666750">
            <a:lnSpc>
              <a:spcPct val="90000"/>
            </a:lnSpc>
            <a:spcBef>
              <a:spcPct val="0"/>
            </a:spcBef>
            <a:spcAft>
              <a:spcPct val="15000"/>
            </a:spcAft>
            <a:buChar char="•"/>
          </a:pPr>
          <a:r>
            <a:rPr lang="es-ES" sz="1500" kern="1200" dirty="0"/>
            <a:t>Si no sabe lo suele decir.</a:t>
          </a:r>
        </a:p>
      </dsp:txBody>
      <dsp:txXfrm>
        <a:off x="2733506" y="2128520"/>
        <a:ext cx="2128520" cy="2128520"/>
      </dsp:txXfrm>
    </dsp:sp>
    <dsp:sp modelId="{5530265D-9D44-4DCC-A299-E07F683A54F9}">
      <dsp:nvSpPr>
        <dsp:cNvPr id="0" name=""/>
        <dsp:cNvSpPr/>
      </dsp:nvSpPr>
      <dsp:spPr>
        <a:xfrm>
          <a:off x="4862999" y="0"/>
          <a:ext cx="2128520" cy="2128520"/>
        </a:xfrm>
        <a:prstGeom prst="rect">
          <a:avLst/>
        </a:prstGeom>
        <a:blipFill dpi="0" rotWithShape="1">
          <a:blip xmlns:r="http://schemas.openxmlformats.org/officeDocument/2006/relationships" r:embed="rId2"/>
          <a:srcRect/>
          <a:stretch>
            <a:fillRect t="31574" b="31574"/>
          </a:stretch>
        </a:blip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AD9A15-70AE-4A32-8D71-A3CB5D71E12A}">
      <dsp:nvSpPr>
        <dsp:cNvPr id="0" name=""/>
        <dsp:cNvSpPr/>
      </dsp:nvSpPr>
      <dsp:spPr>
        <a:xfrm>
          <a:off x="4862999" y="0"/>
          <a:ext cx="212" cy="4257040"/>
        </a:xfrm>
        <a:prstGeom prst="line">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49BE47-FE66-4047-B3DF-3D18277FF316}">
      <dsp:nvSpPr>
        <dsp:cNvPr id="0" name=""/>
        <dsp:cNvSpPr/>
      </dsp:nvSpPr>
      <dsp:spPr>
        <a:xfrm>
          <a:off x="4862999" y="2128520"/>
          <a:ext cx="2128520" cy="2128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s-ES" sz="1900" kern="1200" dirty="0"/>
            <a:t>Google Gemini</a:t>
          </a:r>
        </a:p>
        <a:p>
          <a:pPr marL="114300" lvl="1" indent="-114300" algn="l" defTabSz="666750">
            <a:lnSpc>
              <a:spcPct val="90000"/>
            </a:lnSpc>
            <a:spcBef>
              <a:spcPct val="0"/>
            </a:spcBef>
            <a:spcAft>
              <a:spcPct val="15000"/>
            </a:spcAft>
            <a:buChar char="•"/>
          </a:pPr>
          <a:r>
            <a:rPr lang="es-ES" sz="1500" kern="1200" dirty="0"/>
            <a:t>Google</a:t>
          </a:r>
        </a:p>
        <a:p>
          <a:pPr marL="114300" lvl="1" indent="-114300" algn="l" defTabSz="666750">
            <a:lnSpc>
              <a:spcPct val="90000"/>
            </a:lnSpc>
            <a:spcBef>
              <a:spcPct val="0"/>
            </a:spcBef>
            <a:spcAft>
              <a:spcPct val="15000"/>
            </a:spcAft>
            <a:buChar char="•"/>
          </a:pPr>
          <a:endParaRPr lang="es-ES" sz="1500" kern="1200" dirty="0"/>
        </a:p>
        <a:p>
          <a:pPr marL="114300" lvl="1" indent="-114300" algn="l" defTabSz="666750">
            <a:lnSpc>
              <a:spcPct val="90000"/>
            </a:lnSpc>
            <a:spcBef>
              <a:spcPct val="0"/>
            </a:spcBef>
            <a:spcAft>
              <a:spcPct val="15000"/>
            </a:spcAft>
            <a:buChar char="•"/>
          </a:pPr>
          <a:endParaRPr lang="es-ES" sz="1500" kern="1200" dirty="0"/>
        </a:p>
        <a:p>
          <a:pPr marL="114300" lvl="1" indent="-114300" algn="l" defTabSz="666750">
            <a:lnSpc>
              <a:spcPct val="90000"/>
            </a:lnSpc>
            <a:spcBef>
              <a:spcPct val="0"/>
            </a:spcBef>
            <a:spcAft>
              <a:spcPct val="15000"/>
            </a:spcAft>
            <a:buChar char="•"/>
          </a:pPr>
          <a:r>
            <a:rPr lang="es-ES" sz="1500" kern="1200" dirty="0"/>
            <a:t>Va a internet es decir es actual</a:t>
          </a:r>
        </a:p>
        <a:p>
          <a:pPr marL="114300" lvl="1" indent="-114300" algn="l" defTabSz="666750">
            <a:lnSpc>
              <a:spcPct val="90000"/>
            </a:lnSpc>
            <a:spcBef>
              <a:spcPct val="0"/>
            </a:spcBef>
            <a:spcAft>
              <a:spcPct val="15000"/>
            </a:spcAft>
            <a:buChar char="•"/>
          </a:pPr>
          <a:r>
            <a:rPr lang="es-ES" sz="1500" kern="1200" dirty="0"/>
            <a:t>Si no sabe, se inventa cosas.</a:t>
          </a:r>
        </a:p>
      </dsp:txBody>
      <dsp:txXfrm>
        <a:off x="4862999" y="2128520"/>
        <a:ext cx="2128520" cy="2128520"/>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7BA716-E98C-45FF-B542-DE283CEF9CDF}">
      <dsp:nvSpPr>
        <dsp:cNvPr id="0" name=""/>
        <dsp:cNvSpPr/>
      </dsp:nvSpPr>
      <dsp:spPr>
        <a:xfrm>
          <a:off x="0" y="0"/>
          <a:ext cx="10515600" cy="207155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s-ES" sz="1900" kern="1200" dirty="0"/>
            <a:t>Es una representación digital mediante un modelo matemático de un objeto, proceso o servicio del mundo físico.</a:t>
          </a:r>
        </a:p>
        <a:p>
          <a:pPr marL="114300" lvl="1" indent="-114300" algn="l" defTabSz="666750">
            <a:lnSpc>
              <a:spcPct val="90000"/>
            </a:lnSpc>
            <a:spcBef>
              <a:spcPct val="0"/>
            </a:spcBef>
            <a:spcAft>
              <a:spcPct val="15000"/>
            </a:spcAft>
            <a:buChar char="•"/>
          </a:pPr>
          <a:r>
            <a:rPr lang="es-ES" sz="1500" kern="1200" dirty="0"/>
            <a:t>P.ej: desde una persona (o parte), procesos financieros, un motor a reacción, un parque eólico, hoteles o ciudades enteras. </a:t>
          </a:r>
        </a:p>
      </dsp:txBody>
      <dsp:txXfrm>
        <a:off x="2310275" y="0"/>
        <a:ext cx="8205324" cy="2071559"/>
      </dsp:txXfrm>
    </dsp:sp>
    <dsp:sp modelId="{B09C2BAA-88B1-4BAB-AB06-E752F626E287}">
      <dsp:nvSpPr>
        <dsp:cNvPr id="0" name=""/>
        <dsp:cNvSpPr/>
      </dsp:nvSpPr>
      <dsp:spPr>
        <a:xfrm>
          <a:off x="207155" y="207155"/>
          <a:ext cx="2103120" cy="1657247"/>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BB9E13-AE5D-4C52-AC9D-1BC9A0F6EE83}">
      <dsp:nvSpPr>
        <dsp:cNvPr id="0" name=""/>
        <dsp:cNvSpPr/>
      </dsp:nvSpPr>
      <dsp:spPr>
        <a:xfrm>
          <a:off x="0" y="2278715"/>
          <a:ext cx="10515600" cy="207155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s-ES" sz="1900" kern="1200" dirty="0"/>
            <a:t>Su uso y objetivo</a:t>
          </a:r>
        </a:p>
        <a:p>
          <a:pPr marL="114300" lvl="1" indent="-114300" algn="l" defTabSz="666750">
            <a:lnSpc>
              <a:spcPct val="90000"/>
            </a:lnSpc>
            <a:spcBef>
              <a:spcPct val="0"/>
            </a:spcBef>
            <a:spcAft>
              <a:spcPct val="15000"/>
            </a:spcAft>
            <a:buChar char="•"/>
          </a:pPr>
          <a:r>
            <a:rPr lang="es-ES" sz="1500" kern="1200" dirty="0"/>
            <a:t>La versión digital imita y simula lo que está sucediendo con la versión del mundo real en tiempo real.</a:t>
          </a:r>
        </a:p>
        <a:p>
          <a:pPr marL="114300" lvl="1" indent="-114300" algn="l" defTabSz="666750">
            <a:lnSpc>
              <a:spcPct val="90000"/>
            </a:lnSpc>
            <a:spcBef>
              <a:spcPct val="0"/>
            </a:spcBef>
            <a:spcAft>
              <a:spcPct val="15000"/>
            </a:spcAft>
            <a:buChar char="•"/>
          </a:pPr>
          <a:r>
            <a:rPr lang="es-ES" sz="1500" kern="1200" dirty="0"/>
            <a:t>Son utilizados para hacer simulaciones antes de que se creen e implementen cambios en los objetos reales, a fin de predecir cómo funcionarán.</a:t>
          </a:r>
        </a:p>
        <a:p>
          <a:pPr marL="114300" lvl="1" indent="-114300" algn="l" defTabSz="666750">
            <a:lnSpc>
              <a:spcPct val="90000"/>
            </a:lnSpc>
            <a:spcBef>
              <a:spcPct val="0"/>
            </a:spcBef>
            <a:spcAft>
              <a:spcPct val="15000"/>
            </a:spcAft>
            <a:buChar char="•"/>
          </a:pPr>
          <a:r>
            <a:rPr lang="es-ES" sz="1500" kern="1200" dirty="0"/>
            <a:t>Ahorro de costes al no simular en real.</a:t>
          </a:r>
        </a:p>
        <a:p>
          <a:pPr marL="114300" lvl="1" indent="-114300" algn="l" defTabSz="666750">
            <a:lnSpc>
              <a:spcPct val="90000"/>
            </a:lnSpc>
            <a:spcBef>
              <a:spcPct val="0"/>
            </a:spcBef>
            <a:spcAft>
              <a:spcPct val="15000"/>
            </a:spcAft>
            <a:buChar char="•"/>
          </a:pPr>
          <a:r>
            <a:rPr lang="es-ES" sz="1500" kern="1200" dirty="0"/>
            <a:t>Los modelos se pueden mostrar a través de representaciones en 3D y modelado de realidad aumentada.</a:t>
          </a:r>
        </a:p>
      </dsp:txBody>
      <dsp:txXfrm>
        <a:off x="2310275" y="2278715"/>
        <a:ext cx="8205324" cy="2071559"/>
      </dsp:txXfrm>
    </dsp:sp>
    <dsp:sp modelId="{CFD820C3-1C37-4F70-B195-5FE68C2595D8}">
      <dsp:nvSpPr>
        <dsp:cNvPr id="0" name=""/>
        <dsp:cNvSpPr/>
      </dsp:nvSpPr>
      <dsp:spPr>
        <a:xfrm>
          <a:off x="207155" y="2485871"/>
          <a:ext cx="2103120" cy="1657247"/>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49590-9EA3-4DB6-B3E2-A299CC3EA351}">
      <dsp:nvSpPr>
        <dsp:cNvPr id="0" name=""/>
        <dsp:cNvSpPr/>
      </dsp:nvSpPr>
      <dsp:spPr>
        <a:xfrm>
          <a:off x="7638" y="0"/>
          <a:ext cx="484630" cy="48463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3261A2-6A5F-431E-9364-A2F474793F0A}">
      <dsp:nvSpPr>
        <dsp:cNvPr id="0" name=""/>
        <dsp:cNvSpPr/>
      </dsp:nvSpPr>
      <dsp:spPr>
        <a:xfrm>
          <a:off x="56101" y="48463"/>
          <a:ext cx="387704" cy="387704"/>
        </a:xfrm>
        <a:prstGeom prst="chord">
          <a:avLst>
            <a:gd name="adj1" fmla="val 2332194"/>
            <a:gd name="adj2" fmla="val 8587806"/>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7DF9B1-6659-42B9-811C-26F69FC2AD41}">
      <dsp:nvSpPr>
        <dsp:cNvPr id="0" name=""/>
        <dsp:cNvSpPr/>
      </dsp:nvSpPr>
      <dsp:spPr>
        <a:xfrm>
          <a:off x="593233" y="484630"/>
          <a:ext cx="1433697" cy="2039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s-ES" sz="1400" kern="1200" dirty="0"/>
            <a:t>El concepto se atribuye a David Gelernter y a su libro "Mirror Worlds“. </a:t>
          </a:r>
        </a:p>
      </dsp:txBody>
      <dsp:txXfrm>
        <a:off x="593233" y="484630"/>
        <a:ext cx="1433697" cy="2039485"/>
      </dsp:txXfrm>
    </dsp:sp>
    <dsp:sp modelId="{F01BE6C7-683D-4206-839C-DC5F865A52EC}">
      <dsp:nvSpPr>
        <dsp:cNvPr id="0" name=""/>
        <dsp:cNvSpPr/>
      </dsp:nvSpPr>
      <dsp:spPr>
        <a:xfrm>
          <a:off x="593233" y="0"/>
          <a:ext cx="1433697" cy="484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280" tIns="81280" rIns="81280" bIns="81280" numCol="1" spcCol="1270" anchor="b" anchorCtr="0">
          <a:noAutofit/>
        </a:bodyPr>
        <a:lstStyle/>
        <a:p>
          <a:pPr marL="0" lvl="0" indent="0" algn="l" defTabSz="1422400">
            <a:lnSpc>
              <a:spcPct val="90000"/>
            </a:lnSpc>
            <a:spcBef>
              <a:spcPct val="0"/>
            </a:spcBef>
            <a:spcAft>
              <a:spcPct val="35000"/>
            </a:spcAft>
            <a:buNone/>
          </a:pPr>
          <a:r>
            <a:rPr lang="es-ES" sz="3200" kern="1200" dirty="0"/>
            <a:t>1991 </a:t>
          </a:r>
        </a:p>
      </dsp:txBody>
      <dsp:txXfrm>
        <a:off x="593233" y="0"/>
        <a:ext cx="1433697" cy="484630"/>
      </dsp:txXfrm>
    </dsp:sp>
    <dsp:sp modelId="{23CF037E-EC43-4CC9-A675-CBCBB1C9F607}">
      <dsp:nvSpPr>
        <dsp:cNvPr id="0" name=""/>
        <dsp:cNvSpPr/>
      </dsp:nvSpPr>
      <dsp:spPr>
        <a:xfrm>
          <a:off x="2127896" y="0"/>
          <a:ext cx="484630" cy="48463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F7B6A1-911D-48F7-BC83-55BD32451021}">
      <dsp:nvSpPr>
        <dsp:cNvPr id="0" name=""/>
        <dsp:cNvSpPr/>
      </dsp:nvSpPr>
      <dsp:spPr>
        <a:xfrm>
          <a:off x="2176359" y="48463"/>
          <a:ext cx="387704" cy="387704"/>
        </a:xfrm>
        <a:prstGeom prst="chord">
          <a:avLst>
            <a:gd name="adj1" fmla="val 692220"/>
            <a:gd name="adj2" fmla="val 1010778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1A1E62-B75E-44C1-8352-B6D8FDA37A49}">
      <dsp:nvSpPr>
        <dsp:cNvPr id="0" name=""/>
        <dsp:cNvSpPr/>
      </dsp:nvSpPr>
      <dsp:spPr>
        <a:xfrm>
          <a:off x="2713491" y="484630"/>
          <a:ext cx="1433697" cy="2039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s-ES" sz="1400" kern="1200" dirty="0"/>
            <a:t>Michael Grieves (Instituto de Tecnología de Florida) lo aplicó al concepto de fabricación.</a:t>
          </a:r>
        </a:p>
      </dsp:txBody>
      <dsp:txXfrm>
        <a:off x="2713491" y="484630"/>
        <a:ext cx="1433697" cy="2039485"/>
      </dsp:txXfrm>
    </dsp:sp>
    <dsp:sp modelId="{3D751C1E-7881-4BF7-9E53-12FAA156B30D}">
      <dsp:nvSpPr>
        <dsp:cNvPr id="0" name=""/>
        <dsp:cNvSpPr/>
      </dsp:nvSpPr>
      <dsp:spPr>
        <a:xfrm>
          <a:off x="2713491" y="0"/>
          <a:ext cx="1433697" cy="484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280" tIns="81280" rIns="81280" bIns="81280" numCol="1" spcCol="1270" anchor="b" anchorCtr="0">
          <a:noAutofit/>
        </a:bodyPr>
        <a:lstStyle/>
        <a:p>
          <a:pPr marL="0" lvl="0" indent="0" algn="l" defTabSz="1422400">
            <a:lnSpc>
              <a:spcPct val="90000"/>
            </a:lnSpc>
            <a:spcBef>
              <a:spcPct val="0"/>
            </a:spcBef>
            <a:spcAft>
              <a:spcPct val="35000"/>
            </a:spcAft>
            <a:buNone/>
          </a:pPr>
          <a:r>
            <a:rPr lang="es-ES" sz="3200" kern="1200" dirty="0"/>
            <a:t>2002 </a:t>
          </a:r>
        </a:p>
      </dsp:txBody>
      <dsp:txXfrm>
        <a:off x="2713491" y="0"/>
        <a:ext cx="1433697" cy="484630"/>
      </dsp:txXfrm>
    </dsp:sp>
    <dsp:sp modelId="{F64CAB4E-F8BE-481F-B441-CCDE8AE09450}">
      <dsp:nvSpPr>
        <dsp:cNvPr id="0" name=""/>
        <dsp:cNvSpPr/>
      </dsp:nvSpPr>
      <dsp:spPr>
        <a:xfrm>
          <a:off x="4248153" y="0"/>
          <a:ext cx="484630" cy="48463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56F3B1-D809-469A-BCBE-86B11AA82E9D}">
      <dsp:nvSpPr>
        <dsp:cNvPr id="0" name=""/>
        <dsp:cNvSpPr/>
      </dsp:nvSpPr>
      <dsp:spPr>
        <a:xfrm>
          <a:off x="4296616" y="48463"/>
          <a:ext cx="387704" cy="387704"/>
        </a:xfrm>
        <a:prstGeom prst="chord">
          <a:avLst>
            <a:gd name="adj1" fmla="val 20907780"/>
            <a:gd name="adj2" fmla="val 1149222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43FCF9-4BEC-4359-AB4C-B4B3345A8F19}">
      <dsp:nvSpPr>
        <dsp:cNvPr id="0" name=""/>
        <dsp:cNvSpPr/>
      </dsp:nvSpPr>
      <dsp:spPr>
        <a:xfrm>
          <a:off x="4833748" y="484630"/>
          <a:ext cx="1433697" cy="2039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s-ES" sz="1400" kern="1200" dirty="0"/>
            <a:t>La NASA adoptó el concepto de gemelo digital, para mantener y reparar sistemas cuando no estaban cerca de ellos. </a:t>
          </a:r>
        </a:p>
        <a:p>
          <a:pPr marL="0" lvl="0" indent="0" algn="l" defTabSz="622300">
            <a:lnSpc>
              <a:spcPct val="90000"/>
            </a:lnSpc>
            <a:spcBef>
              <a:spcPct val="0"/>
            </a:spcBef>
            <a:spcAft>
              <a:spcPct val="35000"/>
            </a:spcAft>
            <a:buNone/>
          </a:pPr>
          <a:r>
            <a:rPr lang="es-ES" sz="1400" kern="1200" dirty="0"/>
            <a:t>Crearon simulaciones digitales de cápsulas espaciales y naves para realizar pruebas. </a:t>
          </a:r>
        </a:p>
      </dsp:txBody>
      <dsp:txXfrm>
        <a:off x="4833748" y="484630"/>
        <a:ext cx="1433697" cy="2039485"/>
      </dsp:txXfrm>
    </dsp:sp>
    <dsp:sp modelId="{E3A370D5-D90F-4894-A408-DC7B1FC401D5}">
      <dsp:nvSpPr>
        <dsp:cNvPr id="0" name=""/>
        <dsp:cNvSpPr/>
      </dsp:nvSpPr>
      <dsp:spPr>
        <a:xfrm>
          <a:off x="4833748" y="0"/>
          <a:ext cx="1433697" cy="484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280" tIns="81280" rIns="81280" bIns="81280" numCol="1" spcCol="1270" anchor="b" anchorCtr="0">
          <a:noAutofit/>
        </a:bodyPr>
        <a:lstStyle/>
        <a:p>
          <a:pPr marL="0" lvl="0" indent="0" algn="l" defTabSz="1422400">
            <a:lnSpc>
              <a:spcPct val="90000"/>
            </a:lnSpc>
            <a:spcBef>
              <a:spcPct val="0"/>
            </a:spcBef>
            <a:spcAft>
              <a:spcPct val="35000"/>
            </a:spcAft>
            <a:buNone/>
          </a:pPr>
          <a:r>
            <a:rPr lang="es-ES" sz="3200" kern="1200" dirty="0"/>
            <a:t>2010</a:t>
          </a:r>
        </a:p>
      </dsp:txBody>
      <dsp:txXfrm>
        <a:off x="4833748" y="0"/>
        <a:ext cx="1433697" cy="484630"/>
      </dsp:txXfrm>
    </dsp:sp>
    <dsp:sp modelId="{F6867EAD-53C4-4CA9-A52B-7DE1049D02E3}">
      <dsp:nvSpPr>
        <dsp:cNvPr id="0" name=""/>
        <dsp:cNvSpPr/>
      </dsp:nvSpPr>
      <dsp:spPr>
        <a:xfrm>
          <a:off x="6368411" y="0"/>
          <a:ext cx="484630" cy="48463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3F72C5D-F724-45B8-BF81-4E63657E1530}">
      <dsp:nvSpPr>
        <dsp:cNvPr id="0" name=""/>
        <dsp:cNvSpPr/>
      </dsp:nvSpPr>
      <dsp:spPr>
        <a:xfrm>
          <a:off x="6416874" y="48463"/>
          <a:ext cx="387704" cy="387704"/>
        </a:xfrm>
        <a:prstGeom prst="chord">
          <a:avLst>
            <a:gd name="adj1" fmla="val 19267806"/>
            <a:gd name="adj2" fmla="val 13012194"/>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915B34-10BC-4975-8BFC-FD41AC2DBD5B}">
      <dsp:nvSpPr>
        <dsp:cNvPr id="0" name=""/>
        <dsp:cNvSpPr/>
      </dsp:nvSpPr>
      <dsp:spPr>
        <a:xfrm>
          <a:off x="6954005" y="484630"/>
          <a:ext cx="1433697" cy="2039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s-ES" sz="1400" kern="1200" dirty="0"/>
            <a:t>NASA los utiliza para desarrollar nuevas recomendaciones, hojas de ruta y vehículos y aviones de próxima generación.</a:t>
          </a:r>
        </a:p>
        <a:p>
          <a:pPr marL="0" lvl="0" indent="0" algn="l" defTabSz="622300">
            <a:lnSpc>
              <a:spcPct val="90000"/>
            </a:lnSpc>
            <a:spcBef>
              <a:spcPct val="0"/>
            </a:spcBef>
            <a:spcAft>
              <a:spcPct val="35000"/>
            </a:spcAft>
            <a:buNone/>
          </a:pPr>
          <a:r>
            <a:rPr lang="es-ES" sz="1400" kern="1200" dirty="0"/>
            <a:t>Ya está extendido el uso de gemelos digitales en toda la industria</a:t>
          </a:r>
        </a:p>
      </dsp:txBody>
      <dsp:txXfrm>
        <a:off x="6954005" y="484630"/>
        <a:ext cx="1433697" cy="2039485"/>
      </dsp:txXfrm>
    </dsp:sp>
    <dsp:sp modelId="{531E7D84-8037-4101-AA79-4B5E290E06F5}">
      <dsp:nvSpPr>
        <dsp:cNvPr id="0" name=""/>
        <dsp:cNvSpPr/>
      </dsp:nvSpPr>
      <dsp:spPr>
        <a:xfrm>
          <a:off x="6954005" y="0"/>
          <a:ext cx="1433697" cy="484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280" tIns="81280" rIns="81280" bIns="81280" numCol="1" spcCol="1270" anchor="b" anchorCtr="0">
          <a:noAutofit/>
        </a:bodyPr>
        <a:lstStyle/>
        <a:p>
          <a:pPr marL="0" lvl="0" indent="0" algn="l" defTabSz="1422400">
            <a:lnSpc>
              <a:spcPct val="90000"/>
            </a:lnSpc>
            <a:spcBef>
              <a:spcPct val="0"/>
            </a:spcBef>
            <a:spcAft>
              <a:spcPct val="35000"/>
            </a:spcAft>
            <a:buNone/>
          </a:pPr>
          <a:r>
            <a:rPr lang="es-ES" sz="3200" kern="1200" dirty="0"/>
            <a:t>2022</a:t>
          </a:r>
        </a:p>
      </dsp:txBody>
      <dsp:txXfrm>
        <a:off x="6954005" y="0"/>
        <a:ext cx="1433697" cy="484630"/>
      </dsp:txXfrm>
    </dsp:sp>
    <dsp:sp modelId="{7399DDEA-B059-4E4B-85B0-07855B63DF7C}">
      <dsp:nvSpPr>
        <dsp:cNvPr id="0" name=""/>
        <dsp:cNvSpPr/>
      </dsp:nvSpPr>
      <dsp:spPr>
        <a:xfrm>
          <a:off x="8488668" y="0"/>
          <a:ext cx="484630" cy="48463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70715E-3BEA-4E93-B802-15AAEEECDC0A}">
      <dsp:nvSpPr>
        <dsp:cNvPr id="0" name=""/>
        <dsp:cNvSpPr/>
      </dsp:nvSpPr>
      <dsp:spPr>
        <a:xfrm>
          <a:off x="8537131" y="48463"/>
          <a:ext cx="387704" cy="387704"/>
        </a:xfrm>
        <a:prstGeom prst="chord">
          <a:avLst>
            <a:gd name="adj1" fmla="val 162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E8A1D7-B5BD-4994-87A1-C4D5E6A50A84}">
      <dsp:nvSpPr>
        <dsp:cNvPr id="0" name=""/>
        <dsp:cNvSpPr/>
      </dsp:nvSpPr>
      <dsp:spPr>
        <a:xfrm>
          <a:off x="9074263" y="484630"/>
          <a:ext cx="1433697" cy="2039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t" anchorCtr="0">
          <a:noAutofit/>
        </a:bodyPr>
        <a:lstStyle/>
        <a:p>
          <a:pPr marL="0" lvl="0" indent="0" algn="l" defTabSz="622300">
            <a:lnSpc>
              <a:spcPct val="90000"/>
            </a:lnSpc>
            <a:spcBef>
              <a:spcPct val="0"/>
            </a:spcBef>
            <a:spcAft>
              <a:spcPct val="35000"/>
            </a:spcAft>
            <a:buNone/>
          </a:pPr>
          <a:r>
            <a:rPr lang="es-ES" sz="1400" kern="1200" dirty="0"/>
            <a:t>Industria: Predicción de fallos, optimización de procesos, Formación de personas.</a:t>
          </a:r>
        </a:p>
        <a:p>
          <a:pPr marL="0" lvl="0" indent="0" algn="l" defTabSz="622300">
            <a:lnSpc>
              <a:spcPct val="90000"/>
            </a:lnSpc>
            <a:spcBef>
              <a:spcPct val="0"/>
            </a:spcBef>
            <a:spcAft>
              <a:spcPct val="35000"/>
            </a:spcAft>
            <a:buNone/>
          </a:pPr>
          <a:r>
            <a:rPr lang="es-ES" sz="1400" kern="1200" dirty="0"/>
            <a:t>Diseño y desarrollo de productos: Prototipado, pruebas, personalización.</a:t>
          </a:r>
        </a:p>
        <a:p>
          <a:pPr marL="0" lvl="0" indent="0" algn="l" defTabSz="622300">
            <a:lnSpc>
              <a:spcPct val="90000"/>
            </a:lnSpc>
            <a:spcBef>
              <a:spcPct val="0"/>
            </a:spcBef>
            <a:spcAft>
              <a:spcPct val="35000"/>
            </a:spcAft>
            <a:buNone/>
          </a:pPr>
          <a:r>
            <a:rPr lang="es-ES" sz="1400" kern="1200" dirty="0"/>
            <a:t>Atención médica, ciudades inteligentes, sostenibilidad. </a:t>
          </a:r>
        </a:p>
      </dsp:txBody>
      <dsp:txXfrm>
        <a:off x="9074263" y="484630"/>
        <a:ext cx="1433697" cy="2039485"/>
      </dsp:txXfrm>
    </dsp:sp>
    <dsp:sp modelId="{97192AA8-7BFF-4D55-8018-C8C12087AD5A}">
      <dsp:nvSpPr>
        <dsp:cNvPr id="0" name=""/>
        <dsp:cNvSpPr/>
      </dsp:nvSpPr>
      <dsp:spPr>
        <a:xfrm>
          <a:off x="9074263" y="0"/>
          <a:ext cx="1433697" cy="484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280" tIns="81280" rIns="81280" bIns="81280" numCol="1" spcCol="1270" anchor="b" anchorCtr="0">
          <a:noAutofit/>
        </a:bodyPr>
        <a:lstStyle/>
        <a:p>
          <a:pPr marL="0" lvl="0" indent="0" algn="l" defTabSz="1422400">
            <a:lnSpc>
              <a:spcPct val="90000"/>
            </a:lnSpc>
            <a:spcBef>
              <a:spcPct val="0"/>
            </a:spcBef>
            <a:spcAft>
              <a:spcPct val="35000"/>
            </a:spcAft>
            <a:buNone/>
          </a:pPr>
          <a:r>
            <a:rPr lang="es-ES" sz="3200" kern="1200" dirty="0"/>
            <a:t>2023</a:t>
          </a:r>
        </a:p>
      </dsp:txBody>
      <dsp:txXfrm>
        <a:off x="9074263" y="0"/>
        <a:ext cx="1433697" cy="484630"/>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7CBFBA-E46C-4438-9138-87493F9141FB}">
      <dsp:nvSpPr>
        <dsp:cNvPr id="0" name=""/>
        <dsp:cNvSpPr/>
      </dsp:nvSpPr>
      <dsp:spPr>
        <a:xfrm>
          <a:off x="2126"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Un gemelo digital puede ser tan complejo o tan simple como se necesite:</a:t>
          </a:r>
        </a:p>
      </dsp:txBody>
      <dsp:txXfrm>
        <a:off x="2126" y="0"/>
        <a:ext cx="2086978" cy="1263491"/>
      </dsp:txXfrm>
    </dsp:sp>
    <dsp:sp modelId="{D4D4CA6E-D2E5-4474-925C-900EA3E8CCAA}">
      <dsp:nvSpPr>
        <dsp:cNvPr id="0" name=""/>
        <dsp:cNvSpPr/>
      </dsp:nvSpPr>
      <dsp:spPr>
        <a:xfrm>
          <a:off x="210824" y="126472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Desde un objeto simple</a:t>
          </a:r>
          <a:endParaRPr lang="es-ES" sz="1200" kern="1200" dirty="0"/>
        </a:p>
      </dsp:txBody>
      <dsp:txXfrm>
        <a:off x="248017" y="1301918"/>
        <a:ext cx="1595196" cy="1195480"/>
      </dsp:txXfrm>
    </dsp:sp>
    <dsp:sp modelId="{51111A17-9557-4BB5-98A1-1C7ADB00113A}">
      <dsp:nvSpPr>
        <dsp:cNvPr id="0" name=""/>
        <dsp:cNvSpPr/>
      </dsp:nvSpPr>
      <dsp:spPr>
        <a:xfrm>
          <a:off x="210824" y="272995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A una factoría completa a una ciudad completa.</a:t>
          </a:r>
          <a:endParaRPr lang="es-ES" sz="1200" kern="1200" dirty="0"/>
        </a:p>
      </dsp:txBody>
      <dsp:txXfrm>
        <a:off x="248017" y="2767148"/>
        <a:ext cx="1595196" cy="1195480"/>
      </dsp:txXfrm>
    </dsp:sp>
    <dsp:sp modelId="{C2460F87-3A90-4719-8C5D-103CA94BDF4E}">
      <dsp:nvSpPr>
        <dsp:cNvPr id="0" name=""/>
        <dsp:cNvSpPr/>
      </dsp:nvSpPr>
      <dsp:spPr>
        <a:xfrm>
          <a:off x="2245628"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Al definir el gemelo, habrá que tener en  cuenta:</a:t>
          </a:r>
        </a:p>
      </dsp:txBody>
      <dsp:txXfrm>
        <a:off x="2245628" y="0"/>
        <a:ext cx="2086978" cy="1263491"/>
      </dsp:txXfrm>
    </dsp:sp>
    <dsp:sp modelId="{680706C3-65B6-4E40-A788-9EC5E45BC089}">
      <dsp:nvSpPr>
        <dsp:cNvPr id="0" name=""/>
        <dsp:cNvSpPr/>
      </dsp:nvSpPr>
      <dsp:spPr>
        <a:xfrm>
          <a:off x="2454326" y="1263491"/>
          <a:ext cx="1669582" cy="2737564"/>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La ingeniería, Física, Química, Estadística, Lógica empresarial.</a:t>
          </a:r>
        </a:p>
      </dsp:txBody>
      <dsp:txXfrm>
        <a:off x="2503226" y="1312391"/>
        <a:ext cx="1571782" cy="2639764"/>
      </dsp:txXfrm>
    </dsp:sp>
    <dsp:sp modelId="{2ACC35DC-7A72-471B-96F6-F4AA09F7F060}">
      <dsp:nvSpPr>
        <dsp:cNvPr id="0" name=""/>
        <dsp:cNvSpPr/>
      </dsp:nvSpPr>
      <dsp:spPr>
        <a:xfrm>
          <a:off x="4489130"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s profesionales</a:t>
          </a:r>
          <a:endParaRPr lang="es-ES" sz="1600" kern="1200" dirty="0"/>
        </a:p>
      </dsp:txBody>
      <dsp:txXfrm>
        <a:off x="4489130" y="0"/>
        <a:ext cx="2086978" cy="1263491"/>
      </dsp:txXfrm>
    </dsp:sp>
    <dsp:sp modelId="{3B95F3A4-06D7-435E-871B-8BBF0F84FA40}">
      <dsp:nvSpPr>
        <dsp:cNvPr id="0" name=""/>
        <dsp:cNvSpPr/>
      </dsp:nvSpPr>
      <dsp:spPr>
        <a:xfrm>
          <a:off x="4697828" y="126472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Suelen ser expertos en matemáticas aplicadas o ciencia de datos. </a:t>
          </a:r>
          <a:endParaRPr lang="en-US" sz="1200" kern="1200" dirty="0"/>
        </a:p>
      </dsp:txBody>
      <dsp:txXfrm>
        <a:off x="4735021" y="1301918"/>
        <a:ext cx="1595196" cy="1195480"/>
      </dsp:txXfrm>
    </dsp:sp>
    <dsp:sp modelId="{A04D708D-CC12-4045-A725-E0D298FAF0C7}">
      <dsp:nvSpPr>
        <dsp:cNvPr id="0" name=""/>
        <dsp:cNvSpPr/>
      </dsp:nvSpPr>
      <dsp:spPr>
        <a:xfrm>
          <a:off x="4697828" y="272995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Analizan la física y los datos operativos de un objeto y desarrollan un modelo matemático que simula el original.</a:t>
          </a:r>
        </a:p>
      </dsp:txBody>
      <dsp:txXfrm>
        <a:off x="4735021" y="2767148"/>
        <a:ext cx="1595196" cy="1195480"/>
      </dsp:txXfrm>
    </dsp:sp>
    <dsp:sp modelId="{2E6A22C7-F026-4A5F-B297-D7014961751A}">
      <dsp:nvSpPr>
        <dsp:cNvPr id="0" name=""/>
        <dsp:cNvSpPr/>
      </dsp:nvSpPr>
      <dsp:spPr>
        <a:xfrm>
          <a:off x="6732632" y="0"/>
          <a:ext cx="2086978" cy="42116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Reto</a:t>
          </a:r>
        </a:p>
      </dsp:txBody>
      <dsp:txXfrm>
        <a:off x="6732632" y="0"/>
        <a:ext cx="2086978" cy="1263491"/>
      </dsp:txXfrm>
    </dsp:sp>
    <dsp:sp modelId="{825439CB-C8B1-4D5F-863B-82042C875D97}">
      <dsp:nvSpPr>
        <dsp:cNvPr id="0" name=""/>
        <dsp:cNvSpPr/>
      </dsp:nvSpPr>
      <dsp:spPr>
        <a:xfrm>
          <a:off x="6941330" y="126472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La relación entre el modelo físico y el digital.</a:t>
          </a:r>
        </a:p>
      </dsp:txBody>
      <dsp:txXfrm>
        <a:off x="6978523" y="1301918"/>
        <a:ext cx="1595196" cy="1195480"/>
      </dsp:txXfrm>
    </dsp:sp>
    <dsp:sp modelId="{93B3E5F4-DEDC-44EA-841F-A2694F2467D9}">
      <dsp:nvSpPr>
        <dsp:cNvPr id="0" name=""/>
        <dsp:cNvSpPr/>
      </dsp:nvSpPr>
      <dsp:spPr>
        <a:xfrm>
          <a:off x="6941330" y="2729955"/>
          <a:ext cx="1669582" cy="12698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s-ES" sz="1200" kern="1200" dirty="0"/>
            <a:t>La colección de datos del mundo físico y del digital y su relación… dato a dato </a:t>
          </a:r>
        </a:p>
      </dsp:txBody>
      <dsp:txXfrm>
        <a:off x="6978523" y="2767148"/>
        <a:ext cx="1595196" cy="1195480"/>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1ABB9B-C759-4E14-B5E4-C7CEA42152E6}">
      <dsp:nvSpPr>
        <dsp:cNvPr id="0" name=""/>
        <dsp:cNvSpPr/>
      </dsp:nvSpPr>
      <dsp:spPr>
        <a:xfrm>
          <a:off x="559800" y="69460"/>
          <a:ext cx="1512000" cy="1512000"/>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30F94F0-E148-4550-B7D6-B404438A7627}">
      <dsp:nvSpPr>
        <dsp:cNvPr id="0" name=""/>
        <dsp:cNvSpPr/>
      </dsp:nvSpPr>
      <dsp:spPr>
        <a:xfrm>
          <a:off x="559800" y="176259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defRPr b="1"/>
          </a:pPr>
          <a:r>
            <a:rPr lang="es-ES" sz="2000" kern="1200" dirty="0"/>
            <a:t>General electric</a:t>
          </a:r>
          <a:endParaRPr lang="en-US" sz="2000" kern="1200" dirty="0"/>
        </a:p>
      </dsp:txBody>
      <dsp:txXfrm>
        <a:off x="559800" y="1762594"/>
        <a:ext cx="4320000" cy="648000"/>
      </dsp:txXfrm>
    </dsp:sp>
    <dsp:sp modelId="{30432B2E-ADB5-4516-A69A-5B8F35C97D15}">
      <dsp:nvSpPr>
        <dsp:cNvPr id="0" name=""/>
        <dsp:cNvSpPr/>
      </dsp:nvSpPr>
      <dsp:spPr>
        <a:xfrm>
          <a:off x="559800" y="2494842"/>
          <a:ext cx="4320000" cy="1787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s-ES" sz="1600" kern="1200" dirty="0"/>
            <a:t>Desarrolló la tecnología de gemelos digitales internamente para su proceso de fabricación de motores a reacción.</a:t>
          </a:r>
          <a:endParaRPr lang="en-US" sz="1600" kern="1200" dirty="0"/>
        </a:p>
        <a:p>
          <a:pPr marL="0" lvl="0" indent="0" algn="l" defTabSz="711200">
            <a:lnSpc>
              <a:spcPct val="100000"/>
            </a:lnSpc>
            <a:spcBef>
              <a:spcPct val="0"/>
            </a:spcBef>
            <a:spcAft>
              <a:spcPct val="35000"/>
            </a:spcAft>
            <a:buNone/>
          </a:pPr>
          <a:r>
            <a:rPr lang="es-ES" sz="1600" kern="1200" dirty="0"/>
            <a:t>Ofrece su experiencia a otras empresas.</a:t>
          </a:r>
          <a:endParaRPr lang="en-US" sz="1600" kern="1200" dirty="0"/>
        </a:p>
      </dsp:txBody>
      <dsp:txXfrm>
        <a:off x="559800" y="2494842"/>
        <a:ext cx="4320000" cy="1787035"/>
      </dsp:txXfrm>
    </dsp:sp>
    <dsp:sp modelId="{B50FE44A-7857-48C1-985F-ED802641E36B}">
      <dsp:nvSpPr>
        <dsp:cNvPr id="0" name=""/>
        <dsp:cNvSpPr/>
      </dsp:nvSpPr>
      <dsp:spPr>
        <a:xfrm>
          <a:off x="5635800" y="69460"/>
          <a:ext cx="1512000" cy="1512000"/>
        </a:xfrm>
        <a:prstGeom prst="rect">
          <a:avLst/>
        </a:prstGeom>
        <a:blipFill rotWithShape="1">
          <a:blip xmlns:r="http://schemas.openxmlformats.org/officeDocument/2006/relationships" r:embed="rId2"/>
          <a:srcRect/>
          <a:stretch>
            <a:fillRect l="-23000" r="-2300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DE9B8363-8B92-4859-A523-73DF5C9F47B3}">
      <dsp:nvSpPr>
        <dsp:cNvPr id="0" name=""/>
        <dsp:cNvSpPr/>
      </dsp:nvSpPr>
      <dsp:spPr>
        <a:xfrm>
          <a:off x="5635800" y="176259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defRPr b="1"/>
          </a:pPr>
          <a:r>
            <a:rPr lang="es-ES" sz="2000" kern="1200" dirty="0"/>
            <a:t>Otros jugadores:</a:t>
          </a:r>
          <a:endParaRPr lang="en-US" sz="2000" kern="1200" dirty="0"/>
        </a:p>
      </dsp:txBody>
      <dsp:txXfrm>
        <a:off x="5635800" y="1762594"/>
        <a:ext cx="4320000" cy="648000"/>
      </dsp:txXfrm>
    </dsp:sp>
    <dsp:sp modelId="{BC9735C9-8077-4C18-BDEE-3B2D0E453E24}">
      <dsp:nvSpPr>
        <dsp:cNvPr id="0" name=""/>
        <dsp:cNvSpPr/>
      </dsp:nvSpPr>
      <dsp:spPr>
        <a:xfrm>
          <a:off x="5635800" y="2494842"/>
          <a:ext cx="4320000" cy="1787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pPr>
          <a:r>
            <a:rPr lang="es-ES" sz="1600" kern="1200" dirty="0"/>
            <a:t>Microsoft</a:t>
          </a:r>
        </a:p>
        <a:p>
          <a:pPr marL="0" lvl="0" indent="0" algn="l" defTabSz="711200">
            <a:lnSpc>
              <a:spcPct val="100000"/>
            </a:lnSpc>
            <a:spcBef>
              <a:spcPct val="0"/>
            </a:spcBef>
            <a:spcAft>
              <a:spcPct val="35000"/>
            </a:spcAft>
            <a:buNone/>
          </a:pPr>
          <a:r>
            <a:rPr lang="es-ES" sz="1600" kern="1200" dirty="0"/>
            <a:t>Google</a:t>
          </a:r>
        </a:p>
        <a:p>
          <a:pPr marL="0" lvl="0" indent="0" algn="l" defTabSz="711200">
            <a:lnSpc>
              <a:spcPct val="100000"/>
            </a:lnSpc>
            <a:spcBef>
              <a:spcPct val="0"/>
            </a:spcBef>
            <a:spcAft>
              <a:spcPct val="35000"/>
            </a:spcAft>
            <a:buNone/>
          </a:pPr>
          <a:r>
            <a:rPr lang="es-ES" sz="1600" kern="1200" dirty="0"/>
            <a:t>AWS</a:t>
          </a:r>
        </a:p>
        <a:p>
          <a:pPr marL="0" lvl="0" indent="0" algn="l" defTabSz="711200">
            <a:lnSpc>
              <a:spcPct val="100000"/>
            </a:lnSpc>
            <a:spcBef>
              <a:spcPct val="0"/>
            </a:spcBef>
            <a:spcAft>
              <a:spcPct val="35000"/>
            </a:spcAft>
            <a:buNone/>
          </a:pPr>
          <a:r>
            <a:rPr lang="es-ES" sz="1600" kern="1200" dirty="0"/>
            <a:t>IBM</a:t>
          </a:r>
        </a:p>
        <a:p>
          <a:pPr marL="0" lvl="0" indent="0" algn="l" defTabSz="711200">
            <a:lnSpc>
              <a:spcPct val="100000"/>
            </a:lnSpc>
            <a:spcBef>
              <a:spcPct val="0"/>
            </a:spcBef>
            <a:spcAft>
              <a:spcPct val="35000"/>
            </a:spcAft>
            <a:buNone/>
          </a:pPr>
          <a:r>
            <a:rPr lang="es-ES" sz="1600" kern="1200" dirty="0"/>
            <a:t>Y multitud de consultoras y empresas de la industria</a:t>
          </a:r>
        </a:p>
      </dsp:txBody>
      <dsp:txXfrm>
        <a:off x="5635800" y="2494842"/>
        <a:ext cx="4320000" cy="1787035"/>
      </dsp:txXfrm>
    </dsp:sp>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51C94-6050-41A8-BB5B-7398AFA141C8}">
      <dsp:nvSpPr>
        <dsp:cNvPr id="0" name=""/>
        <dsp:cNvSpPr/>
      </dsp:nvSpPr>
      <dsp:spPr>
        <a:xfrm>
          <a:off x="0" y="28618"/>
          <a:ext cx="8821738" cy="77220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El modelo virtual recibirá información de los sensores que recopilan datos de la versión del mundo real, del objeto y de lo que está a su alrededor. </a:t>
          </a:r>
        </a:p>
      </dsp:txBody>
      <dsp:txXfrm>
        <a:off x="37696" y="66314"/>
        <a:ext cx="8746346" cy="696808"/>
      </dsp:txXfrm>
    </dsp:sp>
    <dsp:sp modelId="{20B0249C-5A0F-4BD3-9F87-52586DE2524E}">
      <dsp:nvSpPr>
        <dsp:cNvPr id="0" name=""/>
        <dsp:cNvSpPr/>
      </dsp:nvSpPr>
      <dsp:spPr>
        <a:xfrm>
          <a:off x="0" y="800819"/>
          <a:ext cx="8821738" cy="178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0090"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s-ES" sz="1600" kern="1200" dirty="0"/>
            <a:t>Origen: Datos relativos al ciclo de vida de un producto, especificaciones de diseño, procesos de producción, información de ingeniería, de producción (incluyendo materiales, piezas, métodos y control de calidad).</a:t>
          </a:r>
        </a:p>
        <a:p>
          <a:pPr marL="171450" lvl="1" indent="-171450" algn="l" defTabSz="711200">
            <a:lnSpc>
              <a:spcPct val="90000"/>
            </a:lnSpc>
            <a:spcBef>
              <a:spcPct val="0"/>
            </a:spcBef>
            <a:spcAft>
              <a:spcPct val="20000"/>
            </a:spcAft>
            <a:buChar char="•"/>
          </a:pPr>
          <a:r>
            <a:rPr lang="es-ES" sz="1600" kern="1200" dirty="0"/>
            <a:t>Captura:</a:t>
          </a:r>
        </a:p>
        <a:p>
          <a:pPr marL="342900" lvl="2" indent="-171450" algn="l" defTabSz="711200">
            <a:lnSpc>
              <a:spcPct val="90000"/>
            </a:lnSpc>
            <a:spcBef>
              <a:spcPct val="0"/>
            </a:spcBef>
            <a:spcAft>
              <a:spcPct val="20000"/>
            </a:spcAft>
            <a:buChar char="•"/>
          </a:pPr>
          <a:r>
            <a:rPr lang="es-ES" sz="1600" kern="1200" dirty="0"/>
            <a:t>Origen fundamental (Automático) = IOT y Sensórica. </a:t>
          </a:r>
        </a:p>
        <a:p>
          <a:pPr marL="342900" lvl="2" indent="-171450" algn="l" defTabSz="711200">
            <a:lnSpc>
              <a:spcPct val="90000"/>
            </a:lnSpc>
            <a:spcBef>
              <a:spcPct val="0"/>
            </a:spcBef>
            <a:spcAft>
              <a:spcPct val="20000"/>
            </a:spcAft>
            <a:buChar char="•"/>
          </a:pPr>
          <a:r>
            <a:rPr lang="es-ES" sz="1600" kern="1200" dirty="0"/>
            <a:t>API = ERPs y otras aplicaciones.</a:t>
          </a:r>
        </a:p>
        <a:p>
          <a:pPr marL="342900" lvl="2" indent="-171450" algn="l" defTabSz="711200">
            <a:lnSpc>
              <a:spcPct val="90000"/>
            </a:lnSpc>
            <a:spcBef>
              <a:spcPct val="0"/>
            </a:spcBef>
            <a:spcAft>
              <a:spcPct val="20000"/>
            </a:spcAft>
            <a:buChar char="•"/>
          </a:pPr>
          <a:r>
            <a:rPr lang="es-ES" sz="1600" kern="1200" dirty="0"/>
            <a:t>Secundario = la opinión de las personas.</a:t>
          </a:r>
        </a:p>
      </dsp:txBody>
      <dsp:txXfrm>
        <a:off x="0" y="800819"/>
        <a:ext cx="8821738" cy="1780200"/>
      </dsp:txXfrm>
    </dsp:sp>
    <dsp:sp modelId="{3E5E82C8-B746-40AB-ACF4-B5B3B5E1C05E}">
      <dsp:nvSpPr>
        <dsp:cNvPr id="0" name=""/>
        <dsp:cNvSpPr/>
      </dsp:nvSpPr>
      <dsp:spPr>
        <a:xfrm>
          <a:off x="0" y="2581019"/>
          <a:ext cx="8821738" cy="772200"/>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Reto: relacionar datos reales con datos virtuales</a:t>
          </a:r>
        </a:p>
      </dsp:txBody>
      <dsp:txXfrm>
        <a:off x="37696" y="2618715"/>
        <a:ext cx="8746346" cy="696808"/>
      </dsp:txXfrm>
    </dsp:sp>
    <dsp:sp modelId="{5E836F04-35F6-4CFD-A524-5D4B634FB6C6}">
      <dsp:nvSpPr>
        <dsp:cNvPr id="0" name=""/>
        <dsp:cNvSpPr/>
      </dsp:nvSpPr>
      <dsp:spPr>
        <a:xfrm>
          <a:off x="0" y="3410819"/>
          <a:ext cx="8821738" cy="772200"/>
        </a:xfrm>
        <a:prstGeom prst="roundRect">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s-ES" sz="2000" kern="1200" dirty="0"/>
            <a:t>La cantidad de datos determinará la precisión con la que el modelo digital simula la versión física.</a:t>
          </a:r>
        </a:p>
      </dsp:txBody>
      <dsp:txXfrm>
        <a:off x="37696" y="3448515"/>
        <a:ext cx="8746346" cy="69680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FA3E41-33F7-4689-9D8A-2F4D48416439}">
      <dsp:nvSpPr>
        <dsp:cNvPr id="0" name=""/>
        <dsp:cNvSpPr/>
      </dsp:nvSpPr>
      <dsp:spPr>
        <a:xfrm>
          <a:off x="3080" y="587032"/>
          <a:ext cx="2444055" cy="1466433"/>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b="0" i="0" kern="1200" dirty="0"/>
            <a:t>"En los negocios lo que es peligroso es no evolucionar“</a:t>
          </a:r>
          <a:endParaRPr lang="en-US" sz="1800" kern="1200" dirty="0"/>
        </a:p>
      </dsp:txBody>
      <dsp:txXfrm>
        <a:off x="3080" y="587032"/>
        <a:ext cx="2444055" cy="1466433"/>
      </dsp:txXfrm>
    </dsp:sp>
    <dsp:sp modelId="{428C961E-D34E-4D40-9009-E229345939A3}">
      <dsp:nvSpPr>
        <dsp:cNvPr id="0" name=""/>
        <dsp:cNvSpPr/>
      </dsp:nvSpPr>
      <dsp:spPr>
        <a:xfrm>
          <a:off x="2691541" y="587032"/>
          <a:ext cx="2444055" cy="146643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 antes, dedicabas un 30% de tu tiempo en crear un gran servicio y un 70% en difundirlo. Ahora, eso se invierte</a:t>
          </a:r>
          <a:endParaRPr lang="en-US" sz="1800" kern="1200" dirty="0"/>
        </a:p>
      </dsp:txBody>
      <dsp:txXfrm>
        <a:off x="2691541" y="587032"/>
        <a:ext cx="2444055" cy="1466433"/>
      </dsp:txXfrm>
    </dsp:sp>
    <dsp:sp modelId="{1618E4A4-B375-4035-81DC-64FCB47FABBD}">
      <dsp:nvSpPr>
        <dsp:cNvPr id="0" name=""/>
        <dsp:cNvSpPr/>
      </dsp:nvSpPr>
      <dsp:spPr>
        <a:xfrm>
          <a:off x="5380002" y="587032"/>
          <a:ext cx="2444055" cy="146643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 a que piensen en grande</a:t>
          </a:r>
          <a:endParaRPr lang="en-US" sz="1800" kern="1200" dirty="0"/>
        </a:p>
      </dsp:txBody>
      <dsp:txXfrm>
        <a:off x="5380002" y="587032"/>
        <a:ext cx="2444055" cy="1466433"/>
      </dsp:txXfrm>
    </dsp:sp>
    <dsp:sp modelId="{1F91AFB4-DFF0-4BA4-9D6D-5AF334DEA1DF}">
      <dsp:nvSpPr>
        <dsp:cNvPr id="0" name=""/>
        <dsp:cNvSpPr/>
      </dsp:nvSpPr>
      <dsp:spPr>
        <a:xfrm>
          <a:off x="8068463" y="587032"/>
          <a:ext cx="2444055" cy="146643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La vida es muy corta como para rodearse de gente que no aporta nada a tu vida.</a:t>
          </a:r>
          <a:endParaRPr lang="en-US" sz="1800" kern="1200" dirty="0"/>
        </a:p>
      </dsp:txBody>
      <dsp:txXfrm>
        <a:off x="8068463" y="587032"/>
        <a:ext cx="2444055" cy="1466433"/>
      </dsp:txXfrm>
    </dsp:sp>
    <dsp:sp modelId="{42392913-93E2-41B7-9F04-6E83B0C2CB5D}">
      <dsp:nvSpPr>
        <dsp:cNvPr id="0" name=""/>
        <dsp:cNvSpPr/>
      </dsp:nvSpPr>
      <dsp:spPr>
        <a:xfrm>
          <a:off x="1347311" y="2297871"/>
          <a:ext cx="2444055" cy="146643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Todos los negocios necesitan ser jóvenes siempre</a:t>
          </a:r>
          <a:endParaRPr lang="en-US" sz="1800" kern="1200" dirty="0"/>
        </a:p>
      </dsp:txBody>
      <dsp:txXfrm>
        <a:off x="1347311" y="2297871"/>
        <a:ext cx="2444055" cy="1466433"/>
      </dsp:txXfrm>
    </dsp:sp>
    <dsp:sp modelId="{4177ADA6-1B1A-4344-B66D-5CA792E2BB08}">
      <dsp:nvSpPr>
        <dsp:cNvPr id="0" name=""/>
        <dsp:cNvSpPr/>
      </dsp:nvSpPr>
      <dsp:spPr>
        <a:xfrm>
          <a:off x="4035772" y="2297871"/>
          <a:ext cx="2444055" cy="146643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 sz="1800" kern="1200" dirty="0"/>
            <a:t>Si pretendes que jamás te critiquen, entonces no hagas nada.</a:t>
          </a:r>
          <a:endParaRPr lang="en-US" sz="1800" kern="1200" dirty="0"/>
        </a:p>
      </dsp:txBody>
      <dsp:txXfrm>
        <a:off x="4035772" y="2297871"/>
        <a:ext cx="2444055" cy="1466433"/>
      </dsp:txXfrm>
    </dsp:sp>
    <dsp:sp modelId="{DDE37ADC-D6CA-413C-8E98-BFB022F5E276}">
      <dsp:nvSpPr>
        <dsp:cNvPr id="0" name=""/>
        <dsp:cNvSpPr/>
      </dsp:nvSpPr>
      <dsp:spPr>
        <a:xfrm>
          <a:off x="6724233" y="2297871"/>
          <a:ext cx="2444055" cy="146643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6724233" y="2297871"/>
        <a:ext cx="2444055" cy="1466433"/>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3A0ED-A0FC-4DD8-A176-90207B0D7350}">
      <dsp:nvSpPr>
        <dsp:cNvPr id="0" name=""/>
        <dsp:cNvSpPr/>
      </dsp:nvSpPr>
      <dsp:spPr>
        <a:xfrm>
          <a:off x="2297" y="405770"/>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kern="1200" dirty="0"/>
            <a:t>A solucionar: No hay una plataforma estandarizada ni una tecnología estándar ni metodología estándar.</a:t>
          </a:r>
        </a:p>
      </dsp:txBody>
      <dsp:txXfrm>
        <a:off x="2297" y="405770"/>
        <a:ext cx="1823079" cy="1093847"/>
      </dsp:txXfrm>
    </dsp:sp>
    <dsp:sp modelId="{B00A338A-7A77-49EF-A3F8-B6FD21A2B005}">
      <dsp:nvSpPr>
        <dsp:cNvPr id="0" name=""/>
        <dsp:cNvSpPr/>
      </dsp:nvSpPr>
      <dsp:spPr>
        <a:xfrm>
          <a:off x="2007685" y="405770"/>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Lenguajes: Java, Python, Scala, Scada, Spark.</a:t>
          </a:r>
        </a:p>
      </dsp:txBody>
      <dsp:txXfrm>
        <a:off x="2007685" y="405770"/>
        <a:ext cx="1823079" cy="1093847"/>
      </dsp:txXfrm>
    </dsp:sp>
    <dsp:sp modelId="{58538D75-420C-4D91-A5C2-51FF713373E6}">
      <dsp:nvSpPr>
        <dsp:cNvPr id="0" name=""/>
        <dsp:cNvSpPr/>
      </dsp:nvSpPr>
      <dsp:spPr>
        <a:xfrm>
          <a:off x="4013072" y="405770"/>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Inteligencia artificial: modelos pre-entrenados (p.ej Random Forest), redes neuronales, redes convolucionales.</a:t>
          </a:r>
        </a:p>
      </dsp:txBody>
      <dsp:txXfrm>
        <a:off x="4013072" y="405770"/>
        <a:ext cx="1823079" cy="1093847"/>
      </dsp:txXfrm>
    </dsp:sp>
    <dsp:sp modelId="{568E585A-1585-425E-80B0-0CD8B9244BA5}">
      <dsp:nvSpPr>
        <dsp:cNvPr id="0" name=""/>
        <dsp:cNvSpPr/>
      </dsp:nvSpPr>
      <dsp:spPr>
        <a:xfrm>
          <a:off x="6018460" y="405770"/>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IoT.</a:t>
          </a:r>
        </a:p>
      </dsp:txBody>
      <dsp:txXfrm>
        <a:off x="6018460" y="405770"/>
        <a:ext cx="1823079" cy="1093847"/>
      </dsp:txXfrm>
    </dsp:sp>
    <dsp:sp modelId="{CBFFD2BF-6658-40CB-8E8A-046045059769}">
      <dsp:nvSpPr>
        <dsp:cNvPr id="0" name=""/>
        <dsp:cNvSpPr/>
      </dsp:nvSpPr>
      <dsp:spPr>
        <a:xfrm>
          <a:off x="2297" y="1681926"/>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alidad aumentada AR, realidad virtual VR.</a:t>
          </a:r>
        </a:p>
      </dsp:txBody>
      <dsp:txXfrm>
        <a:off x="2297" y="1681926"/>
        <a:ext cx="1823079" cy="1093847"/>
      </dsp:txXfrm>
    </dsp:sp>
    <dsp:sp modelId="{E0892773-937D-40D2-9D80-4C9389AAB3B5}">
      <dsp:nvSpPr>
        <dsp:cNvPr id="0" name=""/>
        <dsp:cNvSpPr/>
      </dsp:nvSpPr>
      <dsp:spPr>
        <a:xfrm>
          <a:off x="2007685" y="1681926"/>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3D – 4D – 5D.</a:t>
          </a:r>
        </a:p>
      </dsp:txBody>
      <dsp:txXfrm>
        <a:off x="2007685" y="1681926"/>
        <a:ext cx="1823079" cy="1093847"/>
      </dsp:txXfrm>
    </dsp:sp>
    <dsp:sp modelId="{466CBEFB-897E-4D52-860C-2D1CE6225879}">
      <dsp:nvSpPr>
        <dsp:cNvPr id="0" name=""/>
        <dsp:cNvSpPr/>
      </dsp:nvSpPr>
      <dsp:spPr>
        <a:xfrm>
          <a:off x="4013072" y="1681926"/>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Gafas de VR y otros dispositivos dispositivos wearables</a:t>
          </a:r>
        </a:p>
      </dsp:txBody>
      <dsp:txXfrm>
        <a:off x="4013072" y="1681926"/>
        <a:ext cx="1823079" cy="1093847"/>
      </dsp:txXfrm>
    </dsp:sp>
    <dsp:sp modelId="{DE444B7B-0C1F-4B39-9E2F-35D5E0817168}">
      <dsp:nvSpPr>
        <dsp:cNvPr id="0" name=""/>
        <dsp:cNvSpPr/>
      </dsp:nvSpPr>
      <dsp:spPr>
        <a:xfrm>
          <a:off x="6018460" y="1681926"/>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Tiempo Real.</a:t>
          </a:r>
        </a:p>
      </dsp:txBody>
      <dsp:txXfrm>
        <a:off x="6018460" y="1681926"/>
        <a:ext cx="1823079" cy="1093847"/>
      </dsp:txXfrm>
    </dsp:sp>
    <dsp:sp modelId="{6B546250-EC3B-437D-BA7D-FD44F7A6E3B7}">
      <dsp:nvSpPr>
        <dsp:cNvPr id="0" name=""/>
        <dsp:cNvSpPr/>
      </dsp:nvSpPr>
      <dsp:spPr>
        <a:xfrm>
          <a:off x="2007685" y="2958081"/>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Nube</a:t>
          </a:r>
        </a:p>
      </dsp:txBody>
      <dsp:txXfrm>
        <a:off x="2007685" y="2958081"/>
        <a:ext cx="1823079" cy="1093847"/>
      </dsp:txXfrm>
    </dsp:sp>
    <dsp:sp modelId="{CBCB2025-137E-4E58-BC0B-549E31BFEBBD}">
      <dsp:nvSpPr>
        <dsp:cNvPr id="0" name=""/>
        <dsp:cNvSpPr/>
      </dsp:nvSpPr>
      <dsp:spPr>
        <a:xfrm>
          <a:off x="4013072" y="2958081"/>
          <a:ext cx="1823079" cy="10938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des colaborativas multiempresa</a:t>
          </a:r>
        </a:p>
      </dsp:txBody>
      <dsp:txXfrm>
        <a:off x="4013072" y="2958081"/>
        <a:ext cx="1823079" cy="1093847"/>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0CA528-FE73-470C-9235-B7DB16B81EAD}">
      <dsp:nvSpPr>
        <dsp:cNvPr id="0" name=""/>
        <dsp:cNvSpPr/>
      </dsp:nvSpPr>
      <dsp:spPr>
        <a:xfrm>
          <a:off x="2451" y="154828"/>
          <a:ext cx="2389919" cy="432000"/>
        </a:xfrm>
        <a:prstGeom prst="rect">
          <a:avLst/>
        </a:prstGeom>
        <a:solidFill>
          <a:schemeClr val="accent1">
            <a:alpha val="9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Fabricación:</a:t>
          </a:r>
        </a:p>
      </dsp:txBody>
      <dsp:txXfrm>
        <a:off x="2451" y="154828"/>
        <a:ext cx="2389919" cy="432000"/>
      </dsp:txXfrm>
    </dsp:sp>
    <dsp:sp modelId="{19E8AFF4-A188-425C-A680-9F4452D044EB}">
      <dsp:nvSpPr>
        <dsp:cNvPr id="0" name=""/>
        <dsp:cNvSpPr/>
      </dsp:nvSpPr>
      <dsp:spPr>
        <a:xfrm>
          <a:off x="2451" y="586828"/>
          <a:ext cx="2389919" cy="37160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t>Hacen la cadena de producción más ágil y reducen posibles errores.</a:t>
          </a:r>
        </a:p>
        <a:p>
          <a:pPr marL="114300" lvl="1" indent="-114300" algn="l" defTabSz="666750">
            <a:lnSpc>
              <a:spcPct val="90000"/>
            </a:lnSpc>
            <a:spcBef>
              <a:spcPct val="0"/>
            </a:spcBef>
            <a:spcAft>
              <a:spcPct val="15000"/>
            </a:spcAft>
            <a:buChar char="•"/>
          </a:pPr>
          <a:r>
            <a:rPr lang="es-ES" sz="1500" kern="1200" dirty="0"/>
            <a:t>Diseñar un motor de un vehículo, motores a reacción o turbinas.</a:t>
          </a:r>
        </a:p>
        <a:p>
          <a:pPr marL="114300" lvl="1" indent="-114300" algn="l" defTabSz="666750">
            <a:lnSpc>
              <a:spcPct val="90000"/>
            </a:lnSpc>
            <a:spcBef>
              <a:spcPct val="0"/>
            </a:spcBef>
            <a:spcAft>
              <a:spcPct val="15000"/>
            </a:spcAft>
            <a:buChar char="•"/>
          </a:pPr>
          <a:r>
            <a:rPr lang="es-ES" sz="1500" kern="1200" dirty="0"/>
            <a:t>Probar posibles reparaciones, predecir tiempos de mantenimiento o predecir el funcionamiento de piezas</a:t>
          </a:r>
        </a:p>
      </dsp:txBody>
      <dsp:txXfrm>
        <a:off x="2451" y="586828"/>
        <a:ext cx="2389919" cy="3716043"/>
      </dsp:txXfrm>
    </dsp:sp>
    <dsp:sp modelId="{1B318F2D-CBD9-4DC2-9272-BD54608AEDAB}">
      <dsp:nvSpPr>
        <dsp:cNvPr id="0" name=""/>
        <dsp:cNvSpPr/>
      </dsp:nvSpPr>
      <dsp:spPr>
        <a:xfrm>
          <a:off x="2726959" y="154828"/>
          <a:ext cx="2389919" cy="432000"/>
        </a:xfrm>
        <a:prstGeom prst="rect">
          <a:avLst/>
        </a:prstGeom>
        <a:solidFill>
          <a:schemeClr val="accent1">
            <a:alpha val="90000"/>
            <a:hueOff val="0"/>
            <a:satOff val="0"/>
            <a:lumOff val="0"/>
            <a:alphaOff val="-20000"/>
          </a:schemeClr>
        </a:solidFill>
        <a:ln w="12700" cap="flat" cmpd="sng" algn="ctr">
          <a:solidFill>
            <a:schemeClr val="accent1">
              <a:alpha val="90000"/>
              <a:hueOff val="0"/>
              <a:satOff val="0"/>
              <a:lumOff val="0"/>
              <a:alphaOff val="-2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Medicina</a:t>
          </a:r>
        </a:p>
      </dsp:txBody>
      <dsp:txXfrm>
        <a:off x="2726959" y="154828"/>
        <a:ext cx="2389919" cy="432000"/>
      </dsp:txXfrm>
    </dsp:sp>
    <dsp:sp modelId="{E4952755-23A0-4089-B2ED-94BB652BB4D8}">
      <dsp:nvSpPr>
        <dsp:cNvPr id="0" name=""/>
        <dsp:cNvSpPr/>
      </dsp:nvSpPr>
      <dsp:spPr>
        <a:xfrm>
          <a:off x="2726959" y="586828"/>
          <a:ext cx="2389919" cy="37160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t>Donación de órganos</a:t>
          </a:r>
        </a:p>
        <a:p>
          <a:pPr marL="114300" lvl="1" indent="-114300" algn="l" defTabSz="666750">
            <a:lnSpc>
              <a:spcPct val="90000"/>
            </a:lnSpc>
            <a:spcBef>
              <a:spcPct val="0"/>
            </a:spcBef>
            <a:spcAft>
              <a:spcPct val="15000"/>
            </a:spcAft>
            <a:buChar char="•"/>
          </a:pPr>
          <a:r>
            <a:rPr lang="es-ES" sz="1500" kern="1200" dirty="0"/>
            <a:t>La formación quirúrgica</a:t>
          </a:r>
        </a:p>
        <a:p>
          <a:pPr marL="114300" lvl="1" indent="-114300" algn="l" defTabSz="666750">
            <a:lnSpc>
              <a:spcPct val="90000"/>
            </a:lnSpc>
            <a:spcBef>
              <a:spcPct val="0"/>
            </a:spcBef>
            <a:spcAft>
              <a:spcPct val="15000"/>
            </a:spcAft>
            <a:buChar char="•"/>
          </a:pPr>
          <a:r>
            <a:rPr lang="es-ES" sz="1500" kern="1200" dirty="0"/>
            <a:t>Modelando el flujo de personas a través de los hospitales y rastrear dónde pueden existir infecciones y quiénes pueden estar en peligro por contacto.</a:t>
          </a:r>
        </a:p>
      </dsp:txBody>
      <dsp:txXfrm>
        <a:off x="2726959" y="586828"/>
        <a:ext cx="2389919" cy="3716043"/>
      </dsp:txXfrm>
    </dsp:sp>
    <dsp:sp modelId="{F4C13F4D-ED71-4897-88C3-1A02D08487B9}">
      <dsp:nvSpPr>
        <dsp:cNvPr id="0" name=""/>
        <dsp:cNvSpPr/>
      </dsp:nvSpPr>
      <dsp:spPr>
        <a:xfrm>
          <a:off x="5451467" y="154828"/>
          <a:ext cx="2389919" cy="432000"/>
        </a:xfrm>
        <a:prstGeom prst="rect">
          <a:avLst/>
        </a:prstGeom>
        <a:solidFill>
          <a:schemeClr val="accent1">
            <a:alpha val="90000"/>
            <a:hueOff val="0"/>
            <a:satOff val="0"/>
            <a:lumOff val="0"/>
            <a:alphaOff val="-4000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Logística (DHL)</a:t>
          </a:r>
        </a:p>
      </dsp:txBody>
      <dsp:txXfrm>
        <a:off x="5451467" y="154828"/>
        <a:ext cx="2389919" cy="432000"/>
      </dsp:txXfrm>
    </dsp:sp>
    <dsp:sp modelId="{286BB20F-4F73-4408-81EA-6E877CC72979}">
      <dsp:nvSpPr>
        <dsp:cNvPr id="0" name=""/>
        <dsp:cNvSpPr/>
      </dsp:nvSpPr>
      <dsp:spPr>
        <a:xfrm>
          <a:off x="5451467" y="586828"/>
          <a:ext cx="2389919" cy="37160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t>Gestión de flotas de contenedores, monitorización de envíos, diseño de  sistemas logísticos. </a:t>
          </a:r>
        </a:p>
        <a:p>
          <a:pPr marL="114300" lvl="1" indent="-114300" algn="l" defTabSz="666750">
            <a:lnSpc>
              <a:spcPct val="90000"/>
            </a:lnSpc>
            <a:spcBef>
              <a:spcPct val="0"/>
            </a:spcBef>
            <a:spcAft>
              <a:spcPct val="15000"/>
            </a:spcAft>
            <a:buChar char="•"/>
          </a:pPr>
          <a:r>
            <a:rPr lang="es-ES" sz="1500" kern="1200" dirty="0"/>
            <a:t>Los sensores IoT en los contenedores individuales muestran ubicación y monitorizan daños o la contaminación. </a:t>
          </a:r>
        </a:p>
        <a:p>
          <a:pPr marL="114300" lvl="1" indent="-114300" algn="l" defTabSz="666750">
            <a:lnSpc>
              <a:spcPct val="90000"/>
            </a:lnSpc>
            <a:spcBef>
              <a:spcPct val="0"/>
            </a:spcBef>
            <a:spcAft>
              <a:spcPct val="15000"/>
            </a:spcAft>
            <a:buChar char="•"/>
          </a:pPr>
          <a:r>
            <a:rPr lang="es-ES" sz="1500" kern="1200" dirty="0"/>
            <a:t>El gemelo digital de la red de contenedores, propone mejoras necesarias para garantizar mas eficiencia.</a:t>
          </a:r>
        </a:p>
      </dsp:txBody>
      <dsp:txXfrm>
        <a:off x="5451467" y="586828"/>
        <a:ext cx="2389919" cy="3716043"/>
      </dsp:txXfrm>
    </dsp:sp>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E8A78-031D-416A-AA39-699CE060C17F}">
      <dsp:nvSpPr>
        <dsp:cNvPr id="0" name=""/>
        <dsp:cNvSpPr/>
      </dsp:nvSpPr>
      <dsp:spPr>
        <a:xfrm>
          <a:off x="38" y="151543"/>
          <a:ext cx="3665309" cy="806400"/>
        </a:xfrm>
        <a:prstGeom prst="rect">
          <a:avLst/>
        </a:prstGeom>
        <a:solidFill>
          <a:schemeClr val="accent5">
            <a:shade val="50000"/>
            <a:hueOff val="0"/>
            <a:satOff val="0"/>
            <a:lumOff val="0"/>
            <a:alphaOff val="0"/>
          </a:schemeClr>
        </a:solidFill>
        <a:ln w="12700" cap="flat" cmpd="sng" algn="ctr">
          <a:solidFill>
            <a:schemeClr val="accent5">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s-ES" sz="2800" kern="1200" dirty="0"/>
            <a:t>Ciudades (Singapur)</a:t>
          </a:r>
        </a:p>
      </dsp:txBody>
      <dsp:txXfrm>
        <a:off x="38" y="151543"/>
        <a:ext cx="3665309" cy="806400"/>
      </dsp:txXfrm>
    </dsp:sp>
    <dsp:sp modelId="{3025075D-838F-4A90-B6FE-73EFD0AF959A}">
      <dsp:nvSpPr>
        <dsp:cNvPr id="0" name=""/>
        <dsp:cNvSpPr/>
      </dsp:nvSpPr>
      <dsp:spPr>
        <a:xfrm>
          <a:off x="38" y="957943"/>
          <a:ext cx="3665309" cy="3348213"/>
        </a:xfrm>
        <a:prstGeom prst="rect">
          <a:avLst/>
        </a:prstGeom>
        <a:solidFill>
          <a:schemeClr val="accent5">
            <a:alpha val="90000"/>
            <a:tint val="55000"/>
            <a:hueOff val="0"/>
            <a:satOff val="0"/>
            <a:lumOff val="0"/>
            <a:alphaOff val="0"/>
          </a:schemeClr>
        </a:solidFill>
        <a:ln w="12700" cap="flat" cmpd="sng" algn="ctr">
          <a:solidFill>
            <a:schemeClr val="accent5">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s-ES" sz="2800" kern="1200" dirty="0"/>
            <a:t>Protocolos de emergencia.</a:t>
          </a:r>
        </a:p>
        <a:p>
          <a:pPr marL="285750" lvl="1" indent="-285750" algn="l" defTabSz="1244600">
            <a:lnSpc>
              <a:spcPct val="90000"/>
            </a:lnSpc>
            <a:spcBef>
              <a:spcPct val="0"/>
            </a:spcBef>
            <a:spcAft>
              <a:spcPct val="15000"/>
            </a:spcAft>
            <a:buChar char="•"/>
          </a:pPr>
          <a:r>
            <a:rPr lang="es-ES" sz="2800" kern="1200" dirty="0"/>
            <a:t>Predicción congestión / prescripción de soluciones.</a:t>
          </a:r>
        </a:p>
        <a:p>
          <a:pPr marL="285750" lvl="1" indent="-285750" algn="l" defTabSz="1244600">
            <a:lnSpc>
              <a:spcPct val="90000"/>
            </a:lnSpc>
            <a:spcBef>
              <a:spcPct val="0"/>
            </a:spcBef>
            <a:spcAft>
              <a:spcPct val="15000"/>
            </a:spcAft>
            <a:buChar char="•"/>
          </a:pPr>
          <a:r>
            <a:rPr lang="es-ES" sz="2800" kern="1200" dirty="0"/>
            <a:t>Costó 73 M USD</a:t>
          </a:r>
        </a:p>
      </dsp:txBody>
      <dsp:txXfrm>
        <a:off x="38" y="957943"/>
        <a:ext cx="3665309" cy="3348213"/>
      </dsp:txXfrm>
    </dsp:sp>
    <dsp:sp modelId="{EAE9541E-4294-4F60-94CE-3D50149AE73E}">
      <dsp:nvSpPr>
        <dsp:cNvPr id="0" name=""/>
        <dsp:cNvSpPr/>
      </dsp:nvSpPr>
      <dsp:spPr>
        <a:xfrm>
          <a:off x="4178490" y="151543"/>
          <a:ext cx="3665309" cy="806400"/>
        </a:xfrm>
        <a:prstGeom prst="rect">
          <a:avLst/>
        </a:prstGeom>
        <a:solidFill>
          <a:schemeClr val="accent5">
            <a:shade val="50000"/>
            <a:hueOff val="334258"/>
            <a:satOff val="8955"/>
            <a:lumOff val="39453"/>
            <a:alphaOff val="0"/>
          </a:schemeClr>
        </a:solidFill>
        <a:ln w="12700" cap="flat" cmpd="sng" algn="ctr">
          <a:solidFill>
            <a:schemeClr val="accent5">
              <a:shade val="50000"/>
              <a:hueOff val="334258"/>
              <a:satOff val="8955"/>
              <a:lumOff val="394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highlight>
                <a:srgbClr val="3333FF"/>
              </a:highlight>
            </a:rPr>
            <a:t>Aviónica</a:t>
          </a:r>
          <a:endParaRPr lang="es-ES" sz="2800" kern="1200" dirty="0">
            <a:highlight>
              <a:srgbClr val="3333FF"/>
            </a:highlight>
          </a:endParaRPr>
        </a:p>
      </dsp:txBody>
      <dsp:txXfrm>
        <a:off x="4178490" y="151543"/>
        <a:ext cx="3665309" cy="806400"/>
      </dsp:txXfrm>
    </dsp:sp>
    <dsp:sp modelId="{5CB106C4-8516-42F0-82DB-BCA8B6AD7CC1}">
      <dsp:nvSpPr>
        <dsp:cNvPr id="0" name=""/>
        <dsp:cNvSpPr/>
      </dsp:nvSpPr>
      <dsp:spPr>
        <a:xfrm>
          <a:off x="4178490" y="957943"/>
          <a:ext cx="3665309" cy="3348213"/>
        </a:xfrm>
        <a:prstGeom prst="rect">
          <a:avLst/>
        </a:prstGeom>
        <a:solidFill>
          <a:schemeClr val="accent5">
            <a:alpha val="90000"/>
            <a:tint val="55000"/>
            <a:hueOff val="0"/>
            <a:satOff val="0"/>
            <a:lumOff val="0"/>
            <a:alphaOff val="0"/>
          </a:schemeClr>
        </a:solidFill>
        <a:ln w="12700" cap="flat" cmpd="sng" algn="ctr">
          <a:solidFill>
            <a:schemeClr val="accent5">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Siemens</a:t>
          </a:r>
        </a:p>
        <a:p>
          <a:pPr marL="285750" lvl="1" indent="-285750" algn="l" defTabSz="1244600">
            <a:lnSpc>
              <a:spcPct val="90000"/>
            </a:lnSpc>
            <a:spcBef>
              <a:spcPct val="0"/>
            </a:spcBef>
            <a:spcAft>
              <a:spcPct val="15000"/>
            </a:spcAft>
            <a:buChar char="•"/>
          </a:pPr>
          <a:r>
            <a:rPr lang="en-US" sz="2800" kern="1200" dirty="0"/>
            <a:t>Motores eléctricos de avión</a:t>
          </a:r>
        </a:p>
        <a:p>
          <a:pPr marL="285750" lvl="1" indent="-285750" algn="l" defTabSz="1244600">
            <a:lnSpc>
              <a:spcPct val="90000"/>
            </a:lnSpc>
            <a:spcBef>
              <a:spcPct val="0"/>
            </a:spcBef>
            <a:spcAft>
              <a:spcPct val="15000"/>
            </a:spcAft>
            <a:buChar char="•"/>
          </a:pPr>
          <a:r>
            <a:rPr lang="en-US" sz="2800" kern="1200" dirty="0"/>
            <a:t>Flujos de gases</a:t>
          </a:r>
        </a:p>
        <a:p>
          <a:pPr marL="285750" lvl="1" indent="-285750" algn="l" defTabSz="1244600">
            <a:lnSpc>
              <a:spcPct val="90000"/>
            </a:lnSpc>
            <a:spcBef>
              <a:spcPct val="0"/>
            </a:spcBef>
            <a:spcAft>
              <a:spcPct val="15000"/>
            </a:spcAft>
            <a:buChar char="•"/>
          </a:pPr>
          <a:r>
            <a:rPr lang="en-US" sz="2800" kern="1200" dirty="0"/>
            <a:t>Rolls Royce Aeronáutico</a:t>
          </a:r>
        </a:p>
        <a:p>
          <a:pPr marL="285750" lvl="1" indent="-285750" algn="l" defTabSz="1244600">
            <a:lnSpc>
              <a:spcPct val="90000"/>
            </a:lnSpc>
            <a:spcBef>
              <a:spcPct val="0"/>
            </a:spcBef>
            <a:spcAft>
              <a:spcPct val="15000"/>
            </a:spcAft>
            <a:buChar char="•"/>
          </a:pPr>
          <a:r>
            <a:rPr lang="en-US" sz="2800" kern="1200" dirty="0"/>
            <a:t>Diseño de turbinas</a:t>
          </a:r>
        </a:p>
      </dsp:txBody>
      <dsp:txXfrm>
        <a:off x="4178490" y="957943"/>
        <a:ext cx="3665309" cy="3348213"/>
      </dsp:txXfrm>
    </dsp:sp>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C7B7D-3DD1-4EF8-BACB-EF3087EDE9D5}">
      <dsp:nvSpPr>
        <dsp:cNvPr id="0" name=""/>
        <dsp:cNvSpPr/>
      </dsp:nvSpPr>
      <dsp:spPr>
        <a:xfrm>
          <a:off x="4171"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Redescubriendo STP </a:t>
          </a:r>
        </a:p>
      </dsp:txBody>
      <dsp:txXfrm>
        <a:off x="4171" y="0"/>
        <a:ext cx="1648197" cy="1305401"/>
      </dsp:txXfrm>
    </dsp:sp>
    <dsp:sp modelId="{6B0FB2A8-32B5-4656-BCAA-46056E4E627B}">
      <dsp:nvSpPr>
        <dsp:cNvPr id="0" name=""/>
        <dsp:cNvSpPr/>
      </dsp:nvSpPr>
      <dsp:spPr>
        <a:xfrm>
          <a:off x="168991" y="1305401"/>
          <a:ext cx="1318557" cy="2828369"/>
        </a:xfrm>
        <a:prstGeom prst="roundRect">
          <a:avLst>
            <a:gd name="adj" fmla="val 10000"/>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Automatización de la cadena de valor al máximo.</a:t>
          </a:r>
        </a:p>
      </dsp:txBody>
      <dsp:txXfrm>
        <a:off x="207610" y="1344020"/>
        <a:ext cx="1241319" cy="2751131"/>
      </dsp:txXfrm>
    </dsp:sp>
    <dsp:sp modelId="{FF68E852-0A05-4D88-9F03-65316641ED1C}">
      <dsp:nvSpPr>
        <dsp:cNvPr id="0" name=""/>
        <dsp:cNvSpPr/>
      </dsp:nvSpPr>
      <dsp:spPr>
        <a:xfrm>
          <a:off x="1775983"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Uso y Análisis de datos:</a:t>
          </a:r>
        </a:p>
      </dsp:txBody>
      <dsp:txXfrm>
        <a:off x="1775983" y="0"/>
        <a:ext cx="1648197" cy="1305401"/>
      </dsp:txXfrm>
    </dsp:sp>
    <dsp:sp modelId="{55AF99FB-BBAC-4C96-90ED-8CE57505837C}">
      <dsp:nvSpPr>
        <dsp:cNvPr id="0" name=""/>
        <dsp:cNvSpPr/>
      </dsp:nvSpPr>
      <dsp:spPr>
        <a:xfrm>
          <a:off x="1940803" y="1305507"/>
          <a:ext cx="1318557" cy="633897"/>
        </a:xfrm>
        <a:prstGeom prst="roundRect">
          <a:avLst>
            <a:gd name="adj" fmla="val 10000"/>
          </a:avLst>
        </a:prstGeom>
        <a:solidFill>
          <a:schemeClr val="accent1">
            <a:alpha val="90000"/>
            <a:hueOff val="0"/>
            <a:satOff val="0"/>
            <a:lumOff val="0"/>
            <a:alphaOff val="-2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Convertir los datos en información.</a:t>
          </a:r>
        </a:p>
      </dsp:txBody>
      <dsp:txXfrm>
        <a:off x="1959369" y="1324073"/>
        <a:ext cx="1281425" cy="596765"/>
      </dsp:txXfrm>
    </dsp:sp>
    <dsp:sp modelId="{0BACFCA1-DB64-410C-8B2D-F754A2655609}">
      <dsp:nvSpPr>
        <dsp:cNvPr id="0" name=""/>
        <dsp:cNvSpPr/>
      </dsp:nvSpPr>
      <dsp:spPr>
        <a:xfrm>
          <a:off x="1940803" y="2036927"/>
          <a:ext cx="1318557" cy="633897"/>
        </a:xfrm>
        <a:prstGeom prst="roundRect">
          <a:avLst>
            <a:gd name="adj" fmla="val 10000"/>
          </a:avLst>
        </a:prstGeom>
        <a:solidFill>
          <a:schemeClr val="accent1">
            <a:alpha val="90000"/>
            <a:hueOff val="0"/>
            <a:satOff val="0"/>
            <a:lumOff val="0"/>
            <a:alphaOff val="-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Conocer el linaje de los datos.</a:t>
          </a:r>
        </a:p>
      </dsp:txBody>
      <dsp:txXfrm>
        <a:off x="1959369" y="2055493"/>
        <a:ext cx="1281425" cy="596765"/>
      </dsp:txXfrm>
    </dsp:sp>
    <dsp:sp modelId="{8E69AEEA-C2C3-41CA-875C-CBB0C5EB74D2}">
      <dsp:nvSpPr>
        <dsp:cNvPr id="0" name=""/>
        <dsp:cNvSpPr/>
      </dsp:nvSpPr>
      <dsp:spPr>
        <a:xfrm>
          <a:off x="1940803" y="2768347"/>
          <a:ext cx="1318557" cy="633897"/>
        </a:xfrm>
        <a:prstGeom prst="roundRect">
          <a:avLst>
            <a:gd name="adj" fmla="val 10000"/>
          </a:avLst>
        </a:prstGeom>
        <a:solidFill>
          <a:schemeClr val="accent1">
            <a:alpha val="90000"/>
            <a:hueOff val="0"/>
            <a:satOff val="0"/>
            <a:lumOff val="0"/>
            <a:alphaOff val="-7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Imprescindible para GDPR.</a:t>
          </a:r>
        </a:p>
      </dsp:txBody>
      <dsp:txXfrm>
        <a:off x="1959369" y="2786913"/>
        <a:ext cx="1281425" cy="596765"/>
      </dsp:txXfrm>
    </dsp:sp>
    <dsp:sp modelId="{579ECC08-43F2-4B88-8195-8F170A819C13}">
      <dsp:nvSpPr>
        <dsp:cNvPr id="0" name=""/>
        <dsp:cNvSpPr/>
      </dsp:nvSpPr>
      <dsp:spPr>
        <a:xfrm>
          <a:off x="1940803" y="3499767"/>
          <a:ext cx="1318557" cy="633897"/>
        </a:xfrm>
        <a:prstGeom prst="roundRect">
          <a:avLst>
            <a:gd name="adj" fmla="val 10000"/>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Herramientas cada vez más sofisticadas de analítica HUF.</a:t>
          </a:r>
        </a:p>
      </dsp:txBody>
      <dsp:txXfrm>
        <a:off x="1959369" y="3518333"/>
        <a:ext cx="1281425" cy="596765"/>
      </dsp:txXfrm>
    </dsp:sp>
    <dsp:sp modelId="{EA90287B-85D5-40A4-BBA7-99834EDB1036}">
      <dsp:nvSpPr>
        <dsp:cNvPr id="0" name=""/>
        <dsp:cNvSpPr/>
      </dsp:nvSpPr>
      <dsp:spPr>
        <a:xfrm>
          <a:off x="3547795"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El cuadro de mandos</a:t>
          </a:r>
        </a:p>
      </dsp:txBody>
      <dsp:txXfrm>
        <a:off x="3547795" y="0"/>
        <a:ext cx="1648197" cy="1305401"/>
      </dsp:txXfrm>
    </dsp:sp>
    <dsp:sp modelId="{B655C322-627B-45FB-B9CE-CCE0AE84E419}">
      <dsp:nvSpPr>
        <dsp:cNvPr id="0" name=""/>
        <dsp:cNvSpPr/>
      </dsp:nvSpPr>
      <dsp:spPr>
        <a:xfrm>
          <a:off x="3712615" y="1305773"/>
          <a:ext cx="1318557" cy="854863"/>
        </a:xfrm>
        <a:prstGeom prst="roundRect">
          <a:avLst>
            <a:gd name="adj" fmla="val 10000"/>
          </a:avLst>
        </a:prstGeom>
        <a:solidFill>
          <a:schemeClr val="accent1">
            <a:alpha val="90000"/>
            <a:hueOff val="0"/>
            <a:satOff val="0"/>
            <a:lumOff val="0"/>
            <a:alphaOff val="-12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Cada vez más importante</a:t>
          </a:r>
        </a:p>
      </dsp:txBody>
      <dsp:txXfrm>
        <a:off x="3737653" y="1330811"/>
        <a:ext cx="1268481" cy="804787"/>
      </dsp:txXfrm>
    </dsp:sp>
    <dsp:sp modelId="{B148A06D-DBDA-4FC9-BE8C-6B9A44511FEE}">
      <dsp:nvSpPr>
        <dsp:cNvPr id="0" name=""/>
        <dsp:cNvSpPr/>
      </dsp:nvSpPr>
      <dsp:spPr>
        <a:xfrm>
          <a:off x="3712615" y="2292154"/>
          <a:ext cx="1318557" cy="854863"/>
        </a:xfrm>
        <a:prstGeom prst="roundRect">
          <a:avLst>
            <a:gd name="adj" fmla="val 10000"/>
          </a:avLst>
        </a:prstGeom>
        <a:solidFill>
          <a:schemeClr val="accent1">
            <a:alpha val="90000"/>
            <a:hueOff val="0"/>
            <a:satOff val="0"/>
            <a:lumOff val="0"/>
            <a:alphaOff val="-1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El valor de los KPI</a:t>
          </a:r>
        </a:p>
      </dsp:txBody>
      <dsp:txXfrm>
        <a:off x="3737653" y="2317192"/>
        <a:ext cx="1268481" cy="804787"/>
      </dsp:txXfrm>
    </dsp:sp>
    <dsp:sp modelId="{DA1D11F3-C520-4A16-868B-5415000F6AD2}">
      <dsp:nvSpPr>
        <dsp:cNvPr id="0" name=""/>
        <dsp:cNvSpPr/>
      </dsp:nvSpPr>
      <dsp:spPr>
        <a:xfrm>
          <a:off x="3712615" y="3278535"/>
          <a:ext cx="1318557" cy="854863"/>
        </a:xfrm>
        <a:prstGeom prst="roundRect">
          <a:avLst>
            <a:gd name="adj" fmla="val 10000"/>
          </a:avLst>
        </a:prstGeom>
        <a:solidFill>
          <a:schemeClr val="accent1">
            <a:alpha val="90000"/>
            <a:hueOff val="0"/>
            <a:satOff val="0"/>
            <a:lumOff val="0"/>
            <a:alphaOff val="-17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Orientado EXACTAMENTE al que lo necesita.</a:t>
          </a:r>
        </a:p>
      </dsp:txBody>
      <dsp:txXfrm>
        <a:off x="3737653" y="3303573"/>
        <a:ext cx="1268481" cy="804787"/>
      </dsp:txXfrm>
    </dsp:sp>
    <dsp:sp modelId="{F83E2161-9271-4DA6-8BB7-E6EC7ECCBFCD}">
      <dsp:nvSpPr>
        <dsp:cNvPr id="0" name=""/>
        <dsp:cNvSpPr/>
      </dsp:nvSpPr>
      <dsp:spPr>
        <a:xfrm>
          <a:off x="5319607"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Posición física de los datos </a:t>
          </a:r>
        </a:p>
      </dsp:txBody>
      <dsp:txXfrm>
        <a:off x="5319607" y="0"/>
        <a:ext cx="1648197" cy="1305401"/>
      </dsp:txXfrm>
    </dsp:sp>
    <dsp:sp modelId="{8E83414E-6926-4D4F-91A6-4AD7EB75E349}">
      <dsp:nvSpPr>
        <dsp:cNvPr id="0" name=""/>
        <dsp:cNvSpPr/>
      </dsp:nvSpPr>
      <dsp:spPr>
        <a:xfrm>
          <a:off x="5484427" y="1305507"/>
          <a:ext cx="1318557" cy="633897"/>
        </a:xfrm>
        <a:prstGeom prst="roundRect">
          <a:avLst>
            <a:gd name="adj" fmla="val 10000"/>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La nube.</a:t>
          </a:r>
        </a:p>
      </dsp:txBody>
      <dsp:txXfrm>
        <a:off x="5502993" y="1324073"/>
        <a:ext cx="1281425" cy="596765"/>
      </dsp:txXfrm>
    </dsp:sp>
    <dsp:sp modelId="{63EDB45A-A418-4D08-832C-C853ECDF3CB8}">
      <dsp:nvSpPr>
        <dsp:cNvPr id="0" name=""/>
        <dsp:cNvSpPr/>
      </dsp:nvSpPr>
      <dsp:spPr>
        <a:xfrm>
          <a:off x="5484427" y="2036927"/>
          <a:ext cx="1318557" cy="633897"/>
        </a:xfrm>
        <a:prstGeom prst="roundRect">
          <a:avLst>
            <a:gd name="adj" fmla="val 10000"/>
          </a:avLst>
        </a:prstGeom>
        <a:solidFill>
          <a:schemeClr val="accent1">
            <a:alpha val="90000"/>
            <a:hueOff val="0"/>
            <a:satOff val="0"/>
            <a:lumOff val="0"/>
            <a:alphaOff val="-22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On premise.</a:t>
          </a:r>
        </a:p>
      </dsp:txBody>
      <dsp:txXfrm>
        <a:off x="5502993" y="2055493"/>
        <a:ext cx="1281425" cy="596765"/>
      </dsp:txXfrm>
    </dsp:sp>
    <dsp:sp modelId="{209B535A-C8D2-4F20-81F0-B5B3499656A3}">
      <dsp:nvSpPr>
        <dsp:cNvPr id="0" name=""/>
        <dsp:cNvSpPr/>
      </dsp:nvSpPr>
      <dsp:spPr>
        <a:xfrm>
          <a:off x="5484427" y="2768347"/>
          <a:ext cx="1318557" cy="633897"/>
        </a:xfrm>
        <a:prstGeom prst="roundRect">
          <a:avLst>
            <a:gd name="adj" fmla="val 10000"/>
          </a:avLst>
        </a:prstGeom>
        <a:solidFill>
          <a:schemeClr val="accent1">
            <a:alpha val="90000"/>
            <a:hueOff val="0"/>
            <a:satOff val="0"/>
            <a:lumOff val="0"/>
            <a:alphaOff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Nube híbrida.</a:t>
          </a:r>
        </a:p>
      </dsp:txBody>
      <dsp:txXfrm>
        <a:off x="5502993" y="2786913"/>
        <a:ext cx="1281425" cy="596765"/>
      </dsp:txXfrm>
    </dsp:sp>
    <dsp:sp modelId="{15A725A5-0111-4A72-99B1-8B20AB221E9D}">
      <dsp:nvSpPr>
        <dsp:cNvPr id="0" name=""/>
        <dsp:cNvSpPr/>
      </dsp:nvSpPr>
      <dsp:spPr>
        <a:xfrm>
          <a:off x="5484427" y="3499767"/>
          <a:ext cx="1318557" cy="633897"/>
        </a:xfrm>
        <a:prstGeom prst="roundRect">
          <a:avLst>
            <a:gd name="adj" fmla="val 10000"/>
          </a:avLst>
        </a:prstGeom>
        <a:solidFill>
          <a:schemeClr val="accent1">
            <a:alpha val="90000"/>
            <a:hueOff val="0"/>
            <a:satOff val="0"/>
            <a:lumOff val="0"/>
            <a:alphaOff val="-27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Nube colaborativa: GAIA-X.</a:t>
          </a:r>
        </a:p>
      </dsp:txBody>
      <dsp:txXfrm>
        <a:off x="5502993" y="3518333"/>
        <a:ext cx="1281425" cy="596765"/>
      </dsp:txXfrm>
    </dsp:sp>
    <dsp:sp modelId="{6CC73ACB-F16D-4478-A091-947403C35219}">
      <dsp:nvSpPr>
        <dsp:cNvPr id="0" name=""/>
        <dsp:cNvSpPr/>
      </dsp:nvSpPr>
      <dsp:spPr>
        <a:xfrm>
          <a:off x="7091419"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Posición Lógica de los datos</a:t>
          </a:r>
        </a:p>
      </dsp:txBody>
      <dsp:txXfrm>
        <a:off x="7091419" y="0"/>
        <a:ext cx="1648197" cy="1305401"/>
      </dsp:txXfrm>
    </dsp:sp>
    <dsp:sp modelId="{EBCCD297-E092-4609-B319-EA4B26C0EFDA}">
      <dsp:nvSpPr>
        <dsp:cNvPr id="0" name=""/>
        <dsp:cNvSpPr/>
      </dsp:nvSpPr>
      <dsp:spPr>
        <a:xfrm>
          <a:off x="7256238" y="1305773"/>
          <a:ext cx="1318557" cy="854863"/>
        </a:xfrm>
        <a:prstGeom prst="roundRect">
          <a:avLst>
            <a:gd name="adj" fmla="val 10000"/>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Se difumina la frontera de la posición física de los datos: Se tratan datos Internos y externos.</a:t>
          </a:r>
        </a:p>
      </dsp:txBody>
      <dsp:txXfrm>
        <a:off x="7281276" y="1330811"/>
        <a:ext cx="1268481" cy="804787"/>
      </dsp:txXfrm>
    </dsp:sp>
    <dsp:sp modelId="{3AF3F42B-7D5A-4DDB-B78E-35B8C91E6A01}">
      <dsp:nvSpPr>
        <dsp:cNvPr id="0" name=""/>
        <dsp:cNvSpPr/>
      </dsp:nvSpPr>
      <dsp:spPr>
        <a:xfrm>
          <a:off x="7256238" y="2292154"/>
          <a:ext cx="1318557" cy="854863"/>
        </a:xfrm>
        <a:prstGeom prst="roundRect">
          <a:avLst>
            <a:gd name="adj" fmla="val 10000"/>
          </a:avLst>
        </a:prstGeom>
        <a:solidFill>
          <a:schemeClr val="accent1">
            <a:alpha val="90000"/>
            <a:hueOff val="0"/>
            <a:satOff val="0"/>
            <a:lumOff val="0"/>
            <a:alphaOff val="-32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Minería colaborativa, inteligencia colectiva de los datos.</a:t>
          </a:r>
        </a:p>
      </dsp:txBody>
      <dsp:txXfrm>
        <a:off x="7281276" y="2317192"/>
        <a:ext cx="1268481" cy="804787"/>
      </dsp:txXfrm>
    </dsp:sp>
    <dsp:sp modelId="{EC2B1699-BE1E-4128-AD49-CEA66A5B261E}">
      <dsp:nvSpPr>
        <dsp:cNvPr id="0" name=""/>
        <dsp:cNvSpPr/>
      </dsp:nvSpPr>
      <dsp:spPr>
        <a:xfrm>
          <a:off x="7256238" y="3278535"/>
          <a:ext cx="1318557" cy="854863"/>
        </a:xfrm>
        <a:prstGeom prst="roundRect">
          <a:avLst>
            <a:gd name="adj" fmla="val 10000"/>
          </a:avLst>
        </a:prstGeom>
        <a:solidFill>
          <a:schemeClr val="accent1">
            <a:alpha val="90000"/>
            <a:hueOff val="0"/>
            <a:satOff val="0"/>
            <a:lumOff val="0"/>
            <a:alpha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Cadena de valor colaborativa. Poner info a disposición de clientes / proveedores / otros partners</a:t>
          </a:r>
        </a:p>
      </dsp:txBody>
      <dsp:txXfrm>
        <a:off x="7281276" y="3303573"/>
        <a:ext cx="1268481" cy="804787"/>
      </dsp:txXfrm>
    </dsp:sp>
    <dsp:sp modelId="{9802068F-B917-409F-B093-0ED4FF75E67A}">
      <dsp:nvSpPr>
        <dsp:cNvPr id="0" name=""/>
        <dsp:cNvSpPr/>
      </dsp:nvSpPr>
      <dsp:spPr>
        <a:xfrm>
          <a:off x="8863231" y="0"/>
          <a:ext cx="1648197" cy="435133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dirty="0"/>
            <a:t>Cambio</a:t>
          </a:r>
        </a:p>
      </dsp:txBody>
      <dsp:txXfrm>
        <a:off x="8863231" y="0"/>
        <a:ext cx="1648197" cy="1305401"/>
      </dsp:txXfrm>
    </dsp:sp>
    <dsp:sp modelId="{70FB125E-22F8-41FA-BDD5-F6D814AD95D7}">
      <dsp:nvSpPr>
        <dsp:cNvPr id="0" name=""/>
        <dsp:cNvSpPr/>
      </dsp:nvSpPr>
      <dsp:spPr>
        <a:xfrm>
          <a:off x="9028050" y="1306676"/>
          <a:ext cx="1318557" cy="1311987"/>
        </a:xfrm>
        <a:prstGeom prst="roundRect">
          <a:avLst>
            <a:gd name="adj" fmla="val 10000"/>
          </a:avLst>
        </a:prstGeom>
        <a:solidFill>
          <a:schemeClr val="accent1">
            <a:alpha val="90000"/>
            <a:hueOff val="0"/>
            <a:satOff val="0"/>
            <a:lumOff val="0"/>
            <a:alphaOff val="-375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Transformación digital”</a:t>
          </a:r>
        </a:p>
      </dsp:txBody>
      <dsp:txXfrm>
        <a:off x="9066477" y="1345103"/>
        <a:ext cx="1241703" cy="1235133"/>
      </dsp:txXfrm>
    </dsp:sp>
    <dsp:sp modelId="{51CCB09E-483E-4A09-95F4-E2416DA9A97E}">
      <dsp:nvSpPr>
        <dsp:cNvPr id="0" name=""/>
        <dsp:cNvSpPr/>
      </dsp:nvSpPr>
      <dsp:spPr>
        <a:xfrm>
          <a:off x="9028050" y="2820508"/>
          <a:ext cx="1318557" cy="1311987"/>
        </a:xfrm>
        <a:prstGeom prst="roundRect">
          <a:avLst>
            <a:gd name="adj" fmla="val 10000"/>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s-ES" sz="900" kern="1200" dirty="0"/>
            <a:t>Vs “innovación digital”</a:t>
          </a:r>
        </a:p>
      </dsp:txBody>
      <dsp:txXfrm>
        <a:off x="9066477" y="2858935"/>
        <a:ext cx="1241703" cy="1235133"/>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F426D9-8DA1-45C1-96AA-B985C57610C2}">
      <dsp:nvSpPr>
        <dsp:cNvPr id="0" name=""/>
        <dsp:cNvSpPr/>
      </dsp:nvSpPr>
      <dsp:spPr>
        <a:xfrm>
          <a:off x="701" y="796231"/>
          <a:ext cx="2518138" cy="2962516"/>
        </a:xfrm>
        <a:prstGeom prst="rect">
          <a:avLst/>
        </a:prstGeom>
        <a:solidFill>
          <a:schemeClr val="accent1">
            <a:alpha val="4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B9A61958-CB82-4618-B320-D0B999302E3F}">
      <dsp:nvSpPr>
        <dsp:cNvPr id="0" name=""/>
        <dsp:cNvSpPr/>
      </dsp:nvSpPr>
      <dsp:spPr>
        <a:xfrm>
          <a:off x="126608" y="914732"/>
          <a:ext cx="2266324" cy="192563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19106" b="19106"/>
          </a:stretch>
        </a:blip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131B07-0AE6-4A4C-99D5-0F3127166778}">
      <dsp:nvSpPr>
        <dsp:cNvPr id="0" name=""/>
        <dsp:cNvSpPr/>
      </dsp:nvSpPr>
      <dsp:spPr>
        <a:xfrm>
          <a:off x="126608" y="2840368"/>
          <a:ext cx="2266324" cy="799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Computación distribuida</a:t>
          </a:r>
        </a:p>
      </dsp:txBody>
      <dsp:txXfrm>
        <a:off x="126608" y="2840368"/>
        <a:ext cx="2266324" cy="799879"/>
      </dsp:txXfrm>
    </dsp:sp>
    <dsp:sp modelId="{A13637E9-13C5-476C-89CC-97196437BAE4}">
      <dsp:nvSpPr>
        <dsp:cNvPr id="0" name=""/>
        <dsp:cNvSpPr/>
      </dsp:nvSpPr>
      <dsp:spPr>
        <a:xfrm>
          <a:off x="2869278" y="796231"/>
          <a:ext cx="2518138" cy="2962516"/>
        </a:xfrm>
        <a:prstGeom prst="rect">
          <a:avLst/>
        </a:prstGeom>
        <a:solidFill>
          <a:schemeClr val="accent1">
            <a:alpha val="4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312879E-208F-42AC-AF25-9B069F468039}">
      <dsp:nvSpPr>
        <dsp:cNvPr id="0" name=""/>
        <dsp:cNvSpPr/>
      </dsp:nvSpPr>
      <dsp:spPr>
        <a:xfrm>
          <a:off x="2995185" y="914732"/>
          <a:ext cx="2266324" cy="1925635"/>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21978" b="21978"/>
          </a:stretch>
        </a:blip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D8D60D-F60C-4945-B23E-92721BAFA598}">
      <dsp:nvSpPr>
        <dsp:cNvPr id="0" name=""/>
        <dsp:cNvSpPr/>
      </dsp:nvSpPr>
      <dsp:spPr>
        <a:xfrm>
          <a:off x="2995185" y="2840368"/>
          <a:ext cx="2266324" cy="799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Bit 0 / 1</a:t>
          </a:r>
        </a:p>
      </dsp:txBody>
      <dsp:txXfrm>
        <a:off x="2995185" y="2840368"/>
        <a:ext cx="2266324" cy="799879"/>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367732-4FF8-4EDC-87A2-B5D20D0C62B5}">
      <dsp:nvSpPr>
        <dsp:cNvPr id="0" name=""/>
        <dsp:cNvSpPr/>
      </dsp:nvSpPr>
      <dsp:spPr>
        <a:xfrm>
          <a:off x="701" y="796231"/>
          <a:ext cx="2518138" cy="2962516"/>
        </a:xfrm>
        <a:prstGeom prst="rect">
          <a:avLst/>
        </a:prstGeom>
        <a:solidFill>
          <a:schemeClr val="accent1">
            <a:alpha val="4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AD90ECA-4DB4-4602-BC68-C91B7E239D6F}">
      <dsp:nvSpPr>
        <dsp:cNvPr id="0" name=""/>
        <dsp:cNvSpPr/>
      </dsp:nvSpPr>
      <dsp:spPr>
        <a:xfrm>
          <a:off x="126608" y="914732"/>
          <a:ext cx="2266324" cy="192563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10800" b="10800"/>
          </a:stretch>
        </a:blip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746D20-3157-4253-B17A-6AA8BC99DCE1}">
      <dsp:nvSpPr>
        <dsp:cNvPr id="0" name=""/>
        <dsp:cNvSpPr/>
      </dsp:nvSpPr>
      <dsp:spPr>
        <a:xfrm>
          <a:off x="126608" y="2840368"/>
          <a:ext cx="2266324" cy="799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Ordenador Quántico</a:t>
          </a:r>
        </a:p>
      </dsp:txBody>
      <dsp:txXfrm>
        <a:off x="126608" y="2840368"/>
        <a:ext cx="2266324" cy="799879"/>
      </dsp:txXfrm>
    </dsp:sp>
    <dsp:sp modelId="{57F3B0FC-D32F-4617-B174-3AD569F4C376}">
      <dsp:nvSpPr>
        <dsp:cNvPr id="0" name=""/>
        <dsp:cNvSpPr/>
      </dsp:nvSpPr>
      <dsp:spPr>
        <a:xfrm>
          <a:off x="2869278" y="796231"/>
          <a:ext cx="2518138" cy="2962516"/>
        </a:xfrm>
        <a:prstGeom prst="rect">
          <a:avLst/>
        </a:prstGeom>
        <a:solidFill>
          <a:schemeClr val="accent1">
            <a:alpha val="4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679D6FE-3D80-4F47-B2AA-0F70556FD8D1}">
      <dsp:nvSpPr>
        <dsp:cNvPr id="0" name=""/>
        <dsp:cNvSpPr/>
      </dsp:nvSpPr>
      <dsp:spPr>
        <a:xfrm>
          <a:off x="2995185" y="914732"/>
          <a:ext cx="2266324" cy="1925635"/>
        </a:xfrm>
        <a:prstGeom prst="rect">
          <a:avLst/>
        </a:prstGeom>
        <a:blipFill dpi="0" rotWithShape="1">
          <a:blip xmlns:r="http://schemas.openxmlformats.org/officeDocument/2006/relationships" r:embed="rId2"/>
          <a:srcRect/>
          <a:stretch>
            <a:fillRect l="21350" r="21350"/>
          </a:stretch>
        </a:blip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5F63CA-D5AA-414A-A415-2976D2CDDBE0}">
      <dsp:nvSpPr>
        <dsp:cNvPr id="0" name=""/>
        <dsp:cNvSpPr/>
      </dsp:nvSpPr>
      <dsp:spPr>
        <a:xfrm>
          <a:off x="2995185" y="2840368"/>
          <a:ext cx="2266324" cy="799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Qbit</a:t>
          </a:r>
        </a:p>
      </dsp:txBody>
      <dsp:txXfrm>
        <a:off x="2995185" y="2840368"/>
        <a:ext cx="2266324" cy="799879"/>
      </dsp:txXfrm>
    </dsp:sp>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CCB34-D60A-44E1-A44A-EB47EA3AB751}">
      <dsp:nvSpPr>
        <dsp:cNvPr id="0" name=""/>
        <dsp:cNvSpPr/>
      </dsp:nvSpPr>
      <dsp:spPr>
        <a:xfrm>
          <a:off x="224153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1242976"/>
        <a:ext cx="25774" cy="5154"/>
      </dsp:txXfrm>
    </dsp:sp>
    <dsp:sp modelId="{12031CAE-653E-444D-B94F-C48EC568733D}">
      <dsp:nvSpPr>
        <dsp:cNvPr id="0" name=""/>
        <dsp:cNvSpPr/>
      </dsp:nvSpPr>
      <dsp:spPr>
        <a:xfrm>
          <a:off x="2092" y="573182"/>
          <a:ext cx="2241239" cy="1344743"/>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Introducción a la transformación digital</a:t>
          </a:r>
        </a:p>
      </dsp:txBody>
      <dsp:txXfrm>
        <a:off x="2092" y="573182"/>
        <a:ext cx="2241239" cy="1344743"/>
      </dsp:txXfrm>
    </dsp:sp>
    <dsp:sp modelId="{3AA65DD2-5546-4C52-B82E-A52514E48654}">
      <dsp:nvSpPr>
        <dsp:cNvPr id="0" name=""/>
        <dsp:cNvSpPr/>
      </dsp:nvSpPr>
      <dsp:spPr>
        <a:xfrm>
          <a:off x="4998257"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58204"/>
              <a:satOff val="-997"/>
              <a:lumOff val="399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1242976"/>
        <a:ext cx="25774" cy="5154"/>
      </dsp:txXfrm>
    </dsp:sp>
    <dsp:sp modelId="{BC841A12-76DD-4881-BCFC-87324C87DFF4}">
      <dsp:nvSpPr>
        <dsp:cNvPr id="0" name=""/>
        <dsp:cNvSpPr/>
      </dsp:nvSpPr>
      <dsp:spPr>
        <a:xfrm>
          <a:off x="2758817" y="573182"/>
          <a:ext cx="2241239" cy="1344743"/>
        </a:xfrm>
        <a:prstGeom prst="rect">
          <a:avLst/>
        </a:prstGeom>
        <a:gradFill rotWithShape="0">
          <a:gsLst>
            <a:gs pos="0">
              <a:schemeClr val="accent1">
                <a:shade val="80000"/>
                <a:hueOff val="49898"/>
                <a:satOff val="-894"/>
                <a:lumOff val="3798"/>
                <a:alphaOff val="0"/>
                <a:lumMod val="110000"/>
                <a:satMod val="105000"/>
                <a:tint val="67000"/>
              </a:schemeClr>
            </a:gs>
            <a:gs pos="50000">
              <a:schemeClr val="accent1">
                <a:shade val="80000"/>
                <a:hueOff val="49898"/>
                <a:satOff val="-894"/>
                <a:lumOff val="3798"/>
                <a:alphaOff val="0"/>
                <a:lumMod val="105000"/>
                <a:satMod val="103000"/>
                <a:tint val="73000"/>
              </a:schemeClr>
            </a:gs>
            <a:gs pos="100000">
              <a:schemeClr val="accent1">
                <a:shade val="80000"/>
                <a:hueOff val="49898"/>
                <a:satOff val="-894"/>
                <a:lumOff val="379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Ítems técnicos</a:t>
          </a:r>
          <a:r>
            <a:rPr lang="es-ES" sz="1400" kern="1200" dirty="0"/>
            <a:t> de la Transformación Digital</a:t>
          </a:r>
        </a:p>
      </dsp:txBody>
      <dsp:txXfrm>
        <a:off x="2758817" y="573182"/>
        <a:ext cx="2241239" cy="1344743"/>
      </dsp:txXfrm>
    </dsp:sp>
    <dsp:sp modelId="{08D88CB0-60AD-46C9-BC66-01E230BE336C}">
      <dsp:nvSpPr>
        <dsp:cNvPr id="0" name=""/>
        <dsp:cNvSpPr/>
      </dsp:nvSpPr>
      <dsp:spPr>
        <a:xfrm>
          <a:off x="7754982" y="1199834"/>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116408"/>
              <a:satOff val="-1994"/>
              <a:lumOff val="798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1242976"/>
        <a:ext cx="25774" cy="5154"/>
      </dsp:txXfrm>
    </dsp:sp>
    <dsp:sp modelId="{F393F410-F746-434F-AC7D-679C0E30025E}">
      <dsp:nvSpPr>
        <dsp:cNvPr id="0" name=""/>
        <dsp:cNvSpPr/>
      </dsp:nvSpPr>
      <dsp:spPr>
        <a:xfrm>
          <a:off x="5515542" y="573182"/>
          <a:ext cx="2241239" cy="1344743"/>
        </a:xfrm>
        <a:prstGeom prst="rect">
          <a:avLst/>
        </a:prstGeom>
        <a:gradFill rotWithShape="0">
          <a:gsLst>
            <a:gs pos="0">
              <a:schemeClr val="accent1">
                <a:shade val="80000"/>
                <a:hueOff val="99795"/>
                <a:satOff val="-1787"/>
                <a:lumOff val="7596"/>
                <a:alphaOff val="0"/>
                <a:lumMod val="110000"/>
                <a:satMod val="105000"/>
                <a:tint val="67000"/>
              </a:schemeClr>
            </a:gs>
            <a:gs pos="50000">
              <a:schemeClr val="accent1">
                <a:shade val="80000"/>
                <a:hueOff val="99795"/>
                <a:satOff val="-1787"/>
                <a:lumOff val="7596"/>
                <a:alphaOff val="0"/>
                <a:lumMod val="105000"/>
                <a:satMod val="103000"/>
                <a:tint val="73000"/>
              </a:schemeClr>
            </a:gs>
            <a:gs pos="100000">
              <a:schemeClr val="accent1">
                <a:shade val="80000"/>
                <a:hueOff val="99795"/>
                <a:satOff val="-1787"/>
                <a:lumOff val="759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Tipo de servicios:</a:t>
          </a:r>
        </a:p>
        <a:p>
          <a:pPr marL="57150" lvl="1" indent="-57150" algn="l" defTabSz="466725">
            <a:lnSpc>
              <a:spcPct val="90000"/>
            </a:lnSpc>
            <a:spcBef>
              <a:spcPct val="0"/>
            </a:spcBef>
            <a:spcAft>
              <a:spcPct val="15000"/>
            </a:spcAft>
            <a:buChar char="•"/>
          </a:pPr>
          <a:r>
            <a:rPr lang="es-ES" sz="1050" kern="1200" dirty="0"/>
            <a:t>Saas (Software as a Service), </a:t>
          </a:r>
        </a:p>
        <a:p>
          <a:pPr marL="57150" lvl="1" indent="-57150" algn="l" defTabSz="466725">
            <a:lnSpc>
              <a:spcPct val="90000"/>
            </a:lnSpc>
            <a:spcBef>
              <a:spcPct val="0"/>
            </a:spcBef>
            <a:spcAft>
              <a:spcPct val="15000"/>
            </a:spcAft>
            <a:buChar char="•"/>
          </a:pPr>
          <a:r>
            <a:rPr lang="es-ES" sz="1050" kern="1200" dirty="0"/>
            <a:t>Paas (Platform as a Service)</a:t>
          </a:r>
        </a:p>
        <a:p>
          <a:pPr marL="57150" lvl="1" indent="-57150" algn="l" defTabSz="466725">
            <a:lnSpc>
              <a:spcPct val="90000"/>
            </a:lnSpc>
            <a:spcBef>
              <a:spcPct val="0"/>
            </a:spcBef>
            <a:spcAft>
              <a:spcPct val="15000"/>
            </a:spcAft>
            <a:buChar char="•"/>
          </a:pPr>
          <a:r>
            <a:rPr lang="es-ES" sz="1050" kern="1200" dirty="0"/>
            <a:t>Iaas (Infraestructure as a Service).</a:t>
          </a:r>
        </a:p>
      </dsp:txBody>
      <dsp:txXfrm>
        <a:off x="5515542" y="573182"/>
        <a:ext cx="2241239" cy="1344743"/>
      </dsp:txXfrm>
    </dsp:sp>
    <dsp:sp modelId="{01A68787-5999-4120-83FB-42567CD4C527}">
      <dsp:nvSpPr>
        <dsp:cNvPr id="0" name=""/>
        <dsp:cNvSpPr/>
      </dsp:nvSpPr>
      <dsp:spPr>
        <a:xfrm>
          <a:off x="1122712" y="1916126"/>
          <a:ext cx="8270175" cy="484885"/>
        </a:xfrm>
        <a:custGeom>
          <a:avLst/>
          <a:gdLst/>
          <a:ahLst/>
          <a:cxnLst/>
          <a:rect l="0" t="0" r="0" b="0"/>
          <a:pathLst>
            <a:path>
              <a:moveTo>
                <a:pt x="8270175" y="0"/>
              </a:moveTo>
              <a:lnTo>
                <a:pt x="8270175" y="259542"/>
              </a:lnTo>
              <a:lnTo>
                <a:pt x="0" y="259542"/>
              </a:lnTo>
              <a:lnTo>
                <a:pt x="0" y="484885"/>
              </a:lnTo>
            </a:path>
          </a:pathLst>
        </a:custGeom>
        <a:noFill/>
        <a:ln w="6350" cap="flat" cmpd="sng" algn="ctr">
          <a:solidFill>
            <a:schemeClr val="accent1">
              <a:shade val="90000"/>
              <a:hueOff val="174613"/>
              <a:satOff val="-2991"/>
              <a:lumOff val="1198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050644" y="2155991"/>
        <a:ext cx="414311" cy="5154"/>
      </dsp:txXfrm>
    </dsp:sp>
    <dsp:sp modelId="{4D47CEDA-E50B-4818-8FEE-8561B2EF3E17}">
      <dsp:nvSpPr>
        <dsp:cNvPr id="0" name=""/>
        <dsp:cNvSpPr/>
      </dsp:nvSpPr>
      <dsp:spPr>
        <a:xfrm>
          <a:off x="8272267" y="573182"/>
          <a:ext cx="2241239" cy="1344743"/>
        </a:xfrm>
        <a:prstGeom prst="rect">
          <a:avLst/>
        </a:prstGeom>
        <a:gradFill rotWithShape="0">
          <a:gsLst>
            <a:gs pos="0">
              <a:schemeClr val="accent1">
                <a:shade val="80000"/>
                <a:hueOff val="149693"/>
                <a:satOff val="-2681"/>
                <a:lumOff val="11394"/>
                <a:alphaOff val="0"/>
                <a:lumMod val="110000"/>
                <a:satMod val="105000"/>
                <a:tint val="67000"/>
              </a:schemeClr>
            </a:gs>
            <a:gs pos="50000">
              <a:schemeClr val="accent1">
                <a:shade val="80000"/>
                <a:hueOff val="149693"/>
                <a:satOff val="-2681"/>
                <a:lumOff val="11394"/>
                <a:alphaOff val="0"/>
                <a:lumMod val="105000"/>
                <a:satMod val="103000"/>
                <a:tint val="73000"/>
              </a:schemeClr>
            </a:gs>
            <a:gs pos="100000">
              <a:schemeClr val="accent1">
                <a:shade val="80000"/>
                <a:hueOff val="149693"/>
                <a:satOff val="-2681"/>
                <a:lumOff val="1139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Origen del dato: </a:t>
          </a:r>
          <a:r>
            <a:rPr lang="es-ES" sz="1400" kern="1200" dirty="0"/>
            <a:t>Operacional vs Analítico, CRM, ERP, Datos externos. </a:t>
          </a:r>
          <a:endParaRPr lang="es-ES" sz="1050" kern="1200" dirty="0"/>
        </a:p>
      </dsp:txBody>
      <dsp:txXfrm>
        <a:off x="8272267" y="573182"/>
        <a:ext cx="2241239" cy="1344743"/>
      </dsp:txXfrm>
    </dsp:sp>
    <dsp:sp modelId="{8202FED3-7CF9-4D9C-8DB9-D33AE18C03DD}">
      <dsp:nvSpPr>
        <dsp:cNvPr id="0" name=""/>
        <dsp:cNvSpPr/>
      </dsp:nvSpPr>
      <dsp:spPr>
        <a:xfrm>
          <a:off x="224153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32817"/>
              <a:satOff val="-3987"/>
              <a:lumOff val="159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2471087" y="3103206"/>
        <a:ext cx="25774" cy="5154"/>
      </dsp:txXfrm>
    </dsp:sp>
    <dsp:sp modelId="{2657BA48-BD47-4BE1-858B-072D4CDBD2EB}">
      <dsp:nvSpPr>
        <dsp:cNvPr id="0" name=""/>
        <dsp:cNvSpPr/>
      </dsp:nvSpPr>
      <dsp:spPr>
        <a:xfrm>
          <a:off x="2092" y="2433411"/>
          <a:ext cx="2241239" cy="1344743"/>
        </a:xfrm>
        <a:prstGeom prst="rect">
          <a:avLst/>
        </a:prstGeom>
        <a:gradFill rotWithShape="0">
          <a:gsLst>
            <a:gs pos="0">
              <a:schemeClr val="accent1">
                <a:shade val="80000"/>
                <a:hueOff val="199590"/>
                <a:satOff val="-3575"/>
                <a:lumOff val="15191"/>
                <a:alphaOff val="0"/>
                <a:lumMod val="110000"/>
                <a:satMod val="105000"/>
                <a:tint val="67000"/>
              </a:schemeClr>
            </a:gs>
            <a:gs pos="50000">
              <a:schemeClr val="accent1">
                <a:shade val="80000"/>
                <a:hueOff val="199590"/>
                <a:satOff val="-3575"/>
                <a:lumOff val="15191"/>
                <a:alphaOff val="0"/>
                <a:lumMod val="105000"/>
                <a:satMod val="103000"/>
                <a:tint val="73000"/>
              </a:schemeClr>
            </a:gs>
            <a:gs pos="100000">
              <a:schemeClr val="accent1">
                <a:shade val="80000"/>
                <a:hueOff val="199590"/>
                <a:satOff val="-3575"/>
                <a:lumOff val="151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lmacenamiento:</a:t>
          </a:r>
        </a:p>
        <a:p>
          <a:pPr marL="114300" lvl="1" indent="-114300" algn="l" defTabSz="622300">
            <a:lnSpc>
              <a:spcPct val="90000"/>
            </a:lnSpc>
            <a:spcBef>
              <a:spcPct val="0"/>
            </a:spcBef>
            <a:spcAft>
              <a:spcPct val="15000"/>
            </a:spcAft>
            <a:buChar char="•"/>
          </a:pPr>
          <a:r>
            <a:rPr lang="es-ES" sz="1400" kern="1200" dirty="0">
              <a:highlight>
                <a:srgbClr val="FFFFFF"/>
              </a:highlight>
            </a:rPr>
            <a:t>Nube "vs" on-premise.</a:t>
          </a:r>
          <a:endParaRPr lang="es-ES" sz="1400" b="1" kern="1200" dirty="0">
            <a:highlight>
              <a:srgbClr val="FFFFFF"/>
            </a:highlight>
          </a:endParaRPr>
        </a:p>
      </dsp:txBody>
      <dsp:txXfrm>
        <a:off x="2092" y="2433411"/>
        <a:ext cx="2241239" cy="1344743"/>
      </dsp:txXfrm>
    </dsp:sp>
    <dsp:sp modelId="{41359306-62C6-42FB-A79A-EF0E25A4E3B3}">
      <dsp:nvSpPr>
        <dsp:cNvPr id="0" name=""/>
        <dsp:cNvSpPr/>
      </dsp:nvSpPr>
      <dsp:spPr>
        <a:xfrm>
          <a:off x="4998257"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291021"/>
              <a:satOff val="-4984"/>
              <a:lumOff val="19967"/>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5227812" y="3103206"/>
        <a:ext cx="25774" cy="5154"/>
      </dsp:txXfrm>
    </dsp:sp>
    <dsp:sp modelId="{4B7699E1-03BB-44A3-BBB0-351096F4838D}">
      <dsp:nvSpPr>
        <dsp:cNvPr id="0" name=""/>
        <dsp:cNvSpPr/>
      </dsp:nvSpPr>
      <dsp:spPr>
        <a:xfrm>
          <a:off x="2758817" y="2433411"/>
          <a:ext cx="2241239" cy="1344743"/>
        </a:xfrm>
        <a:prstGeom prst="rect">
          <a:avLst/>
        </a:prstGeom>
        <a:gradFill rotWithShape="0">
          <a:gsLst>
            <a:gs pos="0">
              <a:schemeClr val="accent1">
                <a:shade val="80000"/>
                <a:hueOff val="249488"/>
                <a:satOff val="-4469"/>
                <a:lumOff val="18989"/>
                <a:alphaOff val="0"/>
                <a:lumMod val="110000"/>
                <a:satMod val="105000"/>
                <a:tint val="67000"/>
              </a:schemeClr>
            </a:gs>
            <a:gs pos="50000">
              <a:schemeClr val="accent1">
                <a:shade val="80000"/>
                <a:hueOff val="249488"/>
                <a:satOff val="-4469"/>
                <a:lumOff val="18989"/>
                <a:alphaOff val="0"/>
                <a:lumMod val="105000"/>
                <a:satMod val="103000"/>
                <a:tint val="73000"/>
              </a:schemeClr>
            </a:gs>
            <a:gs pos="100000">
              <a:schemeClr val="accent1">
                <a:shade val="80000"/>
                <a:hueOff val="249488"/>
                <a:satOff val="-4469"/>
                <a:lumOff val="1898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1</a:t>
          </a:r>
          <a:r>
            <a:rPr lang="es-ES" sz="1400" kern="1200" dirty="0">
              <a:highlight>
                <a:srgbClr val="FFFFFF"/>
              </a:highlight>
            </a:rPr>
            <a:t>:</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2758817" y="2433411"/>
        <a:ext cx="2241239" cy="1344743"/>
      </dsp:txXfrm>
    </dsp:sp>
    <dsp:sp modelId="{04233DCC-F3F4-4F09-9FDC-06FC568CC460}">
      <dsp:nvSpPr>
        <dsp:cNvPr id="0" name=""/>
        <dsp:cNvSpPr/>
      </dsp:nvSpPr>
      <dsp:spPr>
        <a:xfrm>
          <a:off x="7754982" y="3060063"/>
          <a:ext cx="484885" cy="91440"/>
        </a:xfrm>
        <a:custGeom>
          <a:avLst/>
          <a:gdLst/>
          <a:ahLst/>
          <a:cxnLst/>
          <a:rect l="0" t="0" r="0" b="0"/>
          <a:pathLst>
            <a:path>
              <a:moveTo>
                <a:pt x="0" y="45720"/>
              </a:moveTo>
              <a:lnTo>
                <a:pt x="484885" y="45720"/>
              </a:lnTo>
            </a:path>
          </a:pathLst>
        </a:custGeom>
        <a:noFill/>
        <a:ln w="6350" cap="flat" cmpd="sng" algn="ctr">
          <a:solidFill>
            <a:schemeClr val="accent1">
              <a:shade val="90000"/>
              <a:hueOff val="349225"/>
              <a:satOff val="-5981"/>
              <a:lumOff val="2396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066800">
            <a:lnSpc>
              <a:spcPct val="90000"/>
            </a:lnSpc>
            <a:spcBef>
              <a:spcPct val="0"/>
            </a:spcBef>
            <a:spcAft>
              <a:spcPct val="35000"/>
            </a:spcAft>
            <a:buNone/>
          </a:pPr>
          <a:endParaRPr lang="es-ES" sz="2400" kern="1200" dirty="0"/>
        </a:p>
      </dsp:txBody>
      <dsp:txXfrm>
        <a:off x="7984537" y="3103206"/>
        <a:ext cx="25774" cy="5154"/>
      </dsp:txXfrm>
    </dsp:sp>
    <dsp:sp modelId="{335C5C5F-FDCF-427E-A197-92575D120A5C}">
      <dsp:nvSpPr>
        <dsp:cNvPr id="0" name=""/>
        <dsp:cNvSpPr/>
      </dsp:nvSpPr>
      <dsp:spPr>
        <a:xfrm>
          <a:off x="5515542" y="2433411"/>
          <a:ext cx="2241239" cy="1344743"/>
        </a:xfrm>
        <a:prstGeom prst="rect">
          <a:avLst/>
        </a:prstGeom>
        <a:gradFill rotWithShape="0">
          <a:gsLst>
            <a:gs pos="0">
              <a:schemeClr val="accent1">
                <a:shade val="80000"/>
                <a:hueOff val="299385"/>
                <a:satOff val="-5362"/>
                <a:lumOff val="22787"/>
                <a:alphaOff val="0"/>
                <a:lumMod val="110000"/>
                <a:satMod val="105000"/>
                <a:tint val="67000"/>
              </a:schemeClr>
            </a:gs>
            <a:gs pos="50000">
              <a:schemeClr val="accent1">
                <a:shade val="80000"/>
                <a:hueOff val="299385"/>
                <a:satOff val="-5362"/>
                <a:lumOff val="22787"/>
                <a:alphaOff val="0"/>
                <a:lumMod val="105000"/>
                <a:satMod val="103000"/>
                <a:tint val="73000"/>
              </a:schemeClr>
            </a:gs>
            <a:gs pos="100000">
              <a:schemeClr val="accent1">
                <a:shade val="80000"/>
                <a:hueOff val="299385"/>
                <a:satOff val="-5362"/>
                <a:lumOff val="2278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FFFFFF"/>
              </a:highlight>
            </a:rPr>
            <a:t>Aproximación 2:</a:t>
          </a:r>
        </a:p>
        <a:p>
          <a:pPr marL="57150" lvl="1" indent="-57150" algn="l" defTabSz="466725">
            <a:lnSpc>
              <a:spcPct val="90000"/>
            </a:lnSpc>
            <a:spcBef>
              <a:spcPct val="0"/>
            </a:spcBef>
            <a:spcAft>
              <a:spcPct val="15000"/>
            </a:spcAft>
            <a:buChar char="•"/>
          </a:pPr>
          <a:r>
            <a:rPr lang="es-ES" sz="1050" kern="1200" dirty="0"/>
            <a:t>Big Data</a:t>
          </a:r>
        </a:p>
        <a:p>
          <a:pPr marL="57150" lvl="1" indent="-57150" algn="l" defTabSz="466725">
            <a:lnSpc>
              <a:spcPct val="90000"/>
            </a:lnSpc>
            <a:spcBef>
              <a:spcPct val="0"/>
            </a:spcBef>
            <a:spcAft>
              <a:spcPct val="15000"/>
            </a:spcAft>
            <a:buChar char="•"/>
          </a:pPr>
          <a:r>
            <a:rPr lang="es-ES" sz="1050" kern="1200" dirty="0"/>
            <a:t>e Inteligencia Artificial: Generativa y Tradicional.</a:t>
          </a:r>
        </a:p>
      </dsp:txBody>
      <dsp:txXfrm>
        <a:off x="5515542" y="2433411"/>
        <a:ext cx="2241239" cy="1344743"/>
      </dsp:txXfrm>
    </dsp:sp>
    <dsp:sp modelId="{17AAEB00-218F-479E-B87D-D1AE9970CD6B}">
      <dsp:nvSpPr>
        <dsp:cNvPr id="0" name=""/>
        <dsp:cNvSpPr/>
      </dsp:nvSpPr>
      <dsp:spPr>
        <a:xfrm>
          <a:off x="8272267" y="2433411"/>
          <a:ext cx="2241239" cy="1344743"/>
        </a:xfrm>
        <a:prstGeom prst="rect">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ES" sz="1400" b="1" kern="1200" dirty="0">
              <a:highlight>
                <a:srgbClr val="FFFFFF"/>
              </a:highlight>
            </a:rPr>
            <a:t>Un proyecto</a:t>
          </a:r>
        </a:p>
      </dsp:txBody>
      <dsp:txXfrm>
        <a:off x="8272267" y="2433411"/>
        <a:ext cx="2241239" cy="1344743"/>
      </dsp:txXfrm>
    </dsp:sp>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07FD5C-431B-46A1-BBB0-55BBB1D1648B}">
      <dsp:nvSpPr>
        <dsp:cNvPr id="0" name=""/>
        <dsp:cNvSpPr/>
      </dsp:nvSpPr>
      <dsp:spPr>
        <a:xfrm>
          <a:off x="5585" y="44173"/>
          <a:ext cx="2141213" cy="538121"/>
        </a:xfrm>
        <a:prstGeom prst="rect">
          <a:avLst/>
        </a:prstGeom>
        <a:solidFill>
          <a:schemeClr val="accent1">
            <a:shade val="5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Según su forma jurídica:</a:t>
          </a:r>
        </a:p>
      </dsp:txBody>
      <dsp:txXfrm>
        <a:off x="5585" y="44173"/>
        <a:ext cx="2141213" cy="538121"/>
      </dsp:txXfrm>
    </dsp:sp>
    <dsp:sp modelId="{AC13DDB0-5C85-4AEE-AFFB-1974396BCA65}">
      <dsp:nvSpPr>
        <dsp:cNvPr id="0" name=""/>
        <dsp:cNvSpPr/>
      </dsp:nvSpPr>
      <dsp:spPr>
        <a:xfrm>
          <a:off x="5585" y="582294"/>
          <a:ext cx="2141213" cy="4204996"/>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t>Empresario individual.</a:t>
          </a:r>
        </a:p>
        <a:p>
          <a:pPr marL="114300" lvl="1" indent="-114300" algn="l" defTabSz="666750">
            <a:lnSpc>
              <a:spcPct val="90000"/>
            </a:lnSpc>
            <a:spcBef>
              <a:spcPct val="0"/>
            </a:spcBef>
            <a:spcAft>
              <a:spcPct val="15000"/>
            </a:spcAft>
            <a:buChar char="•"/>
          </a:pPr>
          <a:r>
            <a:rPr lang="es-ES" sz="1500" kern="1200" dirty="0"/>
            <a:t>Sociedad Limitada (S.L.).</a:t>
          </a:r>
        </a:p>
        <a:p>
          <a:pPr marL="114300" lvl="1" indent="-114300" algn="l" defTabSz="666750">
            <a:lnSpc>
              <a:spcPct val="90000"/>
            </a:lnSpc>
            <a:spcBef>
              <a:spcPct val="0"/>
            </a:spcBef>
            <a:spcAft>
              <a:spcPct val="15000"/>
            </a:spcAft>
            <a:buChar char="•"/>
          </a:pPr>
          <a:r>
            <a:rPr lang="es-ES" sz="1500" kern="1200" dirty="0"/>
            <a:t>Sociedad Anónima (S.A.).</a:t>
          </a:r>
        </a:p>
        <a:p>
          <a:pPr marL="114300" lvl="1" indent="-114300" algn="l" defTabSz="666750">
            <a:lnSpc>
              <a:spcPct val="90000"/>
            </a:lnSpc>
            <a:spcBef>
              <a:spcPct val="0"/>
            </a:spcBef>
            <a:spcAft>
              <a:spcPct val="15000"/>
            </a:spcAft>
            <a:buChar char="•"/>
          </a:pPr>
          <a:r>
            <a:rPr lang="es-ES" sz="1500" kern="1200" dirty="0"/>
            <a:t>Sociedad Colectiva.</a:t>
          </a:r>
        </a:p>
        <a:p>
          <a:pPr marL="114300" lvl="1" indent="-114300" algn="l" defTabSz="666750">
            <a:lnSpc>
              <a:spcPct val="90000"/>
            </a:lnSpc>
            <a:spcBef>
              <a:spcPct val="0"/>
            </a:spcBef>
            <a:spcAft>
              <a:spcPct val="15000"/>
            </a:spcAft>
            <a:buChar char="•"/>
          </a:pPr>
          <a:r>
            <a:rPr lang="es-ES" sz="1500" kern="1200" dirty="0"/>
            <a:t>Sociedad Comanditaria: entre colectiva y limitada.</a:t>
          </a:r>
        </a:p>
        <a:p>
          <a:pPr marL="114300" lvl="1" indent="-114300" algn="l" defTabSz="666750">
            <a:lnSpc>
              <a:spcPct val="90000"/>
            </a:lnSpc>
            <a:spcBef>
              <a:spcPct val="0"/>
            </a:spcBef>
            <a:spcAft>
              <a:spcPct val="15000"/>
            </a:spcAft>
            <a:buChar char="•"/>
          </a:pPr>
          <a:r>
            <a:rPr lang="es-ES" sz="1500" kern="1200" dirty="0"/>
            <a:t>Cooperativas.</a:t>
          </a:r>
        </a:p>
        <a:p>
          <a:pPr marL="114300" lvl="1" indent="-114300" algn="l" defTabSz="666750">
            <a:lnSpc>
              <a:spcPct val="90000"/>
            </a:lnSpc>
            <a:spcBef>
              <a:spcPct val="0"/>
            </a:spcBef>
            <a:spcAft>
              <a:spcPct val="15000"/>
            </a:spcAft>
            <a:buChar char="•"/>
          </a:pPr>
          <a:r>
            <a:rPr lang="es-ES" sz="1500" kern="1200" dirty="0"/>
            <a:t>Asociaciones sin ánimo de lucro.</a:t>
          </a:r>
        </a:p>
        <a:p>
          <a:pPr marL="114300" lvl="1" indent="-114300" algn="l" defTabSz="666750">
            <a:lnSpc>
              <a:spcPct val="90000"/>
            </a:lnSpc>
            <a:spcBef>
              <a:spcPct val="0"/>
            </a:spcBef>
            <a:spcAft>
              <a:spcPct val="15000"/>
            </a:spcAft>
            <a:buChar char="•"/>
          </a:pPr>
          <a:r>
            <a:rPr lang="es-ES" sz="1500" kern="1200" dirty="0"/>
            <a:t>Comunidad de Bienes.</a:t>
          </a:r>
        </a:p>
      </dsp:txBody>
      <dsp:txXfrm>
        <a:off x="5585" y="582294"/>
        <a:ext cx="2141213" cy="4204996"/>
      </dsp:txXfrm>
    </dsp:sp>
    <dsp:sp modelId="{4CC4F6DD-5A0F-4E19-BC24-113DD16DB3D1}">
      <dsp:nvSpPr>
        <dsp:cNvPr id="0" name=""/>
        <dsp:cNvSpPr/>
      </dsp:nvSpPr>
      <dsp:spPr>
        <a:xfrm>
          <a:off x="2446569" y="44173"/>
          <a:ext cx="2141213" cy="538121"/>
        </a:xfrm>
        <a:prstGeom prst="rect">
          <a:avLst/>
        </a:prstGeom>
        <a:solidFill>
          <a:schemeClr val="accent1">
            <a:shade val="50000"/>
            <a:hueOff val="160997"/>
            <a:satOff val="-3921"/>
            <a:lumOff val="17158"/>
            <a:alphaOff val="0"/>
          </a:schemeClr>
        </a:solidFill>
        <a:ln w="12700" cap="flat" cmpd="sng" algn="ctr">
          <a:solidFill>
            <a:schemeClr val="accent1">
              <a:shade val="50000"/>
              <a:hueOff val="160997"/>
              <a:satOff val="-3921"/>
              <a:lumOff val="17158"/>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Según su sector económico:</a:t>
          </a:r>
        </a:p>
      </dsp:txBody>
      <dsp:txXfrm>
        <a:off x="2446569" y="44173"/>
        <a:ext cx="2141213" cy="538121"/>
      </dsp:txXfrm>
    </dsp:sp>
    <dsp:sp modelId="{A09BB9F0-C89A-4C11-9BF7-872790089868}">
      <dsp:nvSpPr>
        <dsp:cNvPr id="0" name=""/>
        <dsp:cNvSpPr/>
      </dsp:nvSpPr>
      <dsp:spPr>
        <a:xfrm>
          <a:off x="2446569" y="582294"/>
          <a:ext cx="2141213" cy="4204996"/>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highlight>
                <a:srgbClr val="FFFFFF"/>
              </a:highlight>
            </a:rPr>
            <a:t>Sector primario</a:t>
          </a:r>
          <a:r>
            <a:rPr lang="es-ES" sz="1500" kern="1200" dirty="0"/>
            <a:t>: Dedicadas a la extracción de recursos naturales (agricultura, ganadería, pesca, minería).</a:t>
          </a:r>
        </a:p>
        <a:p>
          <a:pPr marL="114300" lvl="1" indent="-114300" algn="l" defTabSz="666750">
            <a:lnSpc>
              <a:spcPct val="90000"/>
            </a:lnSpc>
            <a:spcBef>
              <a:spcPct val="0"/>
            </a:spcBef>
            <a:spcAft>
              <a:spcPct val="15000"/>
            </a:spcAft>
            <a:buChar char="•"/>
          </a:pPr>
          <a:r>
            <a:rPr lang="es-ES" sz="1500" kern="1200" dirty="0">
              <a:highlight>
                <a:srgbClr val="FFFFFF"/>
              </a:highlight>
            </a:rPr>
            <a:t>Sector secundario</a:t>
          </a:r>
          <a:r>
            <a:rPr lang="es-ES" sz="1500" kern="1200" dirty="0"/>
            <a:t>: Transforman las materias primas en productos (industria manufacturera, construcción).</a:t>
          </a:r>
        </a:p>
        <a:p>
          <a:pPr marL="114300" lvl="1" indent="-114300" algn="l" defTabSz="666750">
            <a:lnSpc>
              <a:spcPct val="90000"/>
            </a:lnSpc>
            <a:spcBef>
              <a:spcPct val="0"/>
            </a:spcBef>
            <a:spcAft>
              <a:spcPct val="15000"/>
            </a:spcAft>
            <a:buChar char="•"/>
          </a:pPr>
          <a:r>
            <a:rPr lang="es-ES" sz="1500" kern="1200" dirty="0">
              <a:highlight>
                <a:srgbClr val="FFFFFF"/>
              </a:highlight>
            </a:rPr>
            <a:t>Sector terciario</a:t>
          </a:r>
          <a:r>
            <a:rPr lang="es-ES" sz="1500" kern="1200" dirty="0"/>
            <a:t>: Ofrecen servicios (comercio, transporte, hostelería, finanzas, educación, salud).</a:t>
          </a:r>
        </a:p>
      </dsp:txBody>
      <dsp:txXfrm>
        <a:off x="2446569" y="582294"/>
        <a:ext cx="2141213" cy="4204996"/>
      </dsp:txXfrm>
    </dsp:sp>
    <dsp:sp modelId="{0E66AB36-F37E-4F63-BD8D-1400613FB47D}">
      <dsp:nvSpPr>
        <dsp:cNvPr id="0" name=""/>
        <dsp:cNvSpPr/>
      </dsp:nvSpPr>
      <dsp:spPr>
        <a:xfrm>
          <a:off x="4887553" y="44173"/>
          <a:ext cx="2141213" cy="538121"/>
        </a:xfrm>
        <a:prstGeom prst="rect">
          <a:avLst/>
        </a:prstGeom>
        <a:solidFill>
          <a:schemeClr val="accent1">
            <a:shade val="50000"/>
            <a:hueOff val="321995"/>
            <a:satOff val="-7842"/>
            <a:lumOff val="34317"/>
            <a:alphaOff val="0"/>
          </a:schemeClr>
        </a:solidFill>
        <a:ln w="12700" cap="flat" cmpd="sng" algn="ctr">
          <a:solidFill>
            <a:schemeClr val="accent1">
              <a:shade val="50000"/>
              <a:hueOff val="321995"/>
              <a:satOff val="-7842"/>
              <a:lumOff val="34317"/>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Según su tamaño:</a:t>
          </a:r>
        </a:p>
      </dsp:txBody>
      <dsp:txXfrm>
        <a:off x="4887553" y="44173"/>
        <a:ext cx="2141213" cy="538121"/>
      </dsp:txXfrm>
    </dsp:sp>
    <dsp:sp modelId="{F8B03E91-3A02-49B7-8F22-E708F84C2FF7}">
      <dsp:nvSpPr>
        <dsp:cNvPr id="0" name=""/>
        <dsp:cNvSpPr/>
      </dsp:nvSpPr>
      <dsp:spPr>
        <a:xfrm>
          <a:off x="4887553" y="582294"/>
          <a:ext cx="2141213" cy="4204996"/>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highlight>
                <a:srgbClr val="FFFFFF"/>
              </a:highlight>
            </a:rPr>
            <a:t>Microempresas</a:t>
          </a:r>
          <a:r>
            <a:rPr lang="es-ES" sz="1500" kern="1200" dirty="0"/>
            <a:t>: Pequeñas empresas con pocos empleados.</a:t>
          </a:r>
        </a:p>
        <a:p>
          <a:pPr marL="114300" lvl="1" indent="-114300" algn="l" defTabSz="666750">
            <a:lnSpc>
              <a:spcPct val="90000"/>
            </a:lnSpc>
            <a:spcBef>
              <a:spcPct val="0"/>
            </a:spcBef>
            <a:spcAft>
              <a:spcPct val="15000"/>
            </a:spcAft>
            <a:buChar char="•"/>
          </a:pPr>
          <a:r>
            <a:rPr lang="es-ES" sz="1500" kern="1200" dirty="0">
              <a:highlight>
                <a:srgbClr val="FFFFFF"/>
              </a:highlight>
            </a:rPr>
            <a:t>Pequeñas empresas</a:t>
          </a:r>
          <a:r>
            <a:rPr lang="es-ES" sz="1500" kern="1200" dirty="0"/>
            <a:t>: Empresas de tamaño intermedio.</a:t>
          </a:r>
        </a:p>
        <a:p>
          <a:pPr marL="114300" lvl="1" indent="-114300" algn="l" defTabSz="666750">
            <a:lnSpc>
              <a:spcPct val="90000"/>
            </a:lnSpc>
            <a:spcBef>
              <a:spcPct val="0"/>
            </a:spcBef>
            <a:spcAft>
              <a:spcPct val="15000"/>
            </a:spcAft>
            <a:buChar char="•"/>
          </a:pPr>
          <a:r>
            <a:rPr lang="es-ES" sz="1500" kern="1200" dirty="0">
              <a:highlight>
                <a:srgbClr val="FFFFFF"/>
              </a:highlight>
            </a:rPr>
            <a:t>Medianas empresas</a:t>
          </a:r>
          <a:r>
            <a:rPr lang="es-ES" sz="1500" kern="1200" dirty="0"/>
            <a:t>: Empresas de mayor tamaño que las pequeñas.</a:t>
          </a:r>
        </a:p>
        <a:p>
          <a:pPr marL="114300" lvl="1" indent="-114300" algn="l" defTabSz="666750">
            <a:lnSpc>
              <a:spcPct val="90000"/>
            </a:lnSpc>
            <a:spcBef>
              <a:spcPct val="0"/>
            </a:spcBef>
            <a:spcAft>
              <a:spcPct val="15000"/>
            </a:spcAft>
            <a:buChar char="•"/>
          </a:pPr>
          <a:r>
            <a:rPr lang="es-ES" sz="1500" kern="1200" dirty="0">
              <a:highlight>
                <a:srgbClr val="FFFFFF"/>
              </a:highlight>
            </a:rPr>
            <a:t>Grandes empresas</a:t>
          </a:r>
          <a:r>
            <a:rPr lang="es-ES" sz="1500" kern="1200" dirty="0"/>
            <a:t>: Empresas con un gran número de empleados y una amplia presencia en el mercado.</a:t>
          </a:r>
        </a:p>
      </dsp:txBody>
      <dsp:txXfrm>
        <a:off x="4887553" y="582294"/>
        <a:ext cx="2141213" cy="4204996"/>
      </dsp:txXfrm>
    </dsp:sp>
    <dsp:sp modelId="{330A1E76-D394-4A07-AB0D-16E443F1040A}">
      <dsp:nvSpPr>
        <dsp:cNvPr id="0" name=""/>
        <dsp:cNvSpPr/>
      </dsp:nvSpPr>
      <dsp:spPr>
        <a:xfrm>
          <a:off x="7328537" y="44173"/>
          <a:ext cx="2141213" cy="538121"/>
        </a:xfrm>
        <a:prstGeom prst="rect">
          <a:avLst/>
        </a:prstGeom>
        <a:solidFill>
          <a:schemeClr val="accent1">
            <a:shade val="50000"/>
            <a:hueOff val="321995"/>
            <a:satOff val="-7842"/>
            <a:lumOff val="34317"/>
            <a:alphaOff val="0"/>
          </a:schemeClr>
        </a:solidFill>
        <a:ln w="12700" cap="flat" cmpd="sng" algn="ctr">
          <a:solidFill>
            <a:schemeClr val="accent1">
              <a:shade val="50000"/>
              <a:hueOff val="321995"/>
              <a:satOff val="-7842"/>
              <a:lumOff val="34317"/>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Según su origen del capital:</a:t>
          </a:r>
        </a:p>
      </dsp:txBody>
      <dsp:txXfrm>
        <a:off x="7328537" y="44173"/>
        <a:ext cx="2141213" cy="538121"/>
      </dsp:txXfrm>
    </dsp:sp>
    <dsp:sp modelId="{2163D39D-A822-4B11-B5D0-23D6A6255F24}">
      <dsp:nvSpPr>
        <dsp:cNvPr id="0" name=""/>
        <dsp:cNvSpPr/>
      </dsp:nvSpPr>
      <dsp:spPr>
        <a:xfrm>
          <a:off x="7328537" y="582294"/>
          <a:ext cx="2141213" cy="4204996"/>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highlight>
                <a:srgbClr val="FFFFFF"/>
              </a:highlight>
            </a:rPr>
            <a:t>Públicas</a:t>
          </a:r>
          <a:r>
            <a:rPr lang="es-ES" sz="1500" kern="1200" dirty="0"/>
            <a:t>: Su capital pertenece al Estado o a organismos públicos.</a:t>
          </a:r>
        </a:p>
        <a:p>
          <a:pPr marL="114300" lvl="1" indent="-114300" algn="l" defTabSz="666750">
            <a:lnSpc>
              <a:spcPct val="90000"/>
            </a:lnSpc>
            <a:spcBef>
              <a:spcPct val="0"/>
            </a:spcBef>
            <a:spcAft>
              <a:spcPct val="15000"/>
            </a:spcAft>
            <a:buChar char="•"/>
          </a:pPr>
          <a:r>
            <a:rPr lang="es-ES" sz="1500" kern="1200" dirty="0">
              <a:highlight>
                <a:srgbClr val="FFFFFF"/>
              </a:highlight>
            </a:rPr>
            <a:t>Privadas</a:t>
          </a:r>
          <a:r>
            <a:rPr lang="es-ES" sz="1500" kern="1200" dirty="0"/>
            <a:t>: Su capital pertenece a particulares.</a:t>
          </a:r>
        </a:p>
        <a:p>
          <a:pPr marL="114300" lvl="1" indent="-114300" algn="l" defTabSz="666750">
            <a:lnSpc>
              <a:spcPct val="90000"/>
            </a:lnSpc>
            <a:spcBef>
              <a:spcPct val="0"/>
            </a:spcBef>
            <a:spcAft>
              <a:spcPct val="15000"/>
            </a:spcAft>
            <a:buChar char="•"/>
          </a:pPr>
          <a:r>
            <a:rPr lang="es-ES" sz="1500" kern="1200" dirty="0">
              <a:highlight>
                <a:srgbClr val="FFFFFF"/>
              </a:highlight>
            </a:rPr>
            <a:t>Mixtas</a:t>
          </a:r>
          <a:r>
            <a:rPr lang="es-ES" sz="1500" kern="1200" dirty="0"/>
            <a:t>: Combinan capital público y privado.</a:t>
          </a:r>
        </a:p>
      </dsp:txBody>
      <dsp:txXfrm>
        <a:off x="7328537" y="582294"/>
        <a:ext cx="2141213" cy="4204996"/>
      </dsp:txXfrm>
    </dsp:sp>
    <dsp:sp modelId="{3A97E9A1-780C-4C76-9562-FD291B304499}">
      <dsp:nvSpPr>
        <dsp:cNvPr id="0" name=""/>
        <dsp:cNvSpPr/>
      </dsp:nvSpPr>
      <dsp:spPr>
        <a:xfrm>
          <a:off x="9769521" y="44173"/>
          <a:ext cx="2141213" cy="538121"/>
        </a:xfrm>
        <a:prstGeom prst="rect">
          <a:avLst/>
        </a:prstGeom>
        <a:solidFill>
          <a:schemeClr val="accent1">
            <a:shade val="50000"/>
            <a:hueOff val="160997"/>
            <a:satOff val="-3921"/>
            <a:lumOff val="17158"/>
            <a:alphaOff val="0"/>
          </a:schemeClr>
        </a:solidFill>
        <a:ln w="12700" cap="flat" cmpd="sng" algn="ctr">
          <a:solidFill>
            <a:schemeClr val="accent1">
              <a:shade val="50000"/>
              <a:hueOff val="160997"/>
              <a:satOff val="-3921"/>
              <a:lumOff val="17158"/>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s-ES" sz="1500" kern="1200" dirty="0"/>
            <a:t>Por categorías:</a:t>
          </a:r>
        </a:p>
      </dsp:txBody>
      <dsp:txXfrm>
        <a:off x="9769521" y="44173"/>
        <a:ext cx="2141213" cy="538121"/>
      </dsp:txXfrm>
    </dsp:sp>
    <dsp:sp modelId="{B5429443-F1E7-4ACE-8A41-68AFECD435E1}">
      <dsp:nvSpPr>
        <dsp:cNvPr id="0" name=""/>
        <dsp:cNvSpPr/>
      </dsp:nvSpPr>
      <dsp:spPr>
        <a:xfrm>
          <a:off x="9769521" y="582294"/>
          <a:ext cx="2141213" cy="4204996"/>
        </a:xfrm>
        <a:prstGeom prst="rect">
          <a:avLst/>
        </a:prstGeom>
        <a:solidFill>
          <a:schemeClr val="accent1">
            <a:alpha val="90000"/>
            <a:tint val="55000"/>
            <a:hueOff val="0"/>
            <a:satOff val="0"/>
            <a:lumOff val="0"/>
            <a:alphaOff val="0"/>
          </a:schemeClr>
        </a:solidFill>
        <a:ln w="12700" cap="flat" cmpd="sng" algn="ctr">
          <a:solidFill>
            <a:schemeClr val="accent1">
              <a:alpha val="90000"/>
              <a:tint val="55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s-ES" sz="1500" kern="1200" dirty="0">
              <a:highlight>
                <a:srgbClr val="FFFFFF"/>
              </a:highlight>
            </a:rPr>
            <a:t>Por su nacionalidad</a:t>
          </a:r>
          <a:r>
            <a:rPr lang="es-ES" sz="1500" kern="1200" dirty="0"/>
            <a:t>: Nacionales, extranjeras, multinacionales.</a:t>
          </a:r>
        </a:p>
        <a:p>
          <a:pPr marL="114300" lvl="1" indent="-114300" algn="l" defTabSz="666750">
            <a:lnSpc>
              <a:spcPct val="90000"/>
            </a:lnSpc>
            <a:spcBef>
              <a:spcPct val="0"/>
            </a:spcBef>
            <a:spcAft>
              <a:spcPct val="15000"/>
            </a:spcAft>
            <a:buChar char="•"/>
          </a:pPr>
          <a:r>
            <a:rPr lang="es-ES" sz="1500" kern="1200" dirty="0">
              <a:highlight>
                <a:srgbClr val="FFFFFF"/>
              </a:highlight>
            </a:rPr>
            <a:t>Por su objetivo</a:t>
          </a:r>
          <a:r>
            <a:rPr lang="es-ES" sz="1500" kern="1200" dirty="0"/>
            <a:t>: Con ánimo de lucro, sin ánimo de lucro.</a:t>
          </a:r>
        </a:p>
        <a:p>
          <a:pPr marL="114300" lvl="1" indent="-114300" algn="l" defTabSz="666750">
            <a:lnSpc>
              <a:spcPct val="90000"/>
            </a:lnSpc>
            <a:spcBef>
              <a:spcPct val="0"/>
            </a:spcBef>
            <a:spcAft>
              <a:spcPct val="15000"/>
            </a:spcAft>
            <a:buChar char="•"/>
          </a:pPr>
          <a:r>
            <a:rPr lang="es-ES" sz="1500" kern="1200" dirty="0">
              <a:highlight>
                <a:srgbClr val="FFFFFF"/>
              </a:highlight>
            </a:rPr>
            <a:t>Por su tecnología</a:t>
          </a:r>
          <a:r>
            <a:rPr lang="es-ES" sz="1500" kern="1200" dirty="0"/>
            <a:t>: Tradicionales, tecnológicas.</a:t>
          </a:r>
        </a:p>
      </dsp:txBody>
      <dsp:txXfrm>
        <a:off x="9769521" y="582294"/>
        <a:ext cx="2141213" cy="4204996"/>
      </dsp:txXfrm>
    </dsp:sp>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C08386-E762-4EDF-8C5B-1DD63F376904}">
      <dsp:nvSpPr>
        <dsp:cNvPr id="0" name=""/>
        <dsp:cNvSpPr/>
      </dsp:nvSpPr>
      <dsp:spPr>
        <a:xfrm>
          <a:off x="3652" y="374218"/>
          <a:ext cx="3135464" cy="561600"/>
        </a:xfrm>
        <a:prstGeom prst="roundRect">
          <a:avLst>
            <a:gd name="adj" fmla="val 100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s-ES_tradnl" sz="1400" b="1" kern="1200" dirty="0">
              <a:latin typeface="+mj-lt"/>
            </a:rPr>
            <a:t>Datos en Información</a:t>
          </a:r>
          <a:endParaRPr lang="es-ES" sz="1400" kern="1200" dirty="0">
            <a:latin typeface="+mj-lt"/>
          </a:endParaRPr>
        </a:p>
      </dsp:txBody>
      <dsp:txXfrm>
        <a:off x="3652" y="374218"/>
        <a:ext cx="3135464" cy="374400"/>
      </dsp:txXfrm>
    </dsp:sp>
    <dsp:sp modelId="{E0982006-D377-47DE-92A0-A7B0F523A8B1}">
      <dsp:nvSpPr>
        <dsp:cNvPr id="0" name=""/>
        <dsp:cNvSpPr/>
      </dsp:nvSpPr>
      <dsp:spPr>
        <a:xfrm>
          <a:off x="645856" y="748619"/>
          <a:ext cx="3135464" cy="3088800"/>
        </a:xfrm>
        <a:prstGeom prst="roundRect">
          <a:avLst>
            <a:gd name="adj" fmla="val 10000"/>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100000"/>
            </a:lnSpc>
            <a:spcBef>
              <a:spcPct val="0"/>
            </a:spcBef>
            <a:spcAft>
              <a:spcPts val="600"/>
            </a:spcAft>
            <a:buChar char="•"/>
          </a:pPr>
          <a:r>
            <a:rPr lang="es-ES" sz="1300" kern="1200" dirty="0">
              <a:latin typeface="+mn-lt"/>
            </a:rPr>
            <a:t>Convertir los </a:t>
          </a:r>
          <a:r>
            <a:rPr lang="es-ES" sz="1300" kern="1200" dirty="0">
              <a:highlight>
                <a:srgbClr val="FFFFCC"/>
              </a:highlight>
              <a:latin typeface="+mn-lt"/>
            </a:rPr>
            <a:t>datos en información</a:t>
          </a:r>
          <a:endParaRPr lang="es-ES" sz="1300" kern="1200" dirty="0">
            <a:latin typeface="+mn-lt"/>
          </a:endParaRPr>
        </a:p>
        <a:p>
          <a:pPr marL="114300" lvl="1" indent="-114300" algn="l" defTabSz="577850">
            <a:lnSpc>
              <a:spcPct val="100000"/>
            </a:lnSpc>
            <a:spcBef>
              <a:spcPct val="0"/>
            </a:spcBef>
            <a:spcAft>
              <a:spcPts val="600"/>
            </a:spcAft>
            <a:buChar char="•"/>
          </a:pPr>
          <a:r>
            <a:rPr lang="es-ES" sz="1300" kern="1200" dirty="0">
              <a:highlight>
                <a:srgbClr val="FFFFCC"/>
              </a:highlight>
              <a:latin typeface="+mn-lt"/>
            </a:rPr>
            <a:t>Interpretación</a:t>
          </a:r>
          <a:r>
            <a:rPr lang="es-ES" sz="1300" kern="1200" dirty="0">
              <a:latin typeface="+mn-lt"/>
            </a:rPr>
            <a:t> de los datos.</a:t>
          </a:r>
        </a:p>
        <a:p>
          <a:pPr marL="114300" lvl="1" indent="-114300" algn="l" defTabSz="577850">
            <a:lnSpc>
              <a:spcPct val="100000"/>
            </a:lnSpc>
            <a:spcBef>
              <a:spcPct val="0"/>
            </a:spcBef>
            <a:spcAft>
              <a:spcPts val="600"/>
            </a:spcAft>
            <a:buChar char="•"/>
          </a:pPr>
          <a:r>
            <a:rPr lang="es-ES" sz="1300" kern="1200" dirty="0">
              <a:latin typeface="+mn-lt"/>
            </a:rPr>
            <a:t>De manera </a:t>
          </a:r>
          <a:r>
            <a:rPr lang="es-ES" sz="1300" kern="1200" dirty="0">
              <a:highlight>
                <a:srgbClr val="FFFFCC"/>
              </a:highlight>
              <a:latin typeface="+mn-lt"/>
            </a:rPr>
            <a:t>no estructurada y también estructurada</a:t>
          </a:r>
          <a:r>
            <a:rPr lang="es-ES" sz="1300" kern="1200" dirty="0">
              <a:latin typeface="+mn-lt"/>
            </a:rPr>
            <a:t>.</a:t>
          </a:r>
        </a:p>
        <a:p>
          <a:pPr marL="114300" lvl="1" indent="-114300" algn="l" defTabSz="577850">
            <a:lnSpc>
              <a:spcPct val="100000"/>
            </a:lnSpc>
            <a:spcBef>
              <a:spcPct val="0"/>
            </a:spcBef>
            <a:spcAft>
              <a:spcPts val="600"/>
            </a:spcAft>
            <a:buChar char="•"/>
          </a:pPr>
          <a:r>
            <a:rPr lang="es-ES" sz="1300" kern="1200" dirty="0">
              <a:highlight>
                <a:srgbClr val="FFFFCC"/>
              </a:highlight>
              <a:latin typeface="+mn-lt"/>
            </a:rPr>
            <a:t>Acceder a diversas fuentes </a:t>
          </a:r>
          <a:r>
            <a:rPr lang="es-ES" sz="1300" kern="1200" dirty="0">
              <a:latin typeface="+mn-lt"/>
            </a:rPr>
            <a:t>de información: Internas y Externas.</a:t>
          </a:r>
        </a:p>
        <a:p>
          <a:pPr marL="114300" lvl="1" indent="-114300" algn="l" defTabSz="577850">
            <a:lnSpc>
              <a:spcPct val="100000"/>
            </a:lnSpc>
            <a:spcBef>
              <a:spcPct val="0"/>
            </a:spcBef>
            <a:spcAft>
              <a:spcPts val="600"/>
            </a:spcAft>
            <a:buChar char="•"/>
          </a:pPr>
          <a:r>
            <a:rPr lang="es-ES" sz="1300" b="0" kern="1200" dirty="0">
              <a:highlight>
                <a:srgbClr val="FFFFCC"/>
              </a:highlight>
              <a:latin typeface="+mn-lt"/>
            </a:rPr>
            <a:t>Streaming</a:t>
          </a:r>
          <a:r>
            <a:rPr lang="es-ES" sz="1300" b="0" kern="1200" dirty="0">
              <a:latin typeface="+mn-lt"/>
            </a:rPr>
            <a:t>: </a:t>
          </a:r>
          <a:r>
            <a:rPr lang="es-ES" sz="1300" kern="1200" dirty="0">
              <a:latin typeface="+mn-lt"/>
            </a:rPr>
            <a:t>Procesado en real-time o near-real-time.</a:t>
          </a:r>
        </a:p>
        <a:p>
          <a:pPr marL="114300" lvl="1" indent="-114300" algn="l" defTabSz="577850">
            <a:lnSpc>
              <a:spcPct val="100000"/>
            </a:lnSpc>
            <a:spcBef>
              <a:spcPct val="0"/>
            </a:spcBef>
            <a:spcAft>
              <a:spcPts val="600"/>
            </a:spcAft>
            <a:buChar char="•"/>
          </a:pPr>
          <a:r>
            <a:rPr lang="es-ES" sz="1300" kern="1200" dirty="0">
              <a:latin typeface="+mn-lt"/>
            </a:rPr>
            <a:t>Análisis y generación de </a:t>
          </a:r>
          <a:r>
            <a:rPr lang="es-ES" sz="1300" kern="1200" dirty="0">
              <a:highlight>
                <a:srgbClr val="FFFFCC"/>
              </a:highlight>
              <a:latin typeface="+mn-lt"/>
            </a:rPr>
            <a:t>Texto libre.</a:t>
          </a:r>
        </a:p>
        <a:p>
          <a:pPr marL="114300" lvl="1" indent="-114300" algn="l" defTabSz="577850">
            <a:lnSpc>
              <a:spcPct val="100000"/>
            </a:lnSpc>
            <a:spcBef>
              <a:spcPct val="0"/>
            </a:spcBef>
            <a:spcAft>
              <a:spcPts val="600"/>
            </a:spcAft>
            <a:buChar char="•"/>
          </a:pPr>
          <a:r>
            <a:rPr lang="es-ES" sz="1300" kern="1200" dirty="0">
              <a:latin typeface="+mn-lt"/>
            </a:rPr>
            <a:t>Análisis y generación de  </a:t>
          </a:r>
          <a:r>
            <a:rPr lang="es-ES" sz="1300" kern="1200" dirty="0">
              <a:highlight>
                <a:srgbClr val="FFFFCC"/>
              </a:highlight>
              <a:latin typeface="+mn-lt"/>
            </a:rPr>
            <a:t>Imágenes.</a:t>
          </a:r>
        </a:p>
        <a:p>
          <a:pPr marL="114300" lvl="1" indent="-114300" algn="l" defTabSz="577850">
            <a:lnSpc>
              <a:spcPct val="100000"/>
            </a:lnSpc>
            <a:spcBef>
              <a:spcPct val="0"/>
            </a:spcBef>
            <a:spcAft>
              <a:spcPts val="600"/>
            </a:spcAft>
            <a:buChar char="•"/>
          </a:pPr>
          <a:r>
            <a:rPr lang="es-ES" sz="1300" kern="1200" dirty="0">
              <a:latin typeface="+mn-lt"/>
            </a:rPr>
            <a:t>Análisis y generación de </a:t>
          </a:r>
          <a:r>
            <a:rPr lang="es-ES" sz="1300" kern="1200" dirty="0">
              <a:highlight>
                <a:srgbClr val="FFFFCC"/>
              </a:highlight>
              <a:latin typeface="+mn-lt"/>
            </a:rPr>
            <a:t>Video.</a:t>
          </a:r>
        </a:p>
      </dsp:txBody>
      <dsp:txXfrm>
        <a:off x="736324" y="839087"/>
        <a:ext cx="2954528" cy="2907864"/>
      </dsp:txXfrm>
    </dsp:sp>
    <dsp:sp modelId="{A2654C41-F7C7-41E4-9BBB-5E58438F6C08}">
      <dsp:nvSpPr>
        <dsp:cNvPr id="0" name=""/>
        <dsp:cNvSpPr/>
      </dsp:nvSpPr>
      <dsp:spPr>
        <a:xfrm>
          <a:off x="3614442" y="171099"/>
          <a:ext cx="1007689" cy="780639"/>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s-ES" sz="1000" kern="1200">
            <a:latin typeface="+mn-lt"/>
          </a:endParaRPr>
        </a:p>
      </dsp:txBody>
      <dsp:txXfrm>
        <a:off x="3614442" y="327227"/>
        <a:ext cx="773497" cy="468383"/>
      </dsp:txXfrm>
    </dsp:sp>
    <dsp:sp modelId="{C593E13B-14C0-4F7F-82EA-5AD2B0FF7DB6}">
      <dsp:nvSpPr>
        <dsp:cNvPr id="0" name=""/>
        <dsp:cNvSpPr/>
      </dsp:nvSpPr>
      <dsp:spPr>
        <a:xfrm>
          <a:off x="5040417" y="374218"/>
          <a:ext cx="3135464" cy="561600"/>
        </a:xfrm>
        <a:prstGeom prst="roundRect">
          <a:avLst>
            <a:gd name="adj" fmla="val 1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s-ES_tradnl" sz="1300" b="1" kern="1200" dirty="0">
              <a:latin typeface="+mj-lt"/>
            </a:rPr>
            <a:t>Reducción de Costes</a:t>
          </a:r>
          <a:endParaRPr lang="es-ES" sz="1300" kern="1200" dirty="0">
            <a:latin typeface="+mj-lt"/>
          </a:endParaRPr>
        </a:p>
      </dsp:txBody>
      <dsp:txXfrm>
        <a:off x="5040417" y="374218"/>
        <a:ext cx="3135464" cy="374400"/>
      </dsp:txXfrm>
    </dsp:sp>
    <dsp:sp modelId="{CA349119-EC38-435E-9DAB-0B0553B76382}">
      <dsp:nvSpPr>
        <dsp:cNvPr id="0" name=""/>
        <dsp:cNvSpPr/>
      </dsp:nvSpPr>
      <dsp:spPr>
        <a:xfrm>
          <a:off x="5682620" y="748619"/>
          <a:ext cx="3135464" cy="3088800"/>
        </a:xfrm>
        <a:prstGeom prst="roundRect">
          <a:avLst>
            <a:gd name="adj" fmla="val 10000"/>
          </a:avLst>
        </a:prstGeom>
        <a:solidFill>
          <a:schemeClr val="lt1">
            <a:alpha val="90000"/>
            <a:hueOff val="0"/>
            <a:satOff val="0"/>
            <a:lumOff val="0"/>
            <a:alphaOff val="0"/>
          </a:schemeClr>
        </a:solidFill>
        <a:ln w="12700" cap="flat" cmpd="sng" algn="ctr">
          <a:solidFill>
            <a:schemeClr val="accent1">
              <a:shade val="50000"/>
              <a:hueOff val="402493"/>
              <a:satOff val="-9802"/>
              <a:lumOff val="428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100000"/>
            </a:lnSpc>
            <a:spcBef>
              <a:spcPct val="0"/>
            </a:spcBef>
            <a:spcAft>
              <a:spcPts val="600"/>
            </a:spcAft>
            <a:buChar char="•"/>
          </a:pPr>
          <a:r>
            <a:rPr lang="es-ES" sz="1400" kern="1200" dirty="0">
              <a:latin typeface="+mn-lt"/>
            </a:rPr>
            <a:t>Imposible o </a:t>
          </a:r>
          <a:r>
            <a:rPr lang="es-ES" sz="1400" kern="1200" dirty="0">
              <a:highlight>
                <a:srgbClr val="FFFFCC"/>
              </a:highlight>
              <a:latin typeface="+mn-lt"/>
            </a:rPr>
            <a:t>muy costoso con tecnologías convencionales</a:t>
          </a:r>
          <a:r>
            <a:rPr lang="es-ES" sz="1400" kern="1200" dirty="0">
              <a:latin typeface="+mn-lt"/>
            </a:rPr>
            <a:t>.</a:t>
          </a:r>
        </a:p>
        <a:p>
          <a:pPr marL="114300" lvl="1" indent="-114300" algn="l" defTabSz="622300">
            <a:lnSpc>
              <a:spcPct val="100000"/>
            </a:lnSpc>
            <a:spcBef>
              <a:spcPct val="0"/>
            </a:spcBef>
            <a:spcAft>
              <a:spcPts val="600"/>
            </a:spcAft>
            <a:buChar char="•"/>
          </a:pPr>
          <a:r>
            <a:rPr lang="es-ES" sz="1400" kern="1200" dirty="0">
              <a:latin typeface="+mn-lt"/>
            </a:rPr>
            <a:t>El Desarrollo divide los tiempos de las tecnologías convencionales  entre cuatro.</a:t>
          </a:r>
          <a:endParaRPr lang="en-US" sz="1400" kern="1200" dirty="0">
            <a:latin typeface="+mn-lt"/>
          </a:endParaRPr>
        </a:p>
        <a:p>
          <a:pPr marL="114300" lvl="1" indent="-114300" algn="l" defTabSz="622300">
            <a:lnSpc>
              <a:spcPct val="100000"/>
            </a:lnSpc>
            <a:spcBef>
              <a:spcPct val="0"/>
            </a:spcBef>
            <a:spcAft>
              <a:spcPts val="600"/>
            </a:spcAft>
            <a:buChar char="•"/>
          </a:pPr>
          <a:r>
            <a:rPr lang="es-ES" sz="1400" kern="1200" dirty="0">
              <a:highlight>
                <a:srgbClr val="FFFFCC"/>
              </a:highlight>
              <a:latin typeface="+mn-lt"/>
            </a:rPr>
            <a:t>Plataforma barata.</a:t>
          </a:r>
          <a:endParaRPr lang="es-ES" sz="1400" b="0" kern="1200" dirty="0">
            <a:highlight>
              <a:srgbClr val="FFFFCC"/>
            </a:highlight>
            <a:latin typeface="+mn-lt"/>
          </a:endParaRPr>
        </a:p>
        <a:p>
          <a:pPr marL="114300" lvl="1" indent="-114300" algn="l" defTabSz="622300">
            <a:lnSpc>
              <a:spcPct val="100000"/>
            </a:lnSpc>
            <a:spcBef>
              <a:spcPct val="0"/>
            </a:spcBef>
            <a:spcAft>
              <a:spcPts val="600"/>
            </a:spcAft>
            <a:buChar char="•"/>
          </a:pPr>
          <a:r>
            <a:rPr lang="es-ES" sz="1400" kern="1200" dirty="0">
              <a:highlight>
                <a:srgbClr val="FFFFCC"/>
              </a:highlight>
              <a:latin typeface="+mn-lt"/>
            </a:rPr>
            <a:t>Hardware barato</a:t>
          </a:r>
          <a:r>
            <a:rPr lang="es-ES" sz="1400" kern="1200" dirty="0">
              <a:latin typeface="+mn-lt"/>
            </a:rPr>
            <a:t>, Commodity</a:t>
          </a:r>
        </a:p>
        <a:p>
          <a:pPr marL="114300" lvl="1" indent="-114300" algn="l" defTabSz="622300">
            <a:lnSpc>
              <a:spcPct val="100000"/>
            </a:lnSpc>
            <a:spcBef>
              <a:spcPct val="0"/>
            </a:spcBef>
            <a:spcAft>
              <a:spcPts val="600"/>
            </a:spcAft>
            <a:buChar char="•"/>
          </a:pPr>
          <a:r>
            <a:rPr lang="es-ES_tradnl" sz="1400" b="0" kern="1200" dirty="0">
              <a:highlight>
                <a:srgbClr val="FFFFCC"/>
              </a:highlight>
              <a:latin typeface="+mn-lt"/>
            </a:rPr>
            <a:t>Escalabilidad y Volumen</a:t>
          </a:r>
          <a:endParaRPr lang="es-ES" sz="1400" b="0" kern="1200" dirty="0">
            <a:highlight>
              <a:srgbClr val="FFFFCC"/>
            </a:highlight>
            <a:latin typeface="+mn-lt"/>
          </a:endParaRPr>
        </a:p>
      </dsp:txBody>
      <dsp:txXfrm>
        <a:off x="5773088" y="839087"/>
        <a:ext cx="2954528" cy="2907864"/>
      </dsp:txXfrm>
    </dsp:sp>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5C583-0445-4AED-B71E-3FA1C9012BCE}">
      <dsp:nvSpPr>
        <dsp:cNvPr id="0" name=""/>
        <dsp:cNvSpPr/>
      </dsp:nvSpPr>
      <dsp:spPr>
        <a:xfrm>
          <a:off x="7107" y="414473"/>
          <a:ext cx="3069717" cy="2291479"/>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s-ES" sz="1600" kern="1200" dirty="0"/>
            <a:t>Escogen carreras relacionadas con las Ciencias Sociales y Jurídicas</a:t>
          </a:r>
        </a:p>
        <a:p>
          <a:pPr marL="171450" lvl="1" indent="-171450" algn="l" defTabSz="711200">
            <a:lnSpc>
              <a:spcPct val="90000"/>
            </a:lnSpc>
            <a:spcBef>
              <a:spcPct val="0"/>
            </a:spcBef>
            <a:spcAft>
              <a:spcPct val="15000"/>
            </a:spcAft>
            <a:buChar char="•"/>
          </a:pPr>
          <a:r>
            <a:rPr lang="es-ES" sz="1600" kern="1200" dirty="0"/>
            <a:t>Obvian: Ciencias, la Tecnología, la Ingeniería o las Matemáticas, presentan más salidas laborales.</a:t>
          </a:r>
        </a:p>
      </dsp:txBody>
      <dsp:txXfrm>
        <a:off x="60799" y="468165"/>
        <a:ext cx="2962333" cy="2237787"/>
      </dsp:txXfrm>
    </dsp:sp>
    <dsp:sp modelId="{C1823FC1-C543-43C0-805A-E2AB05FB4F83}">
      <dsp:nvSpPr>
        <dsp:cNvPr id="0" name=""/>
        <dsp:cNvSpPr/>
      </dsp:nvSpPr>
      <dsp:spPr>
        <a:xfrm>
          <a:off x="7107" y="2830148"/>
          <a:ext cx="3069717" cy="736942"/>
        </a:xfrm>
        <a:prstGeom prst="rect">
          <a:avLst/>
        </a:prstGeom>
        <a:solidFill>
          <a:schemeClr val="tx1">
            <a:lumMod val="50000"/>
            <a:lumOff val="5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ct val="35000"/>
            </a:spcAft>
            <a:buNone/>
          </a:pPr>
          <a:r>
            <a:rPr lang="es-ES" sz="1600" b="1" kern="1200" dirty="0"/>
            <a:t>Las preferencias de los alumnos no responden a la necesidad del mercado</a:t>
          </a:r>
          <a:endParaRPr lang="es-ES" sz="1600" kern="1200" dirty="0"/>
        </a:p>
      </dsp:txBody>
      <dsp:txXfrm>
        <a:off x="7107" y="2830148"/>
        <a:ext cx="2161772" cy="736942"/>
      </dsp:txXfrm>
    </dsp:sp>
    <dsp:sp modelId="{C2ABD96C-AB47-4413-9EF0-9DD28DF5F752}">
      <dsp:nvSpPr>
        <dsp:cNvPr id="0" name=""/>
        <dsp:cNvSpPr/>
      </dsp:nvSpPr>
      <dsp:spPr>
        <a:xfrm>
          <a:off x="2255717" y="2862463"/>
          <a:ext cx="1074401" cy="1074401"/>
        </a:xfrm>
        <a:prstGeom prst="ellipse">
          <a:avLst/>
        </a:prstGeom>
        <a:blipFill rotWithShape="1">
          <a:blip xmlns:r="http://schemas.openxmlformats.org/officeDocument/2006/relationships" r:embed="rId1">
            <a:duotone>
              <a:prstClr val="black"/>
              <a:srgbClr val="99CB38">
                <a:tint val="45000"/>
                <a:satMod val="400000"/>
              </a:srgbClr>
            </a:duotone>
            <a:extLst>
              <a:ext uri="{28A0092B-C50C-407E-A947-70E740481C1C}">
                <a14:useLocalDpi xmlns:a14="http://schemas.microsoft.com/office/drawing/2010/main" val="0"/>
              </a:ext>
            </a:extLst>
          </a:blip>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94BACD-1D0B-45FF-88D2-F8EC105E768D}">
      <dsp:nvSpPr>
        <dsp:cNvPr id="0" name=""/>
        <dsp:cNvSpPr/>
      </dsp:nvSpPr>
      <dsp:spPr>
        <a:xfrm>
          <a:off x="3596294" y="414473"/>
          <a:ext cx="3069717" cy="2291479"/>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l" defTabSz="533400">
            <a:lnSpc>
              <a:spcPct val="90000"/>
            </a:lnSpc>
            <a:spcBef>
              <a:spcPct val="0"/>
            </a:spcBef>
            <a:spcAft>
              <a:spcPts val="0"/>
            </a:spcAft>
            <a:buChar char="•"/>
          </a:pPr>
          <a:r>
            <a:rPr lang="es-ES" sz="1200" kern="1200" dirty="0"/>
            <a:t>Abogados y Notarios</a:t>
          </a:r>
        </a:p>
        <a:p>
          <a:pPr marL="114300" lvl="1" indent="-114300" algn="l" defTabSz="533400">
            <a:lnSpc>
              <a:spcPct val="90000"/>
            </a:lnSpc>
            <a:spcBef>
              <a:spcPct val="0"/>
            </a:spcBef>
            <a:spcAft>
              <a:spcPts val="0"/>
            </a:spcAft>
            <a:buChar char="•"/>
          </a:pPr>
          <a:r>
            <a:rPr lang="es-ES" sz="1200" kern="1200" dirty="0"/>
            <a:t>Empleo Público</a:t>
          </a:r>
        </a:p>
        <a:p>
          <a:pPr marL="114300" lvl="1" indent="-114300" algn="l" defTabSz="533400">
            <a:lnSpc>
              <a:spcPct val="90000"/>
            </a:lnSpc>
            <a:spcBef>
              <a:spcPct val="0"/>
            </a:spcBef>
            <a:spcAft>
              <a:spcPts val="0"/>
            </a:spcAft>
            <a:buChar char="•"/>
          </a:pPr>
          <a:r>
            <a:rPr lang="es-ES" sz="1200" kern="1200" dirty="0"/>
            <a:t>Trabajadores de ensamblaje y manufactura</a:t>
          </a:r>
        </a:p>
        <a:p>
          <a:pPr marL="114300" lvl="1" indent="-114300" algn="l" defTabSz="533400">
            <a:lnSpc>
              <a:spcPct val="90000"/>
            </a:lnSpc>
            <a:spcBef>
              <a:spcPct val="0"/>
            </a:spcBef>
            <a:spcAft>
              <a:spcPts val="0"/>
            </a:spcAft>
            <a:buChar char="•"/>
          </a:pPr>
          <a:r>
            <a:rPr lang="es-ES" sz="1200" kern="1200" dirty="0"/>
            <a:t>Cajeros y trabajadores de supermercados</a:t>
          </a:r>
        </a:p>
        <a:p>
          <a:pPr marL="114300" lvl="1" indent="-114300" algn="l" defTabSz="533400">
            <a:lnSpc>
              <a:spcPct val="90000"/>
            </a:lnSpc>
            <a:spcBef>
              <a:spcPct val="0"/>
            </a:spcBef>
            <a:spcAft>
              <a:spcPts val="0"/>
            </a:spcAft>
            <a:buChar char="•"/>
          </a:pPr>
          <a:r>
            <a:rPr lang="es-ES" sz="1200" kern="1200" dirty="0"/>
            <a:t>Operadores de telemarketing</a:t>
          </a:r>
        </a:p>
        <a:p>
          <a:pPr marL="114300" lvl="1" indent="-114300" algn="l" defTabSz="533400">
            <a:lnSpc>
              <a:spcPct val="90000"/>
            </a:lnSpc>
            <a:spcBef>
              <a:spcPct val="0"/>
            </a:spcBef>
            <a:spcAft>
              <a:spcPts val="0"/>
            </a:spcAft>
            <a:buChar char="•"/>
          </a:pPr>
          <a:r>
            <a:rPr lang="es-ES" sz="1200" kern="1200" dirty="0"/>
            <a:t>Operadores de atención al cliente</a:t>
          </a:r>
        </a:p>
        <a:p>
          <a:pPr marL="114300" lvl="1" indent="-114300" algn="l" defTabSz="533400">
            <a:lnSpc>
              <a:spcPct val="90000"/>
            </a:lnSpc>
            <a:spcBef>
              <a:spcPct val="0"/>
            </a:spcBef>
            <a:spcAft>
              <a:spcPts val="0"/>
            </a:spcAft>
            <a:buChar char="•"/>
          </a:pPr>
          <a:r>
            <a:rPr lang="es-ES" sz="1200" kern="1200" dirty="0"/>
            <a:t>Trabajadores en el sector financiero</a:t>
          </a:r>
        </a:p>
        <a:p>
          <a:pPr marL="114300" lvl="1" indent="-114300" algn="l" defTabSz="533400">
            <a:lnSpc>
              <a:spcPct val="90000"/>
            </a:lnSpc>
            <a:spcBef>
              <a:spcPct val="0"/>
            </a:spcBef>
            <a:spcAft>
              <a:spcPts val="0"/>
            </a:spcAft>
            <a:buChar char="•"/>
          </a:pPr>
          <a:r>
            <a:rPr lang="es-ES" sz="1200" kern="1200" dirty="0"/>
            <a:t>Trabajadores Back Office de grandes empresas: Telco, Energía, Distribución... </a:t>
          </a:r>
        </a:p>
        <a:p>
          <a:pPr marL="114300" lvl="1" indent="-114300" algn="l" defTabSz="533400">
            <a:lnSpc>
              <a:spcPct val="90000"/>
            </a:lnSpc>
            <a:spcBef>
              <a:spcPct val="0"/>
            </a:spcBef>
            <a:spcAft>
              <a:spcPts val="0"/>
            </a:spcAft>
            <a:buChar char="•"/>
          </a:pPr>
          <a:r>
            <a:rPr lang="es-ES" sz="1200" kern="1200" dirty="0"/>
            <a:t>Conductores de vehículos</a:t>
          </a:r>
        </a:p>
        <a:p>
          <a:pPr marL="114300" lvl="1" indent="-114300" algn="l" defTabSz="533400">
            <a:lnSpc>
              <a:spcPct val="90000"/>
            </a:lnSpc>
            <a:spcBef>
              <a:spcPct val="0"/>
            </a:spcBef>
            <a:spcAft>
              <a:spcPts val="0"/>
            </a:spcAft>
            <a:buChar char="•"/>
          </a:pPr>
          <a:r>
            <a:rPr lang="es-ES" sz="1200" kern="1200" dirty="0"/>
            <a:t>Empleados de servicios postales y mensajería</a:t>
          </a:r>
        </a:p>
        <a:p>
          <a:pPr marL="114300" lvl="1" indent="-114300" algn="l" defTabSz="533400">
            <a:lnSpc>
              <a:spcPct val="90000"/>
            </a:lnSpc>
            <a:spcBef>
              <a:spcPct val="0"/>
            </a:spcBef>
            <a:spcAft>
              <a:spcPts val="0"/>
            </a:spcAft>
            <a:buChar char="•"/>
          </a:pPr>
          <a:r>
            <a:rPr lang="es-ES" sz="1200" kern="1200" dirty="0"/>
            <a:t>Recepcionistas y asistentes administrativos</a:t>
          </a:r>
        </a:p>
        <a:p>
          <a:pPr marL="114300" lvl="1" indent="-114300" algn="l" defTabSz="533400">
            <a:lnSpc>
              <a:spcPct val="90000"/>
            </a:lnSpc>
            <a:spcBef>
              <a:spcPct val="0"/>
            </a:spcBef>
            <a:spcAft>
              <a:spcPts val="0"/>
            </a:spcAft>
            <a:buChar char="•"/>
          </a:pPr>
          <a:r>
            <a:rPr lang="es-ES" sz="1200" kern="1200" dirty="0"/>
            <a:t>Contadores y auditores</a:t>
          </a:r>
        </a:p>
        <a:p>
          <a:pPr marL="114300" lvl="1" indent="-114300" algn="l" defTabSz="533400">
            <a:lnSpc>
              <a:spcPct val="90000"/>
            </a:lnSpc>
            <a:spcBef>
              <a:spcPct val="0"/>
            </a:spcBef>
            <a:spcAft>
              <a:spcPts val="0"/>
            </a:spcAft>
            <a:buChar char="•"/>
          </a:pPr>
          <a:r>
            <a:rPr lang="es-ES" sz="1200" kern="1200" dirty="0"/>
            <a:t>Trabajadores de la construcción</a:t>
          </a:r>
        </a:p>
      </dsp:txBody>
      <dsp:txXfrm>
        <a:off x="3649986" y="468165"/>
        <a:ext cx="2962333" cy="2237787"/>
      </dsp:txXfrm>
    </dsp:sp>
    <dsp:sp modelId="{C618CCB6-A667-4A92-8D27-9A906C06FC55}">
      <dsp:nvSpPr>
        <dsp:cNvPr id="0" name=""/>
        <dsp:cNvSpPr/>
      </dsp:nvSpPr>
      <dsp:spPr>
        <a:xfrm>
          <a:off x="3596294" y="2830685"/>
          <a:ext cx="3069717" cy="735868"/>
        </a:xfrm>
        <a:prstGeom prst="rect">
          <a:avLst/>
        </a:prstGeom>
        <a:solidFill>
          <a:srgbClr val="FF0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s-ES" sz="1800" kern="1200" dirty="0"/>
            <a:t>Empleos en riesgo</a:t>
          </a:r>
        </a:p>
      </dsp:txBody>
      <dsp:txXfrm>
        <a:off x="3596294" y="2830685"/>
        <a:ext cx="2161772" cy="735868"/>
      </dsp:txXfrm>
    </dsp:sp>
    <dsp:sp modelId="{DA9D2D37-5A24-4FE9-8163-27592143BEF7}">
      <dsp:nvSpPr>
        <dsp:cNvPr id="0" name=""/>
        <dsp:cNvSpPr/>
      </dsp:nvSpPr>
      <dsp:spPr>
        <a:xfrm>
          <a:off x="5844904" y="2862463"/>
          <a:ext cx="1074401" cy="1074401"/>
        </a:xfrm>
        <a:prstGeom prst="ellipse">
          <a:avLst/>
        </a:prstGeom>
        <a:blipFill rotWithShape="1">
          <a:blip xmlns:r="http://schemas.openxmlformats.org/officeDocument/2006/relationships"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t="-7000" b="-7000"/>
          </a:stretch>
        </a:blipFill>
        <a:ln w="12700" cap="flat" cmpd="sng" algn="ctr">
          <a:solidFill>
            <a:schemeClr val="bg1">
              <a:alpha val="90000"/>
            </a:schemeClr>
          </a:solidFill>
          <a:prstDash val="solid"/>
          <a:miter lim="800000"/>
        </a:ln>
        <a:effectLst/>
      </dsp:spPr>
      <dsp:style>
        <a:lnRef idx="2">
          <a:scrgbClr r="0" g="0" b="0"/>
        </a:lnRef>
        <a:fillRef idx="1">
          <a:scrgbClr r="0" g="0" b="0"/>
        </a:fillRef>
        <a:effectRef idx="0">
          <a:scrgbClr r="0" g="0" b="0"/>
        </a:effectRef>
        <a:fontRef idx="minor"/>
      </dsp:style>
    </dsp:sp>
    <dsp:sp modelId="{DE703D61-2760-4B38-B281-99B1B53A6357}">
      <dsp:nvSpPr>
        <dsp:cNvPr id="0" name=""/>
        <dsp:cNvSpPr/>
      </dsp:nvSpPr>
      <dsp:spPr>
        <a:xfrm>
          <a:off x="7185481" y="414473"/>
          <a:ext cx="3069717" cy="2291479"/>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l" defTabSz="533400">
            <a:lnSpc>
              <a:spcPct val="90000"/>
            </a:lnSpc>
            <a:spcBef>
              <a:spcPct val="0"/>
            </a:spcBef>
            <a:spcAft>
              <a:spcPct val="15000"/>
            </a:spcAft>
            <a:buChar char="•"/>
          </a:pPr>
          <a:r>
            <a:rPr lang="es-ES" sz="1200" kern="1200" dirty="0"/>
            <a:t>lDesarrolladores de Software y Programadores: (Python, Java, JavaScript y movilidad).</a:t>
          </a:r>
        </a:p>
        <a:p>
          <a:pPr marL="114300" lvl="1" indent="-114300" algn="l" defTabSz="533400">
            <a:lnSpc>
              <a:spcPct val="90000"/>
            </a:lnSpc>
            <a:spcBef>
              <a:spcPct val="0"/>
            </a:spcBef>
            <a:spcAft>
              <a:spcPct val="15000"/>
            </a:spcAft>
            <a:buChar char="•"/>
          </a:pPr>
          <a:r>
            <a:rPr lang="es-ES" sz="1200" kern="1200" dirty="0"/>
            <a:t>Ingenieros de Inteligencia Artificial y Machine Learning</a:t>
          </a:r>
        </a:p>
        <a:p>
          <a:pPr marL="114300" lvl="1" indent="-114300" algn="l" defTabSz="533400">
            <a:lnSpc>
              <a:spcPct val="90000"/>
            </a:lnSpc>
            <a:spcBef>
              <a:spcPct val="0"/>
            </a:spcBef>
            <a:spcAft>
              <a:spcPct val="15000"/>
            </a:spcAft>
            <a:buChar char="•"/>
          </a:pPr>
          <a:r>
            <a:rPr lang="es-ES" sz="1200" kern="1200" dirty="0"/>
            <a:t>Científicos de Datos y Analistas de Datos</a:t>
          </a:r>
        </a:p>
        <a:p>
          <a:pPr marL="114300" lvl="1" indent="-114300" algn="l" defTabSz="533400">
            <a:lnSpc>
              <a:spcPct val="90000"/>
            </a:lnSpc>
            <a:spcBef>
              <a:spcPct val="0"/>
            </a:spcBef>
            <a:spcAft>
              <a:spcPct val="15000"/>
            </a:spcAft>
            <a:buChar char="•"/>
          </a:pPr>
          <a:r>
            <a:rPr lang="es-ES" sz="1200" kern="1200" dirty="0"/>
            <a:t>Especialistas en Ciberseguridad</a:t>
          </a:r>
        </a:p>
        <a:p>
          <a:pPr marL="114300" lvl="1" indent="-114300" algn="l" defTabSz="533400">
            <a:lnSpc>
              <a:spcPct val="90000"/>
            </a:lnSpc>
            <a:spcBef>
              <a:spcPct val="0"/>
            </a:spcBef>
            <a:spcAft>
              <a:spcPct val="15000"/>
            </a:spcAft>
            <a:buChar char="•"/>
          </a:pPr>
          <a:r>
            <a:rPr lang="es-ES" sz="1200" kern="1200" dirty="0"/>
            <a:t>Profesionales en Experiencia del Usuario (UX) y Diseño de Interfaz de Usuario (UI)</a:t>
          </a:r>
        </a:p>
        <a:p>
          <a:pPr marL="114300" lvl="1" indent="-114300" algn="l" defTabSz="533400">
            <a:lnSpc>
              <a:spcPct val="90000"/>
            </a:lnSpc>
            <a:spcBef>
              <a:spcPct val="0"/>
            </a:spcBef>
            <a:spcAft>
              <a:spcPct val="15000"/>
            </a:spcAft>
            <a:buChar char="•"/>
          </a:pPr>
          <a:r>
            <a:rPr lang="es-ES" sz="1200" kern="1200" dirty="0"/>
            <a:t>Expertos en Tecnología de la Información (TI)</a:t>
          </a:r>
        </a:p>
        <a:p>
          <a:pPr marL="114300" lvl="1" indent="-114300" algn="l" defTabSz="533400">
            <a:lnSpc>
              <a:spcPct val="90000"/>
            </a:lnSpc>
            <a:spcBef>
              <a:spcPct val="0"/>
            </a:spcBef>
            <a:spcAft>
              <a:spcPct val="15000"/>
            </a:spcAft>
            <a:buChar char="•"/>
          </a:pPr>
          <a:r>
            <a:rPr lang="es-ES" sz="1200" kern="1200" dirty="0"/>
            <a:t>Especialistas en Energías Renovables</a:t>
          </a:r>
        </a:p>
        <a:p>
          <a:pPr marL="114300" lvl="1" indent="-114300" algn="l" defTabSz="533400">
            <a:lnSpc>
              <a:spcPct val="90000"/>
            </a:lnSpc>
            <a:spcBef>
              <a:spcPct val="0"/>
            </a:spcBef>
            <a:spcAft>
              <a:spcPct val="15000"/>
            </a:spcAft>
            <a:buChar char="•"/>
          </a:pPr>
          <a:r>
            <a:rPr lang="es-ES" sz="1200" kern="1200" dirty="0"/>
            <a:t>Profesionales de la Salud Digital</a:t>
          </a:r>
        </a:p>
        <a:p>
          <a:pPr marL="114300" lvl="1" indent="-114300" algn="l" defTabSz="533400">
            <a:lnSpc>
              <a:spcPct val="90000"/>
            </a:lnSpc>
            <a:spcBef>
              <a:spcPct val="0"/>
            </a:spcBef>
            <a:spcAft>
              <a:spcPct val="15000"/>
            </a:spcAft>
            <a:buChar char="•"/>
          </a:pPr>
          <a:r>
            <a:rPr lang="es-ES" sz="1200" kern="1200" dirty="0"/>
            <a:t>Especialistas en Ética de la Inteligencia Artificial</a:t>
          </a:r>
        </a:p>
        <a:p>
          <a:pPr marL="114300" lvl="1" indent="-114300" algn="l" defTabSz="533400">
            <a:lnSpc>
              <a:spcPct val="90000"/>
            </a:lnSpc>
            <a:spcBef>
              <a:spcPct val="0"/>
            </a:spcBef>
            <a:spcAft>
              <a:spcPct val="15000"/>
            </a:spcAft>
            <a:buChar char="•"/>
          </a:pPr>
          <a:r>
            <a:rPr lang="es-ES" sz="1200" kern="1200" dirty="0"/>
            <a:t>Orientación al ocio y a la tercera Edad</a:t>
          </a:r>
        </a:p>
      </dsp:txBody>
      <dsp:txXfrm>
        <a:off x="7239173" y="468165"/>
        <a:ext cx="2962333" cy="2237787"/>
      </dsp:txXfrm>
    </dsp:sp>
    <dsp:sp modelId="{503CF6A9-FE5D-4456-8B2D-A60656297B43}">
      <dsp:nvSpPr>
        <dsp:cNvPr id="0" name=""/>
        <dsp:cNvSpPr/>
      </dsp:nvSpPr>
      <dsp:spPr>
        <a:xfrm>
          <a:off x="7185481" y="2830148"/>
          <a:ext cx="3069717" cy="73694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s-ES" sz="1800" kern="1200" dirty="0"/>
            <a:t>Empleos con futuro</a:t>
          </a:r>
        </a:p>
      </dsp:txBody>
      <dsp:txXfrm>
        <a:off x="7185481" y="2830148"/>
        <a:ext cx="2161772" cy="736942"/>
      </dsp:txXfrm>
    </dsp:sp>
    <dsp:sp modelId="{8F2323C1-D9F8-44F9-AD00-C6E6476DCF19}">
      <dsp:nvSpPr>
        <dsp:cNvPr id="0" name=""/>
        <dsp:cNvSpPr/>
      </dsp:nvSpPr>
      <dsp:spPr>
        <a:xfrm>
          <a:off x="9434091" y="2862463"/>
          <a:ext cx="1074401" cy="1074401"/>
        </a:xfrm>
        <a:prstGeom prst="ellipse">
          <a:avLst/>
        </a:prstGeom>
        <a:blipFill rotWithShape="1">
          <a:blip xmlns:r="http://schemas.openxmlformats.org/officeDocument/2006/relationships"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B4AE60-DEA0-45AF-A4E7-55828F80C537}">
      <dsp:nvSpPr>
        <dsp:cNvPr id="0" name=""/>
        <dsp:cNvSpPr/>
      </dsp:nvSpPr>
      <dsp:spPr>
        <a:xfrm>
          <a:off x="4672975" y="1038599"/>
          <a:ext cx="2500940" cy="2500940"/>
        </a:xfrm>
        <a:prstGeom prst="ellipse">
          <a:avLst/>
        </a:prstGeom>
        <a:gradFill rotWithShape="0">
          <a:gsLst>
            <a:gs pos="0">
              <a:schemeClr val="accent1">
                <a:shade val="80000"/>
                <a:alpha val="50000"/>
                <a:hueOff val="0"/>
                <a:satOff val="0"/>
                <a:lumOff val="0"/>
                <a:alphaOff val="0"/>
                <a:lumMod val="110000"/>
                <a:satMod val="105000"/>
                <a:tint val="67000"/>
              </a:schemeClr>
            </a:gs>
            <a:gs pos="50000">
              <a:schemeClr val="accent1">
                <a:shade val="80000"/>
                <a:alpha val="50000"/>
                <a:hueOff val="0"/>
                <a:satOff val="0"/>
                <a:lumOff val="0"/>
                <a:alphaOff val="0"/>
                <a:lumMod val="105000"/>
                <a:satMod val="103000"/>
                <a:tint val="73000"/>
              </a:schemeClr>
            </a:gs>
            <a:gs pos="100000">
              <a:schemeClr val="accent1">
                <a:shade val="80000"/>
                <a:alpha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endParaRPr lang="es-ES" sz="4800" kern="1200" dirty="0">
            <a:latin typeface="Avenir LT Std 35 Light" panose="020B0402020203020204" pitchFamily="34" charset="0"/>
            <a:cs typeface="Calibri" panose="020F0502020204030204" pitchFamily="34" charset="0"/>
          </a:endParaRPr>
        </a:p>
        <a:p>
          <a:pPr marL="0" lvl="0" indent="0" algn="ctr" defTabSz="2133600">
            <a:lnSpc>
              <a:spcPct val="90000"/>
            </a:lnSpc>
            <a:spcBef>
              <a:spcPct val="0"/>
            </a:spcBef>
            <a:spcAft>
              <a:spcPct val="35000"/>
            </a:spcAft>
            <a:buNone/>
          </a:pPr>
          <a:r>
            <a:rPr lang="es-ES" sz="3600" kern="1200" dirty="0">
              <a:latin typeface="Avenir LT Std 35 Light" panose="020B0402020203020204" pitchFamily="34" charset="0"/>
              <a:cs typeface="Calibri" panose="020F0502020204030204" pitchFamily="34" charset="0"/>
            </a:rPr>
            <a:t>Cliente</a:t>
          </a:r>
        </a:p>
      </dsp:txBody>
      <dsp:txXfrm>
        <a:off x="5039229" y="1404853"/>
        <a:ext cx="1768432" cy="1768432"/>
      </dsp:txXfrm>
    </dsp:sp>
    <dsp:sp modelId="{AEA4595D-C1A9-434A-864B-A882DBA0BD5F}">
      <dsp:nvSpPr>
        <dsp:cNvPr id="0" name=""/>
        <dsp:cNvSpPr/>
      </dsp:nvSpPr>
      <dsp:spPr>
        <a:xfrm>
          <a:off x="5154512" y="-154993"/>
          <a:ext cx="1537865" cy="1630750"/>
        </a:xfrm>
        <a:prstGeom prst="ellipse">
          <a:avLst/>
        </a:prstGeom>
        <a:gradFill rotWithShape="0">
          <a:gsLst>
            <a:gs pos="0">
              <a:schemeClr val="accent1">
                <a:shade val="80000"/>
                <a:alpha val="50000"/>
                <a:hueOff val="4"/>
                <a:satOff val="761"/>
                <a:lumOff val="1271"/>
                <a:alphaOff val="7500"/>
                <a:lumMod val="110000"/>
                <a:satMod val="105000"/>
                <a:tint val="67000"/>
              </a:schemeClr>
            </a:gs>
            <a:gs pos="50000">
              <a:schemeClr val="accent1">
                <a:shade val="80000"/>
                <a:alpha val="50000"/>
                <a:hueOff val="4"/>
                <a:satOff val="761"/>
                <a:lumOff val="1271"/>
                <a:alphaOff val="7500"/>
                <a:lumMod val="105000"/>
                <a:satMod val="103000"/>
                <a:tint val="73000"/>
              </a:schemeClr>
            </a:gs>
            <a:gs pos="100000">
              <a:schemeClr val="accent1">
                <a:shade val="80000"/>
                <a:alpha val="50000"/>
                <a:hueOff val="4"/>
                <a:satOff val="761"/>
                <a:lumOff val="1271"/>
                <a:alphaOff val="75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ES" sz="1800" kern="1200" dirty="0">
              <a:latin typeface="Avenir LT Std 35 Light" panose="020B0402020203020204" pitchFamily="34" charset="0"/>
              <a:cs typeface="Calibri" panose="020F0502020204030204" pitchFamily="34" charset="0"/>
            </a:rPr>
            <a:t>Liderazgo</a:t>
          </a:r>
        </a:p>
      </dsp:txBody>
      <dsp:txXfrm>
        <a:off x="5379727" y="83825"/>
        <a:ext cx="1087435" cy="1153114"/>
      </dsp:txXfrm>
    </dsp:sp>
    <dsp:sp modelId="{432F4BCF-9A1C-42BA-9BF2-9623C49EF207}">
      <dsp:nvSpPr>
        <dsp:cNvPr id="0" name=""/>
        <dsp:cNvSpPr/>
      </dsp:nvSpPr>
      <dsp:spPr>
        <a:xfrm>
          <a:off x="6675947" y="1492932"/>
          <a:ext cx="1752371" cy="1592273"/>
        </a:xfrm>
        <a:prstGeom prst="ellipse">
          <a:avLst/>
        </a:prstGeom>
        <a:gradFill rotWithShape="0">
          <a:gsLst>
            <a:gs pos="0">
              <a:schemeClr val="accent1">
                <a:shade val="80000"/>
                <a:alpha val="50000"/>
                <a:hueOff val="7"/>
                <a:satOff val="1521"/>
                <a:lumOff val="2542"/>
                <a:alphaOff val="15000"/>
                <a:lumMod val="110000"/>
                <a:satMod val="105000"/>
                <a:tint val="67000"/>
              </a:schemeClr>
            </a:gs>
            <a:gs pos="50000">
              <a:schemeClr val="accent1">
                <a:shade val="80000"/>
                <a:alpha val="50000"/>
                <a:hueOff val="7"/>
                <a:satOff val="1521"/>
                <a:lumOff val="2542"/>
                <a:alphaOff val="15000"/>
                <a:lumMod val="105000"/>
                <a:satMod val="103000"/>
                <a:tint val="73000"/>
              </a:schemeClr>
            </a:gs>
            <a:gs pos="100000">
              <a:schemeClr val="accent1">
                <a:shade val="80000"/>
                <a:alpha val="50000"/>
                <a:hueOff val="7"/>
                <a:satOff val="1521"/>
                <a:lumOff val="2542"/>
                <a:alphaOff val="15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ES" sz="1800" kern="1200" dirty="0">
              <a:latin typeface="Avenir LT Std 35 Light" panose="020B0402020203020204" pitchFamily="34" charset="0"/>
              <a:cs typeface="Calibri" panose="020F0502020204030204" pitchFamily="34" charset="0"/>
            </a:rPr>
            <a:t>Operaciones y empleados</a:t>
          </a:r>
        </a:p>
      </dsp:txBody>
      <dsp:txXfrm>
        <a:off x="6932576" y="1726115"/>
        <a:ext cx="1239113" cy="1125907"/>
      </dsp:txXfrm>
    </dsp:sp>
    <dsp:sp modelId="{7762B66C-BE59-44E8-9669-DD25AAE0E9DC}">
      <dsp:nvSpPr>
        <dsp:cNvPr id="0" name=""/>
        <dsp:cNvSpPr/>
      </dsp:nvSpPr>
      <dsp:spPr>
        <a:xfrm>
          <a:off x="5079328" y="3171782"/>
          <a:ext cx="1688234" cy="1491948"/>
        </a:xfrm>
        <a:prstGeom prst="ellipse">
          <a:avLst/>
        </a:prstGeom>
        <a:gradFill rotWithShape="0">
          <a:gsLst>
            <a:gs pos="0">
              <a:schemeClr val="accent1">
                <a:shade val="80000"/>
                <a:alpha val="50000"/>
                <a:hueOff val="11"/>
                <a:satOff val="2282"/>
                <a:lumOff val="3813"/>
                <a:alphaOff val="22500"/>
                <a:lumMod val="110000"/>
                <a:satMod val="105000"/>
                <a:tint val="67000"/>
              </a:schemeClr>
            </a:gs>
            <a:gs pos="50000">
              <a:schemeClr val="accent1">
                <a:shade val="80000"/>
                <a:alpha val="50000"/>
                <a:hueOff val="11"/>
                <a:satOff val="2282"/>
                <a:lumOff val="3813"/>
                <a:alphaOff val="22500"/>
                <a:lumMod val="105000"/>
                <a:satMod val="103000"/>
                <a:tint val="73000"/>
              </a:schemeClr>
            </a:gs>
            <a:gs pos="100000">
              <a:schemeClr val="accent1">
                <a:shade val="80000"/>
                <a:alpha val="50000"/>
                <a:hueOff val="11"/>
                <a:satOff val="2282"/>
                <a:lumOff val="3813"/>
                <a:alphaOff val="225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ES" sz="1800" kern="1200" dirty="0">
              <a:latin typeface="Avenir LT Std 35 Light" panose="020B0402020203020204" pitchFamily="34" charset="0"/>
              <a:cs typeface="Calibri" panose="020F0502020204030204" pitchFamily="34" charset="0"/>
            </a:rPr>
            <a:t>Tecnología e innovación</a:t>
          </a:r>
        </a:p>
      </dsp:txBody>
      <dsp:txXfrm>
        <a:off x="5326564" y="3390273"/>
        <a:ext cx="1193762" cy="1054966"/>
      </dsp:txXfrm>
    </dsp:sp>
    <dsp:sp modelId="{CDB3B3BE-7290-4583-BE39-37E86E87275C}">
      <dsp:nvSpPr>
        <dsp:cNvPr id="0" name=""/>
        <dsp:cNvSpPr/>
      </dsp:nvSpPr>
      <dsp:spPr>
        <a:xfrm>
          <a:off x="3342262" y="1441138"/>
          <a:ext cx="1904991" cy="1695862"/>
        </a:xfrm>
        <a:prstGeom prst="ellipse">
          <a:avLst/>
        </a:prstGeom>
        <a:gradFill rotWithShape="0">
          <a:gsLst>
            <a:gs pos="0">
              <a:schemeClr val="accent1">
                <a:shade val="80000"/>
                <a:alpha val="50000"/>
                <a:hueOff val="15"/>
                <a:satOff val="3042"/>
                <a:lumOff val="5084"/>
                <a:alphaOff val="30000"/>
                <a:lumMod val="110000"/>
                <a:satMod val="105000"/>
                <a:tint val="67000"/>
              </a:schemeClr>
            </a:gs>
            <a:gs pos="50000">
              <a:schemeClr val="accent1">
                <a:shade val="80000"/>
                <a:alpha val="50000"/>
                <a:hueOff val="15"/>
                <a:satOff val="3042"/>
                <a:lumOff val="5084"/>
                <a:alphaOff val="30000"/>
                <a:lumMod val="105000"/>
                <a:satMod val="103000"/>
                <a:tint val="73000"/>
              </a:schemeClr>
            </a:gs>
            <a:gs pos="100000">
              <a:schemeClr val="accent1">
                <a:shade val="80000"/>
                <a:alpha val="50000"/>
                <a:hueOff val="15"/>
                <a:satOff val="3042"/>
                <a:lumOff val="5084"/>
                <a:alphaOff val="3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s-ES" sz="1800" kern="1200" dirty="0">
              <a:latin typeface="Avenir LT Std 35 Light" panose="020B0402020203020204" pitchFamily="34" charset="0"/>
              <a:cs typeface="Calibri" panose="020F0502020204030204" pitchFamily="34" charset="0"/>
            </a:rPr>
            <a:t>Nuevos modelos de negocio</a:t>
          </a:r>
        </a:p>
      </dsp:txBody>
      <dsp:txXfrm>
        <a:off x="3621241" y="1689491"/>
        <a:ext cx="1347033" cy="1199156"/>
      </dsp:txXfrm>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78BEB2-DDBD-41E5-BCC2-6A3C156F5D7E}">
      <dsp:nvSpPr>
        <dsp:cNvPr id="0" name=""/>
        <dsp:cNvSpPr/>
      </dsp:nvSpPr>
      <dsp:spPr>
        <a:xfrm>
          <a:off x="5191766" y="1940144"/>
          <a:ext cx="4429564" cy="395073"/>
        </a:xfrm>
        <a:custGeom>
          <a:avLst/>
          <a:gdLst/>
          <a:ahLst/>
          <a:cxnLst/>
          <a:rect l="0" t="0" r="0" b="0"/>
          <a:pathLst>
            <a:path>
              <a:moveTo>
                <a:pt x="0" y="0"/>
              </a:moveTo>
              <a:lnTo>
                <a:pt x="0" y="235524"/>
              </a:lnTo>
              <a:lnTo>
                <a:pt x="4429564" y="235524"/>
              </a:lnTo>
              <a:lnTo>
                <a:pt x="4429564"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7C3E757-B9B4-4150-B6F9-4438D6DCE42B}">
      <dsp:nvSpPr>
        <dsp:cNvPr id="0" name=""/>
        <dsp:cNvSpPr/>
      </dsp:nvSpPr>
      <dsp:spPr>
        <a:xfrm>
          <a:off x="5191766" y="1940144"/>
          <a:ext cx="2657738" cy="395073"/>
        </a:xfrm>
        <a:custGeom>
          <a:avLst/>
          <a:gdLst/>
          <a:ahLst/>
          <a:cxnLst/>
          <a:rect l="0" t="0" r="0" b="0"/>
          <a:pathLst>
            <a:path>
              <a:moveTo>
                <a:pt x="0" y="0"/>
              </a:moveTo>
              <a:lnTo>
                <a:pt x="0" y="235524"/>
              </a:lnTo>
              <a:lnTo>
                <a:pt x="2657738" y="235524"/>
              </a:lnTo>
              <a:lnTo>
                <a:pt x="2657738"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2AA0B85-B7F8-4B62-9646-E21D61005D17}">
      <dsp:nvSpPr>
        <dsp:cNvPr id="0" name=""/>
        <dsp:cNvSpPr/>
      </dsp:nvSpPr>
      <dsp:spPr>
        <a:xfrm>
          <a:off x="5191766" y="1940144"/>
          <a:ext cx="885912" cy="395073"/>
        </a:xfrm>
        <a:custGeom>
          <a:avLst/>
          <a:gdLst/>
          <a:ahLst/>
          <a:cxnLst/>
          <a:rect l="0" t="0" r="0" b="0"/>
          <a:pathLst>
            <a:path>
              <a:moveTo>
                <a:pt x="0" y="0"/>
              </a:moveTo>
              <a:lnTo>
                <a:pt x="0" y="235524"/>
              </a:lnTo>
              <a:lnTo>
                <a:pt x="885912" y="235524"/>
              </a:lnTo>
              <a:lnTo>
                <a:pt x="885912"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88D9540-A1E7-4D0E-8ACF-8506F1210DBA}">
      <dsp:nvSpPr>
        <dsp:cNvPr id="0" name=""/>
        <dsp:cNvSpPr/>
      </dsp:nvSpPr>
      <dsp:spPr>
        <a:xfrm>
          <a:off x="4305853" y="1940144"/>
          <a:ext cx="885912" cy="395073"/>
        </a:xfrm>
        <a:custGeom>
          <a:avLst/>
          <a:gdLst/>
          <a:ahLst/>
          <a:cxnLst/>
          <a:rect l="0" t="0" r="0" b="0"/>
          <a:pathLst>
            <a:path>
              <a:moveTo>
                <a:pt x="885912" y="0"/>
              </a:moveTo>
              <a:lnTo>
                <a:pt x="885912" y="235524"/>
              </a:lnTo>
              <a:lnTo>
                <a:pt x="0" y="235524"/>
              </a:lnTo>
              <a:lnTo>
                <a:pt x="0"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466ED7F-19F6-4FCD-B065-B993000FCDA2}">
      <dsp:nvSpPr>
        <dsp:cNvPr id="0" name=""/>
        <dsp:cNvSpPr/>
      </dsp:nvSpPr>
      <dsp:spPr>
        <a:xfrm>
          <a:off x="2534028" y="1940144"/>
          <a:ext cx="2657738" cy="395073"/>
        </a:xfrm>
        <a:custGeom>
          <a:avLst/>
          <a:gdLst/>
          <a:ahLst/>
          <a:cxnLst/>
          <a:rect l="0" t="0" r="0" b="0"/>
          <a:pathLst>
            <a:path>
              <a:moveTo>
                <a:pt x="2657738" y="0"/>
              </a:moveTo>
              <a:lnTo>
                <a:pt x="2657738" y="235524"/>
              </a:lnTo>
              <a:lnTo>
                <a:pt x="0" y="235524"/>
              </a:lnTo>
              <a:lnTo>
                <a:pt x="0"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7506DC-6F4F-4C09-AE76-0A10BD4F6808}">
      <dsp:nvSpPr>
        <dsp:cNvPr id="0" name=""/>
        <dsp:cNvSpPr/>
      </dsp:nvSpPr>
      <dsp:spPr>
        <a:xfrm>
          <a:off x="762202" y="1940144"/>
          <a:ext cx="4429564" cy="395073"/>
        </a:xfrm>
        <a:custGeom>
          <a:avLst/>
          <a:gdLst/>
          <a:ahLst/>
          <a:cxnLst/>
          <a:rect l="0" t="0" r="0" b="0"/>
          <a:pathLst>
            <a:path>
              <a:moveTo>
                <a:pt x="4429564" y="0"/>
              </a:moveTo>
              <a:lnTo>
                <a:pt x="4429564" y="235524"/>
              </a:lnTo>
              <a:lnTo>
                <a:pt x="0" y="235524"/>
              </a:lnTo>
              <a:lnTo>
                <a:pt x="0" y="395073"/>
              </a:lnTo>
            </a:path>
          </a:pathLst>
        </a:custGeom>
        <a:noFill/>
        <a:ln w="6350" cap="flat" cmpd="sng" algn="ctr">
          <a:solidFill>
            <a:schemeClr val="accent1">
              <a:tint val="99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685C86F-B238-475B-B0F2-878E295ECD14}">
      <dsp:nvSpPr>
        <dsp:cNvPr id="0" name=""/>
        <dsp:cNvSpPr/>
      </dsp:nvSpPr>
      <dsp:spPr>
        <a:xfrm>
          <a:off x="4531435" y="1256364"/>
          <a:ext cx="1320662" cy="68378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CEO</a:t>
          </a:r>
        </a:p>
      </dsp:txBody>
      <dsp:txXfrm>
        <a:off x="4531435" y="1256364"/>
        <a:ext cx="1320662" cy="683780"/>
      </dsp:txXfrm>
    </dsp:sp>
    <dsp:sp modelId="{BAEB1226-A3C3-4965-A9AA-3C4194E246D1}">
      <dsp:nvSpPr>
        <dsp:cNvPr id="0" name=""/>
        <dsp:cNvSpPr/>
      </dsp:nvSpPr>
      <dsp:spPr>
        <a:xfrm>
          <a:off x="4795568" y="1788193"/>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s-ES" sz="1100" kern="1200" dirty="0"/>
            <a:t>Máximo ejecutivo</a:t>
          </a:r>
        </a:p>
      </dsp:txBody>
      <dsp:txXfrm>
        <a:off x="4795568" y="1788193"/>
        <a:ext cx="1188595" cy="227926"/>
      </dsp:txXfrm>
    </dsp:sp>
    <dsp:sp modelId="{E705A3A4-03A9-42E2-B4EB-0798849237EC}">
      <dsp:nvSpPr>
        <dsp:cNvPr id="0" name=""/>
        <dsp:cNvSpPr/>
      </dsp:nvSpPr>
      <dsp:spPr>
        <a:xfrm>
          <a:off x="101871" y="2335217"/>
          <a:ext cx="1320662" cy="68378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CISO</a:t>
          </a:r>
        </a:p>
      </dsp:txBody>
      <dsp:txXfrm>
        <a:off x="101871" y="2335217"/>
        <a:ext cx="1320662" cy="683780"/>
      </dsp:txXfrm>
    </dsp:sp>
    <dsp:sp modelId="{0DF39C6C-BFCB-4420-A61D-0F141A086E4E}">
      <dsp:nvSpPr>
        <dsp:cNvPr id="0" name=""/>
        <dsp:cNvSpPr/>
      </dsp:nvSpPr>
      <dsp:spPr>
        <a:xfrm>
          <a:off x="366003"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100" tIns="9525" rIns="38100" bIns="9525" numCol="1" spcCol="1270" anchor="ctr" anchorCtr="0">
          <a:noAutofit/>
        </a:bodyPr>
        <a:lstStyle/>
        <a:p>
          <a:pPr marL="0" lvl="0" indent="0" algn="r" defTabSz="666750">
            <a:lnSpc>
              <a:spcPct val="90000"/>
            </a:lnSpc>
            <a:spcBef>
              <a:spcPct val="0"/>
            </a:spcBef>
            <a:spcAft>
              <a:spcPct val="35000"/>
            </a:spcAft>
            <a:buNone/>
          </a:pPr>
          <a:r>
            <a:rPr lang="es-ES" sz="1500" kern="1200" dirty="0"/>
            <a:t>Seguridad</a:t>
          </a:r>
        </a:p>
      </dsp:txBody>
      <dsp:txXfrm>
        <a:off x="366003" y="2867046"/>
        <a:ext cx="1188595" cy="227926"/>
      </dsp:txXfrm>
    </dsp:sp>
    <dsp:sp modelId="{FE86EFFD-AFB1-4F2E-8550-B1DE83DD53E8}">
      <dsp:nvSpPr>
        <dsp:cNvPr id="0" name=""/>
        <dsp:cNvSpPr/>
      </dsp:nvSpPr>
      <dsp:spPr>
        <a:xfrm>
          <a:off x="1873696" y="2335217"/>
          <a:ext cx="1320662" cy="683780"/>
        </a:xfrm>
        <a:prstGeom prst="rect">
          <a:avLst/>
        </a:prstGeom>
        <a:gradFill rotWithShape="0">
          <a:gsLst>
            <a:gs pos="0">
              <a:schemeClr val="accent1">
                <a:shade val="80000"/>
                <a:hueOff val="69857"/>
                <a:satOff val="-1251"/>
                <a:lumOff val="5317"/>
                <a:alphaOff val="0"/>
                <a:satMod val="103000"/>
                <a:lumMod val="102000"/>
                <a:tint val="94000"/>
              </a:schemeClr>
            </a:gs>
            <a:gs pos="50000">
              <a:schemeClr val="accent1">
                <a:shade val="80000"/>
                <a:hueOff val="69857"/>
                <a:satOff val="-1251"/>
                <a:lumOff val="5317"/>
                <a:alphaOff val="0"/>
                <a:satMod val="110000"/>
                <a:lumMod val="100000"/>
                <a:shade val="100000"/>
              </a:schemeClr>
            </a:gs>
            <a:gs pos="100000">
              <a:schemeClr val="accent1">
                <a:shade val="80000"/>
                <a:hueOff val="69857"/>
                <a:satOff val="-1251"/>
                <a:lumOff val="53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DPO</a:t>
          </a:r>
        </a:p>
      </dsp:txBody>
      <dsp:txXfrm>
        <a:off x="1873696" y="2335217"/>
        <a:ext cx="1320662" cy="683780"/>
      </dsp:txXfrm>
    </dsp:sp>
    <dsp:sp modelId="{64DE486D-CC79-4693-9660-D4827AE3A75D}">
      <dsp:nvSpPr>
        <dsp:cNvPr id="0" name=""/>
        <dsp:cNvSpPr/>
      </dsp:nvSpPr>
      <dsp:spPr>
        <a:xfrm>
          <a:off x="2137829"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69857"/>
              <a:satOff val="-1251"/>
              <a:lumOff val="5317"/>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6350" rIns="25400" bIns="6350" numCol="1" spcCol="1270" anchor="ctr" anchorCtr="0">
          <a:noAutofit/>
        </a:bodyPr>
        <a:lstStyle/>
        <a:p>
          <a:pPr marL="0" lvl="0" indent="0" algn="r" defTabSz="444500">
            <a:lnSpc>
              <a:spcPct val="90000"/>
            </a:lnSpc>
            <a:spcBef>
              <a:spcPct val="0"/>
            </a:spcBef>
            <a:spcAft>
              <a:spcPct val="35000"/>
            </a:spcAft>
            <a:buNone/>
          </a:pPr>
          <a:r>
            <a:rPr lang="es-ES" sz="1000" kern="1200" dirty="0"/>
            <a:t>Protección de datos</a:t>
          </a:r>
        </a:p>
      </dsp:txBody>
      <dsp:txXfrm>
        <a:off x="2137829" y="2867046"/>
        <a:ext cx="1188595" cy="227926"/>
      </dsp:txXfrm>
    </dsp:sp>
    <dsp:sp modelId="{1ECBFBB9-C773-4B56-960C-3A52DE0C212C}">
      <dsp:nvSpPr>
        <dsp:cNvPr id="0" name=""/>
        <dsp:cNvSpPr/>
      </dsp:nvSpPr>
      <dsp:spPr>
        <a:xfrm>
          <a:off x="3645522" y="2335217"/>
          <a:ext cx="1320662" cy="683780"/>
        </a:xfrm>
        <a:prstGeom prst="rect">
          <a:avLst/>
        </a:prstGeom>
        <a:gradFill rotWithShape="0">
          <a:gsLst>
            <a:gs pos="0">
              <a:schemeClr val="accent1">
                <a:shade val="80000"/>
                <a:hueOff val="139713"/>
                <a:satOff val="-2502"/>
                <a:lumOff val="10634"/>
                <a:alphaOff val="0"/>
                <a:satMod val="103000"/>
                <a:lumMod val="102000"/>
                <a:tint val="94000"/>
              </a:schemeClr>
            </a:gs>
            <a:gs pos="50000">
              <a:schemeClr val="accent1">
                <a:shade val="80000"/>
                <a:hueOff val="139713"/>
                <a:satOff val="-2502"/>
                <a:lumOff val="10634"/>
                <a:alphaOff val="0"/>
                <a:satMod val="110000"/>
                <a:lumMod val="100000"/>
                <a:shade val="100000"/>
              </a:schemeClr>
            </a:gs>
            <a:gs pos="100000">
              <a:schemeClr val="accent1">
                <a:shade val="80000"/>
                <a:hueOff val="139713"/>
                <a:satOff val="-2502"/>
                <a:lumOff val="1063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CDO</a:t>
          </a:r>
        </a:p>
      </dsp:txBody>
      <dsp:txXfrm>
        <a:off x="3645522" y="2335217"/>
        <a:ext cx="1320662" cy="683780"/>
      </dsp:txXfrm>
    </dsp:sp>
    <dsp:sp modelId="{5DABB6CB-32D4-447B-979F-E27D5E30996B}">
      <dsp:nvSpPr>
        <dsp:cNvPr id="0" name=""/>
        <dsp:cNvSpPr/>
      </dsp:nvSpPr>
      <dsp:spPr>
        <a:xfrm>
          <a:off x="3909655"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139713"/>
              <a:satOff val="-2502"/>
              <a:lumOff val="1063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s-ES" sz="1100" kern="1200" dirty="0"/>
            <a:t>Analítica de datos</a:t>
          </a:r>
        </a:p>
      </dsp:txBody>
      <dsp:txXfrm>
        <a:off x="3909655" y="2867046"/>
        <a:ext cx="1188595" cy="227926"/>
      </dsp:txXfrm>
    </dsp:sp>
    <dsp:sp modelId="{5ED40EED-F8CF-4D09-962A-A69AB186BD35}">
      <dsp:nvSpPr>
        <dsp:cNvPr id="0" name=""/>
        <dsp:cNvSpPr/>
      </dsp:nvSpPr>
      <dsp:spPr>
        <a:xfrm>
          <a:off x="5417348" y="2335217"/>
          <a:ext cx="1320662" cy="683780"/>
        </a:xfrm>
        <a:prstGeom prst="rect">
          <a:avLst/>
        </a:prstGeom>
        <a:gradFill rotWithShape="0">
          <a:gsLst>
            <a:gs pos="0">
              <a:schemeClr val="accent1">
                <a:shade val="80000"/>
                <a:hueOff val="209570"/>
                <a:satOff val="-3754"/>
                <a:lumOff val="15951"/>
                <a:alphaOff val="0"/>
                <a:satMod val="103000"/>
                <a:lumMod val="102000"/>
                <a:tint val="94000"/>
              </a:schemeClr>
            </a:gs>
            <a:gs pos="50000">
              <a:schemeClr val="accent1">
                <a:shade val="80000"/>
                <a:hueOff val="209570"/>
                <a:satOff val="-3754"/>
                <a:lumOff val="15951"/>
                <a:alphaOff val="0"/>
                <a:satMod val="110000"/>
                <a:lumMod val="100000"/>
                <a:shade val="100000"/>
              </a:schemeClr>
            </a:gs>
            <a:gs pos="100000">
              <a:schemeClr val="accent1">
                <a:shade val="80000"/>
                <a:hueOff val="209570"/>
                <a:satOff val="-3754"/>
                <a:lumOff val="1595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CIO</a:t>
          </a:r>
        </a:p>
      </dsp:txBody>
      <dsp:txXfrm>
        <a:off x="5417348" y="2335217"/>
        <a:ext cx="1320662" cy="683780"/>
      </dsp:txXfrm>
    </dsp:sp>
    <dsp:sp modelId="{3E6F8858-046C-404B-B541-3A0250B09945}">
      <dsp:nvSpPr>
        <dsp:cNvPr id="0" name=""/>
        <dsp:cNvSpPr/>
      </dsp:nvSpPr>
      <dsp:spPr>
        <a:xfrm>
          <a:off x="5681481"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209570"/>
              <a:satOff val="-3754"/>
              <a:lumOff val="1595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100" tIns="9525" rIns="38100" bIns="9525" numCol="1" spcCol="1270" anchor="ctr" anchorCtr="0">
          <a:noAutofit/>
        </a:bodyPr>
        <a:lstStyle/>
        <a:p>
          <a:pPr marL="0" lvl="0" indent="0" algn="r" defTabSz="666750">
            <a:lnSpc>
              <a:spcPct val="90000"/>
            </a:lnSpc>
            <a:spcBef>
              <a:spcPct val="0"/>
            </a:spcBef>
            <a:spcAft>
              <a:spcPct val="35000"/>
            </a:spcAft>
            <a:buNone/>
          </a:pPr>
          <a:r>
            <a:rPr lang="es-ES" sz="1500" kern="1200" dirty="0"/>
            <a:t>Informatica</a:t>
          </a:r>
        </a:p>
      </dsp:txBody>
      <dsp:txXfrm>
        <a:off x="5681481" y="2867046"/>
        <a:ext cx="1188595" cy="227926"/>
      </dsp:txXfrm>
    </dsp:sp>
    <dsp:sp modelId="{DC518E41-C1F8-47A0-80F0-090F10C01504}">
      <dsp:nvSpPr>
        <dsp:cNvPr id="0" name=""/>
        <dsp:cNvSpPr/>
      </dsp:nvSpPr>
      <dsp:spPr>
        <a:xfrm>
          <a:off x="7189174" y="2335217"/>
          <a:ext cx="1320662" cy="683780"/>
        </a:xfrm>
        <a:prstGeom prst="rect">
          <a:avLst/>
        </a:prstGeom>
        <a:gradFill rotWithShape="0">
          <a:gsLst>
            <a:gs pos="0">
              <a:schemeClr val="accent1">
                <a:shade val="80000"/>
                <a:hueOff val="279426"/>
                <a:satOff val="-5005"/>
                <a:lumOff val="21268"/>
                <a:alphaOff val="0"/>
                <a:satMod val="103000"/>
                <a:lumMod val="102000"/>
                <a:tint val="94000"/>
              </a:schemeClr>
            </a:gs>
            <a:gs pos="50000">
              <a:schemeClr val="accent1">
                <a:shade val="80000"/>
                <a:hueOff val="279426"/>
                <a:satOff val="-5005"/>
                <a:lumOff val="21268"/>
                <a:alphaOff val="0"/>
                <a:satMod val="110000"/>
                <a:lumMod val="100000"/>
                <a:shade val="100000"/>
              </a:schemeClr>
            </a:gs>
            <a:gs pos="100000">
              <a:schemeClr val="accent1">
                <a:shade val="80000"/>
                <a:hueOff val="279426"/>
                <a:satOff val="-5005"/>
                <a:lumOff val="2126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Internos</a:t>
          </a:r>
        </a:p>
      </dsp:txBody>
      <dsp:txXfrm>
        <a:off x="7189174" y="2335217"/>
        <a:ext cx="1320662" cy="683780"/>
      </dsp:txXfrm>
    </dsp:sp>
    <dsp:sp modelId="{20C552BB-07FE-49C2-A535-C71B3BC74E51}">
      <dsp:nvSpPr>
        <dsp:cNvPr id="0" name=""/>
        <dsp:cNvSpPr/>
      </dsp:nvSpPr>
      <dsp:spPr>
        <a:xfrm>
          <a:off x="7453307"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279426"/>
              <a:satOff val="-5005"/>
              <a:lumOff val="21268"/>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s-ES" sz="1100" kern="1200" dirty="0"/>
            <a:t>Administración ..</a:t>
          </a:r>
        </a:p>
      </dsp:txBody>
      <dsp:txXfrm>
        <a:off x="7453307" y="2867046"/>
        <a:ext cx="1188595" cy="227926"/>
      </dsp:txXfrm>
    </dsp:sp>
    <dsp:sp modelId="{7553ED62-BA64-49C4-98C8-86BF961BD836}">
      <dsp:nvSpPr>
        <dsp:cNvPr id="0" name=""/>
        <dsp:cNvSpPr/>
      </dsp:nvSpPr>
      <dsp:spPr>
        <a:xfrm>
          <a:off x="8961000" y="2335217"/>
          <a:ext cx="1320662" cy="683780"/>
        </a:xfrm>
        <a:prstGeom prst="rect">
          <a:avLst/>
        </a:prstGeom>
        <a:gradFill rotWithShape="0">
          <a:gsLst>
            <a:gs pos="0">
              <a:schemeClr val="accent1">
                <a:shade val="80000"/>
                <a:hueOff val="349283"/>
                <a:satOff val="-6256"/>
                <a:lumOff val="26585"/>
                <a:alphaOff val="0"/>
                <a:satMod val="103000"/>
                <a:lumMod val="102000"/>
                <a:tint val="94000"/>
              </a:schemeClr>
            </a:gs>
            <a:gs pos="50000">
              <a:schemeClr val="accent1">
                <a:shade val="80000"/>
                <a:hueOff val="349283"/>
                <a:satOff val="-6256"/>
                <a:lumOff val="26585"/>
                <a:alphaOff val="0"/>
                <a:satMod val="110000"/>
                <a:lumMod val="100000"/>
                <a:shade val="100000"/>
              </a:schemeClr>
            </a:gs>
            <a:gs pos="100000">
              <a:schemeClr val="accent1">
                <a:shade val="80000"/>
                <a:hueOff val="349283"/>
                <a:satOff val="-6256"/>
                <a:lumOff val="2658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145" tIns="17145" rIns="17145" bIns="96489" numCol="1" spcCol="1270" anchor="ctr" anchorCtr="0">
          <a:noAutofit/>
        </a:bodyPr>
        <a:lstStyle/>
        <a:p>
          <a:pPr marL="0" lvl="0" indent="0" algn="ctr" defTabSz="1200150">
            <a:lnSpc>
              <a:spcPct val="90000"/>
            </a:lnSpc>
            <a:spcBef>
              <a:spcPct val="0"/>
            </a:spcBef>
            <a:spcAft>
              <a:spcPct val="35000"/>
            </a:spcAft>
            <a:buNone/>
          </a:pPr>
          <a:r>
            <a:rPr lang="es-ES" sz="2700" kern="1200" dirty="0"/>
            <a:t>LOBs</a:t>
          </a:r>
        </a:p>
      </dsp:txBody>
      <dsp:txXfrm>
        <a:off x="8961000" y="2335217"/>
        <a:ext cx="1320662" cy="683780"/>
      </dsp:txXfrm>
    </dsp:sp>
    <dsp:sp modelId="{A8D2D98B-ECB5-48CA-964F-C8B61D07A143}">
      <dsp:nvSpPr>
        <dsp:cNvPr id="0" name=""/>
        <dsp:cNvSpPr/>
      </dsp:nvSpPr>
      <dsp:spPr>
        <a:xfrm>
          <a:off x="9225133" y="2867046"/>
          <a:ext cx="1188595" cy="227926"/>
        </a:xfrm>
        <a:prstGeom prst="rect">
          <a:avLst/>
        </a:prstGeom>
        <a:solidFill>
          <a:schemeClr val="lt1">
            <a:alpha val="90000"/>
            <a:hueOff val="0"/>
            <a:satOff val="0"/>
            <a:lumOff val="0"/>
            <a:alphaOff val="0"/>
          </a:schemeClr>
        </a:solidFill>
        <a:ln w="6350" cap="flat" cmpd="sng" algn="ctr">
          <a:solidFill>
            <a:schemeClr val="accent1">
              <a:shade val="80000"/>
              <a:hueOff val="349283"/>
              <a:satOff val="-6256"/>
              <a:lumOff val="2658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100" tIns="9525" rIns="38100" bIns="9525" numCol="1" spcCol="1270" anchor="ctr" anchorCtr="0">
          <a:noAutofit/>
        </a:bodyPr>
        <a:lstStyle/>
        <a:p>
          <a:pPr marL="0" lvl="0" indent="0" algn="r" defTabSz="666750">
            <a:lnSpc>
              <a:spcPct val="90000"/>
            </a:lnSpc>
            <a:spcBef>
              <a:spcPct val="0"/>
            </a:spcBef>
            <a:spcAft>
              <a:spcPct val="35000"/>
            </a:spcAft>
            <a:buNone/>
          </a:pPr>
          <a:r>
            <a:rPr lang="es-ES" sz="1500" kern="1200" dirty="0"/>
            <a:t>Negocio</a:t>
          </a:r>
        </a:p>
      </dsp:txBody>
      <dsp:txXfrm>
        <a:off x="9225133" y="2867046"/>
        <a:ext cx="1188595" cy="227926"/>
      </dsp:txXfrm>
    </dsp:sp>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FD9D86-3B58-4F4D-B70C-3DEE158E8D08}">
      <dsp:nvSpPr>
        <dsp:cNvPr id="0" name=""/>
        <dsp:cNvSpPr/>
      </dsp:nvSpPr>
      <dsp:spPr>
        <a:xfrm>
          <a:off x="16643"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n-US" sz="1400" b="1" kern="1200" dirty="0">
              <a:highlight>
                <a:srgbClr val="C0C0C0"/>
              </a:highlight>
            </a:rPr>
            <a:t>CDO</a:t>
          </a:r>
          <a:endParaRPr lang="es-ES" sz="1400" b="1" kern="1200" dirty="0">
            <a:highlight>
              <a:srgbClr val="C0C0C0"/>
            </a:highlight>
          </a:endParaRPr>
        </a:p>
      </dsp:txBody>
      <dsp:txXfrm>
        <a:off x="16643" y="0"/>
        <a:ext cx="1506794" cy="316461"/>
      </dsp:txXfrm>
    </dsp:sp>
    <dsp:sp modelId="{88AAA970-C5DF-4277-A87A-03F134E43434}">
      <dsp:nvSpPr>
        <dsp:cNvPr id="0" name=""/>
        <dsp:cNvSpPr/>
      </dsp:nvSpPr>
      <dsp:spPr>
        <a:xfrm>
          <a:off x="16643"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s-ES_tradnl" sz="1400" kern="1200" dirty="0"/>
            <a:t>Es el profesional de más alto rango (al nivel de gestión de datos)</a:t>
          </a:r>
          <a:endParaRPr lang="es-ES" sz="1400" kern="1200" dirty="0"/>
        </a:p>
        <a:p>
          <a:pPr marL="114300" lvl="1" indent="-114300" algn="l" defTabSz="622300">
            <a:lnSpc>
              <a:spcPct val="90000"/>
            </a:lnSpc>
            <a:spcBef>
              <a:spcPct val="0"/>
            </a:spcBef>
            <a:spcAft>
              <a:spcPct val="15000"/>
            </a:spcAft>
            <a:buChar char="•"/>
          </a:pPr>
          <a:r>
            <a:rPr lang="es-ES_tradnl" sz="1400" kern="1200" dirty="0"/>
            <a:t>Suele reportar al CEO</a:t>
          </a:r>
          <a:endParaRPr lang="es-ES" sz="1400" kern="1200" dirty="0"/>
        </a:p>
        <a:p>
          <a:pPr marL="114300" lvl="1" indent="-114300" algn="l" defTabSz="622300">
            <a:lnSpc>
              <a:spcPct val="90000"/>
            </a:lnSpc>
            <a:spcBef>
              <a:spcPct val="0"/>
            </a:spcBef>
            <a:spcAft>
              <a:spcPct val="15000"/>
            </a:spcAft>
            <a:buChar char="•"/>
          </a:pPr>
          <a:r>
            <a:rPr lang="es-ES_tradnl" sz="1400" kern="1200" dirty="0"/>
            <a:t>Garantiza: Gobierno del Dato, Calidad del dato, normativa y regulaciones</a:t>
          </a:r>
          <a:endParaRPr lang="es-ES" sz="1400" kern="1200" dirty="0"/>
        </a:p>
        <a:p>
          <a:pPr marL="114300" lvl="1" indent="-114300" algn="l" defTabSz="622300">
            <a:lnSpc>
              <a:spcPct val="90000"/>
            </a:lnSpc>
            <a:spcBef>
              <a:spcPct val="0"/>
            </a:spcBef>
            <a:spcAft>
              <a:spcPct val="15000"/>
            </a:spcAft>
            <a:buChar char="•"/>
          </a:pPr>
          <a:r>
            <a:rPr lang="es-ES_tradnl" sz="1400" kern="1200" dirty="0"/>
            <a:t>Define la Estrategia alrededor de los datos.</a:t>
          </a:r>
          <a:endParaRPr lang="es-ES" sz="1400" kern="1200" dirty="0"/>
        </a:p>
        <a:p>
          <a:pPr marL="114300" lvl="1" indent="-114300" algn="l" defTabSz="622300">
            <a:lnSpc>
              <a:spcPct val="90000"/>
            </a:lnSpc>
            <a:spcBef>
              <a:spcPct val="0"/>
            </a:spcBef>
            <a:spcAft>
              <a:spcPct val="15000"/>
            </a:spcAft>
            <a:buChar char="•"/>
          </a:pPr>
          <a:r>
            <a:rPr lang="es-ES_tradnl" sz="1400" kern="1200" dirty="0"/>
            <a:t>Intenta convertir la información en ingresos o activos.</a:t>
          </a:r>
          <a:endParaRPr lang="es-ES" sz="1400" kern="1200" dirty="0"/>
        </a:p>
      </dsp:txBody>
      <dsp:txXfrm>
        <a:off x="16643" y="316461"/>
        <a:ext cx="1506794" cy="4570852"/>
      </dsp:txXfrm>
    </dsp:sp>
    <dsp:sp modelId="{5CF332A6-EA93-4B2D-9004-F5C6CA8430B6}">
      <dsp:nvSpPr>
        <dsp:cNvPr id="0" name=""/>
        <dsp:cNvSpPr/>
      </dsp:nvSpPr>
      <dsp:spPr>
        <a:xfrm>
          <a:off x="1734389"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Architect</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sp:txBody>
      <dsp:txXfrm>
        <a:off x="1734389" y="0"/>
        <a:ext cx="1506794" cy="316461"/>
      </dsp:txXfrm>
    </dsp:sp>
    <dsp:sp modelId="{4C9AF939-4A83-405E-87F3-395E9BA6DB1D}">
      <dsp:nvSpPr>
        <dsp:cNvPr id="0" name=""/>
        <dsp:cNvSpPr/>
      </dsp:nvSpPr>
      <dsp:spPr>
        <a:xfrm>
          <a:off x="1734389"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Seleccionar los módulos y herramientas apropiados.</a:t>
          </a:r>
          <a:endParaRPr lang="es-ES" sz="1400" kern="1200" dirty="0"/>
        </a:p>
        <a:p>
          <a:pPr marL="114300" lvl="1" indent="-114300" algn="l" defTabSz="622300">
            <a:lnSpc>
              <a:spcPct val="90000"/>
            </a:lnSpc>
            <a:spcBef>
              <a:spcPct val="0"/>
            </a:spcBef>
            <a:spcAft>
              <a:spcPct val="15000"/>
            </a:spcAft>
            <a:buChar char="•"/>
          </a:pPr>
          <a:r>
            <a:rPr lang="es-ES" sz="1400" kern="1200" dirty="0"/>
            <a:t>Configurar y desplegar</a:t>
          </a:r>
        </a:p>
        <a:p>
          <a:pPr marL="114300" lvl="1" indent="-114300" algn="l" defTabSz="622300">
            <a:lnSpc>
              <a:spcPct val="90000"/>
            </a:lnSpc>
            <a:spcBef>
              <a:spcPct val="0"/>
            </a:spcBef>
            <a:spcAft>
              <a:spcPct val="15000"/>
            </a:spcAft>
            <a:buChar char="•"/>
          </a:pPr>
          <a:r>
            <a:rPr lang="es-ES_tradnl" sz="1400" kern="1200" dirty="0"/>
            <a:t>Conocimiento de administración de sistemas y desarrollo software.</a:t>
          </a:r>
          <a:endParaRPr lang="es-ES" sz="1400" kern="1200" dirty="0"/>
        </a:p>
      </dsp:txBody>
      <dsp:txXfrm>
        <a:off x="1734389" y="316461"/>
        <a:ext cx="1506794" cy="4570852"/>
      </dsp:txXfrm>
    </dsp:sp>
    <dsp:sp modelId="{48F0D91E-8BDD-41DC-AA82-F91BCCFFFB13}">
      <dsp:nvSpPr>
        <dsp:cNvPr id="0" name=""/>
        <dsp:cNvSpPr/>
      </dsp:nvSpPr>
      <dsp:spPr>
        <a:xfrm>
          <a:off x="3452135"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Scientist</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sp:txBody>
      <dsp:txXfrm>
        <a:off x="3452135" y="0"/>
        <a:ext cx="1506794" cy="316461"/>
      </dsp:txXfrm>
    </dsp:sp>
    <dsp:sp modelId="{08A6C346-7062-4CC2-9287-EC49FB1BF146}">
      <dsp:nvSpPr>
        <dsp:cNvPr id="0" name=""/>
        <dsp:cNvSpPr/>
      </dsp:nvSpPr>
      <dsp:spPr>
        <a:xfrm>
          <a:off x="3452135"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Análisis de Datos</a:t>
          </a:r>
          <a:endParaRPr lang="es-ES" sz="1400" kern="1200" dirty="0"/>
        </a:p>
        <a:p>
          <a:pPr marL="114300" lvl="1" indent="-114300" algn="l" defTabSz="622300">
            <a:lnSpc>
              <a:spcPct val="90000"/>
            </a:lnSpc>
            <a:spcBef>
              <a:spcPct val="0"/>
            </a:spcBef>
            <a:spcAft>
              <a:spcPct val="15000"/>
            </a:spcAft>
            <a:buChar char="•"/>
          </a:pPr>
          <a:r>
            <a:rPr lang="en-US" sz="1400" kern="1200" dirty="0"/>
            <a:t>Limpieza de Datos.</a:t>
          </a:r>
          <a:endParaRPr lang="es-ES" sz="1400" kern="1200" dirty="0"/>
        </a:p>
        <a:p>
          <a:pPr marL="114300" lvl="1" indent="-114300" algn="l" defTabSz="622300">
            <a:lnSpc>
              <a:spcPct val="90000"/>
            </a:lnSpc>
            <a:spcBef>
              <a:spcPct val="0"/>
            </a:spcBef>
            <a:spcAft>
              <a:spcPct val="15000"/>
            </a:spcAft>
            <a:buChar char="•"/>
          </a:pPr>
          <a:r>
            <a:rPr lang="en-US" sz="1400" kern="1200" dirty="0"/>
            <a:t>Prototipado de Algorítmos</a:t>
          </a:r>
          <a:endParaRPr lang="es-ES" sz="1400" kern="1200" dirty="0"/>
        </a:p>
        <a:p>
          <a:pPr marL="114300" lvl="1" indent="-114300" algn="l" defTabSz="622300">
            <a:lnSpc>
              <a:spcPct val="90000"/>
            </a:lnSpc>
            <a:spcBef>
              <a:spcPct val="0"/>
            </a:spcBef>
            <a:spcAft>
              <a:spcPct val="15000"/>
            </a:spcAft>
            <a:buChar char="•"/>
          </a:pPr>
          <a:r>
            <a:rPr lang="es-ES" sz="1400" kern="1200" dirty="0"/>
            <a:t>Pilota las herramientas de Machine Learning</a:t>
          </a:r>
        </a:p>
        <a:p>
          <a:pPr marL="114300" lvl="1" indent="-114300" algn="l" defTabSz="622300">
            <a:lnSpc>
              <a:spcPct val="90000"/>
            </a:lnSpc>
            <a:spcBef>
              <a:spcPct val="0"/>
            </a:spcBef>
            <a:spcAft>
              <a:spcPct val="15000"/>
            </a:spcAft>
            <a:buChar char="•"/>
          </a:pPr>
          <a:r>
            <a:rPr lang="en-US" sz="1400" kern="1200" dirty="0"/>
            <a:t>Comunicación de los hallazgos a la compañía</a:t>
          </a:r>
          <a:endParaRPr lang="es-ES" sz="1400" kern="1200" dirty="0"/>
        </a:p>
        <a:p>
          <a:pPr marL="114300" lvl="1" indent="-114300" algn="l" defTabSz="622300">
            <a:lnSpc>
              <a:spcPct val="90000"/>
            </a:lnSpc>
            <a:spcBef>
              <a:spcPct val="0"/>
            </a:spcBef>
            <a:spcAft>
              <a:spcPct val="15000"/>
            </a:spcAft>
            <a:buChar char="•"/>
          </a:pPr>
          <a:r>
            <a:rPr lang="es-ES" sz="1400" kern="1200" dirty="0">
              <a:latin typeface="+mn-lt"/>
            </a:rPr>
            <a:t>Salarios [30 k€ y 60 K€</a:t>
          </a:r>
          <a:r>
            <a:rPr lang="es-ES" sz="1400" kern="1200" baseline="-25000" dirty="0">
              <a:latin typeface="+mn-lt"/>
            </a:rPr>
            <a:t>]</a:t>
          </a:r>
          <a:r>
            <a:rPr lang="es-ES" sz="1400" kern="1200" dirty="0">
              <a:latin typeface="+mn-lt"/>
            </a:rPr>
            <a:t>.</a:t>
          </a:r>
          <a:endParaRPr lang="es-ES" sz="1400" kern="1200" dirty="0"/>
        </a:p>
      </dsp:txBody>
      <dsp:txXfrm>
        <a:off x="3452135" y="316461"/>
        <a:ext cx="1506794" cy="4570852"/>
      </dsp:txXfrm>
    </dsp:sp>
    <dsp:sp modelId="{A3166CEF-2F74-4ACD-89B4-3647F378776B}">
      <dsp:nvSpPr>
        <dsp:cNvPr id="0" name=""/>
        <dsp:cNvSpPr/>
      </dsp:nvSpPr>
      <dsp:spPr>
        <a:xfrm>
          <a:off x="5169882"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Engineer</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sp:txBody>
      <dsp:txXfrm>
        <a:off x="5169882" y="0"/>
        <a:ext cx="1506794" cy="316461"/>
      </dsp:txXfrm>
    </dsp:sp>
    <dsp:sp modelId="{A62149E3-325D-4763-AE82-AC51D31CB151}">
      <dsp:nvSpPr>
        <dsp:cNvPr id="0" name=""/>
        <dsp:cNvSpPr/>
      </dsp:nvSpPr>
      <dsp:spPr>
        <a:xfrm>
          <a:off x="5169882"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s-ES_tradnl" sz="1400" kern="1200" dirty="0"/>
            <a:t>Construcción de los diferentes elementos como BBDD,  servicios/servidores, los algoritmos que se pondrán en producción.</a:t>
          </a:r>
          <a:endParaRPr lang="es-ES" sz="1400" kern="1200" dirty="0"/>
        </a:p>
        <a:p>
          <a:pPr marL="114300" lvl="1" indent="-114300" algn="l" defTabSz="622300">
            <a:lnSpc>
              <a:spcPct val="90000"/>
            </a:lnSpc>
            <a:spcBef>
              <a:spcPct val="0"/>
            </a:spcBef>
            <a:spcAft>
              <a:spcPct val="15000"/>
            </a:spcAft>
            <a:buChar char="•"/>
          </a:pPr>
          <a:r>
            <a:rPr lang="es-ES_tradnl" sz="1400" kern="1200" dirty="0"/>
            <a:t>Proporcionan datos para el posterior análisis.</a:t>
          </a:r>
          <a:endParaRPr lang="es-ES" sz="1400" kern="1200" dirty="0"/>
        </a:p>
        <a:p>
          <a:pPr marL="114300" lvl="1" indent="-114300" algn="l" defTabSz="622300">
            <a:lnSpc>
              <a:spcPct val="90000"/>
            </a:lnSpc>
            <a:spcBef>
              <a:spcPct val="0"/>
            </a:spcBef>
            <a:spcAft>
              <a:spcPct val="15000"/>
            </a:spcAft>
            <a:buChar char="•"/>
          </a:pPr>
          <a:r>
            <a:rPr lang="es-ES" sz="1400" kern="1200" dirty="0">
              <a:latin typeface="+mn-lt"/>
            </a:rPr>
            <a:t>Salarios [45 k € y  60K €</a:t>
          </a:r>
          <a:r>
            <a:rPr lang="es-ES" sz="1400" kern="1200" baseline="-25000" dirty="0">
              <a:latin typeface="+mn-lt"/>
            </a:rPr>
            <a:t>]</a:t>
          </a:r>
          <a:r>
            <a:rPr lang="es-ES" sz="1400" kern="1200" dirty="0">
              <a:latin typeface="+mn-lt"/>
            </a:rPr>
            <a:t>.</a:t>
          </a:r>
          <a:endParaRPr lang="es-ES" sz="1400" kern="1200" dirty="0"/>
        </a:p>
      </dsp:txBody>
      <dsp:txXfrm>
        <a:off x="5169882" y="316461"/>
        <a:ext cx="1506794" cy="4570852"/>
      </dsp:txXfrm>
    </dsp:sp>
    <dsp:sp modelId="{0EDA6B99-9ACD-4A9E-89FB-B4DCDFC7B891}">
      <dsp:nvSpPr>
        <dsp:cNvPr id="0" name=""/>
        <dsp:cNvSpPr/>
      </dsp:nvSpPr>
      <dsp:spPr>
        <a:xfrm>
          <a:off x="6887628"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n-U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evOps</a:t>
          </a:r>
          <a:endPar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endParaRPr>
        </a:p>
      </dsp:txBody>
      <dsp:txXfrm>
        <a:off x="6887628" y="0"/>
        <a:ext cx="1506794" cy="316461"/>
      </dsp:txXfrm>
    </dsp:sp>
    <dsp:sp modelId="{65AF5B0A-FB12-4427-859B-46E4A68719DC}">
      <dsp:nvSpPr>
        <dsp:cNvPr id="0" name=""/>
        <dsp:cNvSpPr/>
      </dsp:nvSpPr>
      <dsp:spPr>
        <a:xfrm>
          <a:off x="6887628"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s-ES_tradnl" sz="1400" kern="1200" dirty="0"/>
            <a:t>Ciclo de vida de la ingeniería del SW.</a:t>
          </a:r>
          <a:endParaRPr lang="es-ES" sz="1400" kern="1200" dirty="0"/>
        </a:p>
        <a:p>
          <a:pPr marL="114300" lvl="1" indent="-114300" algn="l" defTabSz="622300">
            <a:lnSpc>
              <a:spcPct val="90000"/>
            </a:lnSpc>
            <a:spcBef>
              <a:spcPct val="0"/>
            </a:spcBef>
            <a:spcAft>
              <a:spcPct val="15000"/>
            </a:spcAft>
            <a:buChar char="•"/>
          </a:pPr>
          <a:r>
            <a:rPr lang="es-ES_tradnl" sz="1400" kern="1200" dirty="0"/>
            <a:t>Integración y QA.</a:t>
          </a:r>
          <a:endParaRPr lang="es-ES" sz="1400" kern="1200" dirty="0"/>
        </a:p>
        <a:p>
          <a:pPr marL="114300" lvl="1" indent="-114300" algn="l" defTabSz="622300">
            <a:lnSpc>
              <a:spcPct val="90000"/>
            </a:lnSpc>
            <a:spcBef>
              <a:spcPct val="0"/>
            </a:spcBef>
            <a:spcAft>
              <a:spcPct val="15000"/>
            </a:spcAft>
            <a:buChar char="•"/>
          </a:pPr>
          <a:r>
            <a:rPr lang="es-ES_tradnl" sz="1400" kern="1200" dirty="0"/>
            <a:t>Administración y Sysconfig</a:t>
          </a:r>
          <a:endParaRPr lang="es-ES" sz="1400" kern="1200" dirty="0"/>
        </a:p>
      </dsp:txBody>
      <dsp:txXfrm>
        <a:off x="6887628" y="316461"/>
        <a:ext cx="1506794" cy="4570852"/>
      </dsp:txXfrm>
    </dsp:sp>
    <dsp:sp modelId="{D3427A04-C27E-445B-8F2E-2B7B096F911A}">
      <dsp:nvSpPr>
        <dsp:cNvPr id="0" name=""/>
        <dsp:cNvSpPr/>
      </dsp:nvSpPr>
      <dsp:spPr>
        <a:xfrm>
          <a:off x="8605374"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MLOps</a:t>
          </a:r>
        </a:p>
      </dsp:txBody>
      <dsp:txXfrm>
        <a:off x="8605374" y="0"/>
        <a:ext cx="1506794" cy="316461"/>
      </dsp:txXfrm>
    </dsp:sp>
    <dsp:sp modelId="{9A8E27E0-F12F-40E9-8D4B-15A6A5DC6F5A}">
      <dsp:nvSpPr>
        <dsp:cNvPr id="0" name=""/>
        <dsp:cNvSpPr/>
      </dsp:nvSpPr>
      <dsp:spPr>
        <a:xfrm>
          <a:off x="8605374"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s-ES" sz="1400" kern="1200" dirty="0"/>
            <a:t>Aplica prácticas que automatizan y simplifican los flujos de trabajo</a:t>
          </a:r>
        </a:p>
        <a:p>
          <a:pPr marL="114300" lvl="1" indent="-114300" algn="l" defTabSz="622300">
            <a:lnSpc>
              <a:spcPct val="90000"/>
            </a:lnSpc>
            <a:spcBef>
              <a:spcPct val="0"/>
            </a:spcBef>
            <a:spcAft>
              <a:spcPct val="15000"/>
            </a:spcAft>
            <a:buChar char="•"/>
          </a:pPr>
          <a:r>
            <a:rPr lang="es-ES" sz="1400" kern="1200" dirty="0"/>
            <a:t>Y las implementaciones de machine learning).</a:t>
          </a:r>
        </a:p>
      </dsp:txBody>
      <dsp:txXfrm>
        <a:off x="8605374" y="316461"/>
        <a:ext cx="1506794" cy="4570852"/>
      </dsp:txXfrm>
    </dsp:sp>
    <dsp:sp modelId="{A6563BC6-27B6-4738-B1F8-32244068267A}">
      <dsp:nvSpPr>
        <dsp:cNvPr id="0" name=""/>
        <dsp:cNvSpPr/>
      </dsp:nvSpPr>
      <dsp:spPr>
        <a:xfrm>
          <a:off x="10323120" y="0"/>
          <a:ext cx="1506794" cy="316461"/>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rtl="0" eaLnBrk="1" latinLnBrk="0">
            <a:lnSpc>
              <a:spcPct val="90000"/>
            </a:lnSpc>
            <a:spcBef>
              <a:spcPct val="0"/>
            </a:spcBef>
            <a:spcAft>
              <a:spcPct val="35000"/>
            </a:spcAft>
            <a:buNone/>
          </a:pPr>
          <a:r>
            <a:rPr lang="es-ES" sz="1400" b="1" kern="1200" dirty="0">
              <a:solidFill>
                <a:prstClr val="black">
                  <a:hueOff val="0"/>
                  <a:satOff val="0"/>
                  <a:lumOff val="0"/>
                  <a:alphaOff val="0"/>
                </a:prstClr>
              </a:solidFill>
              <a:highlight>
                <a:srgbClr val="C0C0C0"/>
              </a:highlight>
              <a:latin typeface="Avenir LT Std 35 Light" panose="020B0402020203020204" pitchFamily="34" charset="0"/>
              <a:ea typeface="+mn-ea"/>
              <a:cs typeface="+mn-cs"/>
            </a:rPr>
            <a:t>Data Analyst</a:t>
          </a:r>
        </a:p>
      </dsp:txBody>
      <dsp:txXfrm>
        <a:off x="10323120" y="0"/>
        <a:ext cx="1506794" cy="316461"/>
      </dsp:txXfrm>
    </dsp:sp>
    <dsp:sp modelId="{654A4501-353A-4E14-A805-75D530EB453D}">
      <dsp:nvSpPr>
        <dsp:cNvPr id="0" name=""/>
        <dsp:cNvSpPr/>
      </dsp:nvSpPr>
      <dsp:spPr>
        <a:xfrm>
          <a:off x="10323120" y="316461"/>
          <a:ext cx="1506794" cy="4570852"/>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s-ES" sz="1400" kern="1200" dirty="0"/>
            <a:t>Interpreta la información.</a:t>
          </a:r>
        </a:p>
        <a:p>
          <a:pPr marL="114300" lvl="1" indent="-114300" algn="l" defTabSz="622300">
            <a:lnSpc>
              <a:spcPct val="90000"/>
            </a:lnSpc>
            <a:spcBef>
              <a:spcPct val="0"/>
            </a:spcBef>
            <a:spcAft>
              <a:spcPct val="15000"/>
            </a:spcAft>
            <a:buChar char="•"/>
          </a:pPr>
          <a:r>
            <a:rPr lang="es-ES" sz="1400" kern="1200" dirty="0"/>
            <a:t>Conoce el negocio.</a:t>
          </a:r>
        </a:p>
        <a:p>
          <a:pPr marL="114300" lvl="1" indent="-114300" algn="l" defTabSz="622300">
            <a:lnSpc>
              <a:spcPct val="90000"/>
            </a:lnSpc>
            <a:spcBef>
              <a:spcPct val="0"/>
            </a:spcBef>
            <a:spcAft>
              <a:spcPct val="15000"/>
            </a:spcAft>
            <a:buChar char="•"/>
          </a:pPr>
          <a:r>
            <a:rPr lang="es-ES" sz="1400" kern="1200" dirty="0"/>
            <a:t>Divulga la información a toda la organización.</a:t>
          </a:r>
        </a:p>
        <a:p>
          <a:pPr marL="114300" lvl="1" indent="-114300" algn="l" defTabSz="622300">
            <a:lnSpc>
              <a:spcPct val="90000"/>
            </a:lnSpc>
            <a:spcBef>
              <a:spcPct val="0"/>
            </a:spcBef>
            <a:spcAft>
              <a:spcPct val="15000"/>
            </a:spcAft>
            <a:buChar char="•"/>
          </a:pPr>
          <a:r>
            <a:rPr lang="es-ES" sz="1400" kern="1200" dirty="0">
              <a:latin typeface="+mn-lt"/>
            </a:rPr>
            <a:t>Salario [60 k €</a:t>
          </a:r>
          <a:r>
            <a:rPr lang="es-ES" sz="1400" kern="1200" baseline="-25000" dirty="0">
              <a:latin typeface="+mn-lt"/>
            </a:rPr>
            <a:t>]</a:t>
          </a:r>
          <a:r>
            <a:rPr lang="es-ES" sz="1400" kern="1200" dirty="0">
              <a:latin typeface="+mn-lt"/>
            </a:rPr>
            <a:t>.</a:t>
          </a:r>
          <a:endParaRPr lang="es-ES" sz="1400" kern="1200" dirty="0"/>
        </a:p>
      </dsp:txBody>
      <dsp:txXfrm>
        <a:off x="10323120" y="316461"/>
        <a:ext cx="1506794" cy="4570852"/>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57D565-62D8-4962-B998-A100CBD1B650}">
      <dsp:nvSpPr>
        <dsp:cNvPr id="0" name=""/>
        <dsp:cNvSpPr/>
      </dsp:nvSpPr>
      <dsp:spPr>
        <a:xfrm>
          <a:off x="3080" y="587032"/>
          <a:ext cx="2444055" cy="1466433"/>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s-ES" sz="1400" b="1" kern="1200" dirty="0">
              <a:highlight>
                <a:srgbClr val="000000"/>
              </a:highlight>
              <a:latin typeface="+mn-lt"/>
            </a:rPr>
            <a:t>Arquitecto nube. </a:t>
          </a:r>
        </a:p>
        <a:p>
          <a:pPr marL="114300" lvl="1" indent="-114300" algn="l" defTabSz="622300">
            <a:lnSpc>
              <a:spcPct val="90000"/>
            </a:lnSpc>
            <a:spcBef>
              <a:spcPct val="0"/>
            </a:spcBef>
            <a:spcAft>
              <a:spcPct val="15000"/>
            </a:spcAft>
            <a:buChar char="•"/>
          </a:pPr>
          <a:r>
            <a:rPr lang="es-ES" sz="1400" kern="1200" dirty="0">
              <a:latin typeface="+mn-lt"/>
            </a:rPr>
            <a:t>El promedio es de 50.000 € brutos al año</a:t>
          </a:r>
        </a:p>
        <a:p>
          <a:pPr marL="114300" lvl="1" indent="-114300" algn="l" defTabSz="622300">
            <a:lnSpc>
              <a:spcPct val="90000"/>
            </a:lnSpc>
            <a:spcBef>
              <a:spcPct val="0"/>
            </a:spcBef>
            <a:spcAft>
              <a:spcPct val="15000"/>
            </a:spcAft>
            <a:buChar char="•"/>
          </a:pPr>
          <a:r>
            <a:rPr lang="es-ES" sz="1400" kern="1200" dirty="0">
              <a:latin typeface="+mn-lt"/>
            </a:rPr>
            <a:t>… pudiendo llegar a los 70 mil euros al año.</a:t>
          </a:r>
        </a:p>
      </dsp:txBody>
      <dsp:txXfrm>
        <a:off x="3080" y="587032"/>
        <a:ext cx="2444055" cy="1466433"/>
      </dsp:txXfrm>
    </dsp:sp>
    <dsp:sp modelId="{11E80F8B-A729-4781-9FA1-FC886E80FE41}">
      <dsp:nvSpPr>
        <dsp:cNvPr id="0" name=""/>
        <dsp:cNvSpPr/>
      </dsp:nvSpPr>
      <dsp:spPr>
        <a:xfrm>
          <a:off x="2691541" y="587032"/>
          <a:ext cx="2444055" cy="146643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xperto en UX/UI. </a:t>
          </a:r>
        </a:p>
        <a:p>
          <a:pPr marL="57150" lvl="1" indent="0" algn="l" defTabSz="466725">
            <a:lnSpc>
              <a:spcPct val="90000"/>
            </a:lnSpc>
            <a:spcBef>
              <a:spcPct val="0"/>
            </a:spcBef>
            <a:spcAft>
              <a:spcPct val="15000"/>
            </a:spcAft>
            <a:buChar char="•"/>
          </a:pPr>
          <a:r>
            <a:rPr lang="es-ES" sz="1400" kern="1200" dirty="0">
              <a:latin typeface="+mn-lt"/>
            </a:rPr>
            <a:t>El sueldo varía entre los 18.000 € y los 40.000 € brutos anuales.</a:t>
          </a:r>
        </a:p>
      </dsp:txBody>
      <dsp:txXfrm>
        <a:off x="2691541" y="587032"/>
        <a:ext cx="2444055" cy="1466433"/>
      </dsp:txXfrm>
    </dsp:sp>
    <dsp:sp modelId="{3D1B181F-BEB7-4F84-904A-8A482067196A}">
      <dsp:nvSpPr>
        <dsp:cNvPr id="0" name=""/>
        <dsp:cNvSpPr/>
      </dsp:nvSpPr>
      <dsp:spPr>
        <a:xfrm>
          <a:off x="5380002" y="587032"/>
          <a:ext cx="2444055" cy="146643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Analista web. </a:t>
          </a:r>
        </a:p>
        <a:p>
          <a:pPr marL="57150" lvl="1" indent="0" algn="l" defTabSz="466725">
            <a:lnSpc>
              <a:spcPct val="90000"/>
            </a:lnSpc>
            <a:spcBef>
              <a:spcPct val="0"/>
            </a:spcBef>
            <a:spcAft>
              <a:spcPct val="15000"/>
            </a:spcAft>
            <a:buChar char="•"/>
          </a:pPr>
          <a:r>
            <a:rPr lang="es-ES" sz="1400" kern="1200" dirty="0">
              <a:latin typeface="+mn-lt"/>
            </a:rPr>
            <a:t>Senior entre 45.000 a 68.000 euros anuales.</a:t>
          </a:r>
        </a:p>
      </dsp:txBody>
      <dsp:txXfrm>
        <a:off x="5380002" y="587032"/>
        <a:ext cx="2444055" cy="1466433"/>
      </dsp:txXfrm>
    </dsp:sp>
    <dsp:sp modelId="{5B99E946-B54F-4A34-B4DC-8EF46017DB00}">
      <dsp:nvSpPr>
        <dsp:cNvPr id="0" name=""/>
        <dsp:cNvSpPr/>
      </dsp:nvSpPr>
      <dsp:spPr>
        <a:xfrm>
          <a:off x="8068463" y="587032"/>
          <a:ext cx="2444055" cy="146643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specialista en ciberseguridad. </a:t>
          </a:r>
        </a:p>
        <a:p>
          <a:pPr marL="57150" lvl="1" indent="0" algn="l" defTabSz="466725">
            <a:lnSpc>
              <a:spcPct val="90000"/>
            </a:lnSpc>
            <a:spcBef>
              <a:spcPct val="0"/>
            </a:spcBef>
            <a:spcAft>
              <a:spcPct val="15000"/>
            </a:spcAft>
            <a:buChar char="•"/>
          </a:pPr>
          <a:r>
            <a:rPr lang="es-ES" sz="1400" kern="1200" dirty="0">
              <a:latin typeface="+mn-lt"/>
            </a:rPr>
            <a:t>El sueldo medio está entre 30.000 y los 60.000 € brutos anuales.</a:t>
          </a:r>
        </a:p>
        <a:p>
          <a:pPr marL="57150" lvl="1" indent="0" algn="l" defTabSz="466725">
            <a:lnSpc>
              <a:spcPct val="90000"/>
            </a:lnSpc>
            <a:spcBef>
              <a:spcPct val="0"/>
            </a:spcBef>
            <a:spcAft>
              <a:spcPct val="15000"/>
            </a:spcAft>
            <a:buChar char="•"/>
          </a:pPr>
          <a:r>
            <a:rPr lang="es-ES" sz="1400" kern="1200" dirty="0">
              <a:latin typeface="+mn-lt"/>
            </a:rPr>
            <a:t>Se puede llegar a 66.000 €.</a:t>
          </a:r>
        </a:p>
      </dsp:txBody>
      <dsp:txXfrm>
        <a:off x="8068463" y="587032"/>
        <a:ext cx="2444055" cy="1466433"/>
      </dsp:txXfrm>
    </dsp:sp>
    <dsp:sp modelId="{832A5838-82DC-4572-B069-96EE720716BB}">
      <dsp:nvSpPr>
        <dsp:cNvPr id="0" name=""/>
        <dsp:cNvSpPr/>
      </dsp:nvSpPr>
      <dsp:spPr>
        <a:xfrm>
          <a:off x="1347311" y="2297871"/>
          <a:ext cx="2444055" cy="146643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Marketing digital. </a:t>
          </a:r>
        </a:p>
        <a:p>
          <a:pPr marL="57150" lvl="1" indent="0" algn="l" defTabSz="466725">
            <a:lnSpc>
              <a:spcPct val="90000"/>
            </a:lnSpc>
            <a:spcBef>
              <a:spcPct val="0"/>
            </a:spcBef>
            <a:spcAft>
              <a:spcPct val="15000"/>
            </a:spcAft>
            <a:buChar char="•"/>
          </a:pPr>
          <a:r>
            <a:rPr lang="es-ES" sz="1400" kern="1200" dirty="0">
              <a:latin typeface="+mn-lt"/>
            </a:rPr>
            <a:t>Los junior comienzan con unos 21.000 euros al año</a:t>
          </a:r>
        </a:p>
        <a:p>
          <a:pPr marL="57150" lvl="1" indent="0" algn="l" defTabSz="466725">
            <a:lnSpc>
              <a:spcPct val="90000"/>
            </a:lnSpc>
            <a:spcBef>
              <a:spcPct val="0"/>
            </a:spcBef>
            <a:spcAft>
              <a:spcPct val="15000"/>
            </a:spcAft>
            <a:buChar char="•"/>
          </a:pPr>
          <a:r>
            <a:rPr lang="es-ES" sz="1400" kern="1200" dirty="0">
              <a:latin typeface="+mn-lt"/>
            </a:rPr>
            <a:t>Los senior pueden llegar a ganar hasta 60.000 euros brutos al año.</a:t>
          </a:r>
        </a:p>
      </dsp:txBody>
      <dsp:txXfrm>
        <a:off x="1347311" y="2297871"/>
        <a:ext cx="2444055" cy="1466433"/>
      </dsp:txXfrm>
    </dsp:sp>
    <dsp:sp modelId="{6397233C-C0BB-4098-83EC-D635DD303656}">
      <dsp:nvSpPr>
        <dsp:cNvPr id="0" name=""/>
        <dsp:cNvSpPr/>
      </dsp:nvSpPr>
      <dsp:spPr>
        <a:xfrm>
          <a:off x="4035772" y="2297871"/>
          <a:ext cx="2444055" cy="146643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Especialista en E-Commerce. </a:t>
          </a:r>
        </a:p>
        <a:p>
          <a:pPr marL="57150" lvl="1" indent="0" algn="l" defTabSz="466725">
            <a:lnSpc>
              <a:spcPct val="90000"/>
            </a:lnSpc>
            <a:spcBef>
              <a:spcPct val="0"/>
            </a:spcBef>
            <a:spcAft>
              <a:spcPct val="15000"/>
            </a:spcAft>
            <a:buChar char="•"/>
          </a:pPr>
          <a:r>
            <a:rPr lang="es-ES" sz="1400" kern="1200" dirty="0">
              <a:latin typeface="+mn-lt"/>
            </a:rPr>
            <a:t>Un  junior gana entre 20.000 y 30.000 euros al año en España</a:t>
          </a:r>
        </a:p>
        <a:p>
          <a:pPr marL="57150" lvl="1" indent="0" algn="l" defTabSz="466725">
            <a:lnSpc>
              <a:spcPct val="90000"/>
            </a:lnSpc>
            <a:spcBef>
              <a:spcPct val="0"/>
            </a:spcBef>
            <a:spcAft>
              <a:spcPct val="15000"/>
            </a:spcAft>
            <a:buChar char="•"/>
          </a:pPr>
          <a:r>
            <a:rPr lang="es-ES" sz="1400" kern="1200" dirty="0">
              <a:latin typeface="+mn-lt"/>
            </a:rPr>
            <a:t>Un senior puede ganar hasta 40.000 ó 60.000 euros brutos anuales.</a:t>
          </a:r>
        </a:p>
      </dsp:txBody>
      <dsp:txXfrm>
        <a:off x="4035772" y="2297871"/>
        <a:ext cx="2444055" cy="1466433"/>
      </dsp:txXfrm>
    </dsp:sp>
    <dsp:sp modelId="{42A45468-6734-4E10-983D-87AD7A415011}">
      <dsp:nvSpPr>
        <dsp:cNvPr id="0" name=""/>
        <dsp:cNvSpPr/>
      </dsp:nvSpPr>
      <dsp:spPr>
        <a:xfrm>
          <a:off x="6724233" y="2297871"/>
          <a:ext cx="2444055" cy="146643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533400">
            <a:lnSpc>
              <a:spcPct val="90000"/>
            </a:lnSpc>
            <a:spcBef>
              <a:spcPct val="0"/>
            </a:spcBef>
            <a:spcAft>
              <a:spcPct val="35000"/>
            </a:spcAft>
            <a:buNone/>
          </a:pPr>
          <a:r>
            <a:rPr lang="es-ES" sz="1400" b="1" kern="1200" dirty="0">
              <a:highlight>
                <a:srgbClr val="000000"/>
              </a:highlight>
              <a:latin typeface="+mn-lt"/>
              <a:ea typeface="+mn-ea"/>
              <a:cs typeface="+mn-cs"/>
            </a:rPr>
            <a:t>Abogado de protección de datos y privacidad. </a:t>
          </a:r>
        </a:p>
        <a:p>
          <a:pPr marL="57150" lvl="1" indent="0" algn="l" defTabSz="466725">
            <a:lnSpc>
              <a:spcPct val="90000"/>
            </a:lnSpc>
            <a:spcBef>
              <a:spcPct val="0"/>
            </a:spcBef>
            <a:spcAft>
              <a:spcPct val="15000"/>
            </a:spcAft>
            <a:buChar char="•"/>
          </a:pPr>
          <a:r>
            <a:rPr lang="es-ES" sz="1400" kern="1200" dirty="0">
              <a:latin typeface="+mn-lt"/>
            </a:rPr>
            <a:t>El sueldo medio es de 50.000 euros al año (varía según la experiencia, la empresa y su ubicación).</a:t>
          </a:r>
        </a:p>
      </dsp:txBody>
      <dsp:txXfrm>
        <a:off x="6724233" y="2297871"/>
        <a:ext cx="2444055" cy="1466433"/>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6CBC1E-3262-4820-9EB4-044CEAC8BB6F}">
      <dsp:nvSpPr>
        <dsp:cNvPr id="0" name=""/>
        <dsp:cNvSpPr/>
      </dsp:nvSpPr>
      <dsp:spPr>
        <a:xfrm>
          <a:off x="557745" y="2779"/>
          <a:ext cx="4095496" cy="4095496"/>
        </a:xfrm>
        <a:prstGeom prst="ellipse">
          <a:avLst/>
        </a:prstGeom>
        <a:solidFill>
          <a:schemeClr val="accent1">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25389" tIns="35560" rIns="225389" bIns="35560" numCol="1" spcCol="1270" anchor="ctr" anchorCtr="0">
          <a:noAutofit/>
        </a:bodyPr>
        <a:lstStyle/>
        <a:p>
          <a:pPr marL="0" lvl="0" indent="0" algn="ctr" defTabSz="1244600">
            <a:lnSpc>
              <a:spcPct val="90000"/>
            </a:lnSpc>
            <a:spcBef>
              <a:spcPct val="0"/>
            </a:spcBef>
            <a:spcAft>
              <a:spcPct val="35000"/>
            </a:spcAft>
            <a:buNone/>
          </a:pPr>
          <a:r>
            <a:rPr lang="es-ES" sz="2800" kern="1200" dirty="0"/>
            <a:t>Casi todo de lo que se puede hacer ahora con las nuevas tecnologías, antes ya se podía …</a:t>
          </a:r>
        </a:p>
      </dsp:txBody>
      <dsp:txXfrm>
        <a:off x="1157517" y="602551"/>
        <a:ext cx="2895952" cy="2895952"/>
      </dsp:txXfrm>
    </dsp:sp>
    <dsp:sp modelId="{657BD7E7-4136-44ED-A01F-8F6CB8C96399}">
      <dsp:nvSpPr>
        <dsp:cNvPr id="0" name=""/>
        <dsp:cNvSpPr/>
      </dsp:nvSpPr>
      <dsp:spPr>
        <a:xfrm>
          <a:off x="3834142" y="2779"/>
          <a:ext cx="4095496" cy="4095496"/>
        </a:xfrm>
        <a:prstGeom prst="ellipse">
          <a:avLst/>
        </a:prstGeom>
        <a:solidFill>
          <a:schemeClr val="accent1">
            <a:shade val="80000"/>
            <a:alpha val="50000"/>
            <a:hueOff val="7"/>
            <a:satOff val="1521"/>
            <a:lumOff val="2542"/>
            <a:alphaOff val="1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25389" tIns="35560" rIns="225389" bIns="35560" numCol="1" spcCol="1270" anchor="ctr" anchorCtr="0">
          <a:noAutofit/>
        </a:bodyPr>
        <a:lstStyle/>
        <a:p>
          <a:pPr marL="0" lvl="0" indent="0" algn="ctr" defTabSz="1244600">
            <a:lnSpc>
              <a:spcPct val="90000"/>
            </a:lnSpc>
            <a:spcBef>
              <a:spcPct val="0"/>
            </a:spcBef>
            <a:spcAft>
              <a:spcPct val="35000"/>
            </a:spcAft>
            <a:buNone/>
          </a:pPr>
          <a:r>
            <a:rPr lang="es-ES" sz="2800" kern="1200" dirty="0"/>
            <a:t>… pero ahora se puede hacer más económico, más y mejor…</a:t>
          </a:r>
        </a:p>
      </dsp:txBody>
      <dsp:txXfrm>
        <a:off x="4433914" y="602551"/>
        <a:ext cx="2895952" cy="2895952"/>
      </dsp:txXfrm>
    </dsp:sp>
    <dsp:sp modelId="{BD6A5BC0-51BF-4EE7-B4F3-7E78E94D874C}">
      <dsp:nvSpPr>
        <dsp:cNvPr id="0" name=""/>
        <dsp:cNvSpPr/>
      </dsp:nvSpPr>
      <dsp:spPr>
        <a:xfrm>
          <a:off x="7110539" y="2779"/>
          <a:ext cx="4095496" cy="4095496"/>
        </a:xfrm>
        <a:prstGeom prst="ellipse">
          <a:avLst/>
        </a:prstGeom>
        <a:solidFill>
          <a:schemeClr val="accent1">
            <a:shade val="80000"/>
            <a:alpha val="50000"/>
            <a:hueOff val="15"/>
            <a:satOff val="3042"/>
            <a:lumOff val="5084"/>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25389" tIns="35560" rIns="225389" bIns="35560" numCol="1" spcCol="1270" anchor="ctr" anchorCtr="0">
          <a:noAutofit/>
        </a:bodyPr>
        <a:lstStyle/>
        <a:p>
          <a:pPr marL="0" lvl="0" indent="0" algn="ctr" defTabSz="1244600">
            <a:lnSpc>
              <a:spcPct val="90000"/>
            </a:lnSpc>
            <a:spcBef>
              <a:spcPct val="0"/>
            </a:spcBef>
            <a:spcAft>
              <a:spcPct val="35000"/>
            </a:spcAft>
            <a:buNone/>
          </a:pPr>
          <a:r>
            <a:rPr lang="es-ES" sz="2800" kern="1200" dirty="0"/>
            <a:t>La tecnología no es la panacea</a:t>
          </a:r>
        </a:p>
      </dsp:txBody>
      <dsp:txXfrm>
        <a:off x="7710311" y="602551"/>
        <a:ext cx="2895952" cy="2895952"/>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11896-13E1-4D3F-AB9C-6E92074695A9}">
      <dsp:nvSpPr>
        <dsp:cNvPr id="0" name=""/>
        <dsp:cNvSpPr/>
      </dsp:nvSpPr>
      <dsp:spPr>
        <a:xfrm>
          <a:off x="1283" y="0"/>
          <a:ext cx="3337470" cy="4351338"/>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r>
            <a:rPr lang="es-ES" sz="6100" b="1" kern="1200" dirty="0"/>
            <a:t>2022</a:t>
          </a:r>
          <a:endParaRPr lang="es-ES" sz="6100" kern="1200" dirty="0"/>
        </a:p>
      </dsp:txBody>
      <dsp:txXfrm>
        <a:off x="1283" y="0"/>
        <a:ext cx="3337470" cy="1305401"/>
      </dsp:txXfrm>
    </dsp:sp>
    <dsp:sp modelId="{B18C2530-2678-454D-8757-73A88DB98DB1}">
      <dsp:nvSpPr>
        <dsp:cNvPr id="0" name=""/>
        <dsp:cNvSpPr/>
      </dsp:nvSpPr>
      <dsp:spPr>
        <a:xfrm>
          <a:off x="335030" y="1306676"/>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Valor absoluto:</a:t>
          </a:r>
          <a:endParaRPr lang="es-ES" sz="1800" kern="1200" dirty="0"/>
        </a:p>
        <a:p>
          <a:pPr marL="114300" lvl="1" indent="-114300" algn="l" defTabSz="622300">
            <a:lnSpc>
              <a:spcPct val="90000"/>
            </a:lnSpc>
            <a:spcBef>
              <a:spcPct val="0"/>
            </a:spcBef>
            <a:spcAft>
              <a:spcPct val="15000"/>
            </a:spcAft>
            <a:buChar char="•"/>
          </a:pPr>
          <a:r>
            <a:rPr lang="es-ES" sz="1400" kern="1200" dirty="0"/>
            <a:t>Alrededor de </a:t>
          </a:r>
          <a:r>
            <a:rPr lang="es-ES" sz="1400" b="1" kern="1200" dirty="0"/>
            <a:t>50.000 millones de euros</a:t>
          </a:r>
          <a:endParaRPr lang="es-ES" sz="1400" kern="1200" dirty="0"/>
        </a:p>
      </dsp:txBody>
      <dsp:txXfrm>
        <a:off x="373457" y="1345103"/>
        <a:ext cx="2593122" cy="1235133"/>
      </dsp:txXfrm>
    </dsp:sp>
    <dsp:sp modelId="{D2CC13AC-628C-4415-A0DA-3885598D3253}">
      <dsp:nvSpPr>
        <dsp:cNvPr id="0" name=""/>
        <dsp:cNvSpPr/>
      </dsp:nvSpPr>
      <dsp:spPr>
        <a:xfrm>
          <a:off x="335030" y="2820508"/>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Porcentaje:</a:t>
          </a:r>
          <a:endParaRPr lang="es-ES" sz="1800" kern="1200" dirty="0"/>
        </a:p>
        <a:p>
          <a:pPr marL="114300" lvl="1" indent="-114300" algn="l" defTabSz="622300">
            <a:lnSpc>
              <a:spcPct val="90000"/>
            </a:lnSpc>
            <a:spcBef>
              <a:spcPct val="0"/>
            </a:spcBef>
            <a:spcAft>
              <a:spcPct val="15000"/>
            </a:spcAft>
            <a:buChar char="•"/>
          </a:pPr>
          <a:r>
            <a:rPr lang="es-ES" sz="1400" kern="1200" dirty="0"/>
            <a:t>Aprox. el </a:t>
          </a:r>
          <a:r>
            <a:rPr lang="es-ES" sz="1400" b="1" kern="1200" dirty="0"/>
            <a:t>5% </a:t>
          </a:r>
          <a:r>
            <a:rPr lang="es-ES" sz="1400" kern="1200" dirty="0"/>
            <a:t>del PIB</a:t>
          </a:r>
        </a:p>
      </dsp:txBody>
      <dsp:txXfrm>
        <a:off x="373457" y="2858935"/>
        <a:ext cx="2593122" cy="1235133"/>
      </dsp:txXfrm>
    </dsp:sp>
    <dsp:sp modelId="{0BFFD14E-E1B8-4CAA-8F24-9B69F7960DBB}">
      <dsp:nvSpPr>
        <dsp:cNvPr id="0" name=""/>
        <dsp:cNvSpPr/>
      </dsp:nvSpPr>
      <dsp:spPr>
        <a:xfrm>
          <a:off x="3589064" y="0"/>
          <a:ext cx="3337470" cy="4351338"/>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r>
            <a:rPr lang="es-ES" sz="6100" b="1" kern="1200" dirty="0"/>
            <a:t>2023</a:t>
          </a:r>
          <a:endParaRPr lang="es-ES" sz="6100" kern="1200" dirty="0"/>
        </a:p>
      </dsp:txBody>
      <dsp:txXfrm>
        <a:off x="3589064" y="0"/>
        <a:ext cx="3337470" cy="1305401"/>
      </dsp:txXfrm>
    </dsp:sp>
    <dsp:sp modelId="{7A85E91D-32B0-485F-BD37-7336503968FD}">
      <dsp:nvSpPr>
        <dsp:cNvPr id="0" name=""/>
        <dsp:cNvSpPr/>
      </dsp:nvSpPr>
      <dsp:spPr>
        <a:xfrm>
          <a:off x="3922811" y="1306676"/>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Valor absoluto:</a:t>
          </a:r>
          <a:endParaRPr lang="es-ES" sz="1800" kern="1200" dirty="0"/>
        </a:p>
        <a:p>
          <a:pPr marL="114300" lvl="1" indent="-114300" algn="l" defTabSz="622300">
            <a:lnSpc>
              <a:spcPct val="90000"/>
            </a:lnSpc>
            <a:spcBef>
              <a:spcPct val="0"/>
            </a:spcBef>
            <a:spcAft>
              <a:spcPct val="15000"/>
            </a:spcAft>
            <a:buChar char="•"/>
          </a:pPr>
          <a:r>
            <a:rPr lang="es-ES" sz="1400" kern="1200" dirty="0"/>
            <a:t>Cerca de </a:t>
          </a:r>
          <a:r>
            <a:rPr lang="es-ES" sz="1400" b="1" kern="1200" dirty="0"/>
            <a:t>53.500 millones de euros</a:t>
          </a:r>
          <a:r>
            <a:rPr lang="es-ES" sz="1400" kern="1200" dirty="0"/>
            <a:t> en 2023, aumento del </a:t>
          </a:r>
          <a:r>
            <a:rPr lang="es-ES" sz="1400" b="1" kern="1200" dirty="0"/>
            <a:t>3,4%</a:t>
          </a:r>
          <a:r>
            <a:rPr lang="es-ES" sz="1400" kern="1200" dirty="0"/>
            <a:t> respecto a 2022</a:t>
          </a:r>
        </a:p>
      </dsp:txBody>
      <dsp:txXfrm>
        <a:off x="3961238" y="1345103"/>
        <a:ext cx="2593122" cy="1235133"/>
      </dsp:txXfrm>
    </dsp:sp>
    <dsp:sp modelId="{E0AD95A0-F91A-4FF9-BF53-C5B7DAF32444}">
      <dsp:nvSpPr>
        <dsp:cNvPr id="0" name=""/>
        <dsp:cNvSpPr/>
      </dsp:nvSpPr>
      <dsp:spPr>
        <a:xfrm>
          <a:off x="3922811" y="2820508"/>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Porcentaje:</a:t>
          </a:r>
          <a:endParaRPr lang="es-ES" sz="1800" kern="1200" dirty="0"/>
        </a:p>
        <a:p>
          <a:pPr marL="114300" lvl="1" indent="-114300" algn="l" defTabSz="622300">
            <a:lnSpc>
              <a:spcPct val="90000"/>
            </a:lnSpc>
            <a:spcBef>
              <a:spcPct val="0"/>
            </a:spcBef>
            <a:spcAft>
              <a:spcPct val="15000"/>
            </a:spcAft>
            <a:buChar char="•"/>
          </a:pPr>
          <a:r>
            <a:rPr lang="es-ES" sz="1400" kern="1200" dirty="0"/>
            <a:t>Alrededor del </a:t>
          </a:r>
          <a:r>
            <a:rPr lang="es-ES" sz="1400" b="1" kern="1200" dirty="0"/>
            <a:t>5,2%</a:t>
          </a:r>
          <a:r>
            <a:rPr lang="es-ES" sz="1400" kern="1200" dirty="0"/>
            <a:t> del PIB español</a:t>
          </a:r>
        </a:p>
      </dsp:txBody>
      <dsp:txXfrm>
        <a:off x="3961238" y="2858935"/>
        <a:ext cx="2593122" cy="1235133"/>
      </dsp:txXfrm>
    </dsp:sp>
    <dsp:sp modelId="{2D6CCED8-D218-4885-AEA5-28F4A2B8DD65}">
      <dsp:nvSpPr>
        <dsp:cNvPr id="0" name=""/>
        <dsp:cNvSpPr/>
      </dsp:nvSpPr>
      <dsp:spPr>
        <a:xfrm>
          <a:off x="7176845" y="0"/>
          <a:ext cx="3337470" cy="4351338"/>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r>
            <a:rPr lang="es-ES" sz="6100" b="1" kern="1200" dirty="0"/>
            <a:t>2024</a:t>
          </a:r>
          <a:endParaRPr lang="es-ES" sz="6100" kern="1200" dirty="0"/>
        </a:p>
      </dsp:txBody>
      <dsp:txXfrm>
        <a:off x="7176845" y="0"/>
        <a:ext cx="3337470" cy="1305401"/>
      </dsp:txXfrm>
    </dsp:sp>
    <dsp:sp modelId="{5C3BEE31-977F-42D2-814A-FE9AD2DF6E56}">
      <dsp:nvSpPr>
        <dsp:cNvPr id="0" name=""/>
        <dsp:cNvSpPr/>
      </dsp:nvSpPr>
      <dsp:spPr>
        <a:xfrm>
          <a:off x="7510592" y="1306676"/>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Valor absoluto:</a:t>
          </a:r>
          <a:endParaRPr lang="es-ES" sz="1800" kern="1200" dirty="0"/>
        </a:p>
        <a:p>
          <a:pPr marL="114300" lvl="1" indent="-114300" algn="l" defTabSz="622300">
            <a:lnSpc>
              <a:spcPct val="90000"/>
            </a:lnSpc>
            <a:spcBef>
              <a:spcPct val="0"/>
            </a:spcBef>
            <a:spcAft>
              <a:spcPct val="15000"/>
            </a:spcAft>
            <a:buChar char="•"/>
          </a:pPr>
          <a:r>
            <a:rPr lang="es-ES" sz="1400" kern="1200" dirty="0"/>
            <a:t>Se estima que llegará a los </a:t>
          </a:r>
          <a:r>
            <a:rPr lang="es-ES" sz="1400" b="1" kern="1200" dirty="0"/>
            <a:t>59.400 millones de euros</a:t>
          </a:r>
          <a:r>
            <a:rPr lang="es-ES" sz="1400" kern="1200" dirty="0"/>
            <a:t>, aumento del </a:t>
          </a:r>
          <a:r>
            <a:rPr lang="es-ES" sz="1400" b="1" kern="1200" dirty="0"/>
            <a:t>10,8%</a:t>
          </a:r>
          <a:r>
            <a:rPr lang="es-ES" sz="1400" kern="1200" dirty="0"/>
            <a:t> respecto a 2023</a:t>
          </a:r>
        </a:p>
      </dsp:txBody>
      <dsp:txXfrm>
        <a:off x="7549019" y="1345103"/>
        <a:ext cx="2593122" cy="1235133"/>
      </dsp:txXfrm>
    </dsp:sp>
    <dsp:sp modelId="{94F65CBD-40C9-4B4F-90D1-7CC3F0DBB6EF}">
      <dsp:nvSpPr>
        <dsp:cNvPr id="0" name=""/>
        <dsp:cNvSpPr/>
      </dsp:nvSpPr>
      <dsp:spPr>
        <a:xfrm>
          <a:off x="7510592" y="2820508"/>
          <a:ext cx="2669976" cy="131198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t" anchorCtr="0">
          <a:noAutofit/>
        </a:bodyPr>
        <a:lstStyle/>
        <a:p>
          <a:pPr marL="0" lvl="0" indent="0" algn="l" defTabSz="800100">
            <a:lnSpc>
              <a:spcPct val="90000"/>
            </a:lnSpc>
            <a:spcBef>
              <a:spcPct val="0"/>
            </a:spcBef>
            <a:spcAft>
              <a:spcPct val="35000"/>
            </a:spcAft>
            <a:buNone/>
          </a:pPr>
          <a:r>
            <a:rPr lang="es-ES" sz="1800" b="1" kern="1200" dirty="0"/>
            <a:t>Porcentaje:</a:t>
          </a:r>
          <a:endParaRPr lang="es-ES" sz="1800" kern="1200" dirty="0"/>
        </a:p>
        <a:p>
          <a:pPr marL="114300" lvl="1" indent="-114300" algn="l" defTabSz="622300">
            <a:lnSpc>
              <a:spcPct val="90000"/>
            </a:lnSpc>
            <a:spcBef>
              <a:spcPct val="0"/>
            </a:spcBef>
            <a:spcAft>
              <a:spcPct val="15000"/>
            </a:spcAft>
            <a:buChar char="•"/>
          </a:pPr>
          <a:r>
            <a:rPr lang="es-ES" sz="1400" kern="1200" dirty="0">
              <a:highlight>
                <a:srgbClr val="D1EF1D"/>
              </a:highlight>
            </a:rPr>
            <a:t>Cerca </a:t>
          </a:r>
          <a:r>
            <a:rPr lang="es-ES" sz="1400" b="1" kern="1200" dirty="0">
              <a:highlight>
                <a:srgbClr val="D1EF1D"/>
              </a:highlight>
            </a:rPr>
            <a:t>5,7%</a:t>
          </a:r>
          <a:r>
            <a:rPr lang="es-ES" sz="1400" kern="1200" dirty="0">
              <a:highlight>
                <a:srgbClr val="D1EF1D"/>
              </a:highlight>
            </a:rPr>
            <a:t> del PIB español</a:t>
          </a:r>
        </a:p>
      </dsp:txBody>
      <dsp:txXfrm>
        <a:off x="7549019" y="2858935"/>
        <a:ext cx="2593122" cy="1235133"/>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E48389-856A-4284-813B-BD0874473335}">
      <dsp:nvSpPr>
        <dsp:cNvPr id="0" name=""/>
        <dsp:cNvSpPr/>
      </dsp:nvSpPr>
      <dsp:spPr>
        <a:xfrm>
          <a:off x="0" y="262719"/>
          <a:ext cx="5181600" cy="167310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b="1" kern="1200" dirty="0">
              <a:solidFill>
                <a:schemeClr val="tx1"/>
              </a:solidFill>
              <a:highlight>
                <a:srgbClr val="D1EF1D"/>
              </a:highlight>
            </a:rPr>
            <a:t>“el 80%-90% de las empresas sabe que tiene que invertir en transformación digital pero solo el 42% lo hace”</a:t>
          </a:r>
        </a:p>
      </dsp:txBody>
      <dsp:txXfrm>
        <a:off x="81674" y="344393"/>
        <a:ext cx="5018252" cy="1509752"/>
      </dsp:txXfrm>
    </dsp:sp>
    <dsp:sp modelId="{522B4071-E7BD-444D-8207-3CD914CC09F7}">
      <dsp:nvSpPr>
        <dsp:cNvPr id="0" name=""/>
        <dsp:cNvSpPr/>
      </dsp:nvSpPr>
      <dsp:spPr>
        <a:xfrm>
          <a:off x="0" y="1935819"/>
          <a:ext cx="5181600" cy="2152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51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s-ES" sz="2400" kern="1200" dirty="0"/>
            <a:t>Telecomunicaciones: Entre el 18% y el 20% del gasto</a:t>
          </a:r>
        </a:p>
        <a:p>
          <a:pPr marL="228600" lvl="1" indent="-228600" algn="l" defTabSz="1066800">
            <a:lnSpc>
              <a:spcPct val="90000"/>
            </a:lnSpc>
            <a:spcBef>
              <a:spcPct val="0"/>
            </a:spcBef>
            <a:spcAft>
              <a:spcPct val="20000"/>
            </a:spcAft>
            <a:buChar char="•"/>
          </a:pPr>
          <a:r>
            <a:rPr lang="es-ES" sz="2400" kern="1200" dirty="0"/>
            <a:t>Finanzas: Entre el 15% y el 17% del gasto</a:t>
          </a:r>
        </a:p>
        <a:p>
          <a:pPr marL="228600" lvl="1" indent="-228600" algn="l" defTabSz="1066800">
            <a:lnSpc>
              <a:spcPct val="90000"/>
            </a:lnSpc>
            <a:spcBef>
              <a:spcPct val="0"/>
            </a:spcBef>
            <a:spcAft>
              <a:spcPct val="20000"/>
            </a:spcAft>
            <a:buChar char="•"/>
          </a:pPr>
          <a:r>
            <a:rPr lang="es-ES" sz="2400" kern="1200" dirty="0"/>
            <a:t>Industria: Entre el 12% y el 14% del gasto total</a:t>
          </a:r>
        </a:p>
      </dsp:txBody>
      <dsp:txXfrm>
        <a:off x="0" y="1935819"/>
        <a:ext cx="5181600" cy="2152800"/>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EE733A-6624-49EE-8511-11AE26A16117}">
      <dsp:nvSpPr>
        <dsp:cNvPr id="0" name=""/>
        <dsp:cNvSpPr/>
      </dsp:nvSpPr>
      <dsp:spPr>
        <a:xfrm>
          <a:off x="3925" y="0"/>
          <a:ext cx="3776379" cy="44577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highlight>
                <a:srgbClr val="D1EF1D"/>
              </a:highlight>
            </a:rPr>
            <a:t>Salarios</a:t>
          </a:r>
          <a:r>
            <a:rPr lang="es-ES" sz="2400" kern="1200" dirty="0"/>
            <a:t> para un profesional IA:</a:t>
          </a:r>
        </a:p>
      </dsp:txBody>
      <dsp:txXfrm>
        <a:off x="3925" y="0"/>
        <a:ext cx="3776379" cy="1337310"/>
      </dsp:txXfrm>
    </dsp:sp>
    <dsp:sp modelId="{6FB8D4FD-DF68-4DFB-A19E-B43EBF213D14}">
      <dsp:nvSpPr>
        <dsp:cNvPr id="0" name=""/>
        <dsp:cNvSpPr/>
      </dsp:nvSpPr>
      <dsp:spPr>
        <a:xfrm>
          <a:off x="381563" y="1338615"/>
          <a:ext cx="3021103" cy="1344057"/>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s-ES" sz="1700" kern="1200" dirty="0"/>
            <a:t>A los </a:t>
          </a:r>
          <a:r>
            <a:rPr lang="es-ES" sz="1700" kern="1200" dirty="0">
              <a:highlight>
                <a:srgbClr val="D1EF1D"/>
              </a:highlight>
            </a:rPr>
            <a:t>tres años</a:t>
          </a:r>
          <a:r>
            <a:rPr lang="es-ES" sz="1700" kern="1200" dirty="0"/>
            <a:t>, el salario medio anual para un profesional senior, está en unos </a:t>
          </a:r>
          <a:r>
            <a:rPr lang="es-ES" sz="1700" kern="1200" dirty="0">
              <a:highlight>
                <a:srgbClr val="D1EF1D"/>
              </a:highlight>
            </a:rPr>
            <a:t>60,000 €</a:t>
          </a:r>
        </a:p>
      </dsp:txBody>
      <dsp:txXfrm>
        <a:off x="420929" y="1377981"/>
        <a:ext cx="2942371" cy="1265325"/>
      </dsp:txXfrm>
    </dsp:sp>
    <dsp:sp modelId="{BC86B1BE-C090-4DC8-96E6-E277EA6C1F7D}">
      <dsp:nvSpPr>
        <dsp:cNvPr id="0" name=""/>
        <dsp:cNvSpPr/>
      </dsp:nvSpPr>
      <dsp:spPr>
        <a:xfrm>
          <a:off x="381563" y="2889451"/>
          <a:ext cx="3021103" cy="1344057"/>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s-ES" sz="1700" kern="1200" dirty="0"/>
            <a:t>A los </a:t>
          </a:r>
          <a:r>
            <a:rPr lang="es-ES" sz="1700" kern="1200" dirty="0">
              <a:highlight>
                <a:srgbClr val="D1EF1D"/>
              </a:highlight>
            </a:rPr>
            <a:t>cinco años</a:t>
          </a:r>
          <a:r>
            <a:rPr lang="es-ES" sz="1700" kern="1200" dirty="0"/>
            <a:t> en unos  </a:t>
          </a:r>
          <a:r>
            <a:rPr lang="es-ES" sz="1700" kern="1200" dirty="0">
              <a:highlight>
                <a:srgbClr val="D1EF1D"/>
              </a:highlight>
            </a:rPr>
            <a:t>100,000 euros.</a:t>
          </a:r>
        </a:p>
      </dsp:txBody>
      <dsp:txXfrm>
        <a:off x="420929" y="2928817"/>
        <a:ext cx="2942371" cy="1265325"/>
      </dsp:txXfrm>
    </dsp:sp>
    <dsp:sp modelId="{66E01CB5-B400-4510-B0D7-5BAEE305FDC0}">
      <dsp:nvSpPr>
        <dsp:cNvPr id="0" name=""/>
        <dsp:cNvSpPr/>
      </dsp:nvSpPr>
      <dsp:spPr>
        <a:xfrm>
          <a:off x="4063533" y="0"/>
          <a:ext cx="3776379" cy="44577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dirty="0"/>
            <a:t>Déficit de profesionales</a:t>
          </a:r>
        </a:p>
      </dsp:txBody>
      <dsp:txXfrm>
        <a:off x="4063533" y="0"/>
        <a:ext cx="3776379" cy="1337310"/>
      </dsp:txXfrm>
    </dsp:sp>
    <dsp:sp modelId="{5F4D32DD-EE33-45E4-B40E-0732264CF5BB}">
      <dsp:nvSpPr>
        <dsp:cNvPr id="0" name=""/>
        <dsp:cNvSpPr/>
      </dsp:nvSpPr>
      <dsp:spPr>
        <a:xfrm>
          <a:off x="4441171" y="1338615"/>
          <a:ext cx="3021103" cy="1344057"/>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s-ES" sz="1700" kern="1200" dirty="0"/>
            <a:t>En España habrá un déficit de 50.000 a 70.000 profesionales de inteligencia artificial (IA) entre 2024 y 2026.</a:t>
          </a:r>
        </a:p>
      </dsp:txBody>
      <dsp:txXfrm>
        <a:off x="4480537" y="1377981"/>
        <a:ext cx="2942371" cy="1265325"/>
      </dsp:txXfrm>
    </dsp:sp>
    <dsp:sp modelId="{2B4F9105-D607-4490-8125-6B8DDFBAD4C5}">
      <dsp:nvSpPr>
        <dsp:cNvPr id="0" name=""/>
        <dsp:cNvSpPr/>
      </dsp:nvSpPr>
      <dsp:spPr>
        <a:xfrm>
          <a:off x="4441171" y="2889451"/>
          <a:ext cx="3021103" cy="1344057"/>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s-ES" sz="1700" kern="1200" dirty="0"/>
            <a:t>La necesidad de estos profesionales se duplicará entre 2024 y 2026 (hasta las 100.000 personas).</a:t>
          </a:r>
        </a:p>
      </dsp:txBody>
      <dsp:txXfrm>
        <a:off x="4480537" y="2928817"/>
        <a:ext cx="2942371" cy="1265325"/>
      </dsp:txXfrm>
    </dsp:sp>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A037A-05AE-4F39-95B0-2F1D44F6D2F5}">
      <dsp:nvSpPr>
        <dsp:cNvPr id="0" name=""/>
        <dsp:cNvSpPr/>
      </dsp:nvSpPr>
      <dsp:spPr>
        <a:xfrm>
          <a:off x="3086724" y="580604"/>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3298838" y="623930"/>
        <a:ext cx="23938" cy="4787"/>
      </dsp:txXfrm>
    </dsp:sp>
    <dsp:sp modelId="{E4032B44-48B1-48FC-8AD5-C9E0AE5573B8}">
      <dsp:nvSpPr>
        <dsp:cNvPr id="0" name=""/>
        <dsp:cNvSpPr/>
      </dsp:nvSpPr>
      <dsp:spPr>
        <a:xfrm>
          <a:off x="1006928" y="1845"/>
          <a:ext cx="2081595" cy="1248957"/>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Es bueno saber del negocio al que te vas a dirigir</a:t>
          </a:r>
        </a:p>
      </dsp:txBody>
      <dsp:txXfrm>
        <a:off x="1006928" y="1845"/>
        <a:ext cx="2081595" cy="1248957"/>
      </dsp:txXfrm>
    </dsp:sp>
    <dsp:sp modelId="{EFF857D2-613D-4A04-849C-2E76B40C4A96}">
      <dsp:nvSpPr>
        <dsp:cNvPr id="0" name=""/>
        <dsp:cNvSpPr/>
      </dsp:nvSpPr>
      <dsp:spPr>
        <a:xfrm>
          <a:off x="5647087" y="580604"/>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92317"/>
              <a:satOff val="-1971"/>
              <a:lumOff val="735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859201" y="623930"/>
        <a:ext cx="23938" cy="4787"/>
      </dsp:txXfrm>
    </dsp:sp>
    <dsp:sp modelId="{85D0F322-4B8E-4D40-99C3-42C56C89A79A}">
      <dsp:nvSpPr>
        <dsp:cNvPr id="0" name=""/>
        <dsp:cNvSpPr/>
      </dsp:nvSpPr>
      <dsp:spPr>
        <a:xfrm>
          <a:off x="3567291" y="1845"/>
          <a:ext cx="2081595" cy="1248957"/>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El CIO no suele ser impulsor: CEO, CMO, CBO sí.</a:t>
          </a:r>
        </a:p>
      </dsp:txBody>
      <dsp:txXfrm>
        <a:off x="3567291" y="1845"/>
        <a:ext cx="2081595" cy="1248957"/>
      </dsp:txXfrm>
    </dsp:sp>
    <dsp:sp modelId="{B1C0465E-0F58-4C50-83D9-DB3A796039E2}">
      <dsp:nvSpPr>
        <dsp:cNvPr id="0" name=""/>
        <dsp:cNvSpPr/>
      </dsp:nvSpPr>
      <dsp:spPr>
        <a:xfrm>
          <a:off x="8207450" y="580604"/>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184634"/>
              <a:satOff val="-3943"/>
              <a:lumOff val="14715"/>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8419564" y="623930"/>
        <a:ext cx="23938" cy="4787"/>
      </dsp:txXfrm>
    </dsp:sp>
    <dsp:sp modelId="{A9415965-3C02-4597-A11F-E653DBDB8230}">
      <dsp:nvSpPr>
        <dsp:cNvPr id="0" name=""/>
        <dsp:cNvSpPr/>
      </dsp:nvSpPr>
      <dsp:spPr>
        <a:xfrm>
          <a:off x="6127654" y="1845"/>
          <a:ext cx="2081595" cy="1248957"/>
        </a:xfrm>
        <a:prstGeom prst="rect">
          <a:avLst/>
        </a:prstGeom>
        <a:solidFill>
          <a:schemeClr val="accent1">
            <a:shade val="50000"/>
            <a:hueOff val="160997"/>
            <a:satOff val="-3921"/>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Se empieza con un workshop.</a:t>
          </a:r>
        </a:p>
      </dsp:txBody>
      <dsp:txXfrm>
        <a:off x="6127654" y="1845"/>
        <a:ext cx="2081595" cy="1248957"/>
      </dsp:txXfrm>
    </dsp:sp>
    <dsp:sp modelId="{61B837B5-FEB8-4853-BA70-D6C08EDE0490}">
      <dsp:nvSpPr>
        <dsp:cNvPr id="0" name=""/>
        <dsp:cNvSpPr/>
      </dsp:nvSpPr>
      <dsp:spPr>
        <a:xfrm>
          <a:off x="2047726" y="1249003"/>
          <a:ext cx="7681088" cy="448167"/>
        </a:xfrm>
        <a:custGeom>
          <a:avLst/>
          <a:gdLst/>
          <a:ahLst/>
          <a:cxnLst/>
          <a:rect l="0" t="0" r="0" b="0"/>
          <a:pathLst>
            <a:path>
              <a:moveTo>
                <a:pt x="7681088" y="0"/>
              </a:moveTo>
              <a:lnTo>
                <a:pt x="7681088" y="241183"/>
              </a:lnTo>
              <a:lnTo>
                <a:pt x="0" y="241183"/>
              </a:lnTo>
              <a:lnTo>
                <a:pt x="0" y="448167"/>
              </a:lnTo>
            </a:path>
          </a:pathLst>
        </a:custGeom>
        <a:noFill/>
        <a:ln w="6350" cap="flat" cmpd="sng" algn="ctr">
          <a:solidFill>
            <a:schemeClr val="accent1">
              <a:shade val="90000"/>
              <a:hueOff val="276951"/>
              <a:satOff val="-5914"/>
              <a:lumOff val="220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695871" y="1470692"/>
        <a:ext cx="384799" cy="4787"/>
      </dsp:txXfrm>
    </dsp:sp>
    <dsp:sp modelId="{9521EBD2-7B45-40E0-83EC-62010C70C1F7}">
      <dsp:nvSpPr>
        <dsp:cNvPr id="0" name=""/>
        <dsp:cNvSpPr/>
      </dsp:nvSpPr>
      <dsp:spPr>
        <a:xfrm>
          <a:off x="8688017" y="1845"/>
          <a:ext cx="2081595" cy="1248957"/>
        </a:xfrm>
        <a:prstGeom prst="rect">
          <a:avLst/>
        </a:prstGeom>
        <a:solidFill>
          <a:schemeClr val="accent1">
            <a:shade val="50000"/>
            <a:hueOff val="241496"/>
            <a:satOff val="-5881"/>
            <a:lumOff val="257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Ten casos de uso preparados. Se vende el caso de uso no la tecnología</a:t>
          </a:r>
        </a:p>
      </dsp:txBody>
      <dsp:txXfrm>
        <a:off x="8688017" y="1845"/>
        <a:ext cx="2081595" cy="1248957"/>
      </dsp:txXfrm>
    </dsp:sp>
    <dsp:sp modelId="{2212AFF4-C865-4DE4-9FD1-55514943248A}">
      <dsp:nvSpPr>
        <dsp:cNvPr id="0" name=""/>
        <dsp:cNvSpPr/>
      </dsp:nvSpPr>
      <dsp:spPr>
        <a:xfrm>
          <a:off x="3086724" y="2308329"/>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369268"/>
              <a:satOff val="-7885"/>
              <a:lumOff val="2943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3298838" y="2351655"/>
        <a:ext cx="23938" cy="4787"/>
      </dsp:txXfrm>
    </dsp:sp>
    <dsp:sp modelId="{EE477123-BC6F-425F-B1ED-EACAC4DA60BE}">
      <dsp:nvSpPr>
        <dsp:cNvPr id="0" name=""/>
        <dsp:cNvSpPr/>
      </dsp:nvSpPr>
      <dsp:spPr>
        <a:xfrm>
          <a:off x="1006928" y="1729570"/>
          <a:ext cx="2081595" cy="1248957"/>
        </a:xfrm>
        <a:prstGeom prst="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s-ES" sz="1500" kern="1200" dirty="0"/>
            <a:t>Adáptalos a la empresa a la que vayas a ir analizando tendencias de mercado. </a:t>
          </a:r>
        </a:p>
      </dsp:txBody>
      <dsp:txXfrm>
        <a:off x="1006928" y="1729570"/>
        <a:ext cx="2081595" cy="1248957"/>
      </dsp:txXfrm>
    </dsp:sp>
    <dsp:sp modelId="{CCD37D93-8A80-4D69-89ED-6AE1400D0EAF}">
      <dsp:nvSpPr>
        <dsp:cNvPr id="0" name=""/>
        <dsp:cNvSpPr/>
      </dsp:nvSpPr>
      <dsp:spPr>
        <a:xfrm>
          <a:off x="5647087" y="2308329"/>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369268"/>
              <a:satOff val="-7885"/>
              <a:lumOff val="2943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859201" y="2351655"/>
        <a:ext cx="23938" cy="4787"/>
      </dsp:txXfrm>
    </dsp:sp>
    <dsp:sp modelId="{A0870514-D9ED-452C-BAD4-379F3E67C872}">
      <dsp:nvSpPr>
        <dsp:cNvPr id="0" name=""/>
        <dsp:cNvSpPr/>
      </dsp:nvSpPr>
      <dsp:spPr>
        <a:xfrm>
          <a:off x="3567291" y="1729570"/>
          <a:ext cx="2081595" cy="1248957"/>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666750">
            <a:lnSpc>
              <a:spcPct val="90000"/>
            </a:lnSpc>
            <a:spcBef>
              <a:spcPct val="0"/>
            </a:spcBef>
            <a:spcAft>
              <a:spcPct val="35000"/>
            </a:spcAft>
            <a:buNone/>
          </a:pPr>
          <a:r>
            <a:rPr lang="es-ES" sz="1500" kern="1200" dirty="0"/>
            <a:t>Cuidado con los términos corrompidos:</a:t>
          </a:r>
        </a:p>
        <a:p>
          <a:pPr marL="114300" lvl="1" indent="-114300" algn="l" defTabSz="533400">
            <a:lnSpc>
              <a:spcPct val="90000"/>
            </a:lnSpc>
            <a:spcBef>
              <a:spcPct val="0"/>
            </a:spcBef>
            <a:spcAft>
              <a:spcPct val="15000"/>
            </a:spcAft>
            <a:buChar char="•"/>
          </a:pPr>
          <a:r>
            <a:rPr lang="es-ES" sz="1200" kern="1200" dirty="0"/>
            <a:t>Big Data // Imágenes sí – Texto no // Tiempo real</a:t>
          </a:r>
        </a:p>
      </dsp:txBody>
      <dsp:txXfrm>
        <a:off x="3567291" y="1729570"/>
        <a:ext cx="2081595" cy="1248957"/>
      </dsp:txXfrm>
    </dsp:sp>
    <dsp:sp modelId="{4AF6089B-20BE-43B8-9698-8092418E5E54}">
      <dsp:nvSpPr>
        <dsp:cNvPr id="0" name=""/>
        <dsp:cNvSpPr/>
      </dsp:nvSpPr>
      <dsp:spPr>
        <a:xfrm>
          <a:off x="8207450" y="2308329"/>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276951"/>
              <a:satOff val="-5914"/>
              <a:lumOff val="220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8419564" y="2351655"/>
        <a:ext cx="23938" cy="4787"/>
      </dsp:txXfrm>
    </dsp:sp>
    <dsp:sp modelId="{D00F742A-0204-44CB-BB05-5D1F336D731C}">
      <dsp:nvSpPr>
        <dsp:cNvPr id="0" name=""/>
        <dsp:cNvSpPr/>
      </dsp:nvSpPr>
      <dsp:spPr>
        <a:xfrm>
          <a:off x="6127654" y="1729570"/>
          <a:ext cx="2081595" cy="1248957"/>
        </a:xfrm>
        <a:prstGeom prst="rect">
          <a:avLst/>
        </a:prstGeom>
        <a:solidFill>
          <a:schemeClr val="accent1">
            <a:shade val="50000"/>
            <a:hueOff val="321995"/>
            <a:satOff val="-7842"/>
            <a:lumOff val="34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666750">
            <a:lnSpc>
              <a:spcPct val="90000"/>
            </a:lnSpc>
            <a:spcBef>
              <a:spcPct val="0"/>
            </a:spcBef>
            <a:spcAft>
              <a:spcPct val="35000"/>
            </a:spcAft>
            <a:buNone/>
          </a:pPr>
          <a:r>
            <a:rPr lang="es-ES" sz="1500" kern="1200" dirty="0"/>
            <a:t>Usa con profusión:</a:t>
          </a:r>
        </a:p>
        <a:p>
          <a:pPr marL="114300" lvl="1" indent="-114300" algn="l" defTabSz="533400">
            <a:lnSpc>
              <a:spcPct val="90000"/>
            </a:lnSpc>
            <a:spcBef>
              <a:spcPct val="0"/>
            </a:spcBef>
            <a:spcAft>
              <a:spcPct val="15000"/>
            </a:spcAft>
            <a:buChar char="•"/>
          </a:pPr>
          <a:r>
            <a:rPr lang="es-ES" sz="1200" kern="1200" dirty="0"/>
            <a:t>El lenguaje de la empresa + Beneficios cualitativos + ROI.</a:t>
          </a:r>
        </a:p>
      </dsp:txBody>
      <dsp:txXfrm>
        <a:off x="6127654" y="1729570"/>
        <a:ext cx="2081595" cy="1248957"/>
      </dsp:txXfrm>
    </dsp:sp>
    <dsp:sp modelId="{4DED3E03-20A9-4E45-89A8-8F2E51CCEF2F}">
      <dsp:nvSpPr>
        <dsp:cNvPr id="0" name=""/>
        <dsp:cNvSpPr/>
      </dsp:nvSpPr>
      <dsp:spPr>
        <a:xfrm>
          <a:off x="2047726" y="2976727"/>
          <a:ext cx="7681088" cy="448167"/>
        </a:xfrm>
        <a:custGeom>
          <a:avLst/>
          <a:gdLst/>
          <a:ahLst/>
          <a:cxnLst/>
          <a:rect l="0" t="0" r="0" b="0"/>
          <a:pathLst>
            <a:path>
              <a:moveTo>
                <a:pt x="7681088" y="0"/>
              </a:moveTo>
              <a:lnTo>
                <a:pt x="7681088" y="241183"/>
              </a:lnTo>
              <a:lnTo>
                <a:pt x="0" y="241183"/>
              </a:lnTo>
              <a:lnTo>
                <a:pt x="0" y="448167"/>
              </a:lnTo>
            </a:path>
          </a:pathLst>
        </a:custGeom>
        <a:noFill/>
        <a:ln w="6350" cap="flat" cmpd="sng" algn="ctr">
          <a:solidFill>
            <a:schemeClr val="accent1">
              <a:shade val="90000"/>
              <a:hueOff val="184634"/>
              <a:satOff val="-3943"/>
              <a:lumOff val="14715"/>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5695871" y="3198417"/>
        <a:ext cx="384799" cy="4787"/>
      </dsp:txXfrm>
    </dsp:sp>
    <dsp:sp modelId="{8C0B46BC-2442-4BFA-9E72-32A2C315D71C}">
      <dsp:nvSpPr>
        <dsp:cNvPr id="0" name=""/>
        <dsp:cNvSpPr/>
      </dsp:nvSpPr>
      <dsp:spPr>
        <a:xfrm>
          <a:off x="8688017" y="1729570"/>
          <a:ext cx="2081595" cy="1248957"/>
        </a:xfrm>
        <a:prstGeom prst="rect">
          <a:avLst/>
        </a:prstGeom>
        <a:solidFill>
          <a:schemeClr val="accent1">
            <a:shade val="50000"/>
            <a:hueOff val="241496"/>
            <a:satOff val="-5881"/>
            <a:lumOff val="257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666750">
            <a:lnSpc>
              <a:spcPct val="90000"/>
            </a:lnSpc>
            <a:spcBef>
              <a:spcPct val="0"/>
            </a:spcBef>
            <a:spcAft>
              <a:spcPct val="35000"/>
            </a:spcAft>
            <a:buNone/>
          </a:pPr>
          <a:r>
            <a:rPr lang="es-ES" sz="1500" kern="1200" dirty="0"/>
            <a:t>Quién son los Stakeholders?</a:t>
          </a:r>
        </a:p>
        <a:p>
          <a:pPr marL="114300" lvl="1" indent="-114300" algn="l" defTabSz="533400">
            <a:lnSpc>
              <a:spcPct val="90000"/>
            </a:lnSpc>
            <a:spcBef>
              <a:spcPct val="0"/>
            </a:spcBef>
            <a:spcAft>
              <a:spcPct val="15000"/>
            </a:spcAft>
            <a:buChar char="•"/>
          </a:pPr>
          <a:r>
            <a:rPr lang="es-ES" sz="1200" kern="1200" dirty="0"/>
            <a:t>Qué les importa?</a:t>
          </a:r>
        </a:p>
        <a:p>
          <a:pPr marL="114300" lvl="1" indent="-114300" algn="l" defTabSz="533400">
            <a:lnSpc>
              <a:spcPct val="90000"/>
            </a:lnSpc>
            <a:spcBef>
              <a:spcPct val="0"/>
            </a:spcBef>
            <a:spcAft>
              <a:spcPct val="15000"/>
            </a:spcAft>
            <a:buChar char="•"/>
          </a:pPr>
          <a:r>
            <a:rPr lang="es-ES" sz="1200" kern="1200" dirty="0"/>
            <a:t>Personal y profesional</a:t>
          </a:r>
        </a:p>
      </dsp:txBody>
      <dsp:txXfrm>
        <a:off x="8688017" y="1729570"/>
        <a:ext cx="2081595" cy="1248957"/>
      </dsp:txXfrm>
    </dsp:sp>
    <dsp:sp modelId="{72FA0C6A-5B26-45A4-9D45-146DC68C54D3}">
      <dsp:nvSpPr>
        <dsp:cNvPr id="0" name=""/>
        <dsp:cNvSpPr/>
      </dsp:nvSpPr>
      <dsp:spPr>
        <a:xfrm>
          <a:off x="3086724" y="4036053"/>
          <a:ext cx="448167" cy="91440"/>
        </a:xfrm>
        <a:custGeom>
          <a:avLst/>
          <a:gdLst/>
          <a:ahLst/>
          <a:cxnLst/>
          <a:rect l="0" t="0" r="0" b="0"/>
          <a:pathLst>
            <a:path>
              <a:moveTo>
                <a:pt x="0" y="45720"/>
              </a:moveTo>
              <a:lnTo>
                <a:pt x="448167" y="45720"/>
              </a:lnTo>
            </a:path>
          </a:pathLst>
        </a:custGeom>
        <a:noFill/>
        <a:ln w="6350" cap="flat" cmpd="sng" algn="ctr">
          <a:solidFill>
            <a:schemeClr val="accent1">
              <a:shade val="90000"/>
              <a:hueOff val="92317"/>
              <a:satOff val="-1971"/>
              <a:lumOff val="735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dirty="0"/>
        </a:p>
      </dsp:txBody>
      <dsp:txXfrm>
        <a:off x="3298838" y="4079379"/>
        <a:ext cx="23938" cy="4787"/>
      </dsp:txXfrm>
    </dsp:sp>
    <dsp:sp modelId="{704144BB-0908-4197-9AE0-F8191268F822}">
      <dsp:nvSpPr>
        <dsp:cNvPr id="0" name=""/>
        <dsp:cNvSpPr/>
      </dsp:nvSpPr>
      <dsp:spPr>
        <a:xfrm>
          <a:off x="1006928" y="3457294"/>
          <a:ext cx="2081595" cy="1248957"/>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666750">
            <a:lnSpc>
              <a:spcPct val="90000"/>
            </a:lnSpc>
            <a:spcBef>
              <a:spcPct val="0"/>
            </a:spcBef>
            <a:spcAft>
              <a:spcPct val="35000"/>
            </a:spcAft>
            <a:buNone/>
          </a:pPr>
          <a:r>
            <a:rPr lang="es-ES" sz="1500" kern="1200" dirty="0"/>
            <a:t>Oferta NO</a:t>
          </a:r>
        </a:p>
        <a:p>
          <a:pPr marL="114300" lvl="1" indent="-114300" algn="l" defTabSz="533400">
            <a:lnSpc>
              <a:spcPct val="90000"/>
            </a:lnSpc>
            <a:spcBef>
              <a:spcPct val="0"/>
            </a:spcBef>
            <a:spcAft>
              <a:spcPct val="15000"/>
            </a:spcAft>
            <a:buChar char="•"/>
          </a:pPr>
          <a:r>
            <a:rPr lang="es-ES" sz="1200" kern="1200" dirty="0"/>
            <a:t>En Word</a:t>
          </a:r>
        </a:p>
      </dsp:txBody>
      <dsp:txXfrm>
        <a:off x="1006928" y="3457294"/>
        <a:ext cx="2081595" cy="1248957"/>
      </dsp:txXfrm>
    </dsp:sp>
    <dsp:sp modelId="{AB1E5B25-DFCD-447C-BD41-F391A29F2829}">
      <dsp:nvSpPr>
        <dsp:cNvPr id="0" name=""/>
        <dsp:cNvSpPr/>
      </dsp:nvSpPr>
      <dsp:spPr>
        <a:xfrm>
          <a:off x="3567291" y="3457294"/>
          <a:ext cx="2081595" cy="1248957"/>
        </a:xfrm>
        <a:prstGeom prst="rect">
          <a:avLst/>
        </a:prstGeom>
        <a:solidFill>
          <a:schemeClr val="accent1">
            <a:shade val="50000"/>
            <a:hueOff val="80499"/>
            <a:satOff val="-1960"/>
            <a:lumOff val="85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666750">
            <a:lnSpc>
              <a:spcPct val="90000"/>
            </a:lnSpc>
            <a:spcBef>
              <a:spcPct val="0"/>
            </a:spcBef>
            <a:spcAft>
              <a:spcPct val="35000"/>
            </a:spcAft>
            <a:buNone/>
          </a:pPr>
          <a:r>
            <a:rPr lang="es-ES" sz="1500" kern="1200" dirty="0"/>
            <a:t>Oferta en PPT</a:t>
          </a:r>
        </a:p>
        <a:p>
          <a:pPr marL="114300" lvl="1" indent="-114300" algn="l" defTabSz="533400">
            <a:lnSpc>
              <a:spcPct val="90000"/>
            </a:lnSpc>
            <a:spcBef>
              <a:spcPct val="0"/>
            </a:spcBef>
            <a:spcAft>
              <a:spcPct val="15000"/>
            </a:spcAft>
            <a:buChar char="•"/>
          </a:pPr>
          <a:r>
            <a:rPr lang="es-ES" sz="1200" kern="1200" dirty="0"/>
            <a:t>Resumen ejecutivo</a:t>
          </a:r>
        </a:p>
        <a:p>
          <a:pPr marL="114300" lvl="1" indent="-114300" algn="l" defTabSz="533400">
            <a:lnSpc>
              <a:spcPct val="90000"/>
            </a:lnSpc>
            <a:spcBef>
              <a:spcPct val="0"/>
            </a:spcBef>
            <a:spcAft>
              <a:spcPct val="15000"/>
            </a:spcAft>
            <a:buChar char="•"/>
          </a:pPr>
          <a:r>
            <a:rPr lang="es-ES" sz="1200" kern="1200" dirty="0"/>
            <a:t>Business case</a:t>
          </a:r>
        </a:p>
      </dsp:txBody>
      <dsp:txXfrm>
        <a:off x="3567291" y="3457294"/>
        <a:ext cx="2081595" cy="1248957"/>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0BDC9-94CA-4445-9076-25D935A333B2}">
      <dsp:nvSpPr>
        <dsp:cNvPr id="0" name=""/>
        <dsp:cNvSpPr/>
      </dsp:nvSpPr>
      <dsp:spPr>
        <a:xfrm>
          <a:off x="0" y="336644"/>
          <a:ext cx="7843838" cy="352800"/>
        </a:xfrm>
        <a:prstGeom prst="rect">
          <a:avLst/>
        </a:prstGeom>
        <a:solidFill>
          <a:schemeClr val="lt1">
            <a:alpha val="9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81AC47-F138-4560-BB5B-CCE9F4A7E16B}">
      <dsp:nvSpPr>
        <dsp:cNvPr id="0" name=""/>
        <dsp:cNvSpPr/>
      </dsp:nvSpPr>
      <dsp:spPr>
        <a:xfrm>
          <a:off x="392191" y="130004"/>
          <a:ext cx="5490686" cy="41328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kern="1200" dirty="0"/>
            <a:t>Pregúntate y observa</a:t>
          </a:r>
        </a:p>
      </dsp:txBody>
      <dsp:txXfrm>
        <a:off x="412366" y="150179"/>
        <a:ext cx="5450336" cy="372930"/>
      </dsp:txXfrm>
    </dsp:sp>
    <dsp:sp modelId="{8A7325DF-A645-4358-8DE9-E637ACFB9635}">
      <dsp:nvSpPr>
        <dsp:cNvPr id="0" name=""/>
        <dsp:cNvSpPr/>
      </dsp:nvSpPr>
      <dsp:spPr>
        <a:xfrm>
          <a:off x="0" y="971685"/>
          <a:ext cx="7843838" cy="352800"/>
        </a:xfrm>
        <a:prstGeom prst="rect">
          <a:avLst/>
        </a:prstGeom>
        <a:solidFill>
          <a:schemeClr val="lt1">
            <a:alpha val="90000"/>
            <a:hueOff val="0"/>
            <a:satOff val="0"/>
            <a:lumOff val="0"/>
            <a:alphaOff val="0"/>
          </a:schemeClr>
        </a:solidFill>
        <a:ln w="12700" cap="flat" cmpd="sng" algn="ctr">
          <a:solidFill>
            <a:schemeClr val="accent1">
              <a:shade val="80000"/>
              <a:hueOff val="69857"/>
              <a:satOff val="-1251"/>
              <a:lumOff val="5317"/>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90C9C8-B140-4BEE-BF88-C4327A84EA38}">
      <dsp:nvSpPr>
        <dsp:cNvPr id="0" name=""/>
        <dsp:cNvSpPr/>
      </dsp:nvSpPr>
      <dsp:spPr>
        <a:xfrm>
          <a:off x="392191" y="765045"/>
          <a:ext cx="5490686" cy="413280"/>
        </a:xfrm>
        <a:prstGeom prst="roundRect">
          <a:avLst/>
        </a:prstGeom>
        <a:solidFill>
          <a:schemeClr val="accent1">
            <a:shade val="80000"/>
            <a:hueOff val="69857"/>
            <a:satOff val="-1251"/>
            <a:lumOff val="53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kern="1200" dirty="0"/>
            <a:t>Tienen dinero?</a:t>
          </a:r>
        </a:p>
      </dsp:txBody>
      <dsp:txXfrm>
        <a:off x="412366" y="785220"/>
        <a:ext cx="5450336" cy="372930"/>
      </dsp:txXfrm>
    </dsp:sp>
    <dsp:sp modelId="{C6206B94-3F37-42E2-AC6E-3BC461E65303}">
      <dsp:nvSpPr>
        <dsp:cNvPr id="0" name=""/>
        <dsp:cNvSpPr/>
      </dsp:nvSpPr>
      <dsp:spPr>
        <a:xfrm>
          <a:off x="0" y="1606725"/>
          <a:ext cx="7843838" cy="352800"/>
        </a:xfrm>
        <a:prstGeom prst="rect">
          <a:avLst/>
        </a:prstGeom>
        <a:solidFill>
          <a:schemeClr val="lt1">
            <a:alpha val="90000"/>
            <a:hueOff val="0"/>
            <a:satOff val="0"/>
            <a:lumOff val="0"/>
            <a:alphaOff val="0"/>
          </a:schemeClr>
        </a:solidFill>
        <a:ln w="12700" cap="flat" cmpd="sng" algn="ctr">
          <a:solidFill>
            <a:schemeClr val="accent1">
              <a:shade val="80000"/>
              <a:hueOff val="139713"/>
              <a:satOff val="-2502"/>
              <a:lumOff val="10634"/>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FDBE01-C8C5-4A4B-8A94-B7D04CEA3EE8}">
      <dsp:nvSpPr>
        <dsp:cNvPr id="0" name=""/>
        <dsp:cNvSpPr/>
      </dsp:nvSpPr>
      <dsp:spPr>
        <a:xfrm>
          <a:off x="392191" y="1400085"/>
          <a:ext cx="5490686" cy="413280"/>
        </a:xfrm>
        <a:prstGeom prst="roundRect">
          <a:avLst/>
        </a:prstGeom>
        <a:solidFill>
          <a:schemeClr val="accent1">
            <a:shade val="80000"/>
            <a:hueOff val="139713"/>
            <a:satOff val="-2502"/>
            <a:lumOff val="106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kern="1200" dirty="0"/>
            <a:t>Funciona la química?</a:t>
          </a:r>
        </a:p>
      </dsp:txBody>
      <dsp:txXfrm>
        <a:off x="412366" y="1420260"/>
        <a:ext cx="5450336" cy="372930"/>
      </dsp:txXfrm>
    </dsp:sp>
    <dsp:sp modelId="{E3709FF3-6BB2-4ABD-9659-51843D0F0558}">
      <dsp:nvSpPr>
        <dsp:cNvPr id="0" name=""/>
        <dsp:cNvSpPr/>
      </dsp:nvSpPr>
      <dsp:spPr>
        <a:xfrm>
          <a:off x="0" y="2241765"/>
          <a:ext cx="7843838" cy="352800"/>
        </a:xfrm>
        <a:prstGeom prst="rect">
          <a:avLst/>
        </a:prstGeom>
        <a:solidFill>
          <a:schemeClr val="lt1">
            <a:alpha val="90000"/>
            <a:hueOff val="0"/>
            <a:satOff val="0"/>
            <a:lumOff val="0"/>
            <a:alphaOff val="0"/>
          </a:schemeClr>
        </a:solidFill>
        <a:ln w="12700" cap="flat" cmpd="sng" algn="ctr">
          <a:solidFill>
            <a:schemeClr val="accent1">
              <a:shade val="80000"/>
              <a:hueOff val="209570"/>
              <a:satOff val="-3754"/>
              <a:lumOff val="15951"/>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9D1A18-E1B8-4CA5-A15A-33A7035090B4}">
      <dsp:nvSpPr>
        <dsp:cNvPr id="0" name=""/>
        <dsp:cNvSpPr/>
      </dsp:nvSpPr>
      <dsp:spPr>
        <a:xfrm>
          <a:off x="392191" y="2035125"/>
          <a:ext cx="5490686" cy="413280"/>
        </a:xfrm>
        <a:prstGeom prst="roundRect">
          <a:avLst/>
        </a:prstGeom>
        <a:solidFill>
          <a:schemeClr val="accent1">
            <a:shade val="80000"/>
            <a:hueOff val="209570"/>
            <a:satOff val="-3754"/>
            <a:lumOff val="159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kern="1200" dirty="0"/>
            <a:t>Os entendéis?</a:t>
          </a:r>
        </a:p>
      </dsp:txBody>
      <dsp:txXfrm>
        <a:off x="412366" y="2055300"/>
        <a:ext cx="5450336" cy="372930"/>
      </dsp:txXfrm>
    </dsp:sp>
    <dsp:sp modelId="{F1A847D4-2130-42DB-A8C2-AB60A9B746C5}">
      <dsp:nvSpPr>
        <dsp:cNvPr id="0" name=""/>
        <dsp:cNvSpPr/>
      </dsp:nvSpPr>
      <dsp:spPr>
        <a:xfrm>
          <a:off x="0" y="2876805"/>
          <a:ext cx="7843838" cy="815850"/>
        </a:xfrm>
        <a:prstGeom prst="rect">
          <a:avLst/>
        </a:prstGeom>
        <a:solidFill>
          <a:schemeClr val="lt1">
            <a:alpha val="90000"/>
            <a:hueOff val="0"/>
            <a:satOff val="0"/>
            <a:lumOff val="0"/>
            <a:alphaOff val="0"/>
          </a:schemeClr>
        </a:solidFill>
        <a:ln w="12700" cap="flat" cmpd="sng" algn="ctr">
          <a:solidFill>
            <a:schemeClr val="accent1">
              <a:shade val="80000"/>
              <a:hueOff val="279426"/>
              <a:satOff val="-5005"/>
              <a:lumOff val="2126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8769" tIns="291592" rIns="608769" bIns="99568" numCol="1" spcCol="1270" anchor="t" anchorCtr="0">
          <a:noAutofit/>
        </a:bodyPr>
        <a:lstStyle/>
        <a:p>
          <a:pPr marL="114300" lvl="1" indent="-114300" algn="l" defTabSz="622300">
            <a:lnSpc>
              <a:spcPct val="90000"/>
            </a:lnSpc>
            <a:spcBef>
              <a:spcPct val="0"/>
            </a:spcBef>
            <a:spcAft>
              <a:spcPct val="15000"/>
            </a:spcAft>
            <a:buChar char="•"/>
          </a:pPr>
          <a:r>
            <a:rPr lang="es-ES" sz="1400" kern="1200" dirty="0"/>
            <a:t>Es muy urgente.</a:t>
          </a:r>
        </a:p>
        <a:p>
          <a:pPr marL="114300" lvl="1" indent="-114300" algn="l" defTabSz="622300">
            <a:lnSpc>
              <a:spcPct val="90000"/>
            </a:lnSpc>
            <a:spcBef>
              <a:spcPct val="0"/>
            </a:spcBef>
            <a:spcAft>
              <a:spcPct val="15000"/>
            </a:spcAft>
            <a:buChar char="•"/>
          </a:pPr>
          <a:r>
            <a:rPr lang="es-ES" sz="1400" kern="1200" dirty="0"/>
            <a:t>Apuesta en el primer proyecto y ganarás en los siguientes.</a:t>
          </a:r>
        </a:p>
      </dsp:txBody>
      <dsp:txXfrm>
        <a:off x="0" y="2876805"/>
        <a:ext cx="7843838" cy="815850"/>
      </dsp:txXfrm>
    </dsp:sp>
    <dsp:sp modelId="{E756DD00-E692-409F-8F9B-445B4B1D0438}">
      <dsp:nvSpPr>
        <dsp:cNvPr id="0" name=""/>
        <dsp:cNvSpPr/>
      </dsp:nvSpPr>
      <dsp:spPr>
        <a:xfrm>
          <a:off x="392191" y="2670165"/>
          <a:ext cx="5490686" cy="413280"/>
        </a:xfrm>
        <a:prstGeom prst="roundRect">
          <a:avLst/>
        </a:prstGeom>
        <a:solidFill>
          <a:schemeClr val="accent1">
            <a:shade val="80000"/>
            <a:hueOff val="279426"/>
            <a:satOff val="-5005"/>
            <a:lumOff val="21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b="1" kern="1200" dirty="0">
              <a:solidFill>
                <a:schemeClr val="bg1"/>
              </a:solidFill>
            </a:rPr>
            <a:t>Te dicen:</a:t>
          </a:r>
        </a:p>
      </dsp:txBody>
      <dsp:txXfrm>
        <a:off x="412366" y="2690340"/>
        <a:ext cx="5450336" cy="372930"/>
      </dsp:txXfrm>
    </dsp:sp>
    <dsp:sp modelId="{C896B6D4-F6CD-44CC-B915-841D38FAFC75}">
      <dsp:nvSpPr>
        <dsp:cNvPr id="0" name=""/>
        <dsp:cNvSpPr/>
      </dsp:nvSpPr>
      <dsp:spPr>
        <a:xfrm>
          <a:off x="0" y="3974895"/>
          <a:ext cx="7843838" cy="352800"/>
        </a:xfrm>
        <a:prstGeom prst="rect">
          <a:avLst/>
        </a:prstGeom>
        <a:solidFill>
          <a:schemeClr val="lt1">
            <a:alpha val="90000"/>
            <a:hueOff val="0"/>
            <a:satOff val="0"/>
            <a:lumOff val="0"/>
            <a:alphaOff val="0"/>
          </a:schemeClr>
        </a:solidFill>
        <a:ln w="12700" cap="flat" cmpd="sng" algn="ctr">
          <a:solidFill>
            <a:schemeClr val="accent1">
              <a:shade val="80000"/>
              <a:hueOff val="349283"/>
              <a:satOff val="-6256"/>
              <a:lumOff val="26585"/>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F44BE8-06AD-4F5D-AFA5-F41A61244D25}">
      <dsp:nvSpPr>
        <dsp:cNvPr id="0" name=""/>
        <dsp:cNvSpPr/>
      </dsp:nvSpPr>
      <dsp:spPr>
        <a:xfrm>
          <a:off x="392191" y="3768255"/>
          <a:ext cx="5490686" cy="413280"/>
        </a:xfrm>
        <a:prstGeom prst="roundRect">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7535" tIns="0" rIns="207535" bIns="0" numCol="1" spcCol="1270" anchor="ctr" anchorCtr="0">
          <a:noAutofit/>
        </a:bodyPr>
        <a:lstStyle/>
        <a:p>
          <a:pPr marL="0" lvl="0" indent="0" algn="l" defTabSz="622300">
            <a:lnSpc>
              <a:spcPct val="90000"/>
            </a:lnSpc>
            <a:spcBef>
              <a:spcPct val="0"/>
            </a:spcBef>
            <a:spcAft>
              <a:spcPct val="35000"/>
            </a:spcAft>
            <a:buNone/>
          </a:pPr>
          <a:r>
            <a:rPr lang="es-ES" sz="1400" kern="1200" dirty="0">
              <a:solidFill>
                <a:schemeClr val="bg1"/>
              </a:solidFill>
            </a:rPr>
            <a:t>Te están usando para aprender?</a:t>
          </a:r>
        </a:p>
      </dsp:txBody>
      <dsp:txXfrm>
        <a:off x="412366" y="3788430"/>
        <a:ext cx="5450336" cy="372930"/>
      </dsp:txXfrm>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1A00E4-9970-49C4-9550-C0BB6BA5EAF7}">
      <dsp:nvSpPr>
        <dsp:cNvPr id="0" name=""/>
        <dsp:cNvSpPr/>
      </dsp:nvSpPr>
      <dsp:spPr>
        <a:xfrm>
          <a:off x="2023127" y="0"/>
          <a:ext cx="732142" cy="73214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BD54B8-38F6-4091-8CD8-D67686748D23}">
      <dsp:nvSpPr>
        <dsp:cNvPr id="0" name=""/>
        <dsp:cNvSpPr/>
      </dsp:nvSpPr>
      <dsp:spPr>
        <a:xfrm>
          <a:off x="2096341" y="73214"/>
          <a:ext cx="585713" cy="585713"/>
        </a:xfrm>
        <a:prstGeom prst="chord">
          <a:avLst>
            <a:gd name="adj1" fmla="val 0"/>
            <a:gd name="adj2" fmla="val 108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9544C2-05A0-48CE-B894-884D3E435130}">
      <dsp:nvSpPr>
        <dsp:cNvPr id="0" name=""/>
        <dsp:cNvSpPr/>
      </dsp:nvSpPr>
      <dsp:spPr>
        <a:xfrm>
          <a:off x="2907799" y="0"/>
          <a:ext cx="2165921" cy="7321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b" anchorCtr="0">
          <a:noAutofit/>
        </a:bodyPr>
        <a:lstStyle/>
        <a:p>
          <a:pPr marL="0" lvl="0" indent="0" algn="l" defTabSz="844550">
            <a:lnSpc>
              <a:spcPct val="90000"/>
            </a:lnSpc>
            <a:spcBef>
              <a:spcPct val="0"/>
            </a:spcBef>
            <a:spcAft>
              <a:spcPct val="35000"/>
            </a:spcAft>
            <a:buNone/>
          </a:pPr>
          <a:r>
            <a:rPr lang="es-ES" sz="1900" kern="1200" dirty="0"/>
            <a:t>Ya se ha comprado vendido</a:t>
          </a:r>
        </a:p>
      </dsp:txBody>
      <dsp:txXfrm>
        <a:off x="2907799" y="0"/>
        <a:ext cx="2165921" cy="732142"/>
      </dsp:txXfrm>
    </dsp:sp>
    <dsp:sp modelId="{869DECCB-1CB2-4DDC-ADB7-79BF47E3D75C}">
      <dsp:nvSpPr>
        <dsp:cNvPr id="0" name=""/>
        <dsp:cNvSpPr/>
      </dsp:nvSpPr>
      <dsp:spPr>
        <a:xfrm>
          <a:off x="5226250" y="0"/>
          <a:ext cx="732142" cy="73214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6C4551-2926-480A-B953-9D5C983D8C95}">
      <dsp:nvSpPr>
        <dsp:cNvPr id="0" name=""/>
        <dsp:cNvSpPr/>
      </dsp:nvSpPr>
      <dsp:spPr>
        <a:xfrm>
          <a:off x="5299464" y="73214"/>
          <a:ext cx="585713" cy="585713"/>
        </a:xfrm>
        <a:prstGeom prst="chord">
          <a:avLst>
            <a:gd name="adj1" fmla="val 162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E94F13-2CD9-49C8-B818-26CEBDAD8B27}">
      <dsp:nvSpPr>
        <dsp:cNvPr id="0" name=""/>
        <dsp:cNvSpPr/>
      </dsp:nvSpPr>
      <dsp:spPr>
        <a:xfrm>
          <a:off x="6110922" y="0"/>
          <a:ext cx="2165921" cy="7321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48260" rIns="48260" bIns="48260" numCol="1" spcCol="1270" anchor="b" anchorCtr="0">
          <a:noAutofit/>
        </a:bodyPr>
        <a:lstStyle/>
        <a:p>
          <a:pPr marL="0" lvl="0" indent="0" algn="l" defTabSz="844550">
            <a:lnSpc>
              <a:spcPct val="90000"/>
            </a:lnSpc>
            <a:spcBef>
              <a:spcPct val="0"/>
            </a:spcBef>
            <a:spcAft>
              <a:spcPct val="35000"/>
            </a:spcAft>
            <a:buNone/>
          </a:pPr>
          <a:r>
            <a:rPr lang="es-ES" sz="1900" kern="1200" dirty="0"/>
            <a:t>Ahora toca hacerlo</a:t>
          </a:r>
        </a:p>
      </dsp:txBody>
      <dsp:txXfrm>
        <a:off x="6110922" y="0"/>
        <a:ext cx="2165921" cy="732142"/>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0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10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6.xml><?xml version="1.0" encoding="utf-8"?>
<dgm:layoutDef xmlns:dgm="http://schemas.openxmlformats.org/drawingml/2006/diagram" xmlns:a="http://schemas.openxmlformats.org/drawingml/2006/main" uniqueId="urn:microsoft.com/office/officeart/2009/3/layout/FramedTextPicture">
  <dgm:title val=""/>
  <dgm:desc val=""/>
  <dgm:catLst>
    <dgm:cat type="picture" pri="20000"/>
    <dgm:cat type="pictureconvert" pri="20000"/>
  </dgm:catLst>
  <dgm:sampData>
    <dgm:dataModel>
      <dgm:ptLst>
        <dgm:pt modelId="0" type="doc"/>
        <dgm:pt modelId="10">
          <dgm:prSet phldr="1"/>
        </dgm:pt>
      </dgm:ptLst>
      <dgm:cxnLst>
        <dgm:cxn modelId="20" srcId="0" destId="10" srcOrd="0" destOrd="0"/>
      </dgm:cxnLst>
      <dgm:bg/>
      <dgm:whole/>
    </dgm:dataModel>
  </dgm:sampData>
  <dgm:styleData>
    <dgm:dataModel>
      <dgm:ptLst>
        <dgm:pt modelId="0" type="doc"/>
        <dgm:pt modelId="10">
          <dgm:prSet phldr="1"/>
        </dgm:pt>
      </dgm:ptLst>
      <dgm:cxnLst>
        <dgm:cxn modelId="20" srcId="0" destId="10" srcOrd="0" destOrd="0"/>
      </dgm:cxnLst>
      <dgm:bg/>
      <dgm:whole/>
    </dgm:dataModel>
  </dgm:styleData>
  <dgm:clrData>
    <dgm:dataModel>
      <dgm:ptLst>
        <dgm:pt modelId="0" type="doc"/>
        <dgm:pt modelId="10">
          <dgm:prSet phldr="1"/>
        </dgm:pt>
      </dgm:ptLst>
      <dgm:cxnLst>
        <dgm:cxn modelId="20" srcId="0" destId="10" srcOrd="0" destOrd="0"/>
      </dgm:cxnLst>
      <dgm:bg/>
      <dgm:whole/>
    </dgm:dataModel>
  </dgm:clrData>
  <dgm:layoutNode name="Name0">
    <dgm:varLst>
      <dgm:chMax/>
      <dgm:chPref/>
      <dgm:dir/>
    </dgm:varLst>
    <dgm:choose name="Name1">
      <dgm:if name="Name2" func="var" arg="dir" op="equ" val="norm">
        <dgm:alg type="snake">
          <dgm:param type="grDir" val="tL"/>
          <dgm:param type="off" val="ctr"/>
        </dgm:alg>
      </dgm:if>
      <dgm:else name="Name3">
        <dgm:alg type="snake">
          <dgm:param type="grDir" val="tR"/>
          <dgm:param type="off" val="ctr"/>
        </dgm:alg>
      </dgm:else>
    </dgm:choose>
    <dgm:shape xmlns:r="http://schemas.openxmlformats.org/officeDocument/2006/relationships" r:blip="">
      <dgm:adjLst/>
    </dgm:shape>
    <dgm:constrLst>
      <dgm:constr type="w" for="ch" forName="composite" refType="w"/>
      <dgm:constr type="h" for="ch" forName="composite" refType="h"/>
      <dgm:constr type="primFontSz" for="des" ptType="node" op="equ" val="65"/>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dgm:chPref/>
        </dgm:varLst>
        <dgm:alg type="composite">
          <dgm:param type="ar" val="1.5179"/>
        </dgm:alg>
        <dgm:shape xmlns:r="http://schemas.openxmlformats.org/officeDocument/2006/relationships" r:blip="">
          <dgm:adjLst/>
        </dgm:shape>
        <dgm:choose name="Name4">
          <dgm:if name="Name5" func="var" arg="dir" op="equ" val="norm">
            <dgm:constrLst>
              <dgm:constr type="l" for="ch" forName="Image" refType="w" fact="0"/>
              <dgm:constr type="t" for="ch" forName="Image" refType="h" fact="0"/>
              <dgm:constr type="w" for="ch" forName="Image" refType="w" fact="0.3856"/>
              <dgm:constr type="h" for="ch" forName="Image" refType="h" fact="0.3902"/>
              <dgm:constr type="l" for="ch" forName="ParentText" refType="w" fact="0.4017"/>
              <dgm:constr type="t" for="ch" forName="ParentText" refType="h" fact="0.4146"/>
              <dgm:constr type="w" for="ch" forName="ParentText" refType="w" fact="0.5463"/>
              <dgm:constr type="h" for="ch" forName="ParentText" refType="h" fact="0.5122"/>
              <dgm:constr type="l" for="ch" forName="tlFrame" refType="w" fact="0.3535"/>
              <dgm:constr type="t" for="ch" forName="tlFrame" refType="h" fact="0.3415"/>
              <dgm:constr type="w" for="ch" forName="tlFrame" refType="w" fact="0.1312"/>
              <dgm:constr type="h" for="ch" forName="tlFrame" refType="h" fact="0.1992"/>
              <dgm:constr type="l" for="ch" forName="trFrame" refType="w" fact="0.8688"/>
              <dgm:constr type="t" for="ch" forName="trFrame" refType="h" fact="0.3415"/>
              <dgm:constr type="w" for="ch" forName="trFrame" refType="w" fact="0.1312"/>
              <dgm:constr type="h" for="ch" forName="trFrame" refType="h" fact="0.1992"/>
              <dgm:constr type="l" for="ch" forName="blFrame" refType="w" fact="0.3535"/>
              <dgm:constr type="t" for="ch" forName="blFrame" refType="h" fact="0.8008"/>
              <dgm:constr type="w" for="ch" forName="blFrame" refType="w" fact="0.1312"/>
              <dgm:constr type="h" for="ch" forName="blFrame" refType="h" fact="0.1992"/>
              <dgm:constr type="l" for="ch" forName="brFrame" refType="w" fact="0.8688"/>
              <dgm:constr type="t" for="ch" forName="brFrame" refType="h" fact="0.8008"/>
              <dgm:constr type="w" for="ch" forName="brFrame" refType="w" fact="0.1312"/>
              <dgm:constr type="h" for="ch" forName="brFrame" refType="h" fact="0.1992"/>
            </dgm:constrLst>
          </dgm:if>
          <dgm:else name="Name6">
            <dgm:constrLst>
              <dgm:constr type="l" for="ch" forName="Image" refType="w" fact="0.6144"/>
              <dgm:constr type="t" for="ch" forName="Image" refType="h" fact="0"/>
              <dgm:constr type="w" for="ch" forName="Image" refType="w" fact="0.3856"/>
              <dgm:constr type="h" for="ch" forName="Image" refType="h" fact="0.3902"/>
              <dgm:constr type="l" for="ch" forName="ParentText" refType="w" fact="0.0482"/>
              <dgm:constr type="t" for="ch" forName="ParentText" refType="h" fact="0.4146"/>
              <dgm:constr type="w" for="ch" forName="ParentText" refType="w" fact="0.5463"/>
              <dgm:constr type="h" for="ch" forName="ParentText" refType="h" fact="0.5122"/>
              <dgm:constr type="l" for="ch" forName="tlFrame" refType="w" fact="0"/>
              <dgm:constr type="t" for="ch" forName="tlFrame" refType="h" fact="0.3415"/>
              <dgm:constr type="w" for="ch" forName="tlFrame" refType="w" fact="0.1312"/>
              <dgm:constr type="h" for="ch" forName="tlFrame" refType="h" fact="0.1992"/>
              <dgm:constr type="l" for="ch" forName="trFrame" refType="w" fact="0.5153"/>
              <dgm:constr type="t" for="ch" forName="trFrame" refType="h" fact="0.3415"/>
              <dgm:constr type="w" for="ch" forName="trFrame" refType="w" fact="0.1312"/>
              <dgm:constr type="h" for="ch" forName="trFrame" refType="h" fact="0.1992"/>
              <dgm:constr type="l" for="ch" forName="blFrame" refType="w" fact="0"/>
              <dgm:constr type="t" for="ch" forName="blFrame" refType="h" fact="0.8008"/>
              <dgm:constr type="w" for="ch" forName="blFrame" refType="w" fact="0.1312"/>
              <dgm:constr type="h" for="ch" forName="blFrame" refType="h" fact="0.1992"/>
              <dgm:constr type="l" for="ch" forName="brFrame" refType="w" fact="0.5153"/>
              <dgm:constr type="t" for="ch" forName="brFrame" refType="h" fact="0.8008"/>
              <dgm:constr type="w" for="ch" forName="brFrame" refType="w" fact="0.1312"/>
              <dgm:constr type="h" for="ch" forName="brFrame" refType="h" fact="0.1992"/>
            </dgm:constrLst>
          </dgm:else>
        </dgm:choose>
        <dgm:layoutNode name="Image" styleLbl="bgImgPlace1">
          <dgm:alg type="sp"/>
          <dgm:shape xmlns:r="http://schemas.openxmlformats.org/officeDocument/2006/relationships" type="rect" r:blip="" blipPhldr="1">
            <dgm:adjLst/>
          </dgm:shape>
          <dgm:presOf/>
        </dgm:layoutNode>
        <dgm:layoutNode name="ParentText" styleLbl="revTx">
          <dgm:varLst>
            <dgm:chMax val="0"/>
            <dgm:chPref val="0"/>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lFrame" styleLbl="node1">
          <dgm:alg type="sp"/>
          <dgm:shape xmlns:r="http://schemas.openxmlformats.org/officeDocument/2006/relationships" type="halfFrame" r:blip="">
            <dgm:adjLst>
              <dgm:adj idx="1" val="0.2577"/>
              <dgm:adj idx="2" val="0.2577"/>
            </dgm:adjLst>
          </dgm:shape>
          <dgm:presOf/>
        </dgm:layoutNode>
        <dgm:layoutNode name="trFrame" styleLbl="node1">
          <dgm:alg type="sp"/>
          <dgm:shape xmlns:r="http://schemas.openxmlformats.org/officeDocument/2006/relationships" rot="90" type="halfFrame" r:blip="">
            <dgm:adjLst>
              <dgm:adj idx="1" val="0.2577"/>
              <dgm:adj idx="2" val="0.2577"/>
            </dgm:adjLst>
          </dgm:shape>
          <dgm:presOf/>
        </dgm:layoutNode>
        <dgm:layoutNode name="blFrame" styleLbl="node1">
          <dgm:alg type="sp"/>
          <dgm:shape xmlns:r="http://schemas.openxmlformats.org/officeDocument/2006/relationships" rot="270" type="halfFrame" r:blip="">
            <dgm:adjLst>
              <dgm:adj idx="1" val="0.2577"/>
              <dgm:adj idx="2" val="0.2577"/>
            </dgm:adjLst>
          </dgm:shape>
          <dgm:presOf/>
        </dgm:layoutNode>
        <dgm:layoutNode name="brFrame" styleLbl="node1">
          <dgm:alg type="sp"/>
          <dgm:shape xmlns:r="http://schemas.openxmlformats.org/officeDocument/2006/relationships" rot="180" type="halfFrame" r:blip="">
            <dgm:adjLst>
              <dgm:adj idx="1" val="0.2577"/>
              <dgm:adj idx="2" val="0.2577"/>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PictureAccentBlocks">
  <dgm:title val=""/>
  <dgm:desc val=""/>
  <dgm:catLst>
    <dgm:cat type="picture" pri="12000"/>
    <dgm:cat type="pictureconvert" pri="12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gt" val="5">
        <dgm:choose name="Name3">
          <dgm:if name="Name4" func="var" arg="dir" op="equ" val="norm">
            <dgm:alg type="snake">
              <dgm:param type="grDir" val="bL"/>
              <dgm:param type="bkpt" val="fixed"/>
              <dgm:param type="bkPtFixedVal" val="3"/>
              <dgm:param type="off" val="off"/>
              <dgm:param type="horzAlign" val="r"/>
              <dgm:param type="vertAlign" val="b"/>
            </dgm:alg>
          </dgm:if>
          <dgm:else name="Name5">
            <dgm:alg type="snake">
              <dgm:param type="grDir" val="bR"/>
              <dgm:param type="bkpt" val="fixed"/>
              <dgm:param type="bkPtFixedVal" val="3"/>
              <dgm:param type="off" val="off"/>
              <dgm:param type="horzAlign" val="l"/>
              <dgm:param type="vertAlign" val="b"/>
            </dgm:alg>
          </dgm:else>
        </dgm:choose>
      </dgm:if>
      <dgm:else name="Name6">
        <dgm:choose name="Name7">
          <dgm:if name="Name8" func="var" arg="dir" op="equ" val="norm">
            <dgm:alg type="snake">
              <dgm:param type="grDir" val="bL"/>
              <dgm:param type="bkpt" val="fixed"/>
              <dgm:param type="bkPtFixedVal" val="2"/>
              <dgm:param type="off" val="off"/>
              <dgm:param type="horzAlign" val="r"/>
              <dgm:param type="vertAlign" val="b"/>
            </dgm:alg>
          </dgm:if>
          <dgm:else name="Name9">
            <dgm:alg type="snake">
              <dgm:param type="grDir" val="bR"/>
              <dgm:param type="bkpt" val="fixed"/>
              <dgm:param type="bkPtFixedVal" val="2"/>
              <dgm:param type="off" val="off"/>
              <dgm:param type="horzAlign" val="l"/>
              <dgm:param type="vertAlign" val="b"/>
            </dgm:alg>
          </dgm:else>
        </dgm:choose>
      </dgm:else>
    </dgm:choose>
    <dgm:shape xmlns:r="http://schemas.openxmlformats.org/officeDocument/2006/relationships" r:blip="">
      <dgm:adjLst/>
    </dgm:shape>
    <dgm:constrLst>
      <dgm:constr type="alignOff" val="1"/>
      <dgm:constr type="primFontSz" for="des" ptType="node" op="equ" val="65"/>
      <dgm:constr type="w" for="ch" forName="composite" refType="w"/>
      <dgm:constr type="h" for="ch" forName="composite" refType="h"/>
      <dgm:constr type="sp" refType="w" refFor="ch" refForName="composite" op="equ" fact="0.113"/>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1.2"/>
        </dgm:alg>
        <dgm:shape xmlns:r="http://schemas.openxmlformats.org/officeDocument/2006/relationships" r:blip="">
          <dgm:adjLst/>
        </dgm:shape>
        <dgm:choose name="Name10">
          <dgm:if name="Name11" func="var" arg="dir" op="equ" val="norm">
            <dgm:constrLst>
              <dgm:constr type="l" for="ch" forName="Image" refType="w" refFor="ch" refForName="Image" fact="0.2"/>
              <dgm:constr type="t" for="ch" forName="Image" refType="h" fact="0"/>
              <dgm:constr type="h" for="ch" forName="Image" refType="h"/>
              <dgm:constr type="w" for="ch" forName="Image" refType="h" refFor="ch" refForName="Image" op="equ"/>
              <dgm:constr type="l" for="ch" forName="Parent" refType="w" fact="0"/>
              <dgm:constr type="t" for="ch" forName="Parent" refType="h" fact="0"/>
              <dgm:constr type="w" for="ch" forName="Parent" refType="h" refFor="ch" refForName="Image" op="equ" fact="0.2"/>
              <dgm:constr type="h" for="ch" forName="Parent" refType="h" refFor="ch" refForName="Image" op="equ"/>
            </dgm:constrLst>
          </dgm:if>
          <dgm:else name="Name12">
            <dgm:constrLst>
              <dgm:constr type="l" for="ch" forName="Image" refType="w" fact="0"/>
              <dgm:constr type="t" for="ch" forName="Image" refType="h" fact="0"/>
              <dgm:constr type="h" for="ch" forName="Image" refType="h"/>
              <dgm:constr type="w" for="ch" forName="Image" refType="h" refFor="ch" refForName="Image" op="equ"/>
              <dgm:constr type="l" for="ch" forName="Parent" refType="w" refFor="ch" refForName="Image"/>
              <dgm:constr type="t" for="ch" forName="Parent" refType="h" fact="0"/>
              <dgm:constr type="w" for="ch" forName="Parent" refType="w" refFor="ch" refForName="Image" fact="0.2"/>
              <dgm:constr type="h" for="ch" forName="Parent" refType="h" refFor="ch" refForName="Image"/>
            </dgm:constrLst>
          </dgm:else>
        </dgm:choose>
        <dgm:layoutNode name="Image" styleLbl="alignNode1">
          <dgm:alg type="sp"/>
          <dgm:shape xmlns:r="http://schemas.openxmlformats.org/officeDocument/2006/relationships" type="rect" r:blip="" blipPhldr="1">
            <dgm:adjLst/>
          </dgm:shape>
          <dgm:presOf/>
        </dgm:layoutNode>
        <dgm:layoutNode name="Parent" styleLbl="revTx">
          <dgm:varLst>
            <dgm:bulletEnabled val="1"/>
          </dgm:varLst>
          <dgm:alg type="tx">
            <dgm:param type="parTxLTRAlign" val="l"/>
            <dgm:param type="txAnchorVert" val="b"/>
            <dgm:param type="txAnchorVertCh" val="b"/>
            <dgm:param type="autoTxRot" val="grav"/>
          </dgm:alg>
          <dgm:choose name="Name13">
            <dgm:if name="Name14" func="var" arg="dir" op="equ" val="norm">
              <dgm:shape xmlns:r="http://schemas.openxmlformats.org/officeDocument/2006/relationships" rot="270" type="rect" r:blip="">
                <dgm:adjLst/>
              </dgm:shape>
            </dgm:if>
            <dgm:else name="Name15">
              <dgm:shape xmlns:r="http://schemas.openxmlformats.org/officeDocument/2006/relationships" rot="90" type="rect" r:blip="">
                <dgm:adjLst/>
              </dgm:shape>
            </dgm:else>
          </dgm:choose>
          <dgm:presOf axis="desOr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AccentBlocks">
  <dgm:title val=""/>
  <dgm:desc val=""/>
  <dgm:catLst>
    <dgm:cat type="picture" pri="12000"/>
    <dgm:cat type="pictureconvert" pri="12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gt" val="5">
        <dgm:choose name="Name3">
          <dgm:if name="Name4" func="var" arg="dir" op="equ" val="norm">
            <dgm:alg type="snake">
              <dgm:param type="grDir" val="bL"/>
              <dgm:param type="bkpt" val="fixed"/>
              <dgm:param type="bkPtFixedVal" val="3"/>
              <dgm:param type="off" val="off"/>
              <dgm:param type="horzAlign" val="r"/>
              <dgm:param type="vertAlign" val="b"/>
            </dgm:alg>
          </dgm:if>
          <dgm:else name="Name5">
            <dgm:alg type="snake">
              <dgm:param type="grDir" val="bR"/>
              <dgm:param type="bkpt" val="fixed"/>
              <dgm:param type="bkPtFixedVal" val="3"/>
              <dgm:param type="off" val="off"/>
              <dgm:param type="horzAlign" val="l"/>
              <dgm:param type="vertAlign" val="b"/>
            </dgm:alg>
          </dgm:else>
        </dgm:choose>
      </dgm:if>
      <dgm:else name="Name6">
        <dgm:choose name="Name7">
          <dgm:if name="Name8" func="var" arg="dir" op="equ" val="norm">
            <dgm:alg type="snake">
              <dgm:param type="grDir" val="bL"/>
              <dgm:param type="bkpt" val="fixed"/>
              <dgm:param type="bkPtFixedVal" val="2"/>
              <dgm:param type="off" val="off"/>
              <dgm:param type="horzAlign" val="r"/>
              <dgm:param type="vertAlign" val="b"/>
            </dgm:alg>
          </dgm:if>
          <dgm:else name="Name9">
            <dgm:alg type="snake">
              <dgm:param type="grDir" val="bR"/>
              <dgm:param type="bkpt" val="fixed"/>
              <dgm:param type="bkPtFixedVal" val="2"/>
              <dgm:param type="off" val="off"/>
              <dgm:param type="horzAlign" val="l"/>
              <dgm:param type="vertAlign" val="b"/>
            </dgm:alg>
          </dgm:else>
        </dgm:choose>
      </dgm:else>
    </dgm:choose>
    <dgm:shape xmlns:r="http://schemas.openxmlformats.org/officeDocument/2006/relationships" r:blip="">
      <dgm:adjLst/>
    </dgm:shape>
    <dgm:constrLst>
      <dgm:constr type="alignOff" val="1"/>
      <dgm:constr type="primFontSz" for="des" ptType="node" op="equ" val="65"/>
      <dgm:constr type="w" for="ch" forName="composite" refType="w"/>
      <dgm:constr type="h" for="ch" forName="composite" refType="h"/>
      <dgm:constr type="sp" refType="w" refFor="ch" refForName="composite" op="equ" fact="0.113"/>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1.2"/>
        </dgm:alg>
        <dgm:shape xmlns:r="http://schemas.openxmlformats.org/officeDocument/2006/relationships" r:blip="">
          <dgm:adjLst/>
        </dgm:shape>
        <dgm:choose name="Name10">
          <dgm:if name="Name11" func="var" arg="dir" op="equ" val="norm">
            <dgm:constrLst>
              <dgm:constr type="l" for="ch" forName="Image" refType="w" refFor="ch" refForName="Image" fact="0.2"/>
              <dgm:constr type="t" for="ch" forName="Image" refType="h" fact="0"/>
              <dgm:constr type="h" for="ch" forName="Image" refType="h"/>
              <dgm:constr type="w" for="ch" forName="Image" refType="h" refFor="ch" refForName="Image" op="equ"/>
              <dgm:constr type="l" for="ch" forName="Parent" refType="w" fact="0"/>
              <dgm:constr type="t" for="ch" forName="Parent" refType="h" fact="0"/>
              <dgm:constr type="w" for="ch" forName="Parent" refType="h" refFor="ch" refForName="Image" op="equ" fact="0.2"/>
              <dgm:constr type="h" for="ch" forName="Parent" refType="h" refFor="ch" refForName="Image" op="equ"/>
            </dgm:constrLst>
          </dgm:if>
          <dgm:else name="Name12">
            <dgm:constrLst>
              <dgm:constr type="l" for="ch" forName="Image" refType="w" fact="0"/>
              <dgm:constr type="t" for="ch" forName="Image" refType="h" fact="0"/>
              <dgm:constr type="h" for="ch" forName="Image" refType="h"/>
              <dgm:constr type="w" for="ch" forName="Image" refType="h" refFor="ch" refForName="Image" op="equ"/>
              <dgm:constr type="l" for="ch" forName="Parent" refType="w" refFor="ch" refForName="Image"/>
              <dgm:constr type="t" for="ch" forName="Parent" refType="h" fact="0"/>
              <dgm:constr type="w" for="ch" forName="Parent" refType="w" refFor="ch" refForName="Image" fact="0.2"/>
              <dgm:constr type="h" for="ch" forName="Parent" refType="h" refFor="ch" refForName="Image"/>
            </dgm:constrLst>
          </dgm:else>
        </dgm:choose>
        <dgm:layoutNode name="Image" styleLbl="alignNode1">
          <dgm:alg type="sp"/>
          <dgm:shape xmlns:r="http://schemas.openxmlformats.org/officeDocument/2006/relationships" type="rect" r:blip="" blipPhldr="1">
            <dgm:adjLst/>
          </dgm:shape>
          <dgm:presOf/>
        </dgm:layoutNode>
        <dgm:layoutNode name="Parent" styleLbl="revTx">
          <dgm:varLst>
            <dgm:bulletEnabled val="1"/>
          </dgm:varLst>
          <dgm:alg type="tx">
            <dgm:param type="parTxLTRAlign" val="l"/>
            <dgm:param type="txAnchorVert" val="b"/>
            <dgm:param type="txAnchorVertCh" val="b"/>
            <dgm:param type="autoTxRot" val="grav"/>
          </dgm:alg>
          <dgm:choose name="Name13">
            <dgm:if name="Name14" func="var" arg="dir" op="equ" val="norm">
              <dgm:shape xmlns:r="http://schemas.openxmlformats.org/officeDocument/2006/relationships" rot="270" type="rect" r:blip="">
                <dgm:adjLst/>
              </dgm:shape>
            </dgm:if>
            <dgm:else name="Name15">
              <dgm:shape xmlns:r="http://schemas.openxmlformats.org/officeDocument/2006/relationships" rot="90" type="rect" r:blip="">
                <dgm:adjLst/>
              </dgm:shape>
            </dgm:else>
          </dgm:choose>
          <dgm:presOf axis="desOr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8.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AccentBlocks">
  <dgm:title val=""/>
  <dgm:desc val=""/>
  <dgm:catLst>
    <dgm:cat type="picture" pri="12000"/>
    <dgm:cat type="pictureconvert" pri="12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gt" val="5">
        <dgm:choose name="Name3">
          <dgm:if name="Name4" func="var" arg="dir" op="equ" val="norm">
            <dgm:alg type="snake">
              <dgm:param type="grDir" val="bL"/>
              <dgm:param type="bkpt" val="fixed"/>
              <dgm:param type="bkPtFixedVal" val="3"/>
              <dgm:param type="off" val="off"/>
              <dgm:param type="horzAlign" val="r"/>
              <dgm:param type="vertAlign" val="b"/>
            </dgm:alg>
          </dgm:if>
          <dgm:else name="Name5">
            <dgm:alg type="snake">
              <dgm:param type="grDir" val="bR"/>
              <dgm:param type="bkpt" val="fixed"/>
              <dgm:param type="bkPtFixedVal" val="3"/>
              <dgm:param type="off" val="off"/>
              <dgm:param type="horzAlign" val="l"/>
              <dgm:param type="vertAlign" val="b"/>
            </dgm:alg>
          </dgm:else>
        </dgm:choose>
      </dgm:if>
      <dgm:else name="Name6">
        <dgm:choose name="Name7">
          <dgm:if name="Name8" func="var" arg="dir" op="equ" val="norm">
            <dgm:alg type="snake">
              <dgm:param type="grDir" val="bL"/>
              <dgm:param type="bkpt" val="fixed"/>
              <dgm:param type="bkPtFixedVal" val="2"/>
              <dgm:param type="off" val="off"/>
              <dgm:param type="horzAlign" val="r"/>
              <dgm:param type="vertAlign" val="b"/>
            </dgm:alg>
          </dgm:if>
          <dgm:else name="Name9">
            <dgm:alg type="snake">
              <dgm:param type="grDir" val="bR"/>
              <dgm:param type="bkpt" val="fixed"/>
              <dgm:param type="bkPtFixedVal" val="2"/>
              <dgm:param type="off" val="off"/>
              <dgm:param type="horzAlign" val="l"/>
              <dgm:param type="vertAlign" val="b"/>
            </dgm:alg>
          </dgm:else>
        </dgm:choose>
      </dgm:else>
    </dgm:choose>
    <dgm:shape xmlns:r="http://schemas.openxmlformats.org/officeDocument/2006/relationships" r:blip="">
      <dgm:adjLst/>
    </dgm:shape>
    <dgm:constrLst>
      <dgm:constr type="alignOff" val="1"/>
      <dgm:constr type="primFontSz" for="des" ptType="node" op="equ" val="65"/>
      <dgm:constr type="w" for="ch" forName="composite" refType="w"/>
      <dgm:constr type="h" for="ch" forName="composite" refType="h"/>
      <dgm:constr type="sp" refType="w" refFor="ch" refForName="composite" op="equ" fact="0.113"/>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1.2"/>
        </dgm:alg>
        <dgm:shape xmlns:r="http://schemas.openxmlformats.org/officeDocument/2006/relationships" r:blip="">
          <dgm:adjLst/>
        </dgm:shape>
        <dgm:choose name="Name10">
          <dgm:if name="Name11" func="var" arg="dir" op="equ" val="norm">
            <dgm:constrLst>
              <dgm:constr type="l" for="ch" forName="Image" refType="w" refFor="ch" refForName="Image" fact="0.2"/>
              <dgm:constr type="t" for="ch" forName="Image" refType="h" fact="0"/>
              <dgm:constr type="h" for="ch" forName="Image" refType="h"/>
              <dgm:constr type="w" for="ch" forName="Image" refType="h" refFor="ch" refForName="Image" op="equ"/>
              <dgm:constr type="l" for="ch" forName="Parent" refType="w" fact="0"/>
              <dgm:constr type="t" for="ch" forName="Parent" refType="h" fact="0"/>
              <dgm:constr type="w" for="ch" forName="Parent" refType="h" refFor="ch" refForName="Image" op="equ" fact="0.2"/>
              <dgm:constr type="h" for="ch" forName="Parent" refType="h" refFor="ch" refForName="Image" op="equ"/>
            </dgm:constrLst>
          </dgm:if>
          <dgm:else name="Name12">
            <dgm:constrLst>
              <dgm:constr type="l" for="ch" forName="Image" refType="w" fact="0"/>
              <dgm:constr type="t" for="ch" forName="Image" refType="h" fact="0"/>
              <dgm:constr type="h" for="ch" forName="Image" refType="h"/>
              <dgm:constr type="w" for="ch" forName="Image" refType="h" refFor="ch" refForName="Image" op="equ"/>
              <dgm:constr type="l" for="ch" forName="Parent" refType="w" refFor="ch" refForName="Image"/>
              <dgm:constr type="t" for="ch" forName="Parent" refType="h" fact="0"/>
              <dgm:constr type="w" for="ch" forName="Parent" refType="w" refFor="ch" refForName="Image" fact="0.2"/>
              <dgm:constr type="h" for="ch" forName="Parent" refType="h" refFor="ch" refForName="Image"/>
            </dgm:constrLst>
          </dgm:else>
        </dgm:choose>
        <dgm:layoutNode name="Image" styleLbl="alignNode1">
          <dgm:alg type="sp"/>
          <dgm:shape xmlns:r="http://schemas.openxmlformats.org/officeDocument/2006/relationships" type="rect" r:blip="" blipPhldr="1">
            <dgm:adjLst/>
          </dgm:shape>
          <dgm:presOf/>
        </dgm:layoutNode>
        <dgm:layoutNode name="Parent" styleLbl="revTx">
          <dgm:varLst>
            <dgm:bulletEnabled val="1"/>
          </dgm:varLst>
          <dgm:alg type="tx">
            <dgm:param type="parTxLTRAlign" val="l"/>
            <dgm:param type="txAnchorVert" val="b"/>
            <dgm:param type="txAnchorVertCh" val="b"/>
            <dgm:param type="autoTxRot" val="grav"/>
          </dgm:alg>
          <dgm:choose name="Name13">
            <dgm:if name="Name14" func="var" arg="dir" op="equ" val="norm">
              <dgm:shape xmlns:r="http://schemas.openxmlformats.org/officeDocument/2006/relationships" rot="270" type="rect" r:blip="">
                <dgm:adjLst/>
              </dgm:shape>
            </dgm:if>
            <dgm:else name="Name15">
              <dgm:shape xmlns:r="http://schemas.openxmlformats.org/officeDocument/2006/relationships" rot="90" type="rect" r:blip="">
                <dgm:adjLst/>
              </dgm:shape>
            </dgm:else>
          </dgm:choose>
          <dgm:presOf axis="desOr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7.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8.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6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1.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6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8.xml><?xml version="1.0" encoding="utf-8"?>
<dgm:layoutDef xmlns:dgm="http://schemas.openxmlformats.org/drawingml/2006/diagram" xmlns:a="http://schemas.openxmlformats.org/drawingml/2006/main" uniqueId="urn:microsoft.com/office/officeart/2008/layout/PictureLineup">
  <dgm:title val=""/>
  <dgm:desc val=""/>
  <dgm:catLst>
    <dgm:cat type="picture" pri="19000"/>
    <dgm:cat type="pictureconvert" pri="19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3" destOrd="0"/>
        <dgm:cxn modelId="42" srcId="30" destId="41" srcOrd="0" destOrd="0"/>
      </dgm:cxnLst>
      <dgm:bg/>
      <dgm:whole/>
    </dgm:dataModel>
  </dgm:clrData>
  <dgm:layoutNode name="Name0">
    <dgm:varLst>
      <dgm:chMax/>
      <dgm:chPref/>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op="equ" val="65"/>
      <dgm:constr type="primFontSz" for="des" forName="Parent" refType="primFontSz" refFor="des" refForName="Parent" op="lte"/>
      <dgm:constr type="w" for="ch" forName="composite" refType="w"/>
      <dgm:constr type="h" for="ch" forName="composite" refType="h"/>
      <dgm:constr type="sp" refType="w" refFor="ch" refForName="composite" op="equ" fact="0"/>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Image" refType="w" fact="0"/>
              <dgm:constr type="t" for="ch" forName="Image" refType="h" fact="0"/>
              <dgm:constr type="w" for="ch" forName="Image" refType="h" fact="0.5"/>
              <dgm:constr type="h" for="ch" forName="Image" refType="w"/>
              <dgm:constr type="l" for="ch" forName="Accent" refType="w" fact="0"/>
              <dgm:constr type="t" for="ch" forName="Accent" refType="h" fact="0"/>
              <dgm:constr type="w" for="ch" forName="Accent" refType="w" fact="0.0001"/>
              <dgm:constr type="h" for="ch" forName="Accent" refType="h"/>
              <dgm:constr type="l" for="ch" forName="Parent" refType="w" fact="0"/>
              <dgm:constr type="t" for="ch" forName="Parent" refType="h" fact="0.5"/>
              <dgm:constr type="w" for="ch" forName="Parent" refType="w"/>
            </dgm:constrLst>
          </dgm:if>
          <dgm:else name="Name6">
            <dgm:constrLst>
              <dgm:constr type="l" for="ch" forName="Image" refType="w" fact="0"/>
              <dgm:constr type="t" for="ch" forName="Image" refType="h" fact="0"/>
              <dgm:constr type="w" for="ch" forName="Image" refType="h" fact="0.5"/>
              <dgm:constr type="h" for="ch" forName="Image" refType="w"/>
              <dgm:constr type="r" for="ch" forName="Accent" refType="w"/>
              <dgm:constr type="t" for="ch" forName="Accent" refType="h" fact="0"/>
              <dgm:constr type="w" for="ch" forName="Accent" refType="w" fact="0.0001"/>
              <dgm:constr type="h" for="ch" forName="Accent" refType="h"/>
              <dgm:constr type="l" for="ch" forName="Parent" refType="w" fact="0"/>
              <dgm:constr type="t" for="ch" forName="Parent" refType="h" fact="0.5"/>
              <dgm:constr type="w" for="ch" forName="Parent" refType="w"/>
            </dgm:constrLst>
          </dgm:else>
        </dgm:choose>
        <dgm:layoutNode name="Image" styleLbl="alignNode1">
          <dgm:alg type="sp"/>
          <dgm:shape xmlns:r="http://schemas.openxmlformats.org/officeDocument/2006/relationships" type="rect" r:blip="" blipPhldr="1">
            <dgm:adjLst/>
          </dgm:shape>
          <dgm:presOf/>
        </dgm:layoutNode>
        <dgm:layoutNode name="Accent" styleLbl="parChTrans1D1">
          <dgm:alg type="sp"/>
          <dgm:shape xmlns:r="http://schemas.openxmlformats.org/officeDocument/2006/relationships" type="line" r:blip="">
            <dgm:adjLst/>
          </dgm:shape>
          <dgm:presOf/>
        </dgm:layoutNode>
        <dgm:layoutNode name="Paren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9.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7.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70.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7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4.xml><?xml version="1.0" encoding="utf-8"?>
<dgm:layoutDef xmlns:dgm="http://schemas.openxmlformats.org/drawingml/2006/diagram" xmlns:a="http://schemas.openxmlformats.org/drawingml/2006/main" uniqueId="urn:microsoft.com/office/officeart/2008/layout/PictureLineup">
  <dgm:title val=""/>
  <dgm:desc val=""/>
  <dgm:catLst>
    <dgm:cat type="picture" pri="19000"/>
    <dgm:cat type="pictureconvert" pri="19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3" destOrd="0"/>
        <dgm:cxn modelId="42" srcId="30" destId="41" srcOrd="0" destOrd="0"/>
      </dgm:cxnLst>
      <dgm:bg/>
      <dgm:whole/>
    </dgm:dataModel>
  </dgm:clrData>
  <dgm:layoutNode name="Name0">
    <dgm:varLst>
      <dgm:chMax/>
      <dgm:chPref/>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op="equ" val="65"/>
      <dgm:constr type="primFontSz" for="des" forName="Parent" refType="primFontSz" refFor="des" refForName="Parent" op="lte"/>
      <dgm:constr type="w" for="ch" forName="composite" refType="w"/>
      <dgm:constr type="h" for="ch" forName="composite" refType="h"/>
      <dgm:constr type="sp" refType="w" refFor="ch" refForName="composite" op="equ" fact="0"/>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Image" refType="w" fact="0"/>
              <dgm:constr type="t" for="ch" forName="Image" refType="h" fact="0"/>
              <dgm:constr type="w" for="ch" forName="Image" refType="h" fact="0.5"/>
              <dgm:constr type="h" for="ch" forName="Image" refType="w"/>
              <dgm:constr type="l" for="ch" forName="Accent" refType="w" fact="0"/>
              <dgm:constr type="t" for="ch" forName="Accent" refType="h" fact="0"/>
              <dgm:constr type="w" for="ch" forName="Accent" refType="w" fact="0.0001"/>
              <dgm:constr type="h" for="ch" forName="Accent" refType="h"/>
              <dgm:constr type="l" for="ch" forName="Parent" refType="w" fact="0"/>
              <dgm:constr type="t" for="ch" forName="Parent" refType="h" fact="0.5"/>
              <dgm:constr type="w" for="ch" forName="Parent" refType="w"/>
            </dgm:constrLst>
          </dgm:if>
          <dgm:else name="Name6">
            <dgm:constrLst>
              <dgm:constr type="l" for="ch" forName="Image" refType="w" fact="0"/>
              <dgm:constr type="t" for="ch" forName="Image" refType="h" fact="0"/>
              <dgm:constr type="w" for="ch" forName="Image" refType="h" fact="0.5"/>
              <dgm:constr type="h" for="ch" forName="Image" refType="w"/>
              <dgm:constr type="r" for="ch" forName="Accent" refType="w"/>
              <dgm:constr type="t" for="ch" forName="Accent" refType="h" fact="0"/>
              <dgm:constr type="w" for="ch" forName="Accent" refType="w" fact="0.0001"/>
              <dgm:constr type="h" for="ch" forName="Accent" refType="h"/>
              <dgm:constr type="l" for="ch" forName="Parent" refType="w" fact="0"/>
              <dgm:constr type="t" for="ch" forName="Parent" refType="h" fact="0.5"/>
              <dgm:constr type="w" for="ch" forName="Parent" refType="w"/>
            </dgm:constrLst>
          </dgm:else>
        </dgm:choose>
        <dgm:layoutNode name="Image" styleLbl="alignNode1">
          <dgm:alg type="sp"/>
          <dgm:shape xmlns:r="http://schemas.openxmlformats.org/officeDocument/2006/relationships" type="rect" r:blip="" blipPhldr="1">
            <dgm:adjLst/>
          </dgm:shape>
          <dgm:presOf/>
        </dgm:layoutNode>
        <dgm:layoutNode name="Accent" styleLbl="parChTrans1D1">
          <dgm:alg type="sp"/>
          <dgm:shape xmlns:r="http://schemas.openxmlformats.org/officeDocument/2006/relationships" type="line" r:blip="">
            <dgm:adjLst/>
          </dgm:shape>
          <dgm:presOf/>
        </dgm:layoutNode>
        <dgm:layoutNode name="Paren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6.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8.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7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4.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5.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6.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8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8.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9.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90.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layout9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7.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9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9.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venir LT Std 35 Light" panose="020B0402020203020204" pitchFamily="34" charset="0"/>
              </a:defRPr>
            </a:lvl1pPr>
          </a:lstStyle>
          <a:p>
            <a:endParaRPr lang="es-ES"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venir LT Std 35 Light" panose="020B0402020203020204" pitchFamily="34" charset="0"/>
              </a:defRPr>
            </a:lvl1pPr>
          </a:lstStyle>
          <a:p>
            <a:fld id="{913DEFFF-CE47-457E-B303-DC397712C9DF}" type="datetimeFigureOut">
              <a:rPr lang="es-ES" smtClean="0"/>
              <a:pPr/>
              <a:t>19/09/2024</a:t>
            </a:fld>
            <a:endParaRPr lang="es-ES"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venir LT Std 35 Light" panose="020B0402020203020204" pitchFamily="34" charset="0"/>
              </a:defRPr>
            </a:lvl1pPr>
          </a:lstStyle>
          <a:p>
            <a:endParaRPr lang="es-ES"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venir LT Std 35 Light" panose="020B0402020203020204" pitchFamily="34" charset="0"/>
              </a:defRPr>
            </a:lvl1pPr>
          </a:lstStyle>
          <a:p>
            <a:fld id="{06D0F0EC-6025-48B5-BE7B-072A9799A059}" type="slidenum">
              <a:rPr lang="es-ES" smtClean="0"/>
              <a:pPr/>
              <a:t>‹Nº›</a:t>
            </a:fld>
            <a:endParaRPr lang="es-ES" dirty="0"/>
          </a:p>
        </p:txBody>
      </p:sp>
    </p:spTree>
    <p:extLst>
      <p:ext uri="{BB962C8B-B14F-4D97-AF65-F5344CB8AC3E}">
        <p14:creationId xmlns:p14="http://schemas.microsoft.com/office/powerpoint/2010/main" val="300822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venir LT Std 35 Light" panose="020B0402020203020204" pitchFamily="34" charset="0"/>
        <a:ea typeface="+mn-ea"/>
        <a:cs typeface="+mn-cs"/>
      </a:defRPr>
    </a:lvl1pPr>
    <a:lvl2pPr marL="457200" algn="l" defTabSz="914400" rtl="0" eaLnBrk="1" latinLnBrk="0" hangingPunct="1">
      <a:defRPr sz="1200" kern="1200">
        <a:solidFill>
          <a:schemeClr val="tx1"/>
        </a:solidFill>
        <a:latin typeface="Avenir LT Std 35 Light" panose="020B0402020203020204" pitchFamily="34" charset="0"/>
        <a:ea typeface="+mn-ea"/>
        <a:cs typeface="+mn-cs"/>
      </a:defRPr>
    </a:lvl2pPr>
    <a:lvl3pPr marL="914400" algn="l" defTabSz="914400" rtl="0" eaLnBrk="1" latinLnBrk="0" hangingPunct="1">
      <a:defRPr sz="1200" kern="1200">
        <a:solidFill>
          <a:schemeClr val="tx1"/>
        </a:solidFill>
        <a:latin typeface="Avenir LT Std 35 Light" panose="020B0402020203020204" pitchFamily="34" charset="0"/>
        <a:ea typeface="+mn-ea"/>
        <a:cs typeface="+mn-cs"/>
      </a:defRPr>
    </a:lvl3pPr>
    <a:lvl4pPr marL="1371600" algn="l" defTabSz="914400" rtl="0" eaLnBrk="1" latinLnBrk="0" hangingPunct="1">
      <a:defRPr sz="1200" kern="1200">
        <a:solidFill>
          <a:schemeClr val="tx1"/>
        </a:solidFill>
        <a:latin typeface="Avenir LT Std 35 Light" panose="020B0402020203020204" pitchFamily="34" charset="0"/>
        <a:ea typeface="+mn-ea"/>
        <a:cs typeface="+mn-cs"/>
      </a:defRPr>
    </a:lvl4pPr>
    <a:lvl5pPr marL="1828800" algn="l" defTabSz="914400" rtl="0" eaLnBrk="1" latinLnBrk="0" hangingPunct="1">
      <a:defRPr sz="1200" kern="1200">
        <a:solidFill>
          <a:schemeClr val="tx1"/>
        </a:solidFill>
        <a:latin typeface="Avenir LT Std 35 Light" panose="020B04020202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a:p>
        </p:txBody>
      </p:sp>
      <p:sp>
        <p:nvSpPr>
          <p:cNvPr id="4" name="Slide Number Placeholder 3"/>
          <p:cNvSpPr>
            <a:spLocks noGrp="1"/>
          </p:cNvSpPr>
          <p:nvPr>
            <p:ph type="sldNum" sz="quarter" idx="10"/>
          </p:nvPr>
        </p:nvSpPr>
        <p:spPr/>
        <p:txBody>
          <a:bodyPr/>
          <a:lstStyle/>
          <a:p>
            <a:fld id="{BD9C3A12-1E0F-412B-B376-8089A55D946C}" type="slidenum">
              <a:rPr lang="uk-UA" smtClean="0"/>
              <a:t>2</a:t>
            </a:fld>
            <a:endParaRPr lang="uk-UA"/>
          </a:p>
        </p:txBody>
      </p:sp>
    </p:spTree>
    <p:extLst>
      <p:ext uri="{BB962C8B-B14F-4D97-AF65-F5344CB8AC3E}">
        <p14:creationId xmlns:p14="http://schemas.microsoft.com/office/powerpoint/2010/main" val="1423263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D1AAF-B757-CF08-279E-1B11F839739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1B7EF8-49FD-91F2-89DB-59CC35EF70F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D316615-5E13-E0EF-020C-D09E1515572E}"/>
              </a:ext>
            </a:extLst>
          </p:cNvPr>
          <p:cNvSpPr>
            <a:spLocks noGrp="1"/>
          </p:cNvSpPr>
          <p:nvPr>
            <p:ph type="body" idx="1"/>
          </p:nvPr>
        </p:nvSpPr>
        <p:spPr/>
        <p:txBody>
          <a:bodyPr/>
          <a:lstStyle/>
          <a:p>
            <a:r>
              <a:rPr lang="es-ES" dirty="0"/>
              <a:t>Hablar de Dark Data</a:t>
            </a:r>
          </a:p>
        </p:txBody>
      </p:sp>
      <p:sp>
        <p:nvSpPr>
          <p:cNvPr id="4" name="Marcador de número de diapositiva 3">
            <a:extLst>
              <a:ext uri="{FF2B5EF4-FFF2-40B4-BE49-F238E27FC236}">
                <a16:creationId xmlns:a16="http://schemas.microsoft.com/office/drawing/2014/main" id="{087686A0-D7FE-731C-9048-13E296A05D57}"/>
              </a:ext>
            </a:extLst>
          </p:cNvPr>
          <p:cNvSpPr>
            <a:spLocks noGrp="1"/>
          </p:cNvSpPr>
          <p:nvPr>
            <p:ph type="sldNum" sz="quarter" idx="10"/>
          </p:nvPr>
        </p:nvSpPr>
        <p:spPr/>
        <p:txBody>
          <a:bodyPr/>
          <a:lstStyle/>
          <a:p>
            <a:fld id="{2C3748A9-DE94-4547-B89E-72C489BE70F6}" type="slidenum">
              <a:rPr lang="en-US" smtClean="0"/>
              <a:pPr/>
              <a:t>39</a:t>
            </a:fld>
            <a:endParaRPr lang="en-US" dirty="0"/>
          </a:p>
        </p:txBody>
      </p:sp>
    </p:spTree>
    <p:extLst>
      <p:ext uri="{BB962C8B-B14F-4D97-AF65-F5344CB8AC3E}">
        <p14:creationId xmlns:p14="http://schemas.microsoft.com/office/powerpoint/2010/main" val="43960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756DBE7-E782-4068-98C4-DE3E02E04F52}" type="slidenum">
              <a:rPr lang="es-ES"/>
              <a:pPr/>
              <a:t>41</a:t>
            </a:fld>
            <a:endParaRPr lang="es-ES" dirty="0"/>
          </a:p>
        </p:txBody>
      </p:sp>
      <p:sp>
        <p:nvSpPr>
          <p:cNvPr id="371714" name="Rectangle 2"/>
          <p:cNvSpPr>
            <a:spLocks noGrp="1" noRot="1" noChangeAspect="1" noChangeArrowheads="1" noTextEdit="1"/>
          </p:cNvSpPr>
          <p:nvPr>
            <p:ph type="sldImg"/>
          </p:nvPr>
        </p:nvSpPr>
        <p:spPr>
          <a:ln/>
        </p:spPr>
      </p:sp>
      <p:sp>
        <p:nvSpPr>
          <p:cNvPr id="371715" name="Rectangle 3"/>
          <p:cNvSpPr>
            <a:spLocks noGrp="1" noChangeArrowheads="1"/>
          </p:cNvSpPr>
          <p:nvPr>
            <p:ph type="body" idx="1"/>
          </p:nvPr>
        </p:nvSpPr>
        <p:spPr/>
        <p:txBody>
          <a:bodyPr/>
          <a:lstStyle/>
          <a:p>
            <a:endParaRPr lang="es-ES_tradnl" dirty="0"/>
          </a:p>
        </p:txBody>
      </p:sp>
    </p:spTree>
    <p:extLst>
      <p:ext uri="{BB962C8B-B14F-4D97-AF65-F5344CB8AC3E}">
        <p14:creationId xmlns:p14="http://schemas.microsoft.com/office/powerpoint/2010/main" val="487562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4C4FD7-9D02-AE7E-6653-FFE732ADF9B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D56A4C7-D276-101A-63FA-C8D87164AF3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4A31F2B-86F8-A547-40EA-38D5BFE0B01A}"/>
              </a:ext>
            </a:extLst>
          </p:cNvPr>
          <p:cNvSpPr>
            <a:spLocks noGrp="1"/>
          </p:cNvSpPr>
          <p:nvPr>
            <p:ph type="body" idx="1"/>
          </p:nvPr>
        </p:nvSpPr>
        <p:spPr/>
        <p:txBody>
          <a:bodyPr/>
          <a:lstStyle/>
          <a:p>
            <a:endParaRPr lang="es-ES" dirty="0"/>
          </a:p>
        </p:txBody>
      </p:sp>
      <p:sp>
        <p:nvSpPr>
          <p:cNvPr id="4" name="Marcador de número de diapositiva 3">
            <a:extLst>
              <a:ext uri="{FF2B5EF4-FFF2-40B4-BE49-F238E27FC236}">
                <a16:creationId xmlns:a16="http://schemas.microsoft.com/office/drawing/2014/main" id="{9381D9A0-EFAA-F693-8512-4314CE00DAF0}"/>
              </a:ext>
            </a:extLst>
          </p:cNvPr>
          <p:cNvSpPr>
            <a:spLocks noGrp="1"/>
          </p:cNvSpPr>
          <p:nvPr>
            <p:ph type="sldNum" sz="quarter" idx="5"/>
          </p:nvPr>
        </p:nvSpPr>
        <p:spPr/>
        <p:txBody>
          <a:bodyPr/>
          <a:lstStyle/>
          <a:p>
            <a:fld id="{FC1A1DDC-B194-473A-9977-8936CA2561F2}" type="slidenum">
              <a:rPr lang="es-ES" smtClean="0"/>
              <a:t>54</a:t>
            </a:fld>
            <a:endParaRPr lang="es-ES" dirty="0"/>
          </a:p>
        </p:txBody>
      </p:sp>
    </p:spTree>
    <p:extLst>
      <p:ext uri="{BB962C8B-B14F-4D97-AF65-F5344CB8AC3E}">
        <p14:creationId xmlns:p14="http://schemas.microsoft.com/office/powerpoint/2010/main" val="3563744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7F7CB-9FA7-5B99-7B88-F86CC337B05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4F0638E-F68E-FB25-4B64-E9B4E5B61A0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649B7A3-CD9B-4C32-230F-986F7C066BF8}"/>
              </a:ext>
            </a:extLst>
          </p:cNvPr>
          <p:cNvSpPr>
            <a:spLocks noGrp="1"/>
          </p:cNvSpPr>
          <p:nvPr>
            <p:ph type="body" idx="1"/>
          </p:nvPr>
        </p:nvSpPr>
        <p:spPr/>
        <p:txBody>
          <a:bodyPr/>
          <a:lstStyle/>
          <a:p>
            <a:r>
              <a:rPr lang="es-ES" dirty="0"/>
              <a:t>Caso inspirador</a:t>
            </a:r>
          </a:p>
        </p:txBody>
      </p:sp>
      <p:sp>
        <p:nvSpPr>
          <p:cNvPr id="4" name="Marcador de número de diapositiva 3">
            <a:extLst>
              <a:ext uri="{FF2B5EF4-FFF2-40B4-BE49-F238E27FC236}">
                <a16:creationId xmlns:a16="http://schemas.microsoft.com/office/drawing/2014/main" id="{EC279779-9A12-A0B8-62A8-DA59DA58CA88}"/>
              </a:ext>
            </a:extLst>
          </p:cNvPr>
          <p:cNvSpPr>
            <a:spLocks noGrp="1"/>
          </p:cNvSpPr>
          <p:nvPr>
            <p:ph type="sldNum" sz="quarter" idx="5"/>
          </p:nvPr>
        </p:nvSpPr>
        <p:spPr/>
        <p:txBody>
          <a:bodyPr/>
          <a:lstStyle/>
          <a:p>
            <a:fld id="{06D0F0EC-6025-48B5-BE7B-072A9799A059}" type="slidenum">
              <a:rPr lang="es-ES" smtClean="0"/>
              <a:t>55</a:t>
            </a:fld>
            <a:endParaRPr lang="es-ES" dirty="0"/>
          </a:p>
        </p:txBody>
      </p:sp>
    </p:spTree>
    <p:extLst>
      <p:ext uri="{BB962C8B-B14F-4D97-AF65-F5344CB8AC3E}">
        <p14:creationId xmlns:p14="http://schemas.microsoft.com/office/powerpoint/2010/main" val="538390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2DD88-AF84-1333-D0B3-E0CE18AFCCD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06392BF-A58C-13EC-342E-208EF87EE6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A8D34FB-C104-A0B2-3DFA-23BA804543FA}"/>
              </a:ext>
            </a:extLst>
          </p:cNvPr>
          <p:cNvSpPr>
            <a:spLocks noGrp="1"/>
          </p:cNvSpPr>
          <p:nvPr>
            <p:ph type="body" idx="1"/>
          </p:nvPr>
        </p:nvSpPr>
        <p:spPr/>
        <p:txBody>
          <a:bodyPr/>
          <a:lstStyle/>
          <a:p>
            <a:r>
              <a:rPr lang="es-ES" dirty="0"/>
              <a:t>2030 – 50% comunicaciones serán por esta vía</a:t>
            </a:r>
          </a:p>
        </p:txBody>
      </p:sp>
      <p:sp>
        <p:nvSpPr>
          <p:cNvPr id="4" name="Marcador de número de diapositiva 3">
            <a:extLst>
              <a:ext uri="{FF2B5EF4-FFF2-40B4-BE49-F238E27FC236}">
                <a16:creationId xmlns:a16="http://schemas.microsoft.com/office/drawing/2014/main" id="{DE41ED66-6787-FE72-E507-1D22B3CDBD91}"/>
              </a:ext>
            </a:extLst>
          </p:cNvPr>
          <p:cNvSpPr>
            <a:spLocks noGrp="1"/>
          </p:cNvSpPr>
          <p:nvPr>
            <p:ph type="sldNum" sz="quarter" idx="5"/>
          </p:nvPr>
        </p:nvSpPr>
        <p:spPr/>
        <p:txBody>
          <a:bodyPr/>
          <a:lstStyle/>
          <a:p>
            <a:fld id="{06D0F0EC-6025-48B5-BE7B-072A9799A059}" type="slidenum">
              <a:rPr lang="es-ES" smtClean="0"/>
              <a:pPr/>
              <a:t>62</a:t>
            </a:fld>
            <a:endParaRPr lang="es-ES" dirty="0"/>
          </a:p>
        </p:txBody>
      </p:sp>
    </p:spTree>
    <p:extLst>
      <p:ext uri="{BB962C8B-B14F-4D97-AF65-F5344CB8AC3E}">
        <p14:creationId xmlns:p14="http://schemas.microsoft.com/office/powerpoint/2010/main" val="3642225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4AF05-AD9B-1E45-BEAB-6B7BCB8D5FA3}"/>
            </a:ext>
          </a:extLst>
        </p:cNvPr>
        <p:cNvGrpSpPr/>
        <p:nvPr/>
      </p:nvGrpSpPr>
      <p:grpSpPr>
        <a:xfrm>
          <a:off x="0" y="0"/>
          <a:ext cx="0" cy="0"/>
          <a:chOff x="0" y="0"/>
          <a:chExt cx="0" cy="0"/>
        </a:xfrm>
      </p:grpSpPr>
      <p:sp>
        <p:nvSpPr>
          <p:cNvPr id="2" name="1 Marcador de imagen de diapositiva">
            <a:extLst>
              <a:ext uri="{FF2B5EF4-FFF2-40B4-BE49-F238E27FC236}">
                <a16:creationId xmlns:a16="http://schemas.microsoft.com/office/drawing/2014/main" id="{51D67012-D83D-573C-F03D-5C5B169F4D0A}"/>
              </a:ext>
            </a:extLst>
          </p:cNvPr>
          <p:cNvSpPr>
            <a:spLocks noGrp="1" noRot="1" noChangeAspect="1"/>
          </p:cNvSpPr>
          <p:nvPr>
            <p:ph type="sldImg"/>
          </p:nvPr>
        </p:nvSpPr>
        <p:spPr/>
      </p:sp>
      <p:sp>
        <p:nvSpPr>
          <p:cNvPr id="3" name="2 Marcador de notas">
            <a:extLst>
              <a:ext uri="{FF2B5EF4-FFF2-40B4-BE49-F238E27FC236}">
                <a16:creationId xmlns:a16="http://schemas.microsoft.com/office/drawing/2014/main" id="{7E35CA9F-14EF-00ED-7EC4-9283A4167E4C}"/>
              </a:ext>
            </a:extLst>
          </p:cNvPr>
          <p:cNvSpPr>
            <a:spLocks noGrp="1"/>
          </p:cNvSpPr>
          <p:nvPr>
            <p:ph type="body" idx="1"/>
          </p:nvPr>
        </p:nvSpPr>
        <p:spPr/>
        <p:txBody>
          <a:bodyPr/>
          <a:lstStyle/>
          <a:p>
            <a:endParaRPr lang="es-ES" dirty="0"/>
          </a:p>
        </p:txBody>
      </p:sp>
      <p:sp>
        <p:nvSpPr>
          <p:cNvPr id="4" name="3 Marcador de número de diapositiva">
            <a:extLst>
              <a:ext uri="{FF2B5EF4-FFF2-40B4-BE49-F238E27FC236}">
                <a16:creationId xmlns:a16="http://schemas.microsoft.com/office/drawing/2014/main" id="{748FBEEE-0652-4564-85CC-24D4B00964E4}"/>
              </a:ext>
            </a:extLst>
          </p:cNvPr>
          <p:cNvSpPr>
            <a:spLocks noGrp="1"/>
          </p:cNvSpPr>
          <p:nvPr>
            <p:ph type="sldNum" sz="quarter" idx="10"/>
          </p:nvPr>
        </p:nvSpPr>
        <p:spPr/>
        <p:txBody>
          <a:bodyPr/>
          <a:lstStyle/>
          <a:p>
            <a:fld id="{F74E6C99-DF3F-47FB-B546-9FBC592D9BEE}" type="slidenum">
              <a:rPr lang="es-ES" smtClean="0"/>
              <a:pPr/>
              <a:t>64</a:t>
            </a:fld>
            <a:endParaRPr lang="es-ES" dirty="0"/>
          </a:p>
        </p:txBody>
      </p:sp>
    </p:spTree>
    <p:extLst>
      <p:ext uri="{BB962C8B-B14F-4D97-AF65-F5344CB8AC3E}">
        <p14:creationId xmlns:p14="http://schemas.microsoft.com/office/powerpoint/2010/main" val="2521451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4D0E4-C65B-D131-F5A3-CE8481B605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49EF196-35AE-8743-A50E-06466352B49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A60EB6F-8637-8D90-4359-FC84BD94F1CC}"/>
              </a:ext>
            </a:extLst>
          </p:cNvPr>
          <p:cNvSpPr>
            <a:spLocks noGrp="1"/>
          </p:cNvSpPr>
          <p:nvPr>
            <p:ph type="body" idx="1"/>
          </p:nvPr>
        </p:nvSpPr>
        <p:spPr/>
        <p:txBody>
          <a:bodyPr/>
          <a:lstStyle/>
          <a:p>
            <a:r>
              <a:rPr lang="es-ES" dirty="0"/>
              <a:t>Darle a SF la existencia del documento RFP</a:t>
            </a:r>
          </a:p>
        </p:txBody>
      </p:sp>
      <p:sp>
        <p:nvSpPr>
          <p:cNvPr id="4" name="Marcador de número de diapositiva 3">
            <a:extLst>
              <a:ext uri="{FF2B5EF4-FFF2-40B4-BE49-F238E27FC236}">
                <a16:creationId xmlns:a16="http://schemas.microsoft.com/office/drawing/2014/main" id="{B1200407-F011-136F-ECD8-BB40F6F70CBB}"/>
              </a:ext>
            </a:extLst>
          </p:cNvPr>
          <p:cNvSpPr>
            <a:spLocks noGrp="1"/>
          </p:cNvSpPr>
          <p:nvPr>
            <p:ph type="sldNum" sz="quarter" idx="10"/>
          </p:nvPr>
        </p:nvSpPr>
        <p:spPr/>
        <p:txBody>
          <a:bodyPr/>
          <a:lstStyle/>
          <a:p>
            <a:fld id="{BC8615E1-8351-4151-91B5-C9704F0F380E}" type="slidenum">
              <a:rPr lang="es-ES" smtClean="0"/>
              <a:t>89</a:t>
            </a:fld>
            <a:endParaRPr lang="es-ES" dirty="0"/>
          </a:p>
        </p:txBody>
      </p:sp>
    </p:spTree>
    <p:extLst>
      <p:ext uri="{BB962C8B-B14F-4D97-AF65-F5344CB8AC3E}">
        <p14:creationId xmlns:p14="http://schemas.microsoft.com/office/powerpoint/2010/main" val="32491110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D8EF7-22E3-09B9-67F8-9E41DB9CFE9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0D69546-7B0F-8D5D-6D97-4876B2082BE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99B9713-E48D-C298-1755-27BC2CE7CD78}"/>
              </a:ext>
            </a:extLst>
          </p:cNvPr>
          <p:cNvSpPr>
            <a:spLocks noGrp="1"/>
          </p:cNvSpPr>
          <p:nvPr>
            <p:ph type="body" idx="1"/>
          </p:nvPr>
        </p:nvSpPr>
        <p:spPr/>
        <p:txBody>
          <a:bodyPr/>
          <a:lstStyle/>
          <a:p>
            <a:endParaRPr lang="es-ES" dirty="0"/>
          </a:p>
        </p:txBody>
      </p:sp>
      <p:sp>
        <p:nvSpPr>
          <p:cNvPr id="4" name="Marcador de número de diapositiva 3">
            <a:extLst>
              <a:ext uri="{FF2B5EF4-FFF2-40B4-BE49-F238E27FC236}">
                <a16:creationId xmlns:a16="http://schemas.microsoft.com/office/drawing/2014/main" id="{D0D877BB-4840-3BA3-88FA-803A72700A1C}"/>
              </a:ext>
            </a:extLst>
          </p:cNvPr>
          <p:cNvSpPr>
            <a:spLocks noGrp="1"/>
          </p:cNvSpPr>
          <p:nvPr>
            <p:ph type="sldNum" sz="quarter" idx="10"/>
          </p:nvPr>
        </p:nvSpPr>
        <p:spPr/>
        <p:txBody>
          <a:bodyPr/>
          <a:lstStyle/>
          <a:p>
            <a:fld id="{BC8615E1-8351-4151-91B5-C9704F0F380E}" type="slidenum">
              <a:rPr lang="es-ES" smtClean="0"/>
              <a:t>90</a:t>
            </a:fld>
            <a:endParaRPr lang="es-ES" dirty="0"/>
          </a:p>
        </p:txBody>
      </p:sp>
    </p:spTree>
    <p:extLst>
      <p:ext uri="{BB962C8B-B14F-4D97-AF65-F5344CB8AC3E}">
        <p14:creationId xmlns:p14="http://schemas.microsoft.com/office/powerpoint/2010/main" val="3401226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1988 SUM Microsystems</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t>94</a:t>
            </a:fld>
            <a:endParaRPr lang="es-ES" dirty="0"/>
          </a:p>
        </p:txBody>
      </p:sp>
    </p:spTree>
    <p:extLst>
      <p:ext uri="{BB962C8B-B14F-4D97-AF65-F5344CB8AC3E}">
        <p14:creationId xmlns:p14="http://schemas.microsoft.com/office/powerpoint/2010/main" val="1239120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06D0F0EC-6025-48B5-BE7B-072A9799A059}" type="slidenum">
              <a:rPr lang="es-ES" smtClean="0"/>
              <a:t>95</a:t>
            </a:fld>
            <a:endParaRPr lang="es-ES" dirty="0"/>
          </a:p>
        </p:txBody>
      </p:sp>
    </p:spTree>
    <p:extLst>
      <p:ext uri="{BB962C8B-B14F-4D97-AF65-F5344CB8AC3E}">
        <p14:creationId xmlns:p14="http://schemas.microsoft.com/office/powerpoint/2010/main" val="335623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06D0F0EC-6025-48B5-BE7B-072A9799A059}" type="slidenum">
              <a:rPr lang="es-ES" smtClean="0"/>
              <a:pPr/>
              <a:t>4</a:t>
            </a:fld>
            <a:endParaRPr lang="es-ES" dirty="0"/>
          </a:p>
        </p:txBody>
      </p:sp>
    </p:spTree>
    <p:extLst>
      <p:ext uri="{BB962C8B-B14F-4D97-AF65-F5344CB8AC3E}">
        <p14:creationId xmlns:p14="http://schemas.microsoft.com/office/powerpoint/2010/main" val="2618985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La info de izda a derecha</a:t>
            </a:r>
            <a:br>
              <a:rPr lang="es-ES" dirty="0"/>
            </a:br>
            <a:r>
              <a:rPr lang="es-ES" dirty="0"/>
              <a:t>Siempre</a:t>
            </a:r>
            <a:r>
              <a:rPr lang="es-ES" baseline="0" dirty="0"/>
              <a:t> se pierde</a:t>
            </a:r>
            <a:endParaRPr lang="es-ES" dirty="0"/>
          </a:p>
        </p:txBody>
      </p:sp>
      <p:sp>
        <p:nvSpPr>
          <p:cNvPr id="4" name="Marcador de número de diapositiva 3"/>
          <p:cNvSpPr>
            <a:spLocks noGrp="1"/>
          </p:cNvSpPr>
          <p:nvPr>
            <p:ph type="sldNum" sz="quarter" idx="10"/>
          </p:nvPr>
        </p:nvSpPr>
        <p:spPr/>
        <p:txBody>
          <a:bodyPr/>
          <a:lstStyle/>
          <a:p>
            <a:fld id="{06D0F0EC-6025-48B5-BE7B-072A9799A059}" type="slidenum">
              <a:rPr lang="es-ES" smtClean="0"/>
              <a:t>98</a:t>
            </a:fld>
            <a:endParaRPr lang="es-ES" dirty="0"/>
          </a:p>
        </p:txBody>
      </p:sp>
    </p:spTree>
    <p:extLst>
      <p:ext uri="{BB962C8B-B14F-4D97-AF65-F5344CB8AC3E}">
        <p14:creationId xmlns:p14="http://schemas.microsoft.com/office/powerpoint/2010/main" val="36097044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Sensores de humedad. 1950, contratan a 3 Filipinos, sólo hablan Tagalo = </a:t>
            </a:r>
            <a:r>
              <a:rPr lang="es-ES" b="1" dirty="0">
                <a:highlight>
                  <a:srgbClr val="FFFF00"/>
                </a:highlight>
              </a:rPr>
              <a:t>Jardinero, Meteorólogo </a:t>
            </a:r>
            <a:r>
              <a:rPr lang="es-ES" dirty="0"/>
              <a:t>+ Traductor + Decisor + </a:t>
            </a:r>
            <a:r>
              <a:rPr lang="es-ES" b="1" dirty="0"/>
              <a:t>Riega</a:t>
            </a:r>
          </a:p>
        </p:txBody>
      </p:sp>
      <p:sp>
        <p:nvSpPr>
          <p:cNvPr id="4" name="Marcador de número de diapositiva 3"/>
          <p:cNvSpPr>
            <a:spLocks noGrp="1"/>
          </p:cNvSpPr>
          <p:nvPr>
            <p:ph type="sldNum" sz="quarter" idx="10"/>
          </p:nvPr>
        </p:nvSpPr>
        <p:spPr/>
        <p:txBody>
          <a:bodyPr/>
          <a:lstStyle/>
          <a:p>
            <a:fld id="{421BB238-24DE-4A39-A6E9-B981CB03B54C}" type="slidenum">
              <a:rPr lang="es-ES" smtClean="0"/>
              <a:t>108</a:t>
            </a:fld>
            <a:endParaRPr lang="es-ES" dirty="0"/>
          </a:p>
        </p:txBody>
      </p:sp>
    </p:spTree>
    <p:extLst>
      <p:ext uri="{BB962C8B-B14F-4D97-AF65-F5344CB8AC3E}">
        <p14:creationId xmlns:p14="http://schemas.microsoft.com/office/powerpoint/2010/main" val="1484498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421BB238-24DE-4A39-A6E9-B981CB03B54C}" type="slidenum">
              <a:rPr lang="es-ES" smtClean="0"/>
              <a:t>109</a:t>
            </a:fld>
            <a:endParaRPr lang="es-ES" dirty="0"/>
          </a:p>
        </p:txBody>
      </p:sp>
    </p:spTree>
    <p:extLst>
      <p:ext uri="{BB962C8B-B14F-4D97-AF65-F5344CB8AC3E}">
        <p14:creationId xmlns:p14="http://schemas.microsoft.com/office/powerpoint/2010/main" val="362653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421BB238-24DE-4A39-A6E9-B981CB03B54C}" type="slidenum">
              <a:rPr lang="es-ES" smtClean="0"/>
              <a:t>110</a:t>
            </a:fld>
            <a:endParaRPr lang="es-ES" dirty="0"/>
          </a:p>
        </p:txBody>
      </p:sp>
    </p:spTree>
    <p:extLst>
      <p:ext uri="{BB962C8B-B14F-4D97-AF65-F5344CB8AC3E}">
        <p14:creationId xmlns:p14="http://schemas.microsoft.com/office/powerpoint/2010/main" val="23135415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F541F-262C-FF31-3085-CABE709CA55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5BE09E4-01DF-734B-F9AA-2233417349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8927C6B-522A-48AF-6922-D343D3B7A8A5}"/>
              </a:ext>
            </a:extLst>
          </p:cNvPr>
          <p:cNvSpPr>
            <a:spLocks noGrp="1"/>
          </p:cNvSpPr>
          <p:nvPr>
            <p:ph type="body" idx="1"/>
          </p:nvPr>
        </p:nvSpPr>
        <p:spPr/>
        <p:txBody>
          <a:bodyPr/>
          <a:lstStyle/>
          <a:p>
            <a:endParaRPr lang="es-ES" dirty="0"/>
          </a:p>
        </p:txBody>
      </p:sp>
      <p:sp>
        <p:nvSpPr>
          <p:cNvPr id="4" name="Marcador de número de diapositiva 3">
            <a:extLst>
              <a:ext uri="{FF2B5EF4-FFF2-40B4-BE49-F238E27FC236}">
                <a16:creationId xmlns:a16="http://schemas.microsoft.com/office/drawing/2014/main" id="{EB3EE985-79F5-54E1-0516-01C89B2465ED}"/>
              </a:ext>
            </a:extLst>
          </p:cNvPr>
          <p:cNvSpPr>
            <a:spLocks noGrp="1"/>
          </p:cNvSpPr>
          <p:nvPr>
            <p:ph type="sldNum" sz="quarter" idx="10"/>
          </p:nvPr>
        </p:nvSpPr>
        <p:spPr/>
        <p:txBody>
          <a:bodyPr/>
          <a:lstStyle/>
          <a:p>
            <a:fld id="{421BB238-24DE-4A39-A6E9-B981CB03B54C}" type="slidenum">
              <a:rPr lang="es-ES" smtClean="0"/>
              <a:t>113</a:t>
            </a:fld>
            <a:endParaRPr lang="es-ES" dirty="0"/>
          </a:p>
        </p:txBody>
      </p:sp>
    </p:spTree>
    <p:extLst>
      <p:ext uri="{BB962C8B-B14F-4D97-AF65-F5344CB8AC3E}">
        <p14:creationId xmlns:p14="http://schemas.microsoft.com/office/powerpoint/2010/main" val="1749420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8CD77-100C-2A7F-BC0E-7105DCCB7F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81BC378-D668-9D84-2BA5-85EBD6486BB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5526AA9-B03C-80F1-C90A-46D8CC8C1BC2}"/>
              </a:ext>
            </a:extLst>
          </p:cNvPr>
          <p:cNvSpPr>
            <a:spLocks noGrp="1"/>
          </p:cNvSpPr>
          <p:nvPr>
            <p:ph type="body" idx="1"/>
          </p:nvPr>
        </p:nvSpPr>
        <p:spPr/>
        <p:txBody>
          <a:bodyPr/>
          <a:lstStyle/>
          <a:p>
            <a:endParaRPr lang="es-ES" dirty="0"/>
          </a:p>
        </p:txBody>
      </p:sp>
      <p:sp>
        <p:nvSpPr>
          <p:cNvPr id="4" name="Marcador de número de diapositiva 3">
            <a:extLst>
              <a:ext uri="{FF2B5EF4-FFF2-40B4-BE49-F238E27FC236}">
                <a16:creationId xmlns:a16="http://schemas.microsoft.com/office/drawing/2014/main" id="{FDF84038-7211-D55C-88C0-B1669B8F8C4D}"/>
              </a:ext>
            </a:extLst>
          </p:cNvPr>
          <p:cNvSpPr>
            <a:spLocks noGrp="1"/>
          </p:cNvSpPr>
          <p:nvPr>
            <p:ph type="sldNum" sz="quarter" idx="10"/>
          </p:nvPr>
        </p:nvSpPr>
        <p:spPr/>
        <p:txBody>
          <a:bodyPr/>
          <a:lstStyle/>
          <a:p>
            <a:fld id="{421BB238-24DE-4A39-A6E9-B981CB03B54C}" type="slidenum">
              <a:rPr lang="es-ES" smtClean="0"/>
              <a:t>114</a:t>
            </a:fld>
            <a:endParaRPr lang="es-ES" dirty="0"/>
          </a:p>
        </p:txBody>
      </p:sp>
    </p:spTree>
    <p:extLst>
      <p:ext uri="{BB962C8B-B14F-4D97-AF65-F5344CB8AC3E}">
        <p14:creationId xmlns:p14="http://schemas.microsoft.com/office/powerpoint/2010/main" val="3646861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421BB238-24DE-4A39-A6E9-B981CB03B54C}" type="slidenum">
              <a:rPr lang="es-ES" smtClean="0"/>
              <a:t>128</a:t>
            </a:fld>
            <a:endParaRPr lang="es-ES" dirty="0"/>
          </a:p>
        </p:txBody>
      </p:sp>
    </p:spTree>
    <p:extLst>
      <p:ext uri="{BB962C8B-B14F-4D97-AF65-F5344CB8AC3E}">
        <p14:creationId xmlns:p14="http://schemas.microsoft.com/office/powerpoint/2010/main" val="4165874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06D0F0EC-6025-48B5-BE7B-072A9799A059}" type="slidenum">
              <a:rPr lang="es-ES" smtClean="0"/>
              <a:pPr/>
              <a:t>136</a:t>
            </a:fld>
            <a:endParaRPr lang="es-ES" dirty="0"/>
          </a:p>
        </p:txBody>
      </p:sp>
    </p:spTree>
    <p:extLst>
      <p:ext uri="{BB962C8B-B14F-4D97-AF65-F5344CB8AC3E}">
        <p14:creationId xmlns:p14="http://schemas.microsoft.com/office/powerpoint/2010/main" val="2616813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6F2B6-E950-FEA8-BDE2-C75BAA6F968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E69E233-0393-5C9A-0BCD-979E9644A78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2DADFC8-5DD6-6C18-067C-82468F57F086}"/>
              </a:ext>
            </a:extLst>
          </p:cNvPr>
          <p:cNvSpPr>
            <a:spLocks noGrp="1"/>
          </p:cNvSpPr>
          <p:nvPr>
            <p:ph type="body" idx="1"/>
          </p:nvPr>
        </p:nvSpPr>
        <p:spPr/>
        <p:txBody>
          <a:bodyPr/>
          <a:lstStyle/>
          <a:p>
            <a:r>
              <a:rPr lang="es-ES" dirty="0"/>
              <a:t>Han visto su valor en el negocio, ya no es una aventura</a:t>
            </a:r>
          </a:p>
        </p:txBody>
      </p:sp>
      <p:sp>
        <p:nvSpPr>
          <p:cNvPr id="4" name="Marcador de número de diapositiva 3">
            <a:extLst>
              <a:ext uri="{FF2B5EF4-FFF2-40B4-BE49-F238E27FC236}">
                <a16:creationId xmlns:a16="http://schemas.microsoft.com/office/drawing/2014/main" id="{F2B146F0-E448-DE51-1EF2-83D4A2AD62E0}"/>
              </a:ext>
            </a:extLst>
          </p:cNvPr>
          <p:cNvSpPr>
            <a:spLocks noGrp="1"/>
          </p:cNvSpPr>
          <p:nvPr>
            <p:ph type="sldNum" sz="quarter" idx="5"/>
          </p:nvPr>
        </p:nvSpPr>
        <p:spPr/>
        <p:txBody>
          <a:bodyPr/>
          <a:lstStyle/>
          <a:p>
            <a:fld id="{06D0F0EC-6025-48B5-BE7B-072A9799A059}" type="slidenum">
              <a:rPr lang="es-ES" smtClean="0"/>
              <a:pPr/>
              <a:t>189</a:t>
            </a:fld>
            <a:endParaRPr lang="es-ES" dirty="0"/>
          </a:p>
        </p:txBody>
      </p:sp>
    </p:spTree>
    <p:extLst>
      <p:ext uri="{BB962C8B-B14F-4D97-AF65-F5344CB8AC3E}">
        <p14:creationId xmlns:p14="http://schemas.microsoft.com/office/powerpoint/2010/main" val="16027878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lnSpc>
                <a:spcPct val="100000"/>
              </a:lnSpc>
              <a:spcBef>
                <a:spcPts val="0"/>
              </a:spcBef>
              <a:spcAft>
                <a:spcPts val="600"/>
              </a:spcAft>
              <a:buFont typeface="Arial" panose="020B0604020202020204" pitchFamily="34" charset="0"/>
              <a:buChar char="•"/>
            </a:pPr>
            <a:r>
              <a:rPr lang="es-ES" dirty="0"/>
              <a:t>AI + Machine learning = como el seguro del coche o netflyx</a:t>
            </a:r>
          </a:p>
          <a:p>
            <a:pPr marL="171450" indent="-171450">
              <a:lnSpc>
                <a:spcPct val="100000"/>
              </a:lnSpc>
              <a:spcBef>
                <a:spcPts val="0"/>
              </a:spcBef>
              <a:spcAft>
                <a:spcPts val="600"/>
              </a:spcAft>
              <a:buFont typeface="Arial" panose="020B0604020202020204" pitchFamily="34" charset="0"/>
              <a:buChar char="•"/>
            </a:pPr>
            <a:endParaRPr lang="es-ES" dirty="0"/>
          </a:p>
          <a:p>
            <a:pPr marL="171450" indent="-171450">
              <a:lnSpc>
                <a:spcPct val="100000"/>
              </a:lnSpc>
              <a:spcBef>
                <a:spcPts val="0"/>
              </a:spcBef>
              <a:spcAft>
                <a:spcPts val="600"/>
              </a:spcAft>
              <a:buFont typeface="Arial" panose="020B0604020202020204" pitchFamily="34" charset="0"/>
              <a:buChar char="•"/>
            </a:pPr>
            <a:r>
              <a:rPr lang="es-ES" dirty="0"/>
              <a:t>Capacidad de integrar = Cliente 360º | Tesorería</a:t>
            </a:r>
          </a:p>
          <a:p>
            <a:pPr marL="171450" indent="-171450">
              <a:lnSpc>
                <a:spcPct val="100000"/>
              </a:lnSpc>
              <a:spcBef>
                <a:spcPts val="0"/>
              </a:spcBef>
              <a:spcAft>
                <a:spcPts val="600"/>
              </a:spcAft>
              <a:buFont typeface="Arial" panose="020B0604020202020204" pitchFamily="34" charset="0"/>
              <a:buChar char="•"/>
            </a:pPr>
            <a:endParaRPr lang="es-ES" dirty="0"/>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ES" dirty="0"/>
              <a:t>Gestión del dato o quedar atrá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s-ES" dirty="0"/>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ES" dirty="0"/>
              <a:t>Renta 4</a:t>
            </a:r>
          </a:p>
          <a:p>
            <a:endParaRPr lang="es-ES" dirty="0"/>
          </a:p>
        </p:txBody>
      </p:sp>
      <p:sp>
        <p:nvSpPr>
          <p:cNvPr id="4" name="Marcador de número de diapositiva 3"/>
          <p:cNvSpPr>
            <a:spLocks noGrp="1"/>
          </p:cNvSpPr>
          <p:nvPr>
            <p:ph type="sldNum" sz="quarter" idx="5"/>
          </p:nvPr>
        </p:nvSpPr>
        <p:spPr/>
        <p:txBody>
          <a:bodyPr/>
          <a:lstStyle/>
          <a:p>
            <a:fld id="{29ADF99D-0826-45DF-AD6D-89F0DB9A0EC2}" type="slidenum">
              <a:rPr lang="es-ES" smtClean="0"/>
              <a:t>196</a:t>
            </a:fld>
            <a:endParaRPr lang="es-ES" dirty="0"/>
          </a:p>
        </p:txBody>
      </p:sp>
    </p:spTree>
    <p:extLst>
      <p:ext uri="{BB962C8B-B14F-4D97-AF65-F5344CB8AC3E}">
        <p14:creationId xmlns:p14="http://schemas.microsoft.com/office/powerpoint/2010/main" val="927537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3137C-045E-D286-D18C-A79FE658E5D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A90928-0040-EE8D-1B83-1DDE09A1CA1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5885A6B-903D-84E3-6F2A-4F430FC46BD2}"/>
              </a:ext>
            </a:extLst>
          </p:cNvPr>
          <p:cNvSpPr>
            <a:spLocks noGrp="1"/>
          </p:cNvSpPr>
          <p:nvPr>
            <p:ph type="body" idx="1"/>
          </p:nvPr>
        </p:nvSpPr>
        <p:spPr/>
        <p:txBody>
          <a:bodyPr/>
          <a:lstStyle/>
          <a:p>
            <a:r>
              <a:rPr lang="es-ES" dirty="0"/>
              <a:t>Punto de partida</a:t>
            </a:r>
          </a:p>
        </p:txBody>
      </p:sp>
      <p:sp>
        <p:nvSpPr>
          <p:cNvPr id="4" name="Marcador de número de diapositiva 3">
            <a:extLst>
              <a:ext uri="{FF2B5EF4-FFF2-40B4-BE49-F238E27FC236}">
                <a16:creationId xmlns:a16="http://schemas.microsoft.com/office/drawing/2014/main" id="{0F56200C-56FD-9A80-D6B8-0270D71A3E06}"/>
              </a:ext>
            </a:extLst>
          </p:cNvPr>
          <p:cNvSpPr>
            <a:spLocks noGrp="1"/>
          </p:cNvSpPr>
          <p:nvPr>
            <p:ph type="sldNum" sz="quarter" idx="10"/>
          </p:nvPr>
        </p:nvSpPr>
        <p:spPr/>
        <p:txBody>
          <a:bodyPr/>
          <a:lstStyle/>
          <a:p>
            <a:fld id="{421BB238-24DE-4A39-A6E9-B981CB03B54C}" type="slidenum">
              <a:rPr lang="es-ES" smtClean="0"/>
              <a:t>14</a:t>
            </a:fld>
            <a:endParaRPr lang="es-ES" dirty="0"/>
          </a:p>
        </p:txBody>
      </p:sp>
    </p:spTree>
    <p:extLst>
      <p:ext uri="{BB962C8B-B14F-4D97-AF65-F5344CB8AC3E}">
        <p14:creationId xmlns:p14="http://schemas.microsoft.com/office/powerpoint/2010/main" val="13002668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r>
              <a:rPr lang="es-ES" sz="1600" dirty="0"/>
              <a:t>Razones</a:t>
            </a:r>
          </a:p>
          <a:p>
            <a:pPr lvl="1"/>
            <a:r>
              <a:rPr lang="es-ES" sz="1200" dirty="0"/>
              <a:t>Adopción generalizada de la IA</a:t>
            </a:r>
          </a:p>
          <a:p>
            <a:pPr lvl="1"/>
            <a:r>
              <a:rPr lang="es-ES" sz="1200" dirty="0"/>
              <a:t>Envejecimiento de la población</a:t>
            </a:r>
          </a:p>
          <a:p>
            <a:pPr lvl="1"/>
            <a:r>
              <a:rPr lang="es-ES" sz="1200" dirty="0"/>
              <a:t>Transformación digital</a:t>
            </a:r>
          </a:p>
          <a:p>
            <a:pPr lvl="0"/>
            <a:r>
              <a:rPr lang="es-ES" dirty="0"/>
              <a:t>Perfiles profesionales más demandados:</a:t>
            </a:r>
          </a:p>
          <a:p>
            <a:pPr lvl="1"/>
            <a:r>
              <a:rPr lang="es-ES" dirty="0"/>
              <a:t>Científicos de datos</a:t>
            </a:r>
          </a:p>
          <a:p>
            <a:pPr lvl="1"/>
            <a:r>
              <a:rPr lang="es-ES" dirty="0"/>
              <a:t>Ingenieros de IA</a:t>
            </a:r>
          </a:p>
          <a:p>
            <a:pPr lvl="1"/>
            <a:r>
              <a:rPr lang="es-ES" dirty="0"/>
              <a:t>Arquitectos de IA</a:t>
            </a:r>
          </a:p>
          <a:p>
            <a:pPr lvl="1"/>
            <a:r>
              <a:rPr lang="es-ES" dirty="0"/>
              <a:t>Especialistas en ética de IA</a:t>
            </a:r>
          </a:p>
          <a:p>
            <a:endParaRPr lang="es-ES" dirty="0"/>
          </a:p>
        </p:txBody>
      </p:sp>
      <p:sp>
        <p:nvSpPr>
          <p:cNvPr id="4" name="Marcador de número de diapositiva 3"/>
          <p:cNvSpPr>
            <a:spLocks noGrp="1"/>
          </p:cNvSpPr>
          <p:nvPr>
            <p:ph type="sldNum" sz="quarter" idx="5"/>
          </p:nvPr>
        </p:nvSpPr>
        <p:spPr/>
        <p:txBody>
          <a:bodyPr/>
          <a:lstStyle/>
          <a:p>
            <a:fld id="{5B9E8998-EB4F-4DFF-ABA9-06810746D978}" type="slidenum">
              <a:rPr lang="es-ES" smtClean="0"/>
              <a:t>202</a:t>
            </a:fld>
            <a:endParaRPr lang="es-ES" dirty="0"/>
          </a:p>
        </p:txBody>
      </p:sp>
    </p:spTree>
    <p:extLst>
      <p:ext uri="{BB962C8B-B14F-4D97-AF65-F5344CB8AC3E}">
        <p14:creationId xmlns:p14="http://schemas.microsoft.com/office/powerpoint/2010/main" val="40766641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Atención al que solamente quiere aprender</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pPr/>
              <a:t>204</a:t>
            </a:fld>
            <a:endParaRPr lang="es-ES" dirty="0"/>
          </a:p>
        </p:txBody>
      </p:sp>
    </p:spTree>
    <p:extLst>
      <p:ext uri="{BB962C8B-B14F-4D97-AF65-F5344CB8AC3E}">
        <p14:creationId xmlns:p14="http://schemas.microsoft.com/office/powerpoint/2010/main" val="33421708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Atención al que solamente quiere aprender</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pPr/>
              <a:t>205</a:t>
            </a:fld>
            <a:endParaRPr lang="es-ES" dirty="0"/>
          </a:p>
        </p:txBody>
      </p:sp>
    </p:spTree>
    <p:extLst>
      <p:ext uri="{BB962C8B-B14F-4D97-AF65-F5344CB8AC3E}">
        <p14:creationId xmlns:p14="http://schemas.microsoft.com/office/powerpoint/2010/main" val="2923510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Plan disruptivo = Mejores prácticas + análisis de la competencia.</a:t>
            </a:r>
          </a:p>
          <a:p>
            <a:r>
              <a:rPr lang="es-ES" dirty="0"/>
              <a:t>BBVA 3,000 personas en Banca Digital – 5 años</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pPr/>
              <a:t>211</a:t>
            </a:fld>
            <a:endParaRPr lang="es-ES" dirty="0"/>
          </a:p>
        </p:txBody>
      </p:sp>
    </p:spTree>
    <p:extLst>
      <p:ext uri="{BB962C8B-B14F-4D97-AF65-F5344CB8AC3E}">
        <p14:creationId xmlns:p14="http://schemas.microsoft.com/office/powerpoint/2010/main" val="3091322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70E25423-37F5-4031-82AB-F06C14EA3761}" type="datetimeFigureOut">
              <a:rPr lang="de-DE"/>
              <a:pPr/>
              <a:t>19.09.2024</a:t>
            </a:fld>
            <a:endParaRPr lang="de-DE"/>
          </a:p>
        </p:txBody>
      </p:sp>
      <p:sp>
        <p:nvSpPr>
          <p:cNvPr id="112642" name="Rectangle 2"/>
          <p:cNvSpPr>
            <a:spLocks noGrp="1" noRot="1" noChangeAspect="1"/>
          </p:cNvSpPr>
          <p:nvPr>
            <p:ph type="sldImg"/>
          </p:nvPr>
        </p:nvSpPr>
        <p:spPr>
          <a:xfrm>
            <a:off x="-541338" y="1012825"/>
            <a:ext cx="8151813" cy="4586288"/>
          </a:xfrm>
          <a:noFill/>
          <a:ln>
            <a:miter lim="800000"/>
            <a:headEnd/>
            <a:tailEnd/>
          </a:ln>
        </p:spPr>
      </p:sp>
      <p:sp>
        <p:nvSpPr>
          <p:cNvPr id="112643" name="Rectangle 3"/>
          <p:cNvSpPr>
            <a:spLocks noGrp="1"/>
          </p:cNvSpPr>
          <p:nvPr>
            <p:ph type="body" idx="1"/>
          </p:nvPr>
        </p:nvSpPr>
        <p:spPr>
          <a:noFill/>
        </p:spPr>
        <p:txBody>
          <a:bodyPr/>
          <a:lstStyle/>
          <a:p>
            <a:endParaRPr lang="de-DE"/>
          </a:p>
        </p:txBody>
      </p:sp>
    </p:spTree>
    <p:extLst>
      <p:ext uri="{BB962C8B-B14F-4D97-AF65-F5344CB8AC3E}">
        <p14:creationId xmlns:p14="http://schemas.microsoft.com/office/powerpoint/2010/main" val="2473999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70E25423-37F5-4031-82AB-F06C14EA3761}" type="datetimeFigureOut">
              <a:rPr lang="de-DE"/>
              <a:pPr/>
              <a:t>19.09.2024</a:t>
            </a:fld>
            <a:endParaRPr lang="de-DE"/>
          </a:p>
        </p:txBody>
      </p:sp>
      <p:sp>
        <p:nvSpPr>
          <p:cNvPr id="112642" name="Rectangle 2"/>
          <p:cNvSpPr>
            <a:spLocks noGrp="1" noRot="1" noChangeAspect="1"/>
          </p:cNvSpPr>
          <p:nvPr>
            <p:ph type="sldImg"/>
          </p:nvPr>
        </p:nvSpPr>
        <p:spPr>
          <a:xfrm>
            <a:off x="-541338" y="1012825"/>
            <a:ext cx="8151813" cy="4586288"/>
          </a:xfrm>
          <a:noFill/>
          <a:ln>
            <a:miter lim="800000"/>
            <a:headEnd/>
            <a:tailEnd/>
          </a:ln>
        </p:spPr>
      </p:sp>
      <p:sp>
        <p:nvSpPr>
          <p:cNvPr id="112643" name="Rectangle 3"/>
          <p:cNvSpPr>
            <a:spLocks noGrp="1"/>
          </p:cNvSpPr>
          <p:nvPr>
            <p:ph type="body" idx="1"/>
          </p:nvPr>
        </p:nvSpPr>
        <p:spPr>
          <a:noFill/>
        </p:spPr>
        <p:txBody>
          <a:bodyPr/>
          <a:lstStyle/>
          <a:p>
            <a:endParaRPr lang="de-DE"/>
          </a:p>
        </p:txBody>
      </p:sp>
    </p:spTree>
    <p:extLst>
      <p:ext uri="{BB962C8B-B14F-4D97-AF65-F5344CB8AC3E}">
        <p14:creationId xmlns:p14="http://schemas.microsoft.com/office/powerpoint/2010/main" val="2322226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06D0F0EC-6025-48B5-BE7B-072A9799A059}" type="slidenum">
              <a:rPr lang="es-ES" smtClean="0"/>
              <a:t>231</a:t>
            </a:fld>
            <a:endParaRPr lang="es-ES" dirty="0"/>
          </a:p>
        </p:txBody>
      </p:sp>
    </p:spTree>
    <p:extLst>
      <p:ext uri="{BB962C8B-B14F-4D97-AF65-F5344CB8AC3E}">
        <p14:creationId xmlns:p14="http://schemas.microsoft.com/office/powerpoint/2010/main" val="1891282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A169A-D6D9-880B-71D1-9C311112204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234C065-E3FF-46D3-6A2C-C12BD7F66D7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33DDD9E-5CE1-ACEE-B5E4-80D68573F9E1}"/>
              </a:ext>
            </a:extLst>
          </p:cNvPr>
          <p:cNvSpPr>
            <a:spLocks noGrp="1"/>
          </p:cNvSpPr>
          <p:nvPr>
            <p:ph type="body" idx="1"/>
          </p:nvPr>
        </p:nvSpPr>
        <p:spPr/>
        <p:txBody>
          <a:bodyPr/>
          <a:lstStyle/>
          <a:p>
            <a:r>
              <a:rPr lang="es-ES" dirty="0"/>
              <a:t>Punto de partida</a:t>
            </a:r>
          </a:p>
        </p:txBody>
      </p:sp>
      <p:sp>
        <p:nvSpPr>
          <p:cNvPr id="4" name="Marcador de número de diapositiva 3">
            <a:extLst>
              <a:ext uri="{FF2B5EF4-FFF2-40B4-BE49-F238E27FC236}">
                <a16:creationId xmlns:a16="http://schemas.microsoft.com/office/drawing/2014/main" id="{6ADF083C-020C-B7FD-5186-7F35F142A6B0}"/>
              </a:ext>
            </a:extLst>
          </p:cNvPr>
          <p:cNvSpPr>
            <a:spLocks noGrp="1"/>
          </p:cNvSpPr>
          <p:nvPr>
            <p:ph type="sldNum" sz="quarter" idx="10"/>
          </p:nvPr>
        </p:nvSpPr>
        <p:spPr/>
        <p:txBody>
          <a:bodyPr/>
          <a:lstStyle/>
          <a:p>
            <a:fld id="{421BB238-24DE-4A39-A6E9-B981CB03B54C}" type="slidenum">
              <a:rPr lang="es-ES" smtClean="0"/>
              <a:t>15</a:t>
            </a:fld>
            <a:endParaRPr lang="es-ES" dirty="0"/>
          </a:p>
        </p:txBody>
      </p:sp>
    </p:spTree>
    <p:extLst>
      <p:ext uri="{BB962C8B-B14F-4D97-AF65-F5344CB8AC3E}">
        <p14:creationId xmlns:p14="http://schemas.microsoft.com/office/powerpoint/2010/main" val="3075807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elentless = sin ceder</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t>16</a:t>
            </a:fld>
            <a:endParaRPr lang="es-ES" dirty="0"/>
          </a:p>
        </p:txBody>
      </p:sp>
    </p:spTree>
    <p:extLst>
      <p:ext uri="{BB962C8B-B14F-4D97-AF65-F5344CB8AC3E}">
        <p14:creationId xmlns:p14="http://schemas.microsoft.com/office/powerpoint/2010/main" val="2325162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06D0F0EC-6025-48B5-BE7B-072A9799A059}" type="slidenum">
              <a:rPr lang="es-ES" smtClean="0"/>
              <a:t>17</a:t>
            </a:fld>
            <a:endParaRPr lang="es-ES" dirty="0"/>
          </a:p>
        </p:txBody>
      </p:sp>
    </p:spTree>
    <p:extLst>
      <p:ext uri="{BB962C8B-B14F-4D97-AF65-F5344CB8AC3E}">
        <p14:creationId xmlns:p14="http://schemas.microsoft.com/office/powerpoint/2010/main" val="2282272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quipo de alto rendimiento parte de un líder de alto rendimiento. El máximo nivel que alcanza el grupo es el de su lí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kern="1200" dirty="0">
                <a:solidFill>
                  <a:schemeClr val="tx1"/>
                </a:solidFill>
                <a:effectLst/>
                <a:ea typeface="+mn-ea"/>
                <a:cs typeface="+mn-cs"/>
              </a:rPr>
              <a:t>El proceso de Transformación Digital exige cambio continuo de la empresa, lo cual es muy exigente para las organizaciones ya que los cambios siempre generan oposición en los colaboradores. Para lograrlo las empresas deben crear en su interior una cultura del cambio permanente.</a:t>
            </a:r>
          </a:p>
          <a:p>
            <a:endParaRPr lang="es-ES" dirty="0"/>
          </a:p>
        </p:txBody>
      </p:sp>
      <p:sp>
        <p:nvSpPr>
          <p:cNvPr id="4" name="Marcador de número de diapositiva 3"/>
          <p:cNvSpPr>
            <a:spLocks noGrp="1"/>
          </p:cNvSpPr>
          <p:nvPr>
            <p:ph type="sldNum" sz="quarter" idx="10"/>
          </p:nvPr>
        </p:nvSpPr>
        <p:spPr/>
        <p:txBody>
          <a:bodyPr/>
          <a:lstStyle/>
          <a:p>
            <a:fld id="{421BB238-24DE-4A39-A6E9-B981CB03B54C}" type="slidenum">
              <a:rPr lang="es-ES" smtClean="0"/>
              <a:t>20</a:t>
            </a:fld>
            <a:endParaRPr lang="es-ES" dirty="0"/>
          </a:p>
        </p:txBody>
      </p:sp>
    </p:spTree>
    <p:extLst>
      <p:ext uri="{BB962C8B-B14F-4D97-AF65-F5344CB8AC3E}">
        <p14:creationId xmlns:p14="http://schemas.microsoft.com/office/powerpoint/2010/main" val="2297531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Sobrevive el que se adapta, resiliencia</a:t>
            </a:r>
          </a:p>
        </p:txBody>
      </p:sp>
      <p:sp>
        <p:nvSpPr>
          <p:cNvPr id="4" name="Marcador de número de diapositiva 3"/>
          <p:cNvSpPr>
            <a:spLocks noGrp="1"/>
          </p:cNvSpPr>
          <p:nvPr>
            <p:ph type="sldNum" sz="quarter" idx="5"/>
          </p:nvPr>
        </p:nvSpPr>
        <p:spPr/>
        <p:txBody>
          <a:bodyPr/>
          <a:lstStyle/>
          <a:p>
            <a:fld id="{06D0F0EC-6025-48B5-BE7B-072A9799A059}" type="slidenum">
              <a:rPr lang="es-ES" smtClean="0"/>
              <a:t>21</a:t>
            </a:fld>
            <a:endParaRPr lang="es-ES" dirty="0"/>
          </a:p>
        </p:txBody>
      </p:sp>
    </p:spTree>
    <p:extLst>
      <p:ext uri="{BB962C8B-B14F-4D97-AF65-F5344CB8AC3E}">
        <p14:creationId xmlns:p14="http://schemas.microsoft.com/office/powerpoint/2010/main" val="436969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ecordar los conceptos STO</a:t>
            </a:r>
          </a:p>
        </p:txBody>
      </p:sp>
      <p:sp>
        <p:nvSpPr>
          <p:cNvPr id="4" name="Marcador de número de diapositiva 3"/>
          <p:cNvSpPr>
            <a:spLocks noGrp="1"/>
          </p:cNvSpPr>
          <p:nvPr>
            <p:ph type="sldNum" sz="quarter" idx="10"/>
          </p:nvPr>
        </p:nvSpPr>
        <p:spPr/>
        <p:txBody>
          <a:bodyPr/>
          <a:lstStyle/>
          <a:p>
            <a:fld id="{421BB238-24DE-4A39-A6E9-B981CB03B54C}" type="slidenum">
              <a:rPr lang="es-ES" smtClean="0"/>
              <a:t>24</a:t>
            </a:fld>
            <a:endParaRPr lang="es-ES" dirty="0"/>
          </a:p>
        </p:txBody>
      </p:sp>
    </p:spTree>
    <p:extLst>
      <p:ext uri="{BB962C8B-B14F-4D97-AF65-F5344CB8AC3E}">
        <p14:creationId xmlns:p14="http://schemas.microsoft.com/office/powerpoint/2010/main" val="91579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D601B4F-A316-FD92-7A74-6022EC5F8062}"/>
              </a:ext>
            </a:extLst>
          </p:cNvPr>
          <p:cNvSpPr>
            <a:spLocks noGrp="1"/>
          </p:cNvSpPr>
          <p:nvPr>
            <p:ph type="ctrTitle"/>
          </p:nvPr>
        </p:nvSpPr>
        <p:spPr>
          <a:xfrm>
            <a:off x="1352550" y="1122363"/>
            <a:ext cx="931545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25F58D30-661A-89A0-6343-A5AA575A7DF2}"/>
              </a:ext>
            </a:extLst>
          </p:cNvPr>
          <p:cNvSpPr>
            <a:spLocks noGrp="1"/>
          </p:cNvSpPr>
          <p:nvPr>
            <p:ph type="subTitle" idx="1"/>
          </p:nvPr>
        </p:nvSpPr>
        <p:spPr>
          <a:xfrm>
            <a:off x="4905375" y="3602038"/>
            <a:ext cx="5762625" cy="1655762"/>
          </a:xfrm>
        </p:spPr>
        <p:txBody>
          <a:bodyPr anchor="b"/>
          <a:lstStyle>
            <a:lvl1pPr marL="0" indent="0" algn="l">
              <a:buNone/>
              <a:defRPr sz="24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8" name="Marcador de posición de imagen 7">
            <a:extLst>
              <a:ext uri="{FF2B5EF4-FFF2-40B4-BE49-F238E27FC236}">
                <a16:creationId xmlns:a16="http://schemas.microsoft.com/office/drawing/2014/main" id="{98B9F737-DCE5-7532-C235-905A8EE56C79}"/>
              </a:ext>
            </a:extLst>
          </p:cNvPr>
          <p:cNvSpPr>
            <a:spLocks noGrp="1"/>
          </p:cNvSpPr>
          <p:nvPr>
            <p:ph type="pic" sz="quarter" idx="13"/>
          </p:nvPr>
        </p:nvSpPr>
        <p:spPr>
          <a:xfrm>
            <a:off x="1057275" y="3602037"/>
            <a:ext cx="3743325" cy="2655888"/>
          </a:xfrm>
        </p:spPr>
        <p:txBody>
          <a:bodyPr/>
          <a:lstStyle/>
          <a:p>
            <a:r>
              <a:rPr lang="es-ES" dirty="0"/>
              <a:t>Haga clic en el icono para agregar una imagen</a:t>
            </a:r>
          </a:p>
        </p:txBody>
      </p:sp>
      <p:pic>
        <p:nvPicPr>
          <p:cNvPr id="2050" name="Picture 2" descr="Tajamar - educaweb.com">
            <a:extLst>
              <a:ext uri="{FF2B5EF4-FFF2-40B4-BE49-F238E27FC236}">
                <a16:creationId xmlns:a16="http://schemas.microsoft.com/office/drawing/2014/main" id="{A16A9D73-23FB-233C-0008-837137C6BB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45414" y="149415"/>
            <a:ext cx="1784805" cy="76491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undación Alfonso Martín Escudero">
            <a:extLst>
              <a:ext uri="{FF2B5EF4-FFF2-40B4-BE49-F238E27FC236}">
                <a16:creationId xmlns:a16="http://schemas.microsoft.com/office/drawing/2014/main" id="{7F99CA06-41C5-ADA4-1310-695D8249E5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3134" y="149415"/>
            <a:ext cx="1933575"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5162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Dos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C6075A30-CEA4-43A5-82F2-F2828408E076}"/>
              </a:ext>
            </a:extLst>
          </p:cNvPr>
          <p:cNvSpPr>
            <a:spLocks noGrp="1"/>
          </p:cNvSpPr>
          <p:nvPr>
            <p:ph sz="half" idx="1" hasCustomPrompt="1"/>
          </p:nvPr>
        </p:nvSpPr>
        <p:spPr>
          <a:xfrm>
            <a:off x="270309" y="2241755"/>
            <a:ext cx="6387666" cy="3923835"/>
          </a:xfrm>
        </p:spPr>
        <p:txBody>
          <a:bodyPr anchor="ctr">
            <a:normAutofit/>
          </a:bodyPr>
          <a:lstStyle>
            <a:lvl1pPr>
              <a:lnSpc>
                <a:spcPct val="100000"/>
              </a:lnSpc>
              <a:defRPr sz="2400">
                <a:solidFill>
                  <a:schemeClr val="accent6">
                    <a:lumMod val="50000"/>
                  </a:schemeClr>
                </a:solidFill>
                <a:latin typeface="Avenir LT Std 35 Light" panose="020B0402020203020204" pitchFamily="34" charset="0"/>
              </a:defRPr>
            </a:lvl1pPr>
            <a:lvl2pPr>
              <a:lnSpc>
                <a:spcPct val="100000"/>
              </a:lnSpc>
              <a:defRPr sz="2000">
                <a:solidFill>
                  <a:schemeClr val="accent6">
                    <a:lumMod val="50000"/>
                  </a:schemeClr>
                </a:solidFill>
                <a:latin typeface="Avenir LT Std 35 Light" panose="020B0402020203020204" pitchFamily="34" charset="0"/>
              </a:defRPr>
            </a:lvl2pPr>
            <a:lvl3pPr>
              <a:lnSpc>
                <a:spcPct val="100000"/>
              </a:lnSpc>
              <a:defRPr sz="1800">
                <a:solidFill>
                  <a:schemeClr val="accent6">
                    <a:lumMod val="50000"/>
                  </a:schemeClr>
                </a:solidFill>
                <a:latin typeface="Avenir LT Std 35 Light" panose="020B0402020203020204" pitchFamily="34" charset="0"/>
              </a:defRPr>
            </a:lvl3pPr>
            <a:lvl4pPr>
              <a:lnSpc>
                <a:spcPct val="100000"/>
              </a:lnSpc>
              <a:defRPr sz="1600">
                <a:solidFill>
                  <a:schemeClr val="accent6">
                    <a:lumMod val="50000"/>
                  </a:schemeClr>
                </a:solidFill>
                <a:latin typeface="Avenir LT Std 35 Light" panose="020B0402020203020204" pitchFamily="34" charset="0"/>
              </a:defRPr>
            </a:lvl4pPr>
            <a:lvl5pPr>
              <a:lnSpc>
                <a:spcPct val="100000"/>
              </a:lnSpc>
              <a:defRPr sz="1600">
                <a:solidFill>
                  <a:schemeClr val="accent6">
                    <a:lumMod val="50000"/>
                  </a:schemeClr>
                </a:solidFill>
                <a:latin typeface="Avenir LT Std 35 Light" panose="020B0402020203020204" pitchFamily="34" charset="0"/>
              </a:defRPr>
            </a:lvl5pPr>
          </a:lstStyle>
          <a:p>
            <a:pPr lvl="0"/>
            <a:r>
              <a:rPr lang="es-ES" noProof="0" dirty="0"/>
              <a:t>Editar los estilos de texto del patrón</a:t>
            </a:r>
          </a:p>
          <a:p>
            <a:pPr lvl="1"/>
            <a:r>
              <a:rPr lang="es-ES" noProof="0" dirty="0"/>
              <a:t>Segundo nivel</a:t>
            </a:r>
          </a:p>
          <a:p>
            <a:pPr lvl="2"/>
            <a:r>
              <a:rPr lang="es-ES" noProof="0" dirty="0"/>
              <a:t>Tercer nivel</a:t>
            </a:r>
          </a:p>
          <a:p>
            <a:pPr lvl="3"/>
            <a:r>
              <a:rPr lang="es-ES" noProof="0" dirty="0"/>
              <a:t>Cuarto nivel</a:t>
            </a:r>
          </a:p>
          <a:p>
            <a:pPr lvl="4"/>
            <a:r>
              <a:rPr lang="es-ES" noProof="0" dirty="0"/>
              <a:t>Quinto nivel</a:t>
            </a:r>
          </a:p>
        </p:txBody>
      </p:sp>
      <p:sp>
        <p:nvSpPr>
          <p:cNvPr id="4" name="Marcador de contenido 3">
            <a:extLst>
              <a:ext uri="{FF2B5EF4-FFF2-40B4-BE49-F238E27FC236}">
                <a16:creationId xmlns:a16="http://schemas.microsoft.com/office/drawing/2014/main" id="{37F17658-CB0D-49B5-9AE6-0CB8725FD99E}"/>
              </a:ext>
            </a:extLst>
          </p:cNvPr>
          <p:cNvSpPr>
            <a:spLocks noGrp="1"/>
          </p:cNvSpPr>
          <p:nvPr>
            <p:ph sz="half" idx="2" hasCustomPrompt="1"/>
          </p:nvPr>
        </p:nvSpPr>
        <p:spPr>
          <a:xfrm>
            <a:off x="6779991" y="1642608"/>
            <a:ext cx="5141700" cy="2613650"/>
          </a:xfrm>
        </p:spPr>
        <p:txBody>
          <a:bodyPr>
            <a:normAutofit/>
          </a:bodyPr>
          <a:lstStyle>
            <a:lvl1pPr>
              <a:lnSpc>
                <a:spcPct val="100000"/>
              </a:lnSpc>
              <a:defRPr sz="2400">
                <a:latin typeface="Avenir LT Std 35 Light" panose="020B0402020203020204" pitchFamily="34" charset="0"/>
              </a:defRPr>
            </a:lvl1pPr>
            <a:lvl2pPr>
              <a:lnSpc>
                <a:spcPct val="100000"/>
              </a:lnSpc>
              <a:defRPr sz="2000">
                <a:latin typeface="Avenir LT Std 35 Light" panose="020B0402020203020204" pitchFamily="34" charset="0"/>
              </a:defRPr>
            </a:lvl2pPr>
            <a:lvl3pPr>
              <a:lnSpc>
                <a:spcPct val="100000"/>
              </a:lnSpc>
              <a:defRPr sz="1800">
                <a:latin typeface="Avenir LT Std 35 Light" panose="020B0402020203020204" pitchFamily="34" charset="0"/>
              </a:defRPr>
            </a:lvl3pPr>
            <a:lvl4pPr>
              <a:lnSpc>
                <a:spcPct val="100000"/>
              </a:lnSpc>
              <a:defRPr sz="1600">
                <a:latin typeface="Avenir LT Std 35 Light" panose="020B0402020203020204" pitchFamily="34" charset="0"/>
              </a:defRPr>
            </a:lvl4pPr>
            <a:lvl5pPr>
              <a:lnSpc>
                <a:spcPct val="100000"/>
              </a:lnSpc>
              <a:defRPr sz="1600">
                <a:latin typeface="Avenir LT Std 35 Light" panose="020B0402020203020204" pitchFamily="34" charset="0"/>
              </a:defRPr>
            </a:lvl5pPr>
          </a:lstStyle>
          <a:p>
            <a:pPr lvl="0"/>
            <a:r>
              <a:rPr lang="es-ES" noProof="0" dirty="0"/>
              <a:t>Editar los estilos de texto del patrón</a:t>
            </a:r>
          </a:p>
          <a:p>
            <a:pPr lvl="1"/>
            <a:r>
              <a:rPr lang="es-ES" noProof="0" dirty="0"/>
              <a:t>Segundo nivel</a:t>
            </a:r>
          </a:p>
          <a:p>
            <a:pPr lvl="2"/>
            <a:r>
              <a:rPr lang="es-ES" noProof="0" dirty="0"/>
              <a:t>Tercer nivel</a:t>
            </a:r>
          </a:p>
          <a:p>
            <a:pPr lvl="3"/>
            <a:r>
              <a:rPr lang="es-ES" noProof="0" dirty="0"/>
              <a:t>Cuarto nivel</a:t>
            </a:r>
          </a:p>
          <a:p>
            <a:pPr lvl="4"/>
            <a:r>
              <a:rPr lang="es-ES" noProof="0" dirty="0"/>
              <a:t>Quinto nivel</a:t>
            </a:r>
          </a:p>
        </p:txBody>
      </p:sp>
      <p:sp>
        <p:nvSpPr>
          <p:cNvPr id="8" name="Marcador de contenido 2">
            <a:extLst>
              <a:ext uri="{FF2B5EF4-FFF2-40B4-BE49-F238E27FC236}">
                <a16:creationId xmlns:a16="http://schemas.microsoft.com/office/drawing/2014/main" id="{E79FC5D0-7DB8-4887-9100-23E1F7D1B2DC}"/>
              </a:ext>
            </a:extLst>
          </p:cNvPr>
          <p:cNvSpPr>
            <a:spLocks noGrp="1"/>
          </p:cNvSpPr>
          <p:nvPr>
            <p:ph sz="half" idx="13" hasCustomPrompt="1"/>
          </p:nvPr>
        </p:nvSpPr>
        <p:spPr>
          <a:xfrm>
            <a:off x="6779991" y="4902762"/>
            <a:ext cx="5141700" cy="1452030"/>
          </a:xfrm>
        </p:spPr>
        <p:txBody>
          <a:bodyPr vert="horz" lIns="91440" tIns="45720" rIns="91440" bIns="45720" rtlCol="0">
            <a:normAutofit/>
          </a:bodyPr>
          <a:lstStyle>
            <a:lvl1pPr>
              <a:defRPr lang="es-ES" sz="1800" noProof="0" dirty="0">
                <a:latin typeface="Avenir LT Std 35 Light" panose="020B0402020203020204" pitchFamily="34" charset="0"/>
              </a:defRPr>
            </a:lvl1pPr>
          </a:lstStyle>
          <a:p>
            <a:pPr lvl="0"/>
            <a:r>
              <a:rPr lang="es-ES" noProof="0" dirty="0"/>
              <a:t>Editar los estilos de texto del patrón:</a:t>
            </a:r>
          </a:p>
        </p:txBody>
      </p:sp>
      <p:sp>
        <p:nvSpPr>
          <p:cNvPr id="5" name="Título 4">
            <a:extLst>
              <a:ext uri="{FF2B5EF4-FFF2-40B4-BE49-F238E27FC236}">
                <a16:creationId xmlns:a16="http://schemas.microsoft.com/office/drawing/2014/main" id="{0CD7F59C-EBF6-45F7-A70F-EF7FED29BA2F}"/>
              </a:ext>
            </a:extLst>
          </p:cNvPr>
          <p:cNvSpPr>
            <a:spLocks noGrp="1"/>
          </p:cNvSpPr>
          <p:nvPr>
            <p:ph type="title"/>
          </p:nvPr>
        </p:nvSpPr>
        <p:spPr/>
        <p:txBody>
          <a:bodyPr/>
          <a:lstStyle/>
          <a:p>
            <a:r>
              <a:rPr lang="es-ES"/>
              <a:t>Haga clic para modificar el estilo de título del patrón</a:t>
            </a:r>
          </a:p>
        </p:txBody>
      </p:sp>
      <p:sp>
        <p:nvSpPr>
          <p:cNvPr id="11" name="CuadroTexto 10">
            <a:extLst>
              <a:ext uri="{FF2B5EF4-FFF2-40B4-BE49-F238E27FC236}">
                <a16:creationId xmlns:a16="http://schemas.microsoft.com/office/drawing/2014/main" id="{CB6FA8EC-6417-4EFA-AE1F-B2CEC37146BA}"/>
              </a:ext>
            </a:extLst>
          </p:cNvPr>
          <p:cNvSpPr txBox="1"/>
          <p:nvPr/>
        </p:nvSpPr>
        <p:spPr>
          <a:xfrm>
            <a:off x="8062667" y="4379455"/>
            <a:ext cx="2576347" cy="400110"/>
          </a:xfrm>
          <a:prstGeom prst="rect">
            <a:avLst/>
          </a:prstGeom>
          <a:solidFill>
            <a:srgbClr val="3333FF"/>
          </a:solidFill>
        </p:spPr>
        <p:txBody>
          <a:bodyPr wrap="none" rtlCol="0" anchor="ctr">
            <a:spAutoFit/>
          </a:bodyPr>
          <a:lstStyle/>
          <a:p>
            <a:pPr algn="ctr"/>
            <a:r>
              <a:rPr lang="es-ES" sz="2000" b="1" noProof="0" dirty="0">
                <a:solidFill>
                  <a:schemeClr val="bg1"/>
                </a:solidFill>
                <a:latin typeface="Avenir LT Std 35 Light" panose="020B0402020203020204" pitchFamily="34" charset="0"/>
              </a:rPr>
              <a:t>Origen de los datos</a:t>
            </a:r>
          </a:p>
        </p:txBody>
      </p:sp>
      <p:sp>
        <p:nvSpPr>
          <p:cNvPr id="12" name="CuadroTexto 11">
            <a:extLst>
              <a:ext uri="{FF2B5EF4-FFF2-40B4-BE49-F238E27FC236}">
                <a16:creationId xmlns:a16="http://schemas.microsoft.com/office/drawing/2014/main" id="{B8D3D22A-A4CA-49AA-B8F0-E988A709709E}"/>
              </a:ext>
            </a:extLst>
          </p:cNvPr>
          <p:cNvSpPr txBox="1"/>
          <p:nvPr/>
        </p:nvSpPr>
        <p:spPr>
          <a:xfrm>
            <a:off x="2847627" y="1767165"/>
            <a:ext cx="1233031" cy="400110"/>
          </a:xfrm>
          <a:prstGeom prst="rect">
            <a:avLst/>
          </a:prstGeom>
          <a:solidFill>
            <a:srgbClr val="3333FF"/>
          </a:solidFill>
        </p:spPr>
        <p:txBody>
          <a:bodyPr wrap="none" rtlCol="0" anchor="ctr">
            <a:spAutoFit/>
          </a:bodyPr>
          <a:lstStyle/>
          <a:p>
            <a:pPr algn="ctr"/>
            <a:r>
              <a:rPr lang="es-ES" sz="2000" b="1" noProof="0" dirty="0">
                <a:solidFill>
                  <a:schemeClr val="bg1"/>
                </a:solidFill>
                <a:latin typeface="Avenir LT Std 35 Light" panose="020B0402020203020204" pitchFamily="34" charset="0"/>
              </a:rPr>
              <a:t>Objetivo</a:t>
            </a:r>
          </a:p>
        </p:txBody>
      </p:sp>
      <p:sp>
        <p:nvSpPr>
          <p:cNvPr id="2" name="Marcador de fecha 1">
            <a:extLst>
              <a:ext uri="{FF2B5EF4-FFF2-40B4-BE49-F238E27FC236}">
                <a16:creationId xmlns:a16="http://schemas.microsoft.com/office/drawing/2014/main" id="{4E509660-B603-3BE7-CD36-A8215AA28C72}"/>
              </a:ext>
            </a:extLst>
          </p:cNvPr>
          <p:cNvSpPr>
            <a:spLocks noGrp="1"/>
          </p:cNvSpPr>
          <p:nvPr>
            <p:ph type="dt" sz="half" idx="14"/>
          </p:nvPr>
        </p:nvSpPr>
        <p:spPr/>
        <p:txBody>
          <a:bodyPr/>
          <a:lstStyle/>
          <a:p>
            <a:fld id="{9B815CDC-4824-45CD-A95C-10AE94E35762}" type="datetime2">
              <a:rPr lang="es-ES" smtClean="0"/>
              <a:t>jueves, 19 de septiembre de 2024</a:t>
            </a:fld>
            <a:endParaRPr lang="es-ES" dirty="0"/>
          </a:p>
        </p:txBody>
      </p:sp>
      <p:sp>
        <p:nvSpPr>
          <p:cNvPr id="9" name="Marcador de pie de página 8">
            <a:extLst>
              <a:ext uri="{FF2B5EF4-FFF2-40B4-BE49-F238E27FC236}">
                <a16:creationId xmlns:a16="http://schemas.microsoft.com/office/drawing/2014/main" id="{CE1826F9-DC03-3670-E731-B494C9AF7BCE}"/>
              </a:ext>
            </a:extLst>
          </p:cNvPr>
          <p:cNvSpPr>
            <a:spLocks noGrp="1"/>
          </p:cNvSpPr>
          <p:nvPr>
            <p:ph type="ftr" sz="quarter" idx="15"/>
          </p:nvPr>
        </p:nvSpPr>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FD7D6F15-9C0E-875B-3462-30F266A23325}"/>
              </a:ext>
            </a:extLst>
          </p:cNvPr>
          <p:cNvSpPr>
            <a:spLocks noGrp="1"/>
          </p:cNvSpPr>
          <p:nvPr>
            <p:ph type="sldNum" sz="quarter" idx="16"/>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4138503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oto y tex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BA0C89C-FEAA-47B1-AAA4-572A4FEB4BC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B79DDB0C-C799-4DB1-A5D5-6822E8C16671}"/>
              </a:ext>
            </a:extLst>
          </p:cNvPr>
          <p:cNvSpPr>
            <a:spLocks noGrp="1"/>
          </p:cNvSpPr>
          <p:nvPr>
            <p:ph sz="half" idx="1"/>
          </p:nvPr>
        </p:nvSpPr>
        <p:spPr>
          <a:xfrm>
            <a:off x="2926700" y="1863518"/>
            <a:ext cx="8821604" cy="4212000"/>
          </a:xfrm>
        </p:spPr>
        <p:txBody>
          <a:bodyPr/>
          <a:lstStyle>
            <a:lvl1pPr marL="457200" indent="-457200">
              <a:buFont typeface="Wingdings" panose="05000000000000000000" pitchFamily="2" charset="2"/>
              <a:buChar char="q"/>
              <a:defRPr>
                <a:latin typeface="Avenir LT Std 35 Light" panose="020B0402020203020204" pitchFamily="34" charset="0"/>
              </a:defRPr>
            </a:lvl1pPr>
            <a:lvl2pPr>
              <a:defRPr>
                <a:latin typeface="Avenir LT Std 35 Light" panose="020B0402020203020204" pitchFamily="34" charset="0"/>
              </a:defRPr>
            </a:lvl2pPr>
            <a:lvl3pPr>
              <a:defRPr>
                <a:latin typeface="Avenir LT Std 35 Light" panose="020B0402020203020204" pitchFamily="34" charset="0"/>
              </a:defRPr>
            </a:lvl3pPr>
            <a:lvl4pPr>
              <a:defRPr>
                <a:latin typeface="Avenir LT Std 35 Light" panose="020B0402020203020204" pitchFamily="34" charset="0"/>
              </a:defRPr>
            </a:lvl4pPr>
            <a:lvl5pPr>
              <a:defRPr>
                <a:latin typeface="Avenir LT Std 35 Light" panose="020B040202020302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8" name="Marcador de contenido 7">
            <a:extLst>
              <a:ext uri="{FF2B5EF4-FFF2-40B4-BE49-F238E27FC236}">
                <a16:creationId xmlns:a16="http://schemas.microsoft.com/office/drawing/2014/main" id="{13AB529C-75EE-867F-7F87-67F16E33B507}"/>
              </a:ext>
            </a:extLst>
          </p:cNvPr>
          <p:cNvSpPr>
            <a:spLocks noGrp="1"/>
          </p:cNvSpPr>
          <p:nvPr>
            <p:ph sz="quarter" idx="13"/>
          </p:nvPr>
        </p:nvSpPr>
        <p:spPr>
          <a:xfrm>
            <a:off x="666750" y="2828925"/>
            <a:ext cx="2160000" cy="2160000"/>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C2BDD11F-8EC6-BB2E-57A0-04F6ADD92F84}"/>
              </a:ext>
            </a:extLst>
          </p:cNvPr>
          <p:cNvSpPr>
            <a:spLocks noGrp="1"/>
          </p:cNvSpPr>
          <p:nvPr>
            <p:ph type="dt" sz="half" idx="14"/>
          </p:nvPr>
        </p:nvSpPr>
        <p:spPr/>
        <p:txBody>
          <a:bodyPr/>
          <a:lstStyle/>
          <a:p>
            <a:fld id="{EAA3DC4B-46F0-4C0E-AB18-FE7B2E1FE0BF}" type="datetime2">
              <a:rPr lang="es-ES" smtClean="0"/>
              <a:t>jueves, 19 de septiembre de 2024</a:t>
            </a:fld>
            <a:endParaRPr lang="es-ES" dirty="0"/>
          </a:p>
        </p:txBody>
      </p:sp>
      <p:sp>
        <p:nvSpPr>
          <p:cNvPr id="9" name="Marcador de pie de página 8">
            <a:extLst>
              <a:ext uri="{FF2B5EF4-FFF2-40B4-BE49-F238E27FC236}">
                <a16:creationId xmlns:a16="http://schemas.microsoft.com/office/drawing/2014/main" id="{87FF5090-80A9-DEC3-4A71-4D1FBB2F4168}"/>
              </a:ext>
            </a:extLst>
          </p:cNvPr>
          <p:cNvSpPr>
            <a:spLocks noGrp="1"/>
          </p:cNvSpPr>
          <p:nvPr>
            <p:ph type="ftr" sz="quarter" idx="15"/>
          </p:nvPr>
        </p:nvSpPr>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7A6910F6-9D1A-E377-6512-99ECF1BCE8D5}"/>
              </a:ext>
            </a:extLst>
          </p:cNvPr>
          <p:cNvSpPr>
            <a:spLocks noGrp="1"/>
          </p:cNvSpPr>
          <p:nvPr>
            <p:ph type="sldNum" sz="quarter" idx="16"/>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13326437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3_foto y tex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C0DCD10-76FB-4C42-A1FA-F648C8401327}"/>
              </a:ext>
            </a:extLst>
          </p:cNvPr>
          <p:cNvSpPr>
            <a:spLocks noGrp="1"/>
          </p:cNvSpPr>
          <p:nvPr>
            <p:ph type="title"/>
          </p:nvPr>
        </p:nvSpPr>
        <p:spPr/>
        <p:txBody>
          <a:bodyPr/>
          <a:lstStyle/>
          <a:p>
            <a:r>
              <a:rPr lang="es-ES"/>
              <a:t>Haga clic para modificar el estilo de título del patrón</a:t>
            </a:r>
            <a:endParaRPr lang="en-US"/>
          </a:p>
        </p:txBody>
      </p:sp>
      <p:sp>
        <p:nvSpPr>
          <p:cNvPr id="4" name="Marcador de fecha 3">
            <a:extLst>
              <a:ext uri="{FF2B5EF4-FFF2-40B4-BE49-F238E27FC236}">
                <a16:creationId xmlns:a16="http://schemas.microsoft.com/office/drawing/2014/main" id="{A27801C7-CE6C-40FF-9607-E42A69E2E35F}"/>
              </a:ext>
            </a:extLst>
          </p:cNvPr>
          <p:cNvSpPr>
            <a:spLocks noGrp="1"/>
          </p:cNvSpPr>
          <p:nvPr>
            <p:ph type="dt" sz="half" idx="14"/>
          </p:nvPr>
        </p:nvSpPr>
        <p:spPr/>
        <p:txBody>
          <a:bodyPr/>
          <a:lstStyle/>
          <a:p>
            <a:fld id="{9EA541FD-4F78-4E1D-B799-0BA5EACDA351}" type="datetime2">
              <a:rPr lang="es-ES" smtClean="0"/>
              <a:t>jueves, 19 de septiembre de 2024</a:t>
            </a:fld>
            <a:endParaRPr lang="es-ES" dirty="0"/>
          </a:p>
        </p:txBody>
      </p:sp>
      <p:sp>
        <p:nvSpPr>
          <p:cNvPr id="5" name="Marcador de pie de página 4">
            <a:extLst>
              <a:ext uri="{FF2B5EF4-FFF2-40B4-BE49-F238E27FC236}">
                <a16:creationId xmlns:a16="http://schemas.microsoft.com/office/drawing/2014/main" id="{B8DBC7F3-3239-49CA-9431-406925A1CCA8}"/>
              </a:ext>
            </a:extLst>
          </p:cNvPr>
          <p:cNvSpPr>
            <a:spLocks noGrp="1"/>
          </p:cNvSpPr>
          <p:nvPr>
            <p:ph type="ftr" sz="quarter" idx="15"/>
          </p:nvPr>
        </p:nvSpPr>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49EC98F-7B1E-468D-9D16-4EC9A6244AD9}"/>
              </a:ext>
            </a:extLst>
          </p:cNvPr>
          <p:cNvSpPr>
            <a:spLocks noGrp="1"/>
          </p:cNvSpPr>
          <p:nvPr>
            <p:ph type="sldNum" sz="quarter" idx="16"/>
          </p:nvPr>
        </p:nvSpPr>
        <p:spPr/>
        <p:txBody>
          <a:bodyPr/>
          <a:lstStyle/>
          <a:p>
            <a:fld id="{8BFA4586-CFD5-4769-AD5F-3AEEFF608C71}" type="slidenum">
              <a:rPr lang="es-ES" smtClean="0"/>
              <a:t>‹Nº›</a:t>
            </a:fld>
            <a:endParaRPr lang="es-ES" dirty="0"/>
          </a:p>
        </p:txBody>
      </p:sp>
      <p:sp>
        <p:nvSpPr>
          <p:cNvPr id="8" name="Marcador de posición de imagen 7">
            <a:extLst>
              <a:ext uri="{FF2B5EF4-FFF2-40B4-BE49-F238E27FC236}">
                <a16:creationId xmlns:a16="http://schemas.microsoft.com/office/drawing/2014/main" id="{036847DA-5F3E-4B63-A51E-3C8706A5A787}"/>
              </a:ext>
            </a:extLst>
          </p:cNvPr>
          <p:cNvSpPr>
            <a:spLocks noGrp="1" noChangeAspect="1"/>
          </p:cNvSpPr>
          <p:nvPr>
            <p:ph type="pic" sz="quarter" idx="17"/>
          </p:nvPr>
        </p:nvSpPr>
        <p:spPr>
          <a:xfrm>
            <a:off x="832485" y="2539365"/>
            <a:ext cx="1800000" cy="1800000"/>
          </a:xfrm>
        </p:spPr>
        <p:txBody>
          <a:bodyPr/>
          <a:lstStyle/>
          <a:p>
            <a:r>
              <a:rPr lang="es-ES" dirty="0"/>
              <a:t>Haga clic en el icono para agregar una imagen</a:t>
            </a:r>
          </a:p>
        </p:txBody>
      </p:sp>
      <p:sp>
        <p:nvSpPr>
          <p:cNvPr id="9" name="Marcador de contenido 8">
            <a:extLst>
              <a:ext uri="{FF2B5EF4-FFF2-40B4-BE49-F238E27FC236}">
                <a16:creationId xmlns:a16="http://schemas.microsoft.com/office/drawing/2014/main" id="{2F69FDA6-8C63-CB15-3A03-922B9593BC0D}"/>
              </a:ext>
            </a:extLst>
          </p:cNvPr>
          <p:cNvSpPr>
            <a:spLocks noGrp="1"/>
          </p:cNvSpPr>
          <p:nvPr>
            <p:ph sz="quarter" idx="18"/>
          </p:nvPr>
        </p:nvSpPr>
        <p:spPr>
          <a:xfrm>
            <a:off x="2865438" y="1800226"/>
            <a:ext cx="8666162" cy="3867150"/>
          </a:xfrm>
        </p:spPr>
        <p:txBody>
          <a:bodyPr anchor="ct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80470952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44_Title Slide">
    <p:spTree>
      <p:nvGrpSpPr>
        <p:cNvPr id="1" name=""/>
        <p:cNvGrpSpPr/>
        <p:nvPr/>
      </p:nvGrpSpPr>
      <p:grpSpPr>
        <a:xfrm>
          <a:off x="0" y="0"/>
          <a:ext cx="0" cy="0"/>
          <a:chOff x="0" y="0"/>
          <a:chExt cx="0" cy="0"/>
        </a:xfrm>
      </p:grpSpPr>
      <p:sp>
        <p:nvSpPr>
          <p:cNvPr id="9" name="Title 13"/>
          <p:cNvSpPr>
            <a:spLocks noGrp="1"/>
          </p:cNvSpPr>
          <p:nvPr>
            <p:ph type="title"/>
          </p:nvPr>
        </p:nvSpPr>
        <p:spPr>
          <a:xfrm>
            <a:off x="341194" y="3814618"/>
            <a:ext cx="4932769" cy="187659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b">
            <a:normAutofit/>
          </a:bodyPr>
          <a:lstStyle>
            <a:lvl1pPr algn="ctr">
              <a:defRPr lang="en-US" b="1" dirty="0"/>
            </a:lvl1pPr>
          </a:lstStyle>
          <a:p>
            <a:pPr lvl="0"/>
            <a:r>
              <a:rPr lang="es-ES"/>
              <a:t>Haga clic para modificar el estilo de título del patrón</a:t>
            </a:r>
            <a:endParaRPr lang="en-US"/>
          </a:p>
        </p:txBody>
      </p:sp>
      <p:sp>
        <p:nvSpPr>
          <p:cNvPr id="2" name="Marcador de fecha 1">
            <a:extLst>
              <a:ext uri="{FF2B5EF4-FFF2-40B4-BE49-F238E27FC236}">
                <a16:creationId xmlns:a16="http://schemas.microsoft.com/office/drawing/2014/main" id="{827052F6-95FC-24B4-EC86-FC17A93D29E2}"/>
              </a:ext>
            </a:extLst>
          </p:cNvPr>
          <p:cNvSpPr>
            <a:spLocks noGrp="1"/>
          </p:cNvSpPr>
          <p:nvPr>
            <p:ph type="dt" sz="half" idx="10"/>
          </p:nvPr>
        </p:nvSpPr>
        <p:spPr/>
        <p:txBody>
          <a:bodyPr/>
          <a:lstStyle/>
          <a:p>
            <a:fld id="{EAA3DC4B-46F0-4C0E-AB18-FE7B2E1FE0BF}" type="datetime2">
              <a:rPr lang="es-ES" smtClean="0"/>
              <a:t>jueves, 19 de septiembre de 2024</a:t>
            </a:fld>
            <a:endParaRPr lang="es-ES" dirty="0"/>
          </a:p>
        </p:txBody>
      </p:sp>
      <p:sp>
        <p:nvSpPr>
          <p:cNvPr id="6" name="Marcador de pie de página 5">
            <a:extLst>
              <a:ext uri="{FF2B5EF4-FFF2-40B4-BE49-F238E27FC236}">
                <a16:creationId xmlns:a16="http://schemas.microsoft.com/office/drawing/2014/main" id="{57A5463D-6E03-B970-0F38-F4D86E6D918F}"/>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80A8DD27-0D73-5795-5C2F-0C0F24DD3B49}"/>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9113375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5_Title Slide">
    <p:spTree>
      <p:nvGrpSpPr>
        <p:cNvPr id="1" name=""/>
        <p:cNvGrpSpPr/>
        <p:nvPr/>
      </p:nvGrpSpPr>
      <p:grpSpPr>
        <a:xfrm>
          <a:off x="0" y="0"/>
          <a:ext cx="0" cy="0"/>
          <a:chOff x="0" y="0"/>
          <a:chExt cx="0" cy="0"/>
        </a:xfrm>
      </p:grpSpPr>
      <p:sp>
        <p:nvSpPr>
          <p:cNvPr id="9" name="Title 13"/>
          <p:cNvSpPr>
            <a:spLocks noGrp="1"/>
          </p:cNvSpPr>
          <p:nvPr>
            <p:ph type="title"/>
          </p:nvPr>
        </p:nvSpPr>
        <p:spPr>
          <a:xfrm>
            <a:off x="341194" y="3814618"/>
            <a:ext cx="4932769" cy="187659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b">
            <a:normAutofit/>
          </a:bodyPr>
          <a:lstStyle>
            <a:lvl1pPr algn="ctr">
              <a:defRPr lang="en-US" b="1" dirty="0"/>
            </a:lvl1pPr>
          </a:lstStyle>
          <a:p>
            <a:pPr lvl="0"/>
            <a:r>
              <a:rPr lang="es-ES"/>
              <a:t>Haga clic para modificar el estilo de título del patrón</a:t>
            </a:r>
            <a:endParaRPr lang="en-US"/>
          </a:p>
        </p:txBody>
      </p:sp>
      <p:sp>
        <p:nvSpPr>
          <p:cNvPr id="6" name="Marcador de posición de imagen 5">
            <a:extLst>
              <a:ext uri="{FF2B5EF4-FFF2-40B4-BE49-F238E27FC236}">
                <a16:creationId xmlns:a16="http://schemas.microsoft.com/office/drawing/2014/main" id="{9AC1E6FE-7BA5-E91F-ECB6-155820B271C3}"/>
              </a:ext>
            </a:extLst>
          </p:cNvPr>
          <p:cNvSpPr>
            <a:spLocks noGrp="1"/>
          </p:cNvSpPr>
          <p:nvPr>
            <p:ph type="pic" sz="quarter" idx="13"/>
          </p:nvPr>
        </p:nvSpPr>
        <p:spPr>
          <a:xfrm>
            <a:off x="340906" y="903288"/>
            <a:ext cx="4932769" cy="2759075"/>
          </a:xfrm>
        </p:spPr>
        <p:txBody>
          <a:bodyPr anchor="b"/>
          <a:lstStyle>
            <a:lvl1pPr algn="ctr">
              <a:defRPr/>
            </a:lvl1pPr>
          </a:lstStyle>
          <a:p>
            <a:r>
              <a:rPr lang="es-ES" dirty="0"/>
              <a:t>Haga clic en el icono para agregar una imagen</a:t>
            </a:r>
          </a:p>
        </p:txBody>
      </p:sp>
      <p:sp>
        <p:nvSpPr>
          <p:cNvPr id="2" name="Marcador de fecha 1">
            <a:extLst>
              <a:ext uri="{FF2B5EF4-FFF2-40B4-BE49-F238E27FC236}">
                <a16:creationId xmlns:a16="http://schemas.microsoft.com/office/drawing/2014/main" id="{B6551922-C99A-043C-AE65-871F4F8DAC34}"/>
              </a:ext>
            </a:extLst>
          </p:cNvPr>
          <p:cNvSpPr>
            <a:spLocks noGrp="1"/>
          </p:cNvSpPr>
          <p:nvPr>
            <p:ph type="dt" sz="half" idx="14"/>
          </p:nvPr>
        </p:nvSpPr>
        <p:spPr/>
        <p:txBody>
          <a:bodyPr/>
          <a:lstStyle/>
          <a:p>
            <a:fld id="{EAA3DC4B-46F0-4C0E-AB18-FE7B2E1FE0BF}" type="datetime2">
              <a:rPr lang="es-ES" smtClean="0"/>
              <a:t>jueves, 19 de septiembre de 2024</a:t>
            </a:fld>
            <a:endParaRPr lang="es-ES" dirty="0"/>
          </a:p>
        </p:txBody>
      </p:sp>
      <p:sp>
        <p:nvSpPr>
          <p:cNvPr id="7" name="Marcador de pie de página 6">
            <a:extLst>
              <a:ext uri="{FF2B5EF4-FFF2-40B4-BE49-F238E27FC236}">
                <a16:creationId xmlns:a16="http://schemas.microsoft.com/office/drawing/2014/main" id="{4910C3B3-3424-CCE0-D856-A3C080BABDBA}"/>
              </a:ext>
            </a:extLst>
          </p:cNvPr>
          <p:cNvSpPr>
            <a:spLocks noGrp="1"/>
          </p:cNvSpPr>
          <p:nvPr>
            <p:ph type="ftr" sz="quarter" idx="15"/>
          </p:nvPr>
        </p:nvSpPr>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108A85EB-B4F8-5CC8-7BF2-2495EA55E496}"/>
              </a:ext>
            </a:extLst>
          </p:cNvPr>
          <p:cNvSpPr>
            <a:spLocks noGrp="1"/>
          </p:cNvSpPr>
          <p:nvPr>
            <p:ph type="sldNum" sz="quarter" idx="16"/>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2134764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38594B-1267-0EF1-4908-AA5E75DBE661}"/>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3C289CF5-8790-70AF-A7DC-760ADF4A4A3E}"/>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10" name="Marcador de fecha 9">
            <a:extLst>
              <a:ext uri="{FF2B5EF4-FFF2-40B4-BE49-F238E27FC236}">
                <a16:creationId xmlns:a16="http://schemas.microsoft.com/office/drawing/2014/main" id="{203A3AF9-CC6E-E76F-DF68-662ADF08F6D4}"/>
              </a:ext>
            </a:extLst>
          </p:cNvPr>
          <p:cNvSpPr>
            <a:spLocks noGrp="1"/>
          </p:cNvSpPr>
          <p:nvPr>
            <p:ph type="dt" sz="half" idx="10"/>
          </p:nvPr>
        </p:nvSpPr>
        <p:spPr/>
        <p:txBody>
          <a:bodyPr/>
          <a:lstStyle/>
          <a:p>
            <a:fld id="{CC3EA295-608D-48EA-A330-4B7D87E996CD}" type="datetime2">
              <a:rPr lang="es-ES" smtClean="0"/>
              <a:t>jueves, 19 de septiembre de 2024</a:t>
            </a:fld>
            <a:endParaRPr lang="es-ES" dirty="0"/>
          </a:p>
        </p:txBody>
      </p:sp>
      <p:sp>
        <p:nvSpPr>
          <p:cNvPr id="11" name="Marcador de pie de página 10">
            <a:extLst>
              <a:ext uri="{FF2B5EF4-FFF2-40B4-BE49-F238E27FC236}">
                <a16:creationId xmlns:a16="http://schemas.microsoft.com/office/drawing/2014/main" id="{26E098B9-42BD-3409-FC5C-8100D4DE1524}"/>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12" name="Marcador de número de diapositiva 11">
            <a:extLst>
              <a:ext uri="{FF2B5EF4-FFF2-40B4-BE49-F238E27FC236}">
                <a16:creationId xmlns:a16="http://schemas.microsoft.com/office/drawing/2014/main" id="{E4CA1488-10E7-A6BE-1BBD-0C7F3B0068D9}"/>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3380809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CAC895-392F-31BD-75BF-5688F86A1996}"/>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BAF101D6-2DD5-1C2B-830A-6313BD261884}"/>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8B24CA92-D855-27CE-EC5E-C4EFCED0C361}"/>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D062DB06-E67E-5ED7-F1C7-4850E6EA8ECC}"/>
              </a:ext>
            </a:extLst>
          </p:cNvPr>
          <p:cNvSpPr>
            <a:spLocks noGrp="1"/>
          </p:cNvSpPr>
          <p:nvPr>
            <p:ph type="dt" sz="half" idx="10"/>
          </p:nvPr>
        </p:nvSpPr>
        <p:spPr/>
        <p:txBody>
          <a:bodyPr/>
          <a:lstStyle/>
          <a:p>
            <a:fld id="{8BE893D3-3F05-42E4-9B97-FCEB2C369739}" type="datetime2">
              <a:rPr lang="es-ES" smtClean="0"/>
              <a:t>jueves, 19 de septiembre de 2024</a:t>
            </a:fld>
            <a:endParaRPr lang="es-ES" dirty="0"/>
          </a:p>
        </p:txBody>
      </p:sp>
      <p:sp>
        <p:nvSpPr>
          <p:cNvPr id="6" name="Marcador de pie de página 5">
            <a:extLst>
              <a:ext uri="{FF2B5EF4-FFF2-40B4-BE49-F238E27FC236}">
                <a16:creationId xmlns:a16="http://schemas.microsoft.com/office/drawing/2014/main" id="{C2AF0F85-D31A-014D-1AAD-2954D6793D3B}"/>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918D7B2F-83FB-0E4C-FD1B-40FC9B75B106}"/>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36201721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ación">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1F250906-92AD-DAB7-7BDE-2AE23532DFF1}"/>
              </a:ext>
            </a:extLst>
          </p:cNvPr>
          <p:cNvSpPr>
            <a:spLocks noGrp="1"/>
          </p:cNvSpPr>
          <p:nvPr>
            <p:ph type="body" idx="1"/>
          </p:nvPr>
        </p:nvSpPr>
        <p:spPr>
          <a:xfrm>
            <a:off x="839788" y="1623758"/>
            <a:ext cx="5157787" cy="800356"/>
          </a:xfrm>
          <a:solidFill>
            <a:schemeClr val="accent1">
              <a:lumMod val="20000"/>
              <a:lumOff val="80000"/>
            </a:schemeClr>
          </a:solidFill>
        </p:spPr>
        <p:txBody>
          <a:bodyPr anchor="b"/>
          <a:lstStyle>
            <a:lvl1pPr marL="0" indent="0" algn="ctr">
              <a:buNone/>
              <a:defRPr sz="2400" b="1">
                <a:solidFill>
                  <a:schemeClr val="tx1"/>
                </a:solidFill>
                <a:latin typeface="Avenir Next LT Pro Dem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10012897-C625-E631-9664-28FDF83FF2A1}"/>
              </a:ext>
            </a:extLst>
          </p:cNvPr>
          <p:cNvSpPr>
            <a:spLocks noGrp="1"/>
          </p:cNvSpPr>
          <p:nvPr>
            <p:ph sz="half" idx="2"/>
          </p:nvPr>
        </p:nvSpPr>
        <p:spPr>
          <a:xfrm>
            <a:off x="839788" y="2500314"/>
            <a:ext cx="5157787" cy="3713956"/>
          </a:xfrm>
        </p:spPr>
        <p:txBody>
          <a:bodyPr>
            <a:normAutofit/>
          </a:bodyPr>
          <a:lstStyle>
            <a:lvl1pPr>
              <a:defRPr sz="2000"/>
            </a:lvl1pPr>
            <a:lvl2pPr>
              <a:defRPr sz="1800"/>
            </a:lvl2pPr>
            <a:lvl3pPr>
              <a:defRPr sz="1600"/>
            </a:lvl3pPr>
            <a:lvl4pPr>
              <a:defRPr sz="1400"/>
            </a:lvl4pPr>
            <a:lvl5pPr>
              <a:defRPr sz="1400"/>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Marcador de texto 4">
            <a:extLst>
              <a:ext uri="{FF2B5EF4-FFF2-40B4-BE49-F238E27FC236}">
                <a16:creationId xmlns:a16="http://schemas.microsoft.com/office/drawing/2014/main" id="{F38A264F-DF64-7F08-F8E7-24B1D694D35F}"/>
              </a:ext>
            </a:extLst>
          </p:cNvPr>
          <p:cNvSpPr>
            <a:spLocks noGrp="1"/>
          </p:cNvSpPr>
          <p:nvPr>
            <p:ph type="body" sz="quarter" idx="3"/>
          </p:nvPr>
        </p:nvSpPr>
        <p:spPr>
          <a:xfrm>
            <a:off x="6172200" y="1623758"/>
            <a:ext cx="5183188" cy="800356"/>
          </a:xfrm>
          <a:solidFill>
            <a:schemeClr val="accent1">
              <a:lumMod val="20000"/>
              <a:lumOff val="80000"/>
            </a:schemeClr>
          </a:solidFill>
        </p:spPr>
        <p:txBody>
          <a:bodyPr anchor="b"/>
          <a:lstStyle>
            <a:lvl1pPr marL="0" indent="0" algn="ctr">
              <a:buNone/>
              <a:defRPr sz="2400" b="1">
                <a:solidFill>
                  <a:schemeClr val="tx1"/>
                </a:solidFill>
                <a:latin typeface="Avenir Next LT Pro Dem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9AE49BC-31D0-447F-17DE-795263A90706}"/>
              </a:ext>
            </a:extLst>
          </p:cNvPr>
          <p:cNvSpPr>
            <a:spLocks noGrp="1"/>
          </p:cNvSpPr>
          <p:nvPr>
            <p:ph sz="quarter" idx="4"/>
          </p:nvPr>
        </p:nvSpPr>
        <p:spPr>
          <a:xfrm>
            <a:off x="6172200" y="2500314"/>
            <a:ext cx="5183188" cy="3713956"/>
          </a:xfrm>
        </p:spPr>
        <p:txBody>
          <a:bodyPr/>
          <a:lstStyle>
            <a:lvl1pPr>
              <a:defRPr sz="2000"/>
            </a:lvl1pPr>
            <a:lvl2pPr>
              <a:defRPr sz="1800"/>
            </a:lvl2pPr>
            <a:lvl3pPr>
              <a:defRPr sz="1600"/>
            </a:lvl3pPr>
            <a:lvl4pPr>
              <a:defRPr sz="1400"/>
            </a:lvl4pPr>
            <a:lvl5pPr>
              <a:defRPr sz="1400"/>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7" name="Marcador de fecha 6">
            <a:extLst>
              <a:ext uri="{FF2B5EF4-FFF2-40B4-BE49-F238E27FC236}">
                <a16:creationId xmlns:a16="http://schemas.microsoft.com/office/drawing/2014/main" id="{3FC1A41B-0084-B309-F1D5-F993F4DB85C0}"/>
              </a:ext>
            </a:extLst>
          </p:cNvPr>
          <p:cNvSpPr>
            <a:spLocks noGrp="1"/>
          </p:cNvSpPr>
          <p:nvPr>
            <p:ph type="dt" sz="half" idx="10"/>
          </p:nvPr>
        </p:nvSpPr>
        <p:spPr/>
        <p:txBody>
          <a:bodyPr/>
          <a:lstStyle/>
          <a:p>
            <a:fld id="{EDDE0A68-2960-41F3-A9AF-BEEDA5DD32E0}" type="datetime2">
              <a:rPr lang="es-ES" smtClean="0"/>
              <a:t>jueves, 19 de septiembre de 2024</a:t>
            </a:fld>
            <a:endParaRPr lang="es-ES" dirty="0"/>
          </a:p>
        </p:txBody>
      </p:sp>
      <p:sp>
        <p:nvSpPr>
          <p:cNvPr id="8" name="Marcador de pie de página 7">
            <a:extLst>
              <a:ext uri="{FF2B5EF4-FFF2-40B4-BE49-F238E27FC236}">
                <a16:creationId xmlns:a16="http://schemas.microsoft.com/office/drawing/2014/main" id="{66F5EA57-2F9D-1AF9-71DC-7821389C2340}"/>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9" name="Marcador de número de diapositiva 8">
            <a:extLst>
              <a:ext uri="{FF2B5EF4-FFF2-40B4-BE49-F238E27FC236}">
                <a16:creationId xmlns:a16="http://schemas.microsoft.com/office/drawing/2014/main" id="{567CAB98-F1D9-A641-4B87-5A50E2CD6CB4}"/>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cxnSp>
        <p:nvCxnSpPr>
          <p:cNvPr id="10" name="Conector recto 9">
            <a:extLst>
              <a:ext uri="{FF2B5EF4-FFF2-40B4-BE49-F238E27FC236}">
                <a16:creationId xmlns:a16="http://schemas.microsoft.com/office/drawing/2014/main" id="{9DC7D9D5-AC7E-E7BE-8B24-8177AF426F80}"/>
              </a:ext>
            </a:extLst>
          </p:cNvPr>
          <p:cNvCxnSpPr/>
          <p:nvPr/>
        </p:nvCxnSpPr>
        <p:spPr>
          <a:xfrm>
            <a:off x="839788" y="2438115"/>
            <a:ext cx="5148000" cy="0"/>
          </a:xfrm>
          <a:prstGeom prst="line">
            <a:avLst/>
          </a:prstGeom>
          <a:ln w="28575">
            <a:solidFill>
              <a:srgbClr val="3333FF"/>
            </a:solidFill>
          </a:ln>
        </p:spPr>
        <p:style>
          <a:lnRef idx="1">
            <a:schemeClr val="accent2"/>
          </a:lnRef>
          <a:fillRef idx="0">
            <a:schemeClr val="accent2"/>
          </a:fillRef>
          <a:effectRef idx="0">
            <a:schemeClr val="accent2"/>
          </a:effectRef>
          <a:fontRef idx="minor">
            <a:schemeClr val="tx1"/>
          </a:fontRef>
        </p:style>
      </p:cxnSp>
      <p:cxnSp>
        <p:nvCxnSpPr>
          <p:cNvPr id="11" name="Conector recto 10">
            <a:extLst>
              <a:ext uri="{FF2B5EF4-FFF2-40B4-BE49-F238E27FC236}">
                <a16:creationId xmlns:a16="http://schemas.microsoft.com/office/drawing/2014/main" id="{EB3F20E8-AEAF-7E4D-BE50-C7BDAC4CA54C}"/>
              </a:ext>
            </a:extLst>
          </p:cNvPr>
          <p:cNvCxnSpPr/>
          <p:nvPr/>
        </p:nvCxnSpPr>
        <p:spPr>
          <a:xfrm>
            <a:off x="6172200" y="2443028"/>
            <a:ext cx="5148000" cy="0"/>
          </a:xfrm>
          <a:prstGeom prst="line">
            <a:avLst/>
          </a:prstGeom>
          <a:ln w="28575">
            <a:solidFill>
              <a:srgbClr val="3333FF"/>
            </a:solidFill>
          </a:ln>
        </p:spPr>
        <p:style>
          <a:lnRef idx="1">
            <a:schemeClr val="accent2"/>
          </a:lnRef>
          <a:fillRef idx="0">
            <a:schemeClr val="accent2"/>
          </a:fillRef>
          <a:effectRef idx="0">
            <a:schemeClr val="accent2"/>
          </a:effectRef>
          <a:fontRef idx="minor">
            <a:schemeClr val="tx1"/>
          </a:fontRef>
        </p:style>
      </p:cxnSp>
      <p:sp>
        <p:nvSpPr>
          <p:cNvPr id="12" name="Título 11">
            <a:extLst>
              <a:ext uri="{FF2B5EF4-FFF2-40B4-BE49-F238E27FC236}">
                <a16:creationId xmlns:a16="http://schemas.microsoft.com/office/drawing/2014/main" id="{D6FDB546-8E81-B94D-4F41-C5E86F182CFB}"/>
              </a:ext>
            </a:extLst>
          </p:cNvPr>
          <p:cNvSpPr>
            <a:spLocks noGrp="1"/>
          </p:cNvSpPr>
          <p:nvPr>
            <p:ph type="title"/>
          </p:nvPr>
        </p:nvSpPr>
        <p:spPr/>
        <p:txBody>
          <a:bodyPr/>
          <a:lstStyle/>
          <a:p>
            <a:r>
              <a:rPr lang="es-ES"/>
              <a:t>Haga clic para modificar el estilo de título del patrón</a:t>
            </a:r>
            <a:endParaRPr lang="es-ES" dirty="0"/>
          </a:p>
        </p:txBody>
      </p:sp>
      <p:cxnSp>
        <p:nvCxnSpPr>
          <p:cNvPr id="2" name="Conector recto 1">
            <a:extLst>
              <a:ext uri="{FF2B5EF4-FFF2-40B4-BE49-F238E27FC236}">
                <a16:creationId xmlns:a16="http://schemas.microsoft.com/office/drawing/2014/main" id="{C5BFB29C-1994-9540-E7F2-0BC6E1FF6B57}"/>
              </a:ext>
            </a:extLst>
          </p:cNvPr>
          <p:cNvCxnSpPr/>
          <p:nvPr userDrawn="1"/>
        </p:nvCxnSpPr>
        <p:spPr>
          <a:xfrm>
            <a:off x="839788" y="2332818"/>
            <a:ext cx="5148000" cy="0"/>
          </a:xfrm>
          <a:prstGeom prst="line">
            <a:avLst/>
          </a:prstGeom>
          <a:ln w="28575">
            <a:solidFill>
              <a:schemeClr val="tx1"/>
            </a:solidFill>
          </a:ln>
        </p:spPr>
        <p:style>
          <a:lnRef idx="1">
            <a:schemeClr val="accent2"/>
          </a:lnRef>
          <a:fillRef idx="0">
            <a:schemeClr val="accent2"/>
          </a:fillRef>
          <a:effectRef idx="0">
            <a:schemeClr val="accent2"/>
          </a:effectRef>
          <a:fontRef idx="minor">
            <a:schemeClr val="tx1"/>
          </a:fontRef>
        </p:style>
      </p:cxnSp>
      <p:cxnSp>
        <p:nvCxnSpPr>
          <p:cNvPr id="13" name="Conector recto 12">
            <a:extLst>
              <a:ext uri="{FF2B5EF4-FFF2-40B4-BE49-F238E27FC236}">
                <a16:creationId xmlns:a16="http://schemas.microsoft.com/office/drawing/2014/main" id="{659CA295-58E6-3973-D43D-20FC7504F1FA}"/>
              </a:ext>
            </a:extLst>
          </p:cNvPr>
          <p:cNvCxnSpPr/>
          <p:nvPr userDrawn="1"/>
        </p:nvCxnSpPr>
        <p:spPr>
          <a:xfrm>
            <a:off x="6172200" y="2337731"/>
            <a:ext cx="5148000" cy="0"/>
          </a:xfrm>
          <a:prstGeom prst="line">
            <a:avLst/>
          </a:prstGeom>
          <a:ln w="28575">
            <a:solidFill>
              <a:schemeClr val="tx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6382038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foto y tex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BA0C89C-FEAA-47B1-AAA4-572A4FEB4BCA}"/>
              </a:ext>
            </a:extLst>
          </p:cNvPr>
          <p:cNvSpPr>
            <a:spLocks noGrp="1"/>
          </p:cNvSpPr>
          <p:nvPr>
            <p:ph type="title"/>
          </p:nvPr>
        </p:nvSpPr>
        <p:spPr/>
        <p:txBody>
          <a:bodyPr/>
          <a:lstStyle/>
          <a:p>
            <a:r>
              <a:rPr lang="es-ES"/>
              <a:t>Haga clic para modificar el estilo de título del patrón</a:t>
            </a:r>
          </a:p>
        </p:txBody>
      </p:sp>
      <p:sp>
        <p:nvSpPr>
          <p:cNvPr id="9" name="Marcador de posición de imagen 8">
            <a:extLst>
              <a:ext uri="{FF2B5EF4-FFF2-40B4-BE49-F238E27FC236}">
                <a16:creationId xmlns:a16="http://schemas.microsoft.com/office/drawing/2014/main" id="{7CA123F5-EF07-416B-B185-887274E8B5A9}"/>
              </a:ext>
            </a:extLst>
          </p:cNvPr>
          <p:cNvSpPr>
            <a:spLocks noGrp="1" noChangeAspect="1"/>
          </p:cNvSpPr>
          <p:nvPr>
            <p:ph type="pic" sz="quarter" idx="13"/>
          </p:nvPr>
        </p:nvSpPr>
        <p:spPr>
          <a:xfrm>
            <a:off x="728662" y="2533649"/>
            <a:ext cx="2736000" cy="2736000"/>
          </a:xfrm>
        </p:spPr>
        <p:txBody>
          <a:bodyPr anchor="ctr"/>
          <a:lstStyle/>
          <a:p>
            <a:r>
              <a:rPr lang="es-ES" dirty="0"/>
              <a:t>Haga clic en el icono para agregar una imagen</a:t>
            </a:r>
          </a:p>
        </p:txBody>
      </p:sp>
      <p:sp>
        <p:nvSpPr>
          <p:cNvPr id="4" name="Marcador de contenido 3">
            <a:extLst>
              <a:ext uri="{FF2B5EF4-FFF2-40B4-BE49-F238E27FC236}">
                <a16:creationId xmlns:a16="http://schemas.microsoft.com/office/drawing/2014/main" id="{B8A9D345-4E8A-7D89-8FEC-65E2DA98CD01}"/>
              </a:ext>
            </a:extLst>
          </p:cNvPr>
          <p:cNvSpPr>
            <a:spLocks noGrp="1"/>
          </p:cNvSpPr>
          <p:nvPr>
            <p:ph sz="quarter" idx="14"/>
          </p:nvPr>
        </p:nvSpPr>
        <p:spPr>
          <a:xfrm>
            <a:off x="3533775" y="1657350"/>
            <a:ext cx="7843838" cy="4457700"/>
          </a:xfrm>
        </p:spPr>
        <p:txBody>
          <a:bodyPr anchor="ct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Marcador de fecha 2">
            <a:extLst>
              <a:ext uri="{FF2B5EF4-FFF2-40B4-BE49-F238E27FC236}">
                <a16:creationId xmlns:a16="http://schemas.microsoft.com/office/drawing/2014/main" id="{63EDDA03-D47A-50CC-ABE2-A97013EBF61C}"/>
              </a:ext>
            </a:extLst>
          </p:cNvPr>
          <p:cNvSpPr>
            <a:spLocks noGrp="1"/>
          </p:cNvSpPr>
          <p:nvPr>
            <p:ph type="dt" sz="half" idx="15"/>
          </p:nvPr>
        </p:nvSpPr>
        <p:spPr/>
        <p:txBody>
          <a:bodyPr/>
          <a:lstStyle/>
          <a:p>
            <a:fld id="{685F5149-EA5B-482B-9590-8275652DCC42}" type="datetime2">
              <a:rPr lang="es-ES" smtClean="0"/>
              <a:t>jueves, 19 de septiembre de 2024</a:t>
            </a:fld>
            <a:endParaRPr lang="es-ES" dirty="0"/>
          </a:p>
        </p:txBody>
      </p:sp>
      <p:sp>
        <p:nvSpPr>
          <p:cNvPr id="8" name="Marcador de pie de página 7">
            <a:extLst>
              <a:ext uri="{FF2B5EF4-FFF2-40B4-BE49-F238E27FC236}">
                <a16:creationId xmlns:a16="http://schemas.microsoft.com/office/drawing/2014/main" id="{2F5EE37D-07C6-7319-6721-14D754E649A6}"/>
              </a:ext>
            </a:extLst>
          </p:cNvPr>
          <p:cNvSpPr>
            <a:spLocks noGrp="1"/>
          </p:cNvSpPr>
          <p:nvPr>
            <p:ph type="ftr" sz="quarter" idx="16"/>
          </p:nvPr>
        </p:nvSpPr>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DD7916DC-A18C-AD2F-5138-54788F0C9BDC}"/>
              </a:ext>
            </a:extLst>
          </p:cNvPr>
          <p:cNvSpPr>
            <a:spLocks noGrp="1"/>
          </p:cNvSpPr>
          <p:nvPr>
            <p:ph type="sldNum" sz="quarter" idx="17"/>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37079225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BA3E46B-9D13-CC68-A352-363B089A132A}"/>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72B8FDD6-AC50-90C3-BFAE-6FC804DC9EC0}"/>
              </a:ext>
            </a:extLst>
          </p:cNvPr>
          <p:cNvSpPr>
            <a:spLocks noGrp="1"/>
          </p:cNvSpPr>
          <p:nvPr>
            <p:ph type="dt" sz="half" idx="10"/>
          </p:nvPr>
        </p:nvSpPr>
        <p:spPr/>
        <p:txBody>
          <a:bodyPr/>
          <a:lstStyle/>
          <a:p>
            <a:fld id="{66837ADD-3ECE-4722-BE14-D9C4BB2CA290}" type="datetime2">
              <a:rPr lang="es-ES" smtClean="0"/>
              <a:t>jueves, 19 de septiembre de 2024</a:t>
            </a:fld>
            <a:endParaRPr lang="es-ES" dirty="0"/>
          </a:p>
        </p:txBody>
      </p:sp>
      <p:sp>
        <p:nvSpPr>
          <p:cNvPr id="4" name="Marcador de pie de página 3">
            <a:extLst>
              <a:ext uri="{FF2B5EF4-FFF2-40B4-BE49-F238E27FC236}">
                <a16:creationId xmlns:a16="http://schemas.microsoft.com/office/drawing/2014/main" id="{AB8984B6-8716-4299-BF51-0FAFD690E1AF}"/>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CFED936-2C55-F898-57D9-1B93F1B855A6}"/>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3512992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50D483E5-175C-7186-199A-541CFC09961D}"/>
              </a:ext>
            </a:extLst>
          </p:cNvPr>
          <p:cNvSpPr>
            <a:spLocks noGrp="1"/>
          </p:cNvSpPr>
          <p:nvPr>
            <p:ph type="dt" sz="half" idx="10"/>
          </p:nvPr>
        </p:nvSpPr>
        <p:spPr/>
        <p:txBody>
          <a:bodyPr/>
          <a:lstStyle/>
          <a:p>
            <a:fld id="{B2A2E5C6-1FA4-4EF1-A36F-D0BD4F18A807}" type="datetime2">
              <a:rPr lang="es-ES" smtClean="0"/>
              <a:t>jueves, 19 de septiembre de 2024</a:t>
            </a:fld>
            <a:endParaRPr lang="es-ES" dirty="0"/>
          </a:p>
        </p:txBody>
      </p:sp>
      <p:sp>
        <p:nvSpPr>
          <p:cNvPr id="3" name="Marcador de pie de página 2">
            <a:extLst>
              <a:ext uri="{FF2B5EF4-FFF2-40B4-BE49-F238E27FC236}">
                <a16:creationId xmlns:a16="http://schemas.microsoft.com/office/drawing/2014/main" id="{2632428B-0FC4-E0C6-EF56-05B4BD61D5BD}"/>
              </a:ext>
            </a:extLst>
          </p:cNvPr>
          <p:cNvSpPr>
            <a:spLocks noGrp="1"/>
          </p:cNvSpPr>
          <p:nvPr>
            <p:ph type="ftr" sz="quarter" idx="11"/>
          </p:nvPr>
        </p:nvSpPr>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8FA7E640-F421-5C66-2469-EDD4D38AA0E5}"/>
              </a:ext>
            </a:extLst>
          </p:cNvPr>
          <p:cNvSpPr>
            <a:spLocks noGrp="1"/>
          </p:cNvSpPr>
          <p:nvPr>
            <p:ph type="sldNum" sz="quarter" idx="12"/>
          </p:nvPr>
        </p:nvSpPr>
        <p:spPr/>
        <p:txBody>
          <a:bodyPr/>
          <a:lstStyle/>
          <a:p>
            <a:fld id="{55440F6C-613C-488D-819E-DA6065366E0E}" type="slidenum">
              <a:rPr lang="es-ES" smtClean="0"/>
              <a:pPr/>
              <a:t>‹Nº›</a:t>
            </a:fld>
            <a:endParaRPr lang="es-ES" dirty="0"/>
          </a:p>
        </p:txBody>
      </p:sp>
    </p:spTree>
    <p:extLst>
      <p:ext uri="{BB962C8B-B14F-4D97-AF65-F5344CB8AC3E}">
        <p14:creationId xmlns:p14="http://schemas.microsoft.com/office/powerpoint/2010/main" val="24043481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0801BAB-BDD3-9D32-B25F-C1D674349D13}"/>
              </a:ext>
            </a:extLst>
          </p:cNvPr>
          <p:cNvSpPr>
            <a:spLocks noGrp="1"/>
          </p:cNvSpPr>
          <p:nvPr>
            <p:ph type="title"/>
          </p:nvPr>
        </p:nvSpPr>
        <p:spPr>
          <a:xfrm>
            <a:off x="838200" y="365126"/>
            <a:ext cx="9840124" cy="1092200"/>
          </a:xfrm>
          <a:prstGeom prst="rect">
            <a:avLst/>
          </a:prstGeom>
        </p:spPr>
        <p:txBody>
          <a:bodyPr vert="horz" lIns="91440" tIns="45720" rIns="91440" bIns="45720" rtlCol="0" anchor="b">
            <a:normAutofit/>
          </a:body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8A85ECCA-B6C2-878C-F02B-6C05448CEF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a:p>
            <a:pPr lvl="4"/>
            <a:endParaRPr lang="es-ES" dirty="0"/>
          </a:p>
        </p:txBody>
      </p:sp>
      <p:sp>
        <p:nvSpPr>
          <p:cNvPr id="4" name="Marcador de fecha 3">
            <a:extLst>
              <a:ext uri="{FF2B5EF4-FFF2-40B4-BE49-F238E27FC236}">
                <a16:creationId xmlns:a16="http://schemas.microsoft.com/office/drawing/2014/main" id="{F7BE5742-36BC-3E7C-E2FD-16E5588D7B1D}"/>
              </a:ext>
            </a:extLst>
          </p:cNvPr>
          <p:cNvSpPr>
            <a:spLocks noGrp="1"/>
          </p:cNvSpPr>
          <p:nvPr>
            <p:ph type="dt" sz="half" idx="2"/>
          </p:nvPr>
        </p:nvSpPr>
        <p:spPr>
          <a:xfrm>
            <a:off x="814650" y="6400379"/>
            <a:ext cx="3380278" cy="365125"/>
          </a:xfrm>
          <a:prstGeom prst="rect">
            <a:avLst/>
          </a:prstGeom>
        </p:spPr>
        <p:txBody>
          <a:bodyPr vert="horz" lIns="91440" tIns="45720" rIns="91440" bIns="45720" rtlCol="0" anchor="ctr"/>
          <a:lstStyle>
            <a:lvl1pPr algn="l">
              <a:defRPr sz="1050" b="0">
                <a:solidFill>
                  <a:schemeClr val="accent5">
                    <a:lumMod val="75000"/>
                  </a:schemeClr>
                </a:solidFill>
              </a:defRPr>
            </a:lvl1pPr>
          </a:lstStyle>
          <a:p>
            <a:fld id="{EAA3DC4B-46F0-4C0E-AB18-FE7B2E1FE0BF}" type="datetime2">
              <a:rPr lang="es-ES" smtClean="0"/>
              <a:t>jueves, 19 de septiembre de 2024</a:t>
            </a:fld>
            <a:endParaRPr lang="es-ES" dirty="0"/>
          </a:p>
        </p:txBody>
      </p:sp>
      <p:sp>
        <p:nvSpPr>
          <p:cNvPr id="5" name="Marcador de pie de página 4">
            <a:extLst>
              <a:ext uri="{FF2B5EF4-FFF2-40B4-BE49-F238E27FC236}">
                <a16:creationId xmlns:a16="http://schemas.microsoft.com/office/drawing/2014/main" id="{47AF7EBC-266A-0628-602B-E9262DD80361}"/>
              </a:ext>
            </a:extLst>
          </p:cNvPr>
          <p:cNvSpPr>
            <a:spLocks noGrp="1"/>
          </p:cNvSpPr>
          <p:nvPr>
            <p:ph type="ftr" sz="quarter" idx="3"/>
          </p:nvPr>
        </p:nvSpPr>
        <p:spPr>
          <a:xfrm>
            <a:off x="4622986" y="6421474"/>
            <a:ext cx="5989596" cy="365125"/>
          </a:xfrm>
          <a:prstGeom prst="rect">
            <a:avLst/>
          </a:prstGeom>
        </p:spPr>
        <p:txBody>
          <a:bodyPr vert="horz" lIns="91440" tIns="45720" rIns="91440" bIns="45720" rtlCol="0" anchor="ctr"/>
          <a:lstStyle>
            <a:lvl1pPr algn="ctr">
              <a:defRPr sz="1050">
                <a:solidFill>
                  <a:schemeClr val="accent5">
                    <a:lumMod val="75000"/>
                  </a:schemeClr>
                </a:solidFill>
              </a:defRPr>
            </a:lvl1p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20998E65-4B4A-AB2A-4DF5-4578DEFE14F6}"/>
              </a:ext>
            </a:extLst>
          </p:cNvPr>
          <p:cNvSpPr>
            <a:spLocks noGrp="1"/>
          </p:cNvSpPr>
          <p:nvPr>
            <p:ph type="sldNum" sz="quarter" idx="4"/>
          </p:nvPr>
        </p:nvSpPr>
        <p:spPr>
          <a:xfrm>
            <a:off x="10801350" y="6421474"/>
            <a:ext cx="576000" cy="365125"/>
          </a:xfrm>
          <a:prstGeom prst="rect">
            <a:avLst/>
          </a:prstGeom>
          <a:noFill/>
        </p:spPr>
        <p:txBody>
          <a:bodyPr vert="horz" lIns="91440" tIns="45720" rIns="91440" bIns="45720" rtlCol="0" anchor="ctr"/>
          <a:lstStyle>
            <a:lvl1pPr algn="r">
              <a:defRPr sz="1400" b="0">
                <a:solidFill>
                  <a:schemeClr val="accent5">
                    <a:lumMod val="75000"/>
                  </a:schemeClr>
                </a:solidFill>
                <a:latin typeface="+mj-lt"/>
              </a:defRPr>
            </a:lvl1pPr>
          </a:lstStyle>
          <a:p>
            <a:fld id="{55440F6C-613C-488D-819E-DA6065366E0E}" type="slidenum">
              <a:rPr lang="es-ES" smtClean="0"/>
              <a:pPr/>
              <a:t>‹Nº›</a:t>
            </a:fld>
            <a:endParaRPr lang="es-ES" dirty="0"/>
          </a:p>
        </p:txBody>
      </p:sp>
      <p:pic>
        <p:nvPicPr>
          <p:cNvPr id="1026" name="Picture 2" descr="Tajamar - educaweb.com">
            <a:extLst>
              <a:ext uri="{FF2B5EF4-FFF2-40B4-BE49-F238E27FC236}">
                <a16:creationId xmlns:a16="http://schemas.microsoft.com/office/drawing/2014/main" id="{8C45709F-8B54-A638-4001-AEB90A55152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48735" y="174159"/>
            <a:ext cx="1210130" cy="51862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Fundación Alfonso Martín Escudero">
            <a:extLst>
              <a:ext uri="{FF2B5EF4-FFF2-40B4-BE49-F238E27FC236}">
                <a16:creationId xmlns:a16="http://schemas.microsoft.com/office/drawing/2014/main" id="{0AA994F8-87D7-3E6C-A10E-C6443F9C607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678324" y="815042"/>
            <a:ext cx="1398051" cy="550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478265"/>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Lst>
  <p:hf hdr="0"/>
  <p:txStyles>
    <p:titleStyle>
      <a:lvl1pPr algn="l" defTabSz="914400" rtl="0" eaLnBrk="1" latinLnBrk="0" hangingPunct="1">
        <a:lnSpc>
          <a:spcPct val="90000"/>
        </a:lnSpc>
        <a:spcBef>
          <a:spcPct val="0"/>
        </a:spcBef>
        <a:buNone/>
        <a:defRPr sz="3600" b="0" kern="1200">
          <a:solidFill>
            <a:schemeClr val="accent5">
              <a:lumMod val="75000"/>
            </a:schemeClr>
          </a:solidFill>
          <a:latin typeface="Avenir Next LT Pro Demi" panose="020B0704020202020204" pitchFamily="34" charset="0"/>
          <a:ea typeface="+mj-ea"/>
          <a:cs typeface="+mj-cs"/>
        </a:defRPr>
      </a:lvl1pPr>
    </p:titleStyle>
    <p:bodyStyle>
      <a:lvl1pPr marL="228600" indent="-228600" algn="l" defTabSz="914400" rtl="0" eaLnBrk="1" latinLnBrk="0" hangingPunct="1">
        <a:lnSpc>
          <a:spcPct val="100000"/>
        </a:lnSpc>
        <a:spcBef>
          <a:spcPts val="0"/>
        </a:spcBef>
        <a:spcAft>
          <a:spcPts val="1000"/>
        </a:spcAft>
        <a:buClr>
          <a:schemeClr val="accent5">
            <a:lumMod val="75000"/>
          </a:schemeClr>
        </a:buClr>
        <a:buSzPct val="75000"/>
        <a:buFont typeface="Wingdings" panose="05000000000000000000" pitchFamily="2" charset="2"/>
        <a:buChar char="§"/>
        <a:defRPr sz="2400" b="1" kern="1200">
          <a:solidFill>
            <a:schemeClr val="tx1"/>
          </a:solidFill>
          <a:latin typeface="+mn-lt"/>
          <a:ea typeface="+mn-ea"/>
          <a:cs typeface="+mn-cs"/>
        </a:defRPr>
      </a:lvl1pPr>
      <a:lvl2pPr marL="449263" indent="-228600" algn="l" defTabSz="914400" rtl="0" eaLnBrk="1" latinLnBrk="0" hangingPunct="1">
        <a:lnSpc>
          <a:spcPct val="100000"/>
        </a:lnSpc>
        <a:spcBef>
          <a:spcPts val="0"/>
        </a:spcBef>
        <a:spcAft>
          <a:spcPts val="600"/>
        </a:spcAft>
        <a:buClr>
          <a:schemeClr val="accent5">
            <a:lumMod val="75000"/>
          </a:schemeClr>
        </a:buClr>
        <a:buSzPct val="75000"/>
        <a:buFont typeface="Arial" panose="020B0604020202020204" pitchFamily="34" charset="0"/>
        <a:buChar char="•"/>
        <a:defRPr sz="2000" kern="1200">
          <a:solidFill>
            <a:schemeClr val="tx1"/>
          </a:solidFill>
          <a:latin typeface="+mn-lt"/>
          <a:ea typeface="+mn-ea"/>
          <a:cs typeface="+mn-cs"/>
        </a:defRPr>
      </a:lvl2pPr>
      <a:lvl3pPr marL="714375" indent="-228600" algn="l" defTabSz="914400" rtl="0" eaLnBrk="1" latinLnBrk="0" hangingPunct="1">
        <a:lnSpc>
          <a:spcPct val="100000"/>
        </a:lnSpc>
        <a:spcBef>
          <a:spcPts val="0"/>
        </a:spcBef>
        <a:spcAft>
          <a:spcPts val="600"/>
        </a:spcAft>
        <a:buClr>
          <a:schemeClr val="accent5">
            <a:lumMod val="75000"/>
          </a:schemeClr>
        </a:buClr>
        <a:buSzPct val="75000"/>
        <a:buFont typeface="Arial" panose="020B0604020202020204" pitchFamily="34" charset="0"/>
        <a:buChar char="•"/>
        <a:defRPr sz="1800" kern="1200">
          <a:solidFill>
            <a:schemeClr val="tx1"/>
          </a:solidFill>
          <a:latin typeface="+mn-lt"/>
          <a:ea typeface="+mn-ea"/>
          <a:cs typeface="+mn-cs"/>
        </a:defRPr>
      </a:lvl3pPr>
      <a:lvl4pPr marL="985838" indent="-228600" algn="l" defTabSz="914400" rtl="0" eaLnBrk="1" latinLnBrk="0" hangingPunct="1">
        <a:lnSpc>
          <a:spcPct val="100000"/>
        </a:lnSpc>
        <a:spcBef>
          <a:spcPts val="0"/>
        </a:spcBef>
        <a:spcAft>
          <a:spcPts val="600"/>
        </a:spcAft>
        <a:buClr>
          <a:schemeClr val="accent5">
            <a:lumMod val="75000"/>
          </a:schemeClr>
        </a:buClr>
        <a:buSzPct val="75000"/>
        <a:buFont typeface="Arial" panose="020B0604020202020204" pitchFamily="34" charset="0"/>
        <a:buChar char="•"/>
        <a:defRPr sz="1600" kern="1200">
          <a:solidFill>
            <a:schemeClr val="tx1"/>
          </a:solidFill>
          <a:latin typeface="+mn-lt"/>
          <a:ea typeface="+mn-ea"/>
          <a:cs typeface="+mn-cs"/>
        </a:defRPr>
      </a:lvl4pPr>
      <a:lvl5pPr marL="1257300" indent="-228600" algn="l" defTabSz="914400" rtl="0" eaLnBrk="1" latinLnBrk="0" hangingPunct="1">
        <a:lnSpc>
          <a:spcPct val="100000"/>
        </a:lnSpc>
        <a:spcBef>
          <a:spcPts val="0"/>
        </a:spcBef>
        <a:spcAft>
          <a:spcPts val="600"/>
        </a:spcAft>
        <a:buClr>
          <a:schemeClr val="accent5">
            <a:lumMod val="75000"/>
          </a:schemeClr>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7.xml"/><Relationship Id="rId4" Type="http://schemas.openxmlformats.org/officeDocument/2006/relationships/slide" Target="slide136.xml"/></Relationships>
</file>

<file path=ppt/slides/_rels/slide101.xml.rels><?xml version="1.0" encoding="UTF-8" standalone="yes"?>
<Relationships xmlns="http://schemas.openxmlformats.org/package/2006/relationships"><Relationship Id="rId8" Type="http://schemas.openxmlformats.org/officeDocument/2006/relationships/image" Target="../media/image130.tiff"/><Relationship Id="rId13" Type="http://schemas.openxmlformats.org/officeDocument/2006/relationships/image" Target="../media/image135.png"/><Relationship Id="rId18" Type="http://schemas.openxmlformats.org/officeDocument/2006/relationships/image" Target="../media/image140.tiff"/><Relationship Id="rId3" Type="http://schemas.openxmlformats.org/officeDocument/2006/relationships/diagramLayout" Target="../diagrams/layout41.xml"/><Relationship Id="rId7" Type="http://schemas.openxmlformats.org/officeDocument/2006/relationships/image" Target="../media/image129.tiff"/><Relationship Id="rId12" Type="http://schemas.openxmlformats.org/officeDocument/2006/relationships/image" Target="../media/image134.tiff"/><Relationship Id="rId17" Type="http://schemas.openxmlformats.org/officeDocument/2006/relationships/image" Target="../media/image139.png"/><Relationship Id="rId2" Type="http://schemas.openxmlformats.org/officeDocument/2006/relationships/diagramData" Target="../diagrams/data41.xml"/><Relationship Id="rId16" Type="http://schemas.openxmlformats.org/officeDocument/2006/relationships/image" Target="../media/image138.png"/><Relationship Id="rId1" Type="http://schemas.openxmlformats.org/officeDocument/2006/relationships/slideLayout" Target="../slideLayouts/slideLayout8.xml"/><Relationship Id="rId6" Type="http://schemas.microsoft.com/office/2007/relationships/diagramDrawing" Target="../diagrams/drawing41.xml"/><Relationship Id="rId11" Type="http://schemas.openxmlformats.org/officeDocument/2006/relationships/image" Target="../media/image133.png"/><Relationship Id="rId5" Type="http://schemas.openxmlformats.org/officeDocument/2006/relationships/diagramColors" Target="../diagrams/colors41.xml"/><Relationship Id="rId15" Type="http://schemas.openxmlformats.org/officeDocument/2006/relationships/image" Target="../media/image137.png"/><Relationship Id="rId10" Type="http://schemas.openxmlformats.org/officeDocument/2006/relationships/image" Target="../media/image132.png"/><Relationship Id="rId19" Type="http://schemas.openxmlformats.org/officeDocument/2006/relationships/image" Target="../media/image141.png"/><Relationship Id="rId4" Type="http://schemas.openxmlformats.org/officeDocument/2006/relationships/diagramQuickStyle" Target="../diagrams/quickStyle41.xml"/><Relationship Id="rId9" Type="http://schemas.openxmlformats.org/officeDocument/2006/relationships/image" Target="../media/image131.tiff"/><Relationship Id="rId14" Type="http://schemas.openxmlformats.org/officeDocument/2006/relationships/image" Target="../media/image136.tiff"/></Relationships>
</file>

<file path=ppt/slides/_rels/slide102.xml.rels><?xml version="1.0" encoding="UTF-8" standalone="yes"?>
<Relationships xmlns="http://schemas.openxmlformats.org/package/2006/relationships"><Relationship Id="rId3" Type="http://schemas.openxmlformats.org/officeDocument/2006/relationships/diagramLayout" Target="../diagrams/layout42.xml"/><Relationship Id="rId7" Type="http://schemas.openxmlformats.org/officeDocument/2006/relationships/image" Target="../media/image142.png"/><Relationship Id="rId2" Type="http://schemas.openxmlformats.org/officeDocument/2006/relationships/diagramData" Target="../diagrams/data42.xml"/><Relationship Id="rId1" Type="http://schemas.openxmlformats.org/officeDocument/2006/relationships/slideLayout" Target="../slideLayouts/slideLayout8.xml"/><Relationship Id="rId6" Type="http://schemas.microsoft.com/office/2007/relationships/diagramDrawing" Target="../diagrams/drawing42.xml"/><Relationship Id="rId5" Type="http://schemas.openxmlformats.org/officeDocument/2006/relationships/diagramColors" Target="../diagrams/colors42.xml"/><Relationship Id="rId4" Type="http://schemas.openxmlformats.org/officeDocument/2006/relationships/diagramQuickStyle" Target="../diagrams/quickStyle42.xml"/></Relationships>
</file>

<file path=ppt/slides/_rels/slide103.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image" Target="../media/image144.png"/><Relationship Id="rId1" Type="http://schemas.openxmlformats.org/officeDocument/2006/relationships/slideLayout" Target="../slideLayouts/slideLayout5.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105.xml.rels><?xml version="1.0" encoding="UTF-8" standalone="yes"?>
<Relationships xmlns="http://schemas.openxmlformats.org/package/2006/relationships"><Relationship Id="rId8" Type="http://schemas.openxmlformats.org/officeDocument/2006/relationships/image" Target="../media/image146.jpeg"/><Relationship Id="rId3" Type="http://schemas.openxmlformats.org/officeDocument/2006/relationships/diagramLayout" Target="../diagrams/layout44.xml"/><Relationship Id="rId7" Type="http://schemas.openxmlformats.org/officeDocument/2006/relationships/image" Target="../media/image145.jpeg"/><Relationship Id="rId2" Type="http://schemas.openxmlformats.org/officeDocument/2006/relationships/diagramData" Target="../diagrams/data44.xml"/><Relationship Id="rId1" Type="http://schemas.openxmlformats.org/officeDocument/2006/relationships/slideLayout" Target="../slideLayouts/slideLayout8.xml"/><Relationship Id="rId6" Type="http://schemas.microsoft.com/office/2007/relationships/diagramDrawing" Target="../diagrams/drawing44.xml"/><Relationship Id="rId5" Type="http://schemas.openxmlformats.org/officeDocument/2006/relationships/diagramColors" Target="../diagrams/colors44.xml"/><Relationship Id="rId4" Type="http://schemas.openxmlformats.org/officeDocument/2006/relationships/diagramQuickStyle" Target="../diagrams/quickStyle44.xml"/><Relationship Id="rId9" Type="http://schemas.openxmlformats.org/officeDocument/2006/relationships/image" Target="../media/image147.jpeg"/></Relationships>
</file>

<file path=ppt/slides/_rels/slide10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eg"/><Relationship Id="rId1" Type="http://schemas.openxmlformats.org/officeDocument/2006/relationships/slideLayout" Target="../slideLayouts/slideLayout4.xml"/><Relationship Id="rId4" Type="http://schemas.openxmlformats.org/officeDocument/2006/relationships/image" Target="../media/image150.jpeg"/></Relationships>
</file>

<file path=ppt/slides/_rels/slide107.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diagramLayout" Target="../diagrams/layout45.xml"/><Relationship Id="rId7" Type="http://schemas.openxmlformats.org/officeDocument/2006/relationships/image" Target="../media/image46.wmf"/><Relationship Id="rId2" Type="http://schemas.openxmlformats.org/officeDocument/2006/relationships/diagramData" Target="../diagrams/data45.xml"/><Relationship Id="rId1" Type="http://schemas.openxmlformats.org/officeDocument/2006/relationships/slideLayout" Target="../slideLayouts/slideLayout8.xml"/><Relationship Id="rId6" Type="http://schemas.microsoft.com/office/2007/relationships/diagramDrawing" Target="../diagrams/drawing45.xml"/><Relationship Id="rId11" Type="http://schemas.openxmlformats.org/officeDocument/2006/relationships/image" Target="../media/image154.png"/><Relationship Id="rId5" Type="http://schemas.openxmlformats.org/officeDocument/2006/relationships/diagramColors" Target="../diagrams/colors45.xml"/><Relationship Id="rId10" Type="http://schemas.openxmlformats.org/officeDocument/2006/relationships/image" Target="../media/image153.jpeg"/><Relationship Id="rId4" Type="http://schemas.openxmlformats.org/officeDocument/2006/relationships/diagramQuickStyle" Target="../diagrams/quickStyle45.xml"/><Relationship Id="rId9" Type="http://schemas.openxmlformats.org/officeDocument/2006/relationships/image" Target="../media/image152.jpeg"/></Relationships>
</file>

<file path=ppt/slides/_rels/slide108.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47.xml"/><Relationship Id="rId7" Type="http://schemas.microsoft.com/office/2007/relationships/diagramDrawing" Target="../diagrams/drawing47.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47.xml"/><Relationship Id="rId5" Type="http://schemas.openxmlformats.org/officeDocument/2006/relationships/diagramQuickStyle" Target="../diagrams/quickStyle47.xml"/><Relationship Id="rId4" Type="http://schemas.openxmlformats.org/officeDocument/2006/relationships/diagramLayout" Target="../diagrams/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111.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11.xml"/></Relationships>
</file>

<file path=ppt/slides/_rels/slide112.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11.xml"/></Relationships>
</file>

<file path=ppt/slides/_rels/slide113.xml.rels><?xml version="1.0" encoding="UTF-8" standalone="yes"?>
<Relationships xmlns="http://schemas.openxmlformats.org/package/2006/relationships"><Relationship Id="rId8" Type="http://schemas.openxmlformats.org/officeDocument/2006/relationships/image" Target="../media/image173.png"/><Relationship Id="rId13" Type="http://schemas.microsoft.com/office/2007/relationships/diagramDrawing" Target="../diagrams/drawing49.xml"/><Relationship Id="rId3" Type="http://schemas.openxmlformats.org/officeDocument/2006/relationships/image" Target="../media/image169.png"/><Relationship Id="rId7" Type="http://schemas.openxmlformats.org/officeDocument/2006/relationships/slide" Target="slide164.xml"/><Relationship Id="rId12" Type="http://schemas.openxmlformats.org/officeDocument/2006/relationships/diagramColors" Target="../diagrams/colors49.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172.png"/><Relationship Id="rId11" Type="http://schemas.openxmlformats.org/officeDocument/2006/relationships/diagramQuickStyle" Target="../diagrams/quickStyle49.xml"/><Relationship Id="rId5" Type="http://schemas.openxmlformats.org/officeDocument/2006/relationships/image" Target="../media/image171.png"/><Relationship Id="rId10" Type="http://schemas.openxmlformats.org/officeDocument/2006/relationships/diagramLayout" Target="../diagrams/layout49.xml"/><Relationship Id="rId4" Type="http://schemas.openxmlformats.org/officeDocument/2006/relationships/image" Target="../media/image170.jpeg"/><Relationship Id="rId9" Type="http://schemas.openxmlformats.org/officeDocument/2006/relationships/diagramData" Target="../diagrams/data49.xml"/></Relationships>
</file>

<file path=ppt/slides/_rels/slide11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microsoft.com/office/2007/relationships/hdphoto" Target="../media/hdphoto17.wdp"/></Relationships>
</file>

<file path=ppt/slides/_rels/slide115.xml.rels><?xml version="1.0" encoding="UTF-8" standalone="yes"?>
<Relationships xmlns="http://schemas.openxmlformats.org/package/2006/relationships"><Relationship Id="rId3" Type="http://schemas.openxmlformats.org/officeDocument/2006/relationships/diagramLayout" Target="../diagrams/layout50.xml"/><Relationship Id="rId2" Type="http://schemas.openxmlformats.org/officeDocument/2006/relationships/diagramData" Target="../diagrams/data50.xml"/><Relationship Id="rId1" Type="http://schemas.openxmlformats.org/officeDocument/2006/relationships/slideLayout" Target="../slideLayouts/slideLayout4.xml"/><Relationship Id="rId6" Type="http://schemas.microsoft.com/office/2007/relationships/diagramDrawing" Target="../diagrams/drawing50.xml"/><Relationship Id="rId5" Type="http://schemas.openxmlformats.org/officeDocument/2006/relationships/diagramColors" Target="../diagrams/colors50.xml"/><Relationship Id="rId4" Type="http://schemas.openxmlformats.org/officeDocument/2006/relationships/diagramQuickStyle" Target="../diagrams/quickStyle50.xml"/></Relationships>
</file>

<file path=ppt/slides/_rels/slide116.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diagramLayout" Target="../diagrams/layout51.xml"/><Relationship Id="rId7" Type="http://schemas.openxmlformats.org/officeDocument/2006/relationships/image" Target="../media/image175.png"/><Relationship Id="rId2" Type="http://schemas.openxmlformats.org/officeDocument/2006/relationships/diagramData" Target="../diagrams/data51.xml"/><Relationship Id="rId1" Type="http://schemas.openxmlformats.org/officeDocument/2006/relationships/slideLayout" Target="../slideLayouts/slideLayout11.xml"/><Relationship Id="rId6" Type="http://schemas.microsoft.com/office/2007/relationships/diagramDrawing" Target="../diagrams/drawing51.xml"/><Relationship Id="rId5" Type="http://schemas.openxmlformats.org/officeDocument/2006/relationships/diagramColors" Target="../diagrams/colors51.xml"/><Relationship Id="rId4" Type="http://schemas.openxmlformats.org/officeDocument/2006/relationships/diagramQuickStyle" Target="../diagrams/quickStyle51.xml"/></Relationships>
</file>

<file path=ppt/slides/_rels/slide118.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diagramLayout" Target="../diagrams/layout52.xml"/><Relationship Id="rId7" Type="http://schemas.openxmlformats.org/officeDocument/2006/relationships/image" Target="../media/image178.png"/><Relationship Id="rId2" Type="http://schemas.openxmlformats.org/officeDocument/2006/relationships/diagramData" Target="../diagrams/data52.xml"/><Relationship Id="rId1" Type="http://schemas.openxmlformats.org/officeDocument/2006/relationships/slideLayout" Target="../slideLayouts/slideLayout11.xml"/><Relationship Id="rId6" Type="http://schemas.microsoft.com/office/2007/relationships/diagramDrawing" Target="../diagrams/drawing52.xml"/><Relationship Id="rId5" Type="http://schemas.openxmlformats.org/officeDocument/2006/relationships/diagramColors" Target="../diagrams/colors52.xml"/><Relationship Id="rId4" Type="http://schemas.openxmlformats.org/officeDocument/2006/relationships/diagramQuickStyle" Target="../diagrams/quickStyle52.xml"/></Relationships>
</file>

<file path=ppt/slides/_rels/slide119.xml.rels><?xml version="1.0" encoding="UTF-8" standalone="yes"?>
<Relationships xmlns="http://schemas.openxmlformats.org/package/2006/relationships"><Relationship Id="rId2" Type="http://schemas.openxmlformats.org/officeDocument/2006/relationships/image" Target="../media/image179.emf"/><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3" Type="http://schemas.openxmlformats.org/officeDocument/2006/relationships/diagramLayout" Target="../diagrams/layout53.xml"/><Relationship Id="rId7" Type="http://schemas.openxmlformats.org/officeDocument/2006/relationships/image" Target="../media/image180.png"/><Relationship Id="rId2" Type="http://schemas.openxmlformats.org/officeDocument/2006/relationships/diagramData" Target="../diagrams/data53.xml"/><Relationship Id="rId1" Type="http://schemas.openxmlformats.org/officeDocument/2006/relationships/slideLayout" Target="../slideLayouts/slideLayout11.xml"/><Relationship Id="rId6" Type="http://schemas.microsoft.com/office/2007/relationships/diagramDrawing" Target="../diagrams/drawing53.xml"/><Relationship Id="rId5" Type="http://schemas.openxmlformats.org/officeDocument/2006/relationships/diagramColors" Target="../diagrams/colors53.xml"/><Relationship Id="rId4" Type="http://schemas.openxmlformats.org/officeDocument/2006/relationships/diagramQuickStyle" Target="../diagrams/quickStyle53.xml"/></Relationships>
</file>

<file path=ppt/slides/_rels/slide121.xml.rels><?xml version="1.0" encoding="UTF-8" standalone="yes"?>
<Relationships xmlns="http://schemas.openxmlformats.org/package/2006/relationships"><Relationship Id="rId2" Type="http://schemas.openxmlformats.org/officeDocument/2006/relationships/image" Target="../media/image181.jpeg"/><Relationship Id="rId1" Type="http://schemas.openxmlformats.org/officeDocument/2006/relationships/slideLayout" Target="../slideLayouts/slideLayout11.xml"/></Relationships>
</file>

<file path=ppt/slides/_rels/slide122.xml.rels><?xml version="1.0" encoding="UTF-8" standalone="yes"?>
<Relationships xmlns="http://schemas.openxmlformats.org/package/2006/relationships"><Relationship Id="rId8" Type="http://schemas.openxmlformats.org/officeDocument/2006/relationships/diagramColors" Target="../diagrams/colors54.xml"/><Relationship Id="rId3" Type="http://schemas.openxmlformats.org/officeDocument/2006/relationships/image" Target="../media/image183.png"/><Relationship Id="rId7" Type="http://schemas.openxmlformats.org/officeDocument/2006/relationships/diagramQuickStyle" Target="../diagrams/quickStyle54.xml"/><Relationship Id="rId2" Type="http://schemas.openxmlformats.org/officeDocument/2006/relationships/image" Target="../media/image182.jpeg"/><Relationship Id="rId1" Type="http://schemas.openxmlformats.org/officeDocument/2006/relationships/slideLayout" Target="../slideLayouts/slideLayout8.xml"/><Relationship Id="rId6" Type="http://schemas.openxmlformats.org/officeDocument/2006/relationships/diagramLayout" Target="../diagrams/layout54.xml"/><Relationship Id="rId5" Type="http://schemas.openxmlformats.org/officeDocument/2006/relationships/diagramData" Target="../diagrams/data54.xml"/><Relationship Id="rId10" Type="http://schemas.openxmlformats.org/officeDocument/2006/relationships/image" Target="../media/image185.jpeg"/><Relationship Id="rId4" Type="http://schemas.openxmlformats.org/officeDocument/2006/relationships/image" Target="../media/image184.png"/><Relationship Id="rId9" Type="http://schemas.microsoft.com/office/2007/relationships/diagramDrawing" Target="../diagrams/drawing54.xml"/></Relationships>
</file>

<file path=ppt/slides/_rels/slide12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10.xml"/></Relationships>
</file>

<file path=ppt/slides/_rels/slide124.xml.rels><?xml version="1.0" encoding="UTF-8" standalone="yes"?>
<Relationships xmlns="http://schemas.openxmlformats.org/package/2006/relationships"><Relationship Id="rId3" Type="http://schemas.openxmlformats.org/officeDocument/2006/relationships/diagramLayout" Target="../diagrams/layout55.xml"/><Relationship Id="rId7" Type="http://schemas.openxmlformats.org/officeDocument/2006/relationships/image" Target="../media/image187.jpeg"/><Relationship Id="rId2" Type="http://schemas.openxmlformats.org/officeDocument/2006/relationships/diagramData" Target="../diagrams/data55.xml"/><Relationship Id="rId1" Type="http://schemas.openxmlformats.org/officeDocument/2006/relationships/slideLayout" Target="../slideLayouts/slideLayout4.xml"/><Relationship Id="rId6" Type="http://schemas.microsoft.com/office/2007/relationships/diagramDrawing" Target="../diagrams/drawing55.xml"/><Relationship Id="rId5" Type="http://schemas.openxmlformats.org/officeDocument/2006/relationships/diagramColors" Target="../diagrams/colors55.xml"/><Relationship Id="rId4" Type="http://schemas.openxmlformats.org/officeDocument/2006/relationships/diagramQuickStyle" Target="../diagrams/quickStyle55.xml"/></Relationships>
</file>

<file path=ppt/slides/_rels/slide125.xml.rels><?xml version="1.0" encoding="UTF-8" standalone="yes"?>
<Relationships xmlns="http://schemas.openxmlformats.org/package/2006/relationships"><Relationship Id="rId3" Type="http://schemas.openxmlformats.org/officeDocument/2006/relationships/diagramLayout" Target="../diagrams/layout56.xml"/><Relationship Id="rId2" Type="http://schemas.openxmlformats.org/officeDocument/2006/relationships/diagramData" Target="../diagrams/data56.xml"/><Relationship Id="rId1" Type="http://schemas.openxmlformats.org/officeDocument/2006/relationships/slideLayout" Target="../slideLayouts/slideLayout8.xml"/><Relationship Id="rId6" Type="http://schemas.microsoft.com/office/2007/relationships/diagramDrawing" Target="../diagrams/drawing56.xml"/><Relationship Id="rId5" Type="http://schemas.openxmlformats.org/officeDocument/2006/relationships/diagramColors" Target="../diagrams/colors56.xml"/><Relationship Id="rId4" Type="http://schemas.openxmlformats.org/officeDocument/2006/relationships/diagramQuickStyle" Target="../diagrams/quickStyle56.xml"/></Relationships>
</file>

<file path=ppt/slides/_rels/slide126.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46.wmf"/><Relationship Id="rId1" Type="http://schemas.openxmlformats.org/officeDocument/2006/relationships/slideLayout" Target="../slideLayouts/slideLayout8.xml"/></Relationships>
</file>

<file path=ppt/slides/_rels/slide127.xml.rels><?xml version="1.0" encoding="UTF-8" standalone="yes"?>
<Relationships xmlns="http://schemas.openxmlformats.org/package/2006/relationships"><Relationship Id="rId8" Type="http://schemas.openxmlformats.org/officeDocument/2006/relationships/image" Target="../media/image46.wmf"/><Relationship Id="rId3" Type="http://schemas.openxmlformats.org/officeDocument/2006/relationships/diagramLayout" Target="../diagrams/layout57.xml"/><Relationship Id="rId7" Type="http://schemas.openxmlformats.org/officeDocument/2006/relationships/image" Target="../media/image189.png"/><Relationship Id="rId2" Type="http://schemas.openxmlformats.org/officeDocument/2006/relationships/diagramData" Target="../diagrams/data57.xml"/><Relationship Id="rId1" Type="http://schemas.openxmlformats.org/officeDocument/2006/relationships/slideLayout" Target="../slideLayouts/slideLayout4.xml"/><Relationship Id="rId6" Type="http://schemas.microsoft.com/office/2007/relationships/diagramDrawing" Target="../diagrams/drawing57.xml"/><Relationship Id="rId5" Type="http://schemas.openxmlformats.org/officeDocument/2006/relationships/diagramColors" Target="../diagrams/colors57.xml"/><Relationship Id="rId10" Type="http://schemas.openxmlformats.org/officeDocument/2006/relationships/image" Target="../media/image191.jpeg"/><Relationship Id="rId4" Type="http://schemas.openxmlformats.org/officeDocument/2006/relationships/diagramQuickStyle" Target="../diagrams/quickStyle57.xml"/><Relationship Id="rId9" Type="http://schemas.openxmlformats.org/officeDocument/2006/relationships/image" Target="../media/image190.jpeg"/></Relationships>
</file>

<file path=ppt/slides/_rels/slide128.xml.rels><?xml version="1.0" encoding="UTF-8" standalone="yes"?>
<Relationships xmlns="http://schemas.openxmlformats.org/package/2006/relationships"><Relationship Id="rId8" Type="http://schemas.microsoft.com/office/2007/relationships/diagramDrawing" Target="../diagrams/drawing58.xml"/><Relationship Id="rId3" Type="http://schemas.openxmlformats.org/officeDocument/2006/relationships/image" Target="../media/image192.jpeg"/><Relationship Id="rId7" Type="http://schemas.openxmlformats.org/officeDocument/2006/relationships/diagramColors" Target="../diagrams/colors58.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QuickStyle" Target="../diagrams/quickStyle58.xml"/><Relationship Id="rId5" Type="http://schemas.openxmlformats.org/officeDocument/2006/relationships/diagramLayout" Target="../diagrams/layout58.xml"/><Relationship Id="rId4" Type="http://schemas.openxmlformats.org/officeDocument/2006/relationships/diagramData" Target="../diagrams/data58.xml"/></Relationships>
</file>

<file path=ppt/slides/_rels/slide129.xml.rels><?xml version="1.0" encoding="UTF-8" standalone="yes"?>
<Relationships xmlns="http://schemas.openxmlformats.org/package/2006/relationships"><Relationship Id="rId8" Type="http://schemas.openxmlformats.org/officeDocument/2006/relationships/diagramLayout" Target="../diagrams/layout60.xml"/><Relationship Id="rId3" Type="http://schemas.openxmlformats.org/officeDocument/2006/relationships/diagramLayout" Target="../diagrams/layout59.xml"/><Relationship Id="rId7" Type="http://schemas.openxmlformats.org/officeDocument/2006/relationships/diagramData" Target="../diagrams/data60.xml"/><Relationship Id="rId2" Type="http://schemas.openxmlformats.org/officeDocument/2006/relationships/diagramData" Target="../diagrams/data59.xml"/><Relationship Id="rId1" Type="http://schemas.openxmlformats.org/officeDocument/2006/relationships/slideLayout" Target="../slideLayouts/slideLayout5.xml"/><Relationship Id="rId6" Type="http://schemas.microsoft.com/office/2007/relationships/diagramDrawing" Target="../diagrams/drawing59.xml"/><Relationship Id="rId11" Type="http://schemas.microsoft.com/office/2007/relationships/diagramDrawing" Target="../diagrams/drawing60.xml"/><Relationship Id="rId5" Type="http://schemas.openxmlformats.org/officeDocument/2006/relationships/diagramColors" Target="../diagrams/colors59.xml"/><Relationship Id="rId10" Type="http://schemas.openxmlformats.org/officeDocument/2006/relationships/diagramColors" Target="../diagrams/colors60.xml"/><Relationship Id="rId4" Type="http://schemas.openxmlformats.org/officeDocument/2006/relationships/diagramQuickStyle" Target="../diagrams/quickStyle59.xml"/><Relationship Id="rId9" Type="http://schemas.openxmlformats.org/officeDocument/2006/relationships/diagramQuickStyle" Target="../diagrams/quickStyle60.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30.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image" Target="../media/image195.jpeg"/><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3" Type="http://schemas.openxmlformats.org/officeDocument/2006/relationships/diagramLayout" Target="../diagrams/layout61.xml"/><Relationship Id="rId2" Type="http://schemas.openxmlformats.org/officeDocument/2006/relationships/diagramData" Target="../diagrams/data61.xml"/><Relationship Id="rId1" Type="http://schemas.openxmlformats.org/officeDocument/2006/relationships/slideLayout" Target="../slideLayouts/slideLayout8.xml"/><Relationship Id="rId6" Type="http://schemas.microsoft.com/office/2007/relationships/diagramDrawing" Target="../diagrams/drawing61.xml"/><Relationship Id="rId5" Type="http://schemas.openxmlformats.org/officeDocument/2006/relationships/diagramColors" Target="../diagrams/colors61.xml"/><Relationship Id="rId4" Type="http://schemas.openxmlformats.org/officeDocument/2006/relationships/diagramQuickStyle" Target="../diagrams/quickStyle61.xml"/></Relationships>
</file>

<file path=ppt/slides/_rels/slide133.xml.rels><?xml version="1.0" encoding="UTF-8" standalone="yes"?>
<Relationships xmlns="http://schemas.openxmlformats.org/package/2006/relationships"><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image" Target="../media/image202.jpeg"/><Relationship Id="rId1" Type="http://schemas.openxmlformats.org/officeDocument/2006/relationships/slideLayout" Target="../slideLayouts/slideLayout12.xml"/><Relationship Id="rId6" Type="http://schemas.openxmlformats.org/officeDocument/2006/relationships/diagramColors" Target="../diagrams/colors62.xml"/><Relationship Id="rId5" Type="http://schemas.openxmlformats.org/officeDocument/2006/relationships/diagramQuickStyle" Target="../diagrams/quickStyle62.xml"/><Relationship Id="rId4" Type="http://schemas.openxmlformats.org/officeDocument/2006/relationships/diagramLayout" Target="../diagrams/layout62.xml"/></Relationships>
</file>

<file path=ppt/slides/_rels/slide134.xml.rels><?xml version="1.0" encoding="UTF-8" standalone="yes"?>
<Relationships xmlns="http://schemas.openxmlformats.org/package/2006/relationships"><Relationship Id="rId2" Type="http://schemas.openxmlformats.org/officeDocument/2006/relationships/image" Target="../media/image203.jpeg"/><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s>
</file>

<file path=ppt/slides/_rels/slide137.xml.rels><?xml version="1.0" encoding="UTF-8" standalone="yes"?>
<Relationships xmlns="http://schemas.openxmlformats.org/package/2006/relationships"><Relationship Id="rId3" Type="http://schemas.openxmlformats.org/officeDocument/2006/relationships/diagramData" Target="../diagrams/data64.xml"/><Relationship Id="rId7" Type="http://schemas.microsoft.com/office/2007/relationships/diagramDrawing" Target="../diagrams/drawing64.xml"/><Relationship Id="rId2" Type="http://schemas.openxmlformats.org/officeDocument/2006/relationships/image" Target="../media/image207.jpeg"/><Relationship Id="rId1" Type="http://schemas.openxmlformats.org/officeDocument/2006/relationships/slideLayout" Target="../slideLayouts/slideLayout7.xml"/><Relationship Id="rId6" Type="http://schemas.openxmlformats.org/officeDocument/2006/relationships/diagramColors" Target="../diagrams/colors64.xml"/><Relationship Id="rId5" Type="http://schemas.openxmlformats.org/officeDocument/2006/relationships/diagramQuickStyle" Target="../diagrams/quickStyle64.xml"/><Relationship Id="rId4" Type="http://schemas.openxmlformats.org/officeDocument/2006/relationships/diagramLayout" Target="../diagrams/layout64.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65.xml"/><Relationship Id="rId7" Type="http://schemas.microsoft.com/office/2007/relationships/diagramDrawing" Target="../diagrams/drawing65.xml"/><Relationship Id="rId2" Type="http://schemas.openxmlformats.org/officeDocument/2006/relationships/image" Target="../media/image208.jpeg"/><Relationship Id="rId1" Type="http://schemas.openxmlformats.org/officeDocument/2006/relationships/slideLayout" Target="../slideLayouts/slideLayout7.xml"/><Relationship Id="rId6" Type="http://schemas.openxmlformats.org/officeDocument/2006/relationships/diagramColors" Target="../diagrams/colors65.xml"/><Relationship Id="rId5" Type="http://schemas.openxmlformats.org/officeDocument/2006/relationships/diagramQuickStyle" Target="../diagrams/quickStyle65.xml"/><Relationship Id="rId4" Type="http://schemas.openxmlformats.org/officeDocument/2006/relationships/diagramLayout" Target="../diagrams/layout65.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40.xml.rels><?xml version="1.0" encoding="UTF-8" standalone="yes"?>
<Relationships xmlns="http://schemas.openxmlformats.org/package/2006/relationships"><Relationship Id="rId3" Type="http://schemas.openxmlformats.org/officeDocument/2006/relationships/diagramData" Target="../diagrams/data66.xml"/><Relationship Id="rId7" Type="http://schemas.microsoft.com/office/2007/relationships/diagramDrawing" Target="../diagrams/drawing66.xml"/><Relationship Id="rId2" Type="http://schemas.openxmlformats.org/officeDocument/2006/relationships/image" Target="../media/image123.png"/><Relationship Id="rId1" Type="http://schemas.openxmlformats.org/officeDocument/2006/relationships/slideLayout" Target="../slideLayouts/slideLayout7.xml"/><Relationship Id="rId6" Type="http://schemas.openxmlformats.org/officeDocument/2006/relationships/diagramColors" Target="../diagrams/colors66.xml"/><Relationship Id="rId5" Type="http://schemas.openxmlformats.org/officeDocument/2006/relationships/diagramQuickStyle" Target="../diagrams/quickStyle66.xml"/><Relationship Id="rId4" Type="http://schemas.openxmlformats.org/officeDocument/2006/relationships/diagramLayout" Target="../diagrams/layout66.xml"/></Relationships>
</file>

<file path=ppt/slides/_rels/slide141.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diagramLayout" Target="../diagrams/layout67.xml"/><Relationship Id="rId7" Type="http://schemas.openxmlformats.org/officeDocument/2006/relationships/image" Target="../media/image209.png"/><Relationship Id="rId2" Type="http://schemas.openxmlformats.org/officeDocument/2006/relationships/diagramData" Target="../diagrams/data67.xml"/><Relationship Id="rId1" Type="http://schemas.openxmlformats.org/officeDocument/2006/relationships/slideLayout" Target="../slideLayouts/slideLayout8.xml"/><Relationship Id="rId6" Type="http://schemas.microsoft.com/office/2007/relationships/diagramDrawing" Target="../diagrams/drawing67.xml"/><Relationship Id="rId5" Type="http://schemas.openxmlformats.org/officeDocument/2006/relationships/diagramColors" Target="../diagrams/colors67.xml"/><Relationship Id="rId4" Type="http://schemas.openxmlformats.org/officeDocument/2006/relationships/diagramQuickStyle" Target="../diagrams/quickStyle67.xml"/></Relationships>
</file>

<file path=ppt/slides/_rels/slide142.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3" Type="http://schemas.openxmlformats.org/officeDocument/2006/relationships/diagramLayout" Target="../diagrams/layout68.xml"/><Relationship Id="rId2" Type="http://schemas.openxmlformats.org/officeDocument/2006/relationships/diagramData" Target="../diagrams/data68.xml"/><Relationship Id="rId1" Type="http://schemas.openxmlformats.org/officeDocument/2006/relationships/slideLayout" Target="../slideLayouts/slideLayout4.xml"/><Relationship Id="rId6" Type="http://schemas.microsoft.com/office/2007/relationships/diagramDrawing" Target="../diagrams/drawing68.xml"/><Relationship Id="rId5" Type="http://schemas.openxmlformats.org/officeDocument/2006/relationships/diagramColors" Target="../diagrams/colors68.xml"/><Relationship Id="rId4" Type="http://schemas.openxmlformats.org/officeDocument/2006/relationships/diagramQuickStyle" Target="../diagrams/quickStyle68.xml"/></Relationships>
</file>

<file path=ppt/slides/_rels/slide144.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image" Target="../media/image217.gif"/><Relationship Id="rId1" Type="http://schemas.openxmlformats.org/officeDocument/2006/relationships/slideLayout" Target="../slideLayouts/slideLayout8.xml"/></Relationships>
</file>

<file path=ppt/slides/_rels/slide145.xml.rels><?xml version="1.0" encoding="UTF-8" standalone="yes"?>
<Relationships xmlns="http://schemas.openxmlformats.org/package/2006/relationships"><Relationship Id="rId2" Type="http://schemas.openxmlformats.org/officeDocument/2006/relationships/image" Target="../media/image219.jpe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8" Type="http://schemas.openxmlformats.org/officeDocument/2006/relationships/image" Target="../media/image221.svg"/><Relationship Id="rId3" Type="http://schemas.openxmlformats.org/officeDocument/2006/relationships/diagramLayout" Target="../diagrams/layout69.xml"/><Relationship Id="rId7" Type="http://schemas.openxmlformats.org/officeDocument/2006/relationships/image" Target="../media/image220.png"/><Relationship Id="rId12" Type="http://schemas.openxmlformats.org/officeDocument/2006/relationships/image" Target="../media/image225.svg"/><Relationship Id="rId2" Type="http://schemas.openxmlformats.org/officeDocument/2006/relationships/diagramData" Target="../diagrams/data69.xml"/><Relationship Id="rId1" Type="http://schemas.openxmlformats.org/officeDocument/2006/relationships/slideLayout" Target="../slideLayouts/slideLayout8.xml"/><Relationship Id="rId6" Type="http://schemas.microsoft.com/office/2007/relationships/diagramDrawing" Target="../diagrams/drawing69.xml"/><Relationship Id="rId11" Type="http://schemas.openxmlformats.org/officeDocument/2006/relationships/image" Target="../media/image224.png"/><Relationship Id="rId5" Type="http://schemas.openxmlformats.org/officeDocument/2006/relationships/diagramColors" Target="../diagrams/colors69.xml"/><Relationship Id="rId10" Type="http://schemas.openxmlformats.org/officeDocument/2006/relationships/image" Target="../media/image223.svg"/><Relationship Id="rId4" Type="http://schemas.openxmlformats.org/officeDocument/2006/relationships/diagramQuickStyle" Target="../diagrams/quickStyle69.xml"/><Relationship Id="rId9" Type="http://schemas.openxmlformats.org/officeDocument/2006/relationships/image" Target="../media/image222.png"/></Relationships>
</file>

<file path=ppt/slides/_rels/slide147.xml.rels><?xml version="1.0" encoding="UTF-8" standalone="yes"?>
<Relationships xmlns="http://schemas.openxmlformats.org/package/2006/relationships"><Relationship Id="rId3" Type="http://schemas.openxmlformats.org/officeDocument/2006/relationships/diagramLayout" Target="../diagrams/layout70.xml"/><Relationship Id="rId2" Type="http://schemas.openxmlformats.org/officeDocument/2006/relationships/diagramData" Target="../diagrams/data70.xml"/><Relationship Id="rId1" Type="http://schemas.openxmlformats.org/officeDocument/2006/relationships/slideLayout" Target="../slideLayouts/slideLayout8.xml"/><Relationship Id="rId6" Type="http://schemas.microsoft.com/office/2007/relationships/diagramDrawing" Target="../diagrams/drawing70.xml"/><Relationship Id="rId5" Type="http://schemas.openxmlformats.org/officeDocument/2006/relationships/diagramColors" Target="../diagrams/colors70.xml"/><Relationship Id="rId4" Type="http://schemas.openxmlformats.org/officeDocument/2006/relationships/diagramQuickStyle" Target="../diagrams/quickStyle70.xml"/></Relationships>
</file>

<file path=ppt/slides/_rels/slide14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slide" Target="slide58.xml"/><Relationship Id="rId1" Type="http://schemas.openxmlformats.org/officeDocument/2006/relationships/slideLayout" Target="../slideLayouts/slideLayout8.xml"/><Relationship Id="rId5" Type="http://schemas.openxmlformats.org/officeDocument/2006/relationships/slide" Target="slide62.xml"/><Relationship Id="rId4" Type="http://schemas.openxmlformats.org/officeDocument/2006/relationships/slide" Target="slide60.xml"/></Relationships>
</file>

<file path=ppt/slides/_rels/slide149.xml.rels><?xml version="1.0" encoding="UTF-8" standalone="yes"?>
<Relationships xmlns="http://schemas.openxmlformats.org/package/2006/relationships"><Relationship Id="rId3" Type="http://schemas.openxmlformats.org/officeDocument/2006/relationships/diagramLayout" Target="../diagrams/layout71.xml"/><Relationship Id="rId2" Type="http://schemas.openxmlformats.org/officeDocument/2006/relationships/diagramData" Target="../diagrams/data71.xml"/><Relationship Id="rId1" Type="http://schemas.openxmlformats.org/officeDocument/2006/relationships/slideLayout" Target="../slideLayouts/slideLayout8.xml"/><Relationship Id="rId6" Type="http://schemas.microsoft.com/office/2007/relationships/diagramDrawing" Target="../diagrams/drawing71.xml"/><Relationship Id="rId5" Type="http://schemas.openxmlformats.org/officeDocument/2006/relationships/diagramColors" Target="../diagrams/colors71.xml"/><Relationship Id="rId4" Type="http://schemas.openxmlformats.org/officeDocument/2006/relationships/diagramQuickStyle" Target="../diagrams/quickStyle71.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diagramLayout" Target="../diagrams/layout72.xml"/><Relationship Id="rId7" Type="http://schemas.openxmlformats.org/officeDocument/2006/relationships/image" Target="../media/image236.png"/><Relationship Id="rId2" Type="http://schemas.openxmlformats.org/officeDocument/2006/relationships/diagramData" Target="../diagrams/data72.xml"/><Relationship Id="rId1" Type="http://schemas.openxmlformats.org/officeDocument/2006/relationships/slideLayout" Target="../slideLayouts/slideLayout4.xml"/><Relationship Id="rId6" Type="http://schemas.microsoft.com/office/2007/relationships/diagramDrawing" Target="../diagrams/drawing72.xml"/><Relationship Id="rId5" Type="http://schemas.openxmlformats.org/officeDocument/2006/relationships/diagramColors" Target="../diagrams/colors72.xml"/><Relationship Id="rId4" Type="http://schemas.openxmlformats.org/officeDocument/2006/relationships/diagramQuickStyle" Target="../diagrams/quickStyle7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3" Type="http://schemas.openxmlformats.org/officeDocument/2006/relationships/diagramLayout" Target="../diagrams/layout73.xml"/><Relationship Id="rId2" Type="http://schemas.openxmlformats.org/officeDocument/2006/relationships/diagramData" Target="../diagrams/data73.xml"/><Relationship Id="rId1" Type="http://schemas.openxmlformats.org/officeDocument/2006/relationships/slideLayout" Target="../slideLayouts/slideLayout8.xml"/><Relationship Id="rId6" Type="http://schemas.microsoft.com/office/2007/relationships/diagramDrawing" Target="../diagrams/drawing73.xml"/><Relationship Id="rId5" Type="http://schemas.openxmlformats.org/officeDocument/2006/relationships/diagramColors" Target="../diagrams/colors73.xml"/><Relationship Id="rId4" Type="http://schemas.openxmlformats.org/officeDocument/2006/relationships/diagramQuickStyle" Target="../diagrams/quickStyle73.xml"/></Relationships>
</file>

<file path=ppt/slides/_rels/slide154.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image" Target="../media/image242.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0.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diagramLayout" Target="../diagrams/layout74.xml"/><Relationship Id="rId7" Type="http://schemas.openxmlformats.org/officeDocument/2006/relationships/image" Target="../media/image245.jpeg"/><Relationship Id="rId2" Type="http://schemas.openxmlformats.org/officeDocument/2006/relationships/diagramData" Target="../diagrams/data74.xml"/><Relationship Id="rId1" Type="http://schemas.openxmlformats.org/officeDocument/2006/relationships/slideLayout" Target="../slideLayouts/slideLayout8.xml"/><Relationship Id="rId6" Type="http://schemas.microsoft.com/office/2007/relationships/diagramDrawing" Target="../diagrams/drawing74.xml"/><Relationship Id="rId5" Type="http://schemas.openxmlformats.org/officeDocument/2006/relationships/diagramColors" Target="../diagrams/colors74.xml"/><Relationship Id="rId4" Type="http://schemas.openxmlformats.org/officeDocument/2006/relationships/diagramQuickStyle" Target="../diagrams/quickStyle74.xml"/></Relationships>
</file>

<file path=ppt/slides/_rels/slide161.xml.rels><?xml version="1.0" encoding="UTF-8" standalone="yes"?>
<Relationships xmlns="http://schemas.openxmlformats.org/package/2006/relationships"><Relationship Id="rId2" Type="http://schemas.openxmlformats.org/officeDocument/2006/relationships/image" Target="../media/image247.jpg"/><Relationship Id="rId1" Type="http://schemas.openxmlformats.org/officeDocument/2006/relationships/slideLayout" Target="../slideLayouts/slideLayout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3" Type="http://schemas.openxmlformats.org/officeDocument/2006/relationships/diagramLayout" Target="../diagrams/layout75.xml"/><Relationship Id="rId2" Type="http://schemas.openxmlformats.org/officeDocument/2006/relationships/diagramData" Target="../diagrams/data75.xml"/><Relationship Id="rId1" Type="http://schemas.openxmlformats.org/officeDocument/2006/relationships/slideLayout" Target="../slideLayouts/slideLayout4.xml"/><Relationship Id="rId6" Type="http://schemas.microsoft.com/office/2007/relationships/diagramDrawing" Target="../diagrams/drawing75.xml"/><Relationship Id="rId5" Type="http://schemas.openxmlformats.org/officeDocument/2006/relationships/diagramColors" Target="../diagrams/colors75.xml"/><Relationship Id="rId4" Type="http://schemas.openxmlformats.org/officeDocument/2006/relationships/diagramQuickStyle" Target="../diagrams/quickStyle75.xml"/></Relationships>
</file>

<file path=ppt/slides/_rels/slide164.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diagramLayout" Target="../diagrams/layout76.xml"/><Relationship Id="rId7" Type="http://schemas.openxmlformats.org/officeDocument/2006/relationships/image" Target="../media/image250.jpeg"/><Relationship Id="rId2" Type="http://schemas.openxmlformats.org/officeDocument/2006/relationships/diagramData" Target="../diagrams/data76.xml"/><Relationship Id="rId1" Type="http://schemas.openxmlformats.org/officeDocument/2006/relationships/slideLayout" Target="../slideLayouts/slideLayout4.xml"/><Relationship Id="rId6" Type="http://schemas.microsoft.com/office/2007/relationships/diagramDrawing" Target="../diagrams/drawing76.xml"/><Relationship Id="rId11" Type="http://schemas.openxmlformats.org/officeDocument/2006/relationships/image" Target="../media/image254.png"/><Relationship Id="rId5" Type="http://schemas.openxmlformats.org/officeDocument/2006/relationships/diagramColors" Target="../diagrams/colors76.xml"/><Relationship Id="rId10" Type="http://schemas.openxmlformats.org/officeDocument/2006/relationships/image" Target="../media/image253.jpeg"/><Relationship Id="rId4" Type="http://schemas.openxmlformats.org/officeDocument/2006/relationships/diagramQuickStyle" Target="../diagrams/quickStyle76.xml"/><Relationship Id="rId9" Type="http://schemas.openxmlformats.org/officeDocument/2006/relationships/image" Target="../media/image252.png"/></Relationships>
</file>

<file path=ppt/slides/_rels/slide165.xml.rels><?xml version="1.0" encoding="UTF-8" standalone="yes"?>
<Relationships xmlns="http://schemas.openxmlformats.org/package/2006/relationships"><Relationship Id="rId3" Type="http://schemas.openxmlformats.org/officeDocument/2006/relationships/diagramLayout" Target="../diagrams/layout77.xml"/><Relationship Id="rId7" Type="http://schemas.openxmlformats.org/officeDocument/2006/relationships/image" Target="../media/image255.png"/><Relationship Id="rId2" Type="http://schemas.openxmlformats.org/officeDocument/2006/relationships/diagramData" Target="../diagrams/data77.xml"/><Relationship Id="rId1" Type="http://schemas.openxmlformats.org/officeDocument/2006/relationships/slideLayout" Target="../slideLayouts/slideLayout11.xml"/><Relationship Id="rId6" Type="http://schemas.microsoft.com/office/2007/relationships/diagramDrawing" Target="../diagrams/drawing77.xml"/><Relationship Id="rId5" Type="http://schemas.openxmlformats.org/officeDocument/2006/relationships/diagramColors" Target="../diagrams/colors77.xml"/><Relationship Id="rId4" Type="http://schemas.openxmlformats.org/officeDocument/2006/relationships/diagramQuickStyle" Target="../diagrams/quickStyle77.xml"/></Relationships>
</file>

<file path=ppt/slides/_rels/slide166.xml.rels><?xml version="1.0" encoding="UTF-8" standalone="yes"?>
<Relationships xmlns="http://schemas.openxmlformats.org/package/2006/relationships"><Relationship Id="rId3" Type="http://schemas.openxmlformats.org/officeDocument/2006/relationships/diagramLayout" Target="../diagrams/layout78.xml"/><Relationship Id="rId2" Type="http://schemas.openxmlformats.org/officeDocument/2006/relationships/diagramData" Target="../diagrams/data78.xml"/><Relationship Id="rId1" Type="http://schemas.openxmlformats.org/officeDocument/2006/relationships/slideLayout" Target="../slideLayouts/slideLayout4.xml"/><Relationship Id="rId6" Type="http://schemas.microsoft.com/office/2007/relationships/diagramDrawing" Target="../diagrams/drawing78.xml"/><Relationship Id="rId5" Type="http://schemas.openxmlformats.org/officeDocument/2006/relationships/diagramColors" Target="../diagrams/colors78.xml"/><Relationship Id="rId4" Type="http://schemas.openxmlformats.org/officeDocument/2006/relationships/diagramQuickStyle" Target="../diagrams/quickStyle78.xml"/></Relationships>
</file>

<file path=ppt/slides/_rels/slide167.xml.rels><?xml version="1.0" encoding="UTF-8" standalone="yes"?>
<Relationships xmlns="http://schemas.openxmlformats.org/package/2006/relationships"><Relationship Id="rId3" Type="http://schemas.openxmlformats.org/officeDocument/2006/relationships/diagramLayout" Target="../diagrams/layout79.xml"/><Relationship Id="rId7" Type="http://schemas.openxmlformats.org/officeDocument/2006/relationships/image" Target="../media/image258.png"/><Relationship Id="rId2" Type="http://schemas.openxmlformats.org/officeDocument/2006/relationships/diagramData" Target="../diagrams/data79.xml"/><Relationship Id="rId1" Type="http://schemas.openxmlformats.org/officeDocument/2006/relationships/slideLayout" Target="../slideLayouts/slideLayout11.xml"/><Relationship Id="rId6" Type="http://schemas.microsoft.com/office/2007/relationships/diagramDrawing" Target="../diagrams/drawing79.xml"/><Relationship Id="rId5" Type="http://schemas.openxmlformats.org/officeDocument/2006/relationships/diagramColors" Target="../diagrams/colors79.xml"/><Relationship Id="rId4" Type="http://schemas.openxmlformats.org/officeDocument/2006/relationships/diagramQuickStyle" Target="../diagrams/quickStyle79.xml"/></Relationships>
</file>

<file path=ppt/slides/_rels/slide168.xml.rels><?xml version="1.0" encoding="UTF-8" standalone="yes"?>
<Relationships xmlns="http://schemas.openxmlformats.org/package/2006/relationships"><Relationship Id="rId3" Type="http://schemas.openxmlformats.org/officeDocument/2006/relationships/diagramData" Target="../diagrams/data80.xml"/><Relationship Id="rId7" Type="http://schemas.microsoft.com/office/2007/relationships/diagramDrawing" Target="../diagrams/drawing80.xml"/><Relationship Id="rId2" Type="http://schemas.openxmlformats.org/officeDocument/2006/relationships/image" Target="../media/image259.jpeg"/><Relationship Id="rId1" Type="http://schemas.openxmlformats.org/officeDocument/2006/relationships/slideLayout" Target="../slideLayouts/slideLayout7.xml"/><Relationship Id="rId6" Type="http://schemas.openxmlformats.org/officeDocument/2006/relationships/diagramColors" Target="../diagrams/colors80.xml"/><Relationship Id="rId5" Type="http://schemas.openxmlformats.org/officeDocument/2006/relationships/diagramQuickStyle" Target="../diagrams/quickStyle80.xml"/><Relationship Id="rId4" Type="http://schemas.openxmlformats.org/officeDocument/2006/relationships/diagramLayout" Target="../diagrams/layout80.xml"/></Relationships>
</file>

<file path=ppt/slides/_rels/slide169.xml.rels><?xml version="1.0" encoding="UTF-8" standalone="yes"?>
<Relationships xmlns="http://schemas.openxmlformats.org/package/2006/relationships"><Relationship Id="rId3" Type="http://schemas.openxmlformats.org/officeDocument/2006/relationships/diagramData" Target="../diagrams/data81.xml"/><Relationship Id="rId7" Type="http://schemas.microsoft.com/office/2007/relationships/diagramDrawing" Target="../diagrams/drawing81.xml"/><Relationship Id="rId2" Type="http://schemas.openxmlformats.org/officeDocument/2006/relationships/image" Target="../media/image260.jpeg"/><Relationship Id="rId1" Type="http://schemas.openxmlformats.org/officeDocument/2006/relationships/slideLayout" Target="../slideLayouts/slideLayout7.xml"/><Relationship Id="rId6" Type="http://schemas.openxmlformats.org/officeDocument/2006/relationships/diagramColors" Target="../diagrams/colors81.xml"/><Relationship Id="rId5" Type="http://schemas.openxmlformats.org/officeDocument/2006/relationships/diagramQuickStyle" Target="../diagrams/quickStyle81.xml"/><Relationship Id="rId4" Type="http://schemas.openxmlformats.org/officeDocument/2006/relationships/diagramLayout" Target="../diagrams/layout8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0.xml.rels><?xml version="1.0" encoding="UTF-8" standalone="yes"?>
<Relationships xmlns="http://schemas.openxmlformats.org/package/2006/relationships"><Relationship Id="rId3" Type="http://schemas.openxmlformats.org/officeDocument/2006/relationships/diagramData" Target="../diagrams/data82.xml"/><Relationship Id="rId7" Type="http://schemas.microsoft.com/office/2007/relationships/diagramDrawing" Target="../diagrams/drawing82.xml"/><Relationship Id="rId2" Type="http://schemas.openxmlformats.org/officeDocument/2006/relationships/image" Target="../media/image261.jpeg"/><Relationship Id="rId1" Type="http://schemas.openxmlformats.org/officeDocument/2006/relationships/slideLayout" Target="../slideLayouts/slideLayout7.xml"/><Relationship Id="rId6" Type="http://schemas.openxmlformats.org/officeDocument/2006/relationships/diagramColors" Target="../diagrams/colors82.xml"/><Relationship Id="rId5" Type="http://schemas.openxmlformats.org/officeDocument/2006/relationships/diagramQuickStyle" Target="../diagrams/quickStyle82.xml"/><Relationship Id="rId4" Type="http://schemas.openxmlformats.org/officeDocument/2006/relationships/diagramLayout" Target="../diagrams/layout82.xml"/></Relationships>
</file>

<file path=ppt/slides/_rels/slide171.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3" Type="http://schemas.openxmlformats.org/officeDocument/2006/relationships/diagramLayout" Target="../diagrams/layout83.xml"/><Relationship Id="rId7" Type="http://schemas.openxmlformats.org/officeDocument/2006/relationships/image" Target="../media/image263.png"/><Relationship Id="rId2" Type="http://schemas.openxmlformats.org/officeDocument/2006/relationships/diagramData" Target="../diagrams/data83.xml"/><Relationship Id="rId1" Type="http://schemas.openxmlformats.org/officeDocument/2006/relationships/slideLayout" Target="../slideLayouts/slideLayout4.xml"/><Relationship Id="rId6" Type="http://schemas.microsoft.com/office/2007/relationships/diagramDrawing" Target="../diagrams/drawing83.xml"/><Relationship Id="rId5" Type="http://schemas.openxmlformats.org/officeDocument/2006/relationships/diagramColors" Target="../diagrams/colors83.xml"/><Relationship Id="rId4" Type="http://schemas.openxmlformats.org/officeDocument/2006/relationships/diagramQuickStyle" Target="../diagrams/quickStyle83.xml"/></Relationships>
</file>

<file path=ppt/slides/_rels/slide173.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image" Target="../media/image264.png"/><Relationship Id="rId1" Type="http://schemas.openxmlformats.org/officeDocument/2006/relationships/slideLayout" Target="../slideLayouts/slideLayout6.xml"/></Relationships>
</file>

<file path=ppt/slides/_rels/slide174.xml.rels><?xml version="1.0" encoding="UTF-8" standalone="yes"?>
<Relationships xmlns="http://schemas.openxmlformats.org/package/2006/relationships"><Relationship Id="rId8" Type="http://schemas.openxmlformats.org/officeDocument/2006/relationships/diagramLayout" Target="../diagrams/layout85.xml"/><Relationship Id="rId3" Type="http://schemas.openxmlformats.org/officeDocument/2006/relationships/diagramLayout" Target="../diagrams/layout84.xml"/><Relationship Id="rId7" Type="http://schemas.openxmlformats.org/officeDocument/2006/relationships/diagramData" Target="../diagrams/data85.xml"/><Relationship Id="rId2" Type="http://schemas.openxmlformats.org/officeDocument/2006/relationships/diagramData" Target="../diagrams/data84.xml"/><Relationship Id="rId1" Type="http://schemas.openxmlformats.org/officeDocument/2006/relationships/slideLayout" Target="../slideLayouts/slideLayout8.xml"/><Relationship Id="rId6" Type="http://schemas.microsoft.com/office/2007/relationships/diagramDrawing" Target="../diagrams/drawing84.xml"/><Relationship Id="rId11" Type="http://schemas.microsoft.com/office/2007/relationships/diagramDrawing" Target="../diagrams/drawing85.xml"/><Relationship Id="rId5" Type="http://schemas.openxmlformats.org/officeDocument/2006/relationships/diagramColors" Target="../diagrams/colors84.xml"/><Relationship Id="rId10" Type="http://schemas.openxmlformats.org/officeDocument/2006/relationships/diagramColors" Target="../diagrams/colors85.xml"/><Relationship Id="rId4" Type="http://schemas.openxmlformats.org/officeDocument/2006/relationships/diagramQuickStyle" Target="../diagrams/quickStyle84.xml"/><Relationship Id="rId9" Type="http://schemas.openxmlformats.org/officeDocument/2006/relationships/diagramQuickStyle" Target="../diagrams/quickStyle85.xml"/></Relationships>
</file>

<file path=ppt/slides/_rels/slide175.xml.rels><?xml version="1.0" encoding="UTF-8" standalone="yes"?>
<Relationships xmlns="http://schemas.openxmlformats.org/package/2006/relationships"><Relationship Id="rId3" Type="http://schemas.openxmlformats.org/officeDocument/2006/relationships/diagramLayout" Target="../diagrams/layout86.xml"/><Relationship Id="rId7" Type="http://schemas.openxmlformats.org/officeDocument/2006/relationships/image" Target="../media/image5.jpeg"/><Relationship Id="rId2" Type="http://schemas.openxmlformats.org/officeDocument/2006/relationships/diagramData" Target="../diagrams/data86.xml"/><Relationship Id="rId1" Type="http://schemas.openxmlformats.org/officeDocument/2006/relationships/slideLayout" Target="../slideLayouts/slideLayout4.xml"/><Relationship Id="rId6" Type="http://schemas.microsoft.com/office/2007/relationships/diagramDrawing" Target="../diagrams/drawing86.xml"/><Relationship Id="rId5" Type="http://schemas.openxmlformats.org/officeDocument/2006/relationships/diagramColors" Target="../diagrams/colors86.xml"/><Relationship Id="rId4" Type="http://schemas.openxmlformats.org/officeDocument/2006/relationships/diagramQuickStyle" Target="../diagrams/quickStyle86.xml"/></Relationships>
</file>

<file path=ppt/slides/_rels/slide176.xml.rels><?xml version="1.0" encoding="UTF-8" standalone="yes"?>
<Relationships xmlns="http://schemas.openxmlformats.org/package/2006/relationships"><Relationship Id="rId2" Type="http://schemas.openxmlformats.org/officeDocument/2006/relationships/image" Target="../media/image270.jpeg"/><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3" Type="http://schemas.openxmlformats.org/officeDocument/2006/relationships/diagramLayout" Target="../diagrams/layout87.xml"/><Relationship Id="rId2" Type="http://schemas.openxmlformats.org/officeDocument/2006/relationships/diagramData" Target="../diagrams/data87.xml"/><Relationship Id="rId1" Type="http://schemas.openxmlformats.org/officeDocument/2006/relationships/slideLayout" Target="../slideLayouts/slideLayout4.xml"/><Relationship Id="rId6" Type="http://schemas.microsoft.com/office/2007/relationships/diagramDrawing" Target="../diagrams/drawing87.xml"/><Relationship Id="rId5" Type="http://schemas.openxmlformats.org/officeDocument/2006/relationships/diagramColors" Target="../diagrams/colors87.xml"/><Relationship Id="rId4" Type="http://schemas.openxmlformats.org/officeDocument/2006/relationships/diagramQuickStyle" Target="../diagrams/quickStyle87.xml"/></Relationships>
</file>

<file path=ppt/slides/_rels/slide179.xml.rels><?xml version="1.0" encoding="UTF-8" standalone="yes"?>
<Relationships xmlns="http://schemas.openxmlformats.org/package/2006/relationships"><Relationship Id="rId2" Type="http://schemas.openxmlformats.org/officeDocument/2006/relationships/image" Target="../media/image272.jp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80.xml.rels><?xml version="1.0" encoding="UTF-8" standalone="yes"?>
<Relationships xmlns="http://schemas.openxmlformats.org/package/2006/relationships"><Relationship Id="rId2" Type="http://schemas.openxmlformats.org/officeDocument/2006/relationships/image" Target="../media/image273.jpg"/><Relationship Id="rId1" Type="http://schemas.openxmlformats.org/officeDocument/2006/relationships/slideLayout" Target="../slideLayouts/slideLayout9.xml"/></Relationships>
</file>

<file path=ppt/slides/_rels/slide181.xml.rels><?xml version="1.0" encoding="UTF-8" standalone="yes"?>
<Relationships xmlns="http://schemas.openxmlformats.org/package/2006/relationships"><Relationship Id="rId2" Type="http://schemas.openxmlformats.org/officeDocument/2006/relationships/image" Target="../media/image274.jpg"/><Relationship Id="rId1" Type="http://schemas.openxmlformats.org/officeDocument/2006/relationships/slideLayout" Target="../slideLayouts/slideLayout9.xml"/></Relationships>
</file>

<file path=ppt/slides/_rels/slide182.xml.rels><?xml version="1.0" encoding="UTF-8" standalone="yes"?>
<Relationships xmlns="http://schemas.openxmlformats.org/package/2006/relationships"><Relationship Id="rId2" Type="http://schemas.openxmlformats.org/officeDocument/2006/relationships/image" Target="../media/image275.jpg"/><Relationship Id="rId1" Type="http://schemas.openxmlformats.org/officeDocument/2006/relationships/slideLayout" Target="../slideLayouts/slideLayout9.xml"/></Relationships>
</file>

<file path=ppt/slides/_rels/slide183.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9.xml"/></Relationships>
</file>

<file path=ppt/slides/_rels/slide184.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9.xml"/></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78.png"/></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279.png"/></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5.xml"/></Relationships>
</file>

<file path=ppt/slides/_rels/slide189.xml.rels><?xml version="1.0" encoding="UTF-8" standalone="yes"?>
<Relationships xmlns="http://schemas.openxmlformats.org/package/2006/relationships"><Relationship Id="rId8" Type="http://schemas.openxmlformats.org/officeDocument/2006/relationships/image" Target="../media/image281.png"/><Relationship Id="rId3" Type="http://schemas.openxmlformats.org/officeDocument/2006/relationships/diagramData" Target="../diagrams/data88.xml"/><Relationship Id="rId7" Type="http://schemas.microsoft.com/office/2007/relationships/diagramDrawing" Target="../diagrams/drawing88.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88.xml"/><Relationship Id="rId5" Type="http://schemas.openxmlformats.org/officeDocument/2006/relationships/diagramQuickStyle" Target="../diagrams/quickStyle88.xml"/><Relationship Id="rId4" Type="http://schemas.openxmlformats.org/officeDocument/2006/relationships/diagramLayout" Target="../diagrams/layout88.xml"/></Relationships>
</file>

<file path=ppt/slides/_rels/slide19.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diagramLayout" Target="../diagrams/layout8.xml"/><Relationship Id="rId7" Type="http://schemas.openxmlformats.org/officeDocument/2006/relationships/image" Target="../media/image20.png"/><Relationship Id="rId2" Type="http://schemas.openxmlformats.org/officeDocument/2006/relationships/diagramData" Target="../diagrams/data8.xml"/><Relationship Id="rId1" Type="http://schemas.openxmlformats.org/officeDocument/2006/relationships/slideLayout" Target="../slideLayouts/slideLayout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3" Type="http://schemas.openxmlformats.org/officeDocument/2006/relationships/diagramLayout" Target="../diagrams/layout89.xml"/><Relationship Id="rId2" Type="http://schemas.openxmlformats.org/officeDocument/2006/relationships/diagramData" Target="../diagrams/data89.xml"/><Relationship Id="rId1" Type="http://schemas.openxmlformats.org/officeDocument/2006/relationships/slideLayout" Target="../slideLayouts/slideLayout4.xml"/><Relationship Id="rId6" Type="http://schemas.microsoft.com/office/2007/relationships/diagramDrawing" Target="../diagrams/drawing89.xml"/><Relationship Id="rId5" Type="http://schemas.openxmlformats.org/officeDocument/2006/relationships/diagramColors" Target="../diagrams/colors89.xml"/><Relationship Id="rId4" Type="http://schemas.openxmlformats.org/officeDocument/2006/relationships/diagramQuickStyle" Target="../diagrams/quickStyle89.xml"/></Relationships>
</file>

<file path=ppt/slides/_rels/slide192.xml.rels><?xml version="1.0" encoding="UTF-8" standalone="yes"?>
<Relationships xmlns="http://schemas.openxmlformats.org/package/2006/relationships"><Relationship Id="rId3" Type="http://schemas.openxmlformats.org/officeDocument/2006/relationships/diagramLayout" Target="../diagrams/layout90.xml"/><Relationship Id="rId2" Type="http://schemas.openxmlformats.org/officeDocument/2006/relationships/diagramData" Target="../diagrams/data90.xml"/><Relationship Id="rId1" Type="http://schemas.openxmlformats.org/officeDocument/2006/relationships/slideLayout" Target="../slideLayouts/slideLayout4.xml"/><Relationship Id="rId6" Type="http://schemas.microsoft.com/office/2007/relationships/diagramDrawing" Target="../diagrams/drawing90.xml"/><Relationship Id="rId5" Type="http://schemas.openxmlformats.org/officeDocument/2006/relationships/diagramColors" Target="../diagrams/colors90.xml"/><Relationship Id="rId4" Type="http://schemas.openxmlformats.org/officeDocument/2006/relationships/diagramQuickStyle" Target="../diagrams/quickStyle90.xml"/></Relationships>
</file>

<file path=ppt/slides/_rels/slide193.xml.rels><?xml version="1.0" encoding="UTF-8" standalone="yes"?>
<Relationships xmlns="http://schemas.openxmlformats.org/package/2006/relationships"><Relationship Id="rId3" Type="http://schemas.openxmlformats.org/officeDocument/2006/relationships/diagramLayout" Target="../diagrams/layout91.xml"/><Relationship Id="rId2" Type="http://schemas.openxmlformats.org/officeDocument/2006/relationships/diagramData" Target="../diagrams/data91.xml"/><Relationship Id="rId1" Type="http://schemas.openxmlformats.org/officeDocument/2006/relationships/slideLayout" Target="../slideLayouts/slideLayout8.xml"/><Relationship Id="rId6" Type="http://schemas.microsoft.com/office/2007/relationships/diagramDrawing" Target="../diagrams/drawing91.xml"/><Relationship Id="rId5" Type="http://schemas.openxmlformats.org/officeDocument/2006/relationships/diagramColors" Target="../diagrams/colors91.xml"/><Relationship Id="rId4" Type="http://schemas.openxmlformats.org/officeDocument/2006/relationships/diagramQuickStyle" Target="../diagrams/quickStyle91.xml"/></Relationships>
</file>

<file path=ppt/slides/_rels/slide194.xml.rels><?xml version="1.0" encoding="UTF-8" standalone="yes"?>
<Relationships xmlns="http://schemas.openxmlformats.org/package/2006/relationships"><Relationship Id="rId3" Type="http://schemas.openxmlformats.org/officeDocument/2006/relationships/diagramLayout" Target="../diagrams/layout92.xml"/><Relationship Id="rId2" Type="http://schemas.openxmlformats.org/officeDocument/2006/relationships/diagramData" Target="../diagrams/data92.xml"/><Relationship Id="rId1" Type="http://schemas.openxmlformats.org/officeDocument/2006/relationships/slideLayout" Target="../slideLayouts/slideLayout4.xml"/><Relationship Id="rId6" Type="http://schemas.microsoft.com/office/2007/relationships/diagramDrawing" Target="../diagrams/drawing92.xml"/><Relationship Id="rId5" Type="http://schemas.openxmlformats.org/officeDocument/2006/relationships/diagramColors" Target="../diagrams/colors92.xml"/><Relationship Id="rId4" Type="http://schemas.openxmlformats.org/officeDocument/2006/relationships/diagramQuickStyle" Target="../diagrams/quickStyle9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3" Type="http://schemas.openxmlformats.org/officeDocument/2006/relationships/diagramData" Target="../diagrams/data93.xml"/><Relationship Id="rId7" Type="http://schemas.microsoft.com/office/2007/relationships/diagramDrawing" Target="../diagrams/drawing93.xml"/><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diagramColors" Target="../diagrams/colors93.xml"/><Relationship Id="rId5" Type="http://schemas.openxmlformats.org/officeDocument/2006/relationships/diagramQuickStyle" Target="../diagrams/quickStyle93.xml"/><Relationship Id="rId4" Type="http://schemas.openxmlformats.org/officeDocument/2006/relationships/diagramLayout" Target="../diagrams/layout93.xml"/></Relationships>
</file>

<file path=ppt/slides/_rels/slide197.xml.rels><?xml version="1.0" encoding="UTF-8" standalone="yes"?>
<Relationships xmlns="http://schemas.openxmlformats.org/package/2006/relationships"><Relationship Id="rId2" Type="http://schemas.openxmlformats.org/officeDocument/2006/relationships/image" Target="../media/image285.png"/><Relationship Id="rId1" Type="http://schemas.openxmlformats.org/officeDocument/2006/relationships/slideLayout" Target="../slideLayouts/slideLayout8.xml"/></Relationships>
</file>

<file path=ppt/slides/_rels/slide198.xml.rels><?xml version="1.0" encoding="UTF-8" standalone="yes"?>
<Relationships xmlns="http://schemas.openxmlformats.org/package/2006/relationships"><Relationship Id="rId2" Type="http://schemas.openxmlformats.org/officeDocument/2006/relationships/image" Target="../media/image286.jpeg"/><Relationship Id="rId1" Type="http://schemas.openxmlformats.org/officeDocument/2006/relationships/slideLayout" Target="../slideLayouts/slideLayout8.xml"/></Relationships>
</file>

<file path=ppt/slides/_rels/slide199.xml.rels><?xml version="1.0" encoding="UTF-8" standalone="yes"?>
<Relationships xmlns="http://schemas.openxmlformats.org/package/2006/relationships"><Relationship Id="rId2" Type="http://schemas.openxmlformats.org/officeDocument/2006/relationships/image" Target="../media/image287.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00.xml.rels><?xml version="1.0" encoding="UTF-8" standalone="yes"?>
<Relationships xmlns="http://schemas.openxmlformats.org/package/2006/relationships"><Relationship Id="rId3" Type="http://schemas.openxmlformats.org/officeDocument/2006/relationships/diagramLayout" Target="../diagrams/layout94.xml"/><Relationship Id="rId2" Type="http://schemas.openxmlformats.org/officeDocument/2006/relationships/diagramData" Target="../diagrams/data94.xml"/><Relationship Id="rId1" Type="http://schemas.openxmlformats.org/officeDocument/2006/relationships/slideLayout" Target="../slideLayouts/slideLayout4.xml"/><Relationship Id="rId6" Type="http://schemas.microsoft.com/office/2007/relationships/diagramDrawing" Target="../diagrams/drawing94.xml"/><Relationship Id="rId5" Type="http://schemas.openxmlformats.org/officeDocument/2006/relationships/diagramColors" Target="../diagrams/colors94.xml"/><Relationship Id="rId4" Type="http://schemas.openxmlformats.org/officeDocument/2006/relationships/diagramQuickStyle" Target="../diagrams/quickStyle94.xml"/></Relationships>
</file>

<file path=ppt/slides/_rels/slide201.xml.rels><?xml version="1.0" encoding="UTF-8" standalone="yes"?>
<Relationships xmlns="http://schemas.openxmlformats.org/package/2006/relationships"><Relationship Id="rId3" Type="http://schemas.openxmlformats.org/officeDocument/2006/relationships/diagramLayout" Target="../diagrams/layout95.xml"/><Relationship Id="rId7" Type="http://schemas.openxmlformats.org/officeDocument/2006/relationships/image" Target="../media/image288.jpeg"/><Relationship Id="rId2" Type="http://schemas.openxmlformats.org/officeDocument/2006/relationships/diagramData" Target="../diagrams/data95.xml"/><Relationship Id="rId1" Type="http://schemas.openxmlformats.org/officeDocument/2006/relationships/slideLayout" Target="../slideLayouts/slideLayout5.xml"/><Relationship Id="rId6" Type="http://schemas.microsoft.com/office/2007/relationships/diagramDrawing" Target="../diagrams/drawing95.xml"/><Relationship Id="rId5" Type="http://schemas.openxmlformats.org/officeDocument/2006/relationships/diagramColors" Target="../diagrams/colors95.xml"/><Relationship Id="rId4" Type="http://schemas.openxmlformats.org/officeDocument/2006/relationships/diagramQuickStyle" Target="../diagrams/quickStyle95.xml"/></Relationships>
</file>

<file path=ppt/slides/_rels/slide202.xml.rels><?xml version="1.0" encoding="UTF-8" standalone="yes"?>
<Relationships xmlns="http://schemas.openxmlformats.org/package/2006/relationships"><Relationship Id="rId8" Type="http://schemas.microsoft.com/office/2007/relationships/diagramDrawing" Target="../diagrams/drawing96.xml"/><Relationship Id="rId3" Type="http://schemas.openxmlformats.org/officeDocument/2006/relationships/image" Target="../media/image289.jpeg"/><Relationship Id="rId7" Type="http://schemas.openxmlformats.org/officeDocument/2006/relationships/diagramColors" Target="../diagrams/colors96.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diagramQuickStyle" Target="../diagrams/quickStyle96.xml"/><Relationship Id="rId5" Type="http://schemas.openxmlformats.org/officeDocument/2006/relationships/diagramLayout" Target="../diagrams/layout96.xml"/><Relationship Id="rId4" Type="http://schemas.openxmlformats.org/officeDocument/2006/relationships/diagramData" Target="../diagrams/data96.xml"/></Relationships>
</file>

<file path=ppt/slides/_rels/slide203.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8" Type="http://schemas.openxmlformats.org/officeDocument/2006/relationships/image" Target="../media/image291.png"/><Relationship Id="rId3" Type="http://schemas.openxmlformats.org/officeDocument/2006/relationships/diagramData" Target="../diagrams/data97.xml"/><Relationship Id="rId7" Type="http://schemas.microsoft.com/office/2007/relationships/diagramDrawing" Target="../diagrams/drawing97.xml"/><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diagramColors" Target="../diagrams/colors97.xml"/><Relationship Id="rId5" Type="http://schemas.openxmlformats.org/officeDocument/2006/relationships/diagramQuickStyle" Target="../diagrams/quickStyle97.xml"/><Relationship Id="rId4" Type="http://schemas.openxmlformats.org/officeDocument/2006/relationships/diagramLayout" Target="../diagrams/layout97.xml"/><Relationship Id="rId9" Type="http://schemas.openxmlformats.org/officeDocument/2006/relationships/image" Target="../media/image292.jpeg"/></Relationships>
</file>

<file path=ppt/slides/_rels/slide205.xml.rels><?xml version="1.0" encoding="UTF-8" standalone="yes"?>
<Relationships xmlns="http://schemas.openxmlformats.org/package/2006/relationships"><Relationship Id="rId8" Type="http://schemas.microsoft.com/office/2007/relationships/diagramDrawing" Target="../diagrams/drawing98.xml"/><Relationship Id="rId3" Type="http://schemas.openxmlformats.org/officeDocument/2006/relationships/image" Target="../media/image293.png"/><Relationship Id="rId7" Type="http://schemas.openxmlformats.org/officeDocument/2006/relationships/diagramColors" Target="../diagrams/colors98.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diagramQuickStyle" Target="../diagrams/quickStyle98.xml"/><Relationship Id="rId5" Type="http://schemas.openxmlformats.org/officeDocument/2006/relationships/diagramLayout" Target="../diagrams/layout98.xml"/><Relationship Id="rId4" Type="http://schemas.openxmlformats.org/officeDocument/2006/relationships/diagramData" Target="../diagrams/data98.xml"/></Relationships>
</file>

<file path=ppt/slides/_rels/slide206.xml.rels><?xml version="1.0" encoding="UTF-8" standalone="yes"?>
<Relationships xmlns="http://schemas.openxmlformats.org/package/2006/relationships"><Relationship Id="rId2" Type="http://schemas.openxmlformats.org/officeDocument/2006/relationships/image" Target="../media/image294.jpeg"/><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8" Type="http://schemas.openxmlformats.org/officeDocument/2006/relationships/image" Target="../media/image296.jpeg"/><Relationship Id="rId3" Type="http://schemas.openxmlformats.org/officeDocument/2006/relationships/diagramLayout" Target="../diagrams/layout99.xml"/><Relationship Id="rId7" Type="http://schemas.openxmlformats.org/officeDocument/2006/relationships/image" Target="../media/image295.jpeg"/><Relationship Id="rId2" Type="http://schemas.openxmlformats.org/officeDocument/2006/relationships/diagramData" Target="../diagrams/data99.xml"/><Relationship Id="rId1" Type="http://schemas.openxmlformats.org/officeDocument/2006/relationships/slideLayout" Target="../slideLayouts/slideLayout8.xml"/><Relationship Id="rId6" Type="http://schemas.microsoft.com/office/2007/relationships/diagramDrawing" Target="../diagrams/drawing99.xml"/><Relationship Id="rId5" Type="http://schemas.openxmlformats.org/officeDocument/2006/relationships/diagramColors" Target="../diagrams/colors99.xml"/><Relationship Id="rId4" Type="http://schemas.openxmlformats.org/officeDocument/2006/relationships/diagramQuickStyle" Target="../diagrams/quickStyle99.xml"/></Relationships>
</file>

<file path=ppt/slides/_rels/slide208.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8.xml"/></Relationships>
</file>

<file path=ppt/slides/_rels/slide209.xml.rels><?xml version="1.0" encoding="UTF-8" standalone="yes"?>
<Relationships xmlns="http://schemas.openxmlformats.org/package/2006/relationships"><Relationship Id="rId3" Type="http://schemas.openxmlformats.org/officeDocument/2006/relationships/diagramLayout" Target="../diagrams/layout100.xml"/><Relationship Id="rId7" Type="http://schemas.openxmlformats.org/officeDocument/2006/relationships/image" Target="../media/image298.jpeg"/><Relationship Id="rId2" Type="http://schemas.openxmlformats.org/officeDocument/2006/relationships/diagramData" Target="../diagrams/data100.xml"/><Relationship Id="rId1" Type="http://schemas.openxmlformats.org/officeDocument/2006/relationships/slideLayout" Target="../slideLayouts/slideLayout11.xml"/><Relationship Id="rId6" Type="http://schemas.microsoft.com/office/2007/relationships/diagramDrawing" Target="../diagrams/drawing100.xml"/><Relationship Id="rId5" Type="http://schemas.openxmlformats.org/officeDocument/2006/relationships/diagramColors" Target="../diagrams/colors100.xml"/><Relationship Id="rId4" Type="http://schemas.openxmlformats.org/officeDocument/2006/relationships/diagramQuickStyle" Target="../diagrams/quickStyle100.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22.png"/></Relationships>
</file>

<file path=ppt/slides/_rels/slide210.xml.rels><?xml version="1.0" encoding="UTF-8" standalone="yes"?>
<Relationships xmlns="http://schemas.openxmlformats.org/package/2006/relationships"><Relationship Id="rId2" Type="http://schemas.openxmlformats.org/officeDocument/2006/relationships/image" Target="../media/image299.jpg"/><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8" Type="http://schemas.openxmlformats.org/officeDocument/2006/relationships/image" Target="../media/image300.jpeg"/><Relationship Id="rId3" Type="http://schemas.openxmlformats.org/officeDocument/2006/relationships/diagramData" Target="../diagrams/data101.xml"/><Relationship Id="rId7" Type="http://schemas.microsoft.com/office/2007/relationships/diagramDrawing" Target="../diagrams/drawing101.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101.xml"/><Relationship Id="rId11" Type="http://schemas.openxmlformats.org/officeDocument/2006/relationships/image" Target="../media/image303.png"/><Relationship Id="rId5" Type="http://schemas.openxmlformats.org/officeDocument/2006/relationships/diagramQuickStyle" Target="../diagrams/quickStyle101.xml"/><Relationship Id="rId10" Type="http://schemas.openxmlformats.org/officeDocument/2006/relationships/image" Target="../media/image302.png"/><Relationship Id="rId4" Type="http://schemas.openxmlformats.org/officeDocument/2006/relationships/diagramLayout" Target="../diagrams/layout101.xml"/><Relationship Id="rId9" Type="http://schemas.openxmlformats.org/officeDocument/2006/relationships/image" Target="../media/image301.jpeg"/></Relationships>
</file>

<file path=ppt/slides/_rels/slide212.xml.rels><?xml version="1.0" encoding="UTF-8" standalone="yes"?>
<Relationships xmlns="http://schemas.openxmlformats.org/package/2006/relationships"><Relationship Id="rId3" Type="http://schemas.openxmlformats.org/officeDocument/2006/relationships/diagramLayout" Target="../diagrams/layout102.xml"/><Relationship Id="rId2" Type="http://schemas.openxmlformats.org/officeDocument/2006/relationships/diagramData" Target="../diagrams/data102.xml"/><Relationship Id="rId1" Type="http://schemas.openxmlformats.org/officeDocument/2006/relationships/slideLayout" Target="../slideLayouts/slideLayout8.xml"/><Relationship Id="rId6" Type="http://schemas.microsoft.com/office/2007/relationships/diagramDrawing" Target="../diagrams/drawing102.xml"/><Relationship Id="rId5" Type="http://schemas.openxmlformats.org/officeDocument/2006/relationships/diagramColors" Target="../diagrams/colors102.xml"/><Relationship Id="rId4" Type="http://schemas.openxmlformats.org/officeDocument/2006/relationships/diagramQuickStyle" Target="../diagrams/quickStyle102.xml"/></Relationships>
</file>

<file path=ppt/slides/_rels/slide21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0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04.emf"/><Relationship Id="rId5" Type="http://schemas.openxmlformats.org/officeDocument/2006/relationships/oleObject" Target="../embeddings/oleObject1.bin"/><Relationship Id="rId4" Type="http://schemas.openxmlformats.org/officeDocument/2006/relationships/notesSlide" Target="../notesSlides/notesSlide34.xml"/></Relationships>
</file>

<file path=ppt/slides/_rels/slide214.xml.rels><?xml version="1.0" encoding="UTF-8" standalone="yes"?>
<Relationships xmlns="http://schemas.openxmlformats.org/package/2006/relationships"><Relationship Id="rId2" Type="http://schemas.openxmlformats.org/officeDocument/2006/relationships/image" Target="../media/image306.jpeg"/><Relationship Id="rId1" Type="http://schemas.openxmlformats.org/officeDocument/2006/relationships/slideLayout" Target="../slideLayouts/slideLayout5.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04.emf"/><Relationship Id="rId5" Type="http://schemas.openxmlformats.org/officeDocument/2006/relationships/oleObject" Target="../embeddings/oleObject2.bin"/><Relationship Id="rId4" Type="http://schemas.openxmlformats.org/officeDocument/2006/relationships/notesSlide" Target="../notesSlides/notesSlide35.xml"/></Relationships>
</file>

<file path=ppt/slides/_rels/slide217.xml.rels><?xml version="1.0" encoding="UTF-8" standalone="yes"?>
<Relationships xmlns="http://schemas.openxmlformats.org/package/2006/relationships"><Relationship Id="rId3" Type="http://schemas.openxmlformats.org/officeDocument/2006/relationships/diagramLayout" Target="../diagrams/layout103.xml"/><Relationship Id="rId7" Type="http://schemas.openxmlformats.org/officeDocument/2006/relationships/image" Target="../media/image307.png"/><Relationship Id="rId2" Type="http://schemas.openxmlformats.org/officeDocument/2006/relationships/diagramData" Target="../diagrams/data103.xml"/><Relationship Id="rId1" Type="http://schemas.openxmlformats.org/officeDocument/2006/relationships/slideLayout" Target="../slideLayouts/slideLayout5.xml"/><Relationship Id="rId6" Type="http://schemas.microsoft.com/office/2007/relationships/diagramDrawing" Target="../diagrams/drawing103.xml"/><Relationship Id="rId5" Type="http://schemas.openxmlformats.org/officeDocument/2006/relationships/diagramColors" Target="../diagrams/colors103.xml"/><Relationship Id="rId4" Type="http://schemas.openxmlformats.org/officeDocument/2006/relationships/diagramQuickStyle" Target="../diagrams/quickStyle103.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9.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5.jpeg"/><Relationship Id="rId2" Type="http://schemas.openxmlformats.org/officeDocument/2006/relationships/diagramData" Target="../diagrams/data11.xml"/><Relationship Id="rId1" Type="http://schemas.openxmlformats.org/officeDocument/2006/relationships/slideLayout" Target="../slideLayouts/slideLayout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0.xml.rels><?xml version="1.0" encoding="UTF-8" standalone="yes"?>
<Relationships xmlns="http://schemas.openxmlformats.org/package/2006/relationships"><Relationship Id="rId8" Type="http://schemas.openxmlformats.org/officeDocument/2006/relationships/diagramLayout" Target="../diagrams/layout105.xml"/><Relationship Id="rId3" Type="http://schemas.openxmlformats.org/officeDocument/2006/relationships/diagramLayout" Target="../diagrams/layout104.xml"/><Relationship Id="rId7" Type="http://schemas.openxmlformats.org/officeDocument/2006/relationships/diagramData" Target="../diagrams/data105.xml"/><Relationship Id="rId2" Type="http://schemas.openxmlformats.org/officeDocument/2006/relationships/diagramData" Target="../diagrams/data104.xml"/><Relationship Id="rId1" Type="http://schemas.openxmlformats.org/officeDocument/2006/relationships/slideLayout" Target="../slideLayouts/slideLayout6.xml"/><Relationship Id="rId6" Type="http://schemas.microsoft.com/office/2007/relationships/diagramDrawing" Target="../diagrams/drawing104.xml"/><Relationship Id="rId11" Type="http://schemas.microsoft.com/office/2007/relationships/diagramDrawing" Target="../diagrams/drawing105.xml"/><Relationship Id="rId5" Type="http://schemas.openxmlformats.org/officeDocument/2006/relationships/diagramColors" Target="../diagrams/colors104.xml"/><Relationship Id="rId10" Type="http://schemas.openxmlformats.org/officeDocument/2006/relationships/diagramColors" Target="../diagrams/colors105.xml"/><Relationship Id="rId4" Type="http://schemas.openxmlformats.org/officeDocument/2006/relationships/diagramQuickStyle" Target="../diagrams/quickStyle104.xml"/><Relationship Id="rId9" Type="http://schemas.openxmlformats.org/officeDocument/2006/relationships/diagramQuickStyle" Target="../diagrams/quickStyle105.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3" Type="http://schemas.openxmlformats.org/officeDocument/2006/relationships/diagramLayout" Target="../diagrams/layout106.xml"/><Relationship Id="rId2" Type="http://schemas.openxmlformats.org/officeDocument/2006/relationships/diagramData" Target="../diagrams/data106.xml"/><Relationship Id="rId1" Type="http://schemas.openxmlformats.org/officeDocument/2006/relationships/slideLayout" Target="../slideLayouts/slideLayout8.xml"/><Relationship Id="rId6" Type="http://schemas.microsoft.com/office/2007/relationships/diagramDrawing" Target="../diagrams/drawing106.xml"/><Relationship Id="rId5" Type="http://schemas.openxmlformats.org/officeDocument/2006/relationships/diagramColors" Target="../diagrams/colors106.xml"/><Relationship Id="rId4" Type="http://schemas.openxmlformats.org/officeDocument/2006/relationships/diagramQuickStyle" Target="../diagrams/quickStyle106.xml"/></Relationships>
</file>

<file path=ppt/slides/_rels/slide223.xml.rels><?xml version="1.0" encoding="UTF-8" standalone="yes"?>
<Relationships xmlns="http://schemas.openxmlformats.org/package/2006/relationships"><Relationship Id="rId2" Type="http://schemas.openxmlformats.org/officeDocument/2006/relationships/image" Target="../media/image311.png"/><Relationship Id="rId1" Type="http://schemas.openxmlformats.org/officeDocument/2006/relationships/slideLayout" Target="../slideLayouts/slideLayout4.xml"/></Relationships>
</file>

<file path=ppt/slides/_rels/slide224.xml.rels><?xml version="1.0" encoding="UTF-8" standalone="yes"?>
<Relationships xmlns="http://schemas.openxmlformats.org/package/2006/relationships"><Relationship Id="rId3" Type="http://schemas.openxmlformats.org/officeDocument/2006/relationships/diagramLayout" Target="../diagrams/layout107.xml"/><Relationship Id="rId7" Type="http://schemas.openxmlformats.org/officeDocument/2006/relationships/image" Target="../media/image312.jpeg"/><Relationship Id="rId2" Type="http://schemas.openxmlformats.org/officeDocument/2006/relationships/diagramData" Target="../diagrams/data107.xml"/><Relationship Id="rId1" Type="http://schemas.openxmlformats.org/officeDocument/2006/relationships/slideLayout" Target="../slideLayouts/slideLayout4.xml"/><Relationship Id="rId6" Type="http://schemas.microsoft.com/office/2007/relationships/diagramDrawing" Target="../diagrams/drawing107.xml"/><Relationship Id="rId5" Type="http://schemas.openxmlformats.org/officeDocument/2006/relationships/diagramColors" Target="../diagrams/colors107.xml"/><Relationship Id="rId4" Type="http://schemas.openxmlformats.org/officeDocument/2006/relationships/diagramQuickStyle" Target="../diagrams/quickStyle107.xml"/></Relationships>
</file>

<file path=ppt/slides/_rels/slide225.xml.rels><?xml version="1.0" encoding="UTF-8" standalone="yes"?>
<Relationships xmlns="http://schemas.openxmlformats.org/package/2006/relationships"><Relationship Id="rId3" Type="http://schemas.openxmlformats.org/officeDocument/2006/relationships/diagramLayout" Target="../diagrams/layout108.xml"/><Relationship Id="rId7" Type="http://schemas.openxmlformats.org/officeDocument/2006/relationships/image" Target="../media/image313.png"/><Relationship Id="rId2" Type="http://schemas.openxmlformats.org/officeDocument/2006/relationships/diagramData" Target="../diagrams/data108.xml"/><Relationship Id="rId1" Type="http://schemas.openxmlformats.org/officeDocument/2006/relationships/slideLayout" Target="../slideLayouts/slideLayout11.xml"/><Relationship Id="rId6" Type="http://schemas.microsoft.com/office/2007/relationships/diagramDrawing" Target="../diagrams/drawing108.xml"/><Relationship Id="rId5" Type="http://schemas.openxmlformats.org/officeDocument/2006/relationships/diagramColors" Target="../diagrams/colors108.xml"/><Relationship Id="rId4" Type="http://schemas.openxmlformats.org/officeDocument/2006/relationships/diagramQuickStyle" Target="../diagrams/quickStyle108.xml"/></Relationships>
</file>

<file path=ppt/slides/_rels/slide226.xml.rels><?xml version="1.0" encoding="UTF-8" standalone="yes"?>
<Relationships xmlns="http://schemas.openxmlformats.org/package/2006/relationships"><Relationship Id="rId3" Type="http://schemas.openxmlformats.org/officeDocument/2006/relationships/diagramLayout" Target="../diagrams/layout109.xml"/><Relationship Id="rId7" Type="http://schemas.openxmlformats.org/officeDocument/2006/relationships/image" Target="../media/image314.jpeg"/><Relationship Id="rId2" Type="http://schemas.openxmlformats.org/officeDocument/2006/relationships/diagramData" Target="../diagrams/data109.xml"/><Relationship Id="rId1" Type="http://schemas.openxmlformats.org/officeDocument/2006/relationships/slideLayout" Target="../slideLayouts/slideLayout5.xml"/><Relationship Id="rId6" Type="http://schemas.microsoft.com/office/2007/relationships/diagramDrawing" Target="../diagrams/drawing109.xml"/><Relationship Id="rId5" Type="http://schemas.openxmlformats.org/officeDocument/2006/relationships/diagramColors" Target="../diagrams/colors109.xml"/><Relationship Id="rId4" Type="http://schemas.openxmlformats.org/officeDocument/2006/relationships/diagramQuickStyle" Target="../diagrams/quickStyle109.xml"/></Relationships>
</file>

<file path=ppt/slides/_rels/slide227.xml.rels><?xml version="1.0" encoding="UTF-8" standalone="yes"?>
<Relationships xmlns="http://schemas.openxmlformats.org/package/2006/relationships"><Relationship Id="rId3" Type="http://schemas.openxmlformats.org/officeDocument/2006/relationships/diagramLayout" Target="../diagrams/layout110.xml"/><Relationship Id="rId7" Type="http://schemas.openxmlformats.org/officeDocument/2006/relationships/image" Target="../media/image314.jpeg"/><Relationship Id="rId2" Type="http://schemas.openxmlformats.org/officeDocument/2006/relationships/diagramData" Target="../diagrams/data110.xml"/><Relationship Id="rId1" Type="http://schemas.openxmlformats.org/officeDocument/2006/relationships/slideLayout" Target="../slideLayouts/slideLayout11.xml"/><Relationship Id="rId6" Type="http://schemas.microsoft.com/office/2007/relationships/diagramDrawing" Target="../diagrams/drawing110.xml"/><Relationship Id="rId5" Type="http://schemas.openxmlformats.org/officeDocument/2006/relationships/diagramColors" Target="../diagrams/colors110.xml"/><Relationship Id="rId4" Type="http://schemas.openxmlformats.org/officeDocument/2006/relationships/diagramQuickStyle" Target="../diagrams/quickStyle110.xml"/></Relationships>
</file>

<file path=ppt/slides/_rels/slide228.xml.rels><?xml version="1.0" encoding="UTF-8" standalone="yes"?>
<Relationships xmlns="http://schemas.openxmlformats.org/package/2006/relationships"><Relationship Id="rId3" Type="http://schemas.openxmlformats.org/officeDocument/2006/relationships/diagramLayout" Target="../diagrams/layout111.xml"/><Relationship Id="rId7" Type="http://schemas.openxmlformats.org/officeDocument/2006/relationships/image" Target="../media/image315.png"/><Relationship Id="rId2" Type="http://schemas.openxmlformats.org/officeDocument/2006/relationships/diagramData" Target="../diagrams/data111.xml"/><Relationship Id="rId1" Type="http://schemas.openxmlformats.org/officeDocument/2006/relationships/slideLayout" Target="../slideLayouts/slideLayout11.xml"/><Relationship Id="rId6" Type="http://schemas.microsoft.com/office/2007/relationships/diagramDrawing" Target="../diagrams/drawing111.xml"/><Relationship Id="rId5" Type="http://schemas.openxmlformats.org/officeDocument/2006/relationships/diagramColors" Target="../diagrams/colors111.xml"/><Relationship Id="rId4" Type="http://schemas.openxmlformats.org/officeDocument/2006/relationships/diagramQuickStyle" Target="../diagrams/quickStyle111.xml"/></Relationships>
</file>

<file path=ppt/slides/_rels/slide229.xml.rels><?xml version="1.0" encoding="UTF-8" standalone="yes"?>
<Relationships xmlns="http://schemas.openxmlformats.org/package/2006/relationships"><Relationship Id="rId2" Type="http://schemas.openxmlformats.org/officeDocument/2006/relationships/image" Target="../media/image31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230.xml.rels><?xml version="1.0" encoding="UTF-8" standalone="yes"?>
<Relationships xmlns="http://schemas.openxmlformats.org/package/2006/relationships"><Relationship Id="rId3" Type="http://schemas.openxmlformats.org/officeDocument/2006/relationships/diagramLayout" Target="../diagrams/layout112.xml"/><Relationship Id="rId7" Type="http://schemas.openxmlformats.org/officeDocument/2006/relationships/image" Target="../media/image317.png"/><Relationship Id="rId2" Type="http://schemas.openxmlformats.org/officeDocument/2006/relationships/diagramData" Target="../diagrams/data112.xml"/><Relationship Id="rId1" Type="http://schemas.openxmlformats.org/officeDocument/2006/relationships/slideLayout" Target="../slideLayouts/slideLayout11.xml"/><Relationship Id="rId6" Type="http://schemas.microsoft.com/office/2007/relationships/diagramDrawing" Target="../diagrams/drawing112.xml"/><Relationship Id="rId5" Type="http://schemas.openxmlformats.org/officeDocument/2006/relationships/diagramColors" Target="../diagrams/colors112.xml"/><Relationship Id="rId4" Type="http://schemas.openxmlformats.org/officeDocument/2006/relationships/diagramQuickStyle" Target="../diagrams/quickStyle112.xml"/></Relationships>
</file>

<file path=ppt/slides/_rels/slide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232.xml.rels><?xml version="1.0" encoding="UTF-8" standalone="yes"?>
<Relationships xmlns="http://schemas.openxmlformats.org/package/2006/relationships"><Relationship Id="rId2" Type="http://schemas.openxmlformats.org/officeDocument/2006/relationships/image" Target="../media/image318.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5.jpeg"/><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jpe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Layout" Target="../diagrams/layout13.xml"/><Relationship Id="rId7" Type="http://schemas.openxmlformats.org/officeDocument/2006/relationships/image" Target="../media/image28.jpeg"/><Relationship Id="rId2" Type="http://schemas.openxmlformats.org/officeDocument/2006/relationships/diagramData" Target="../diagrams/data13.xml"/><Relationship Id="rId1" Type="http://schemas.openxmlformats.org/officeDocument/2006/relationships/slideLayout" Target="../slideLayouts/slideLayout11.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5.jpeg"/><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8.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5.jpeg"/><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9.xml"/><Relationship Id="rId7" Type="http://schemas.openxmlformats.org/officeDocument/2006/relationships/image" Target="../media/image39.jpeg"/><Relationship Id="rId2" Type="http://schemas.openxmlformats.org/officeDocument/2006/relationships/diagramData" Target="../diagrams/data19.xml"/><Relationship Id="rId1" Type="http://schemas.openxmlformats.org/officeDocument/2006/relationships/slideLayout" Target="../slideLayouts/slideLayout5.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0.xml"/><Relationship Id="rId7" Type="http://schemas.openxmlformats.org/officeDocument/2006/relationships/image" Target="../media/image5.jpeg"/><Relationship Id="rId2" Type="http://schemas.openxmlformats.org/officeDocument/2006/relationships/diagramData" Target="../diagrams/data20.xml"/><Relationship Id="rId1" Type="http://schemas.openxmlformats.org/officeDocument/2006/relationships/slideLayout" Target="../slideLayouts/slideLayout4.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4.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diagramLayout" Target="../diagrams/layout22.xml"/><Relationship Id="rId7" Type="http://schemas.openxmlformats.org/officeDocument/2006/relationships/image" Target="../media/image40.png"/><Relationship Id="rId2" Type="http://schemas.openxmlformats.org/officeDocument/2006/relationships/diagramData" Target="../diagrams/data22.xml"/><Relationship Id="rId1" Type="http://schemas.openxmlformats.org/officeDocument/2006/relationships/slideLayout" Target="../slideLayouts/slideLayout8.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51.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image" Target="../media/image42.gif"/><Relationship Id="rId1" Type="http://schemas.openxmlformats.org/officeDocument/2006/relationships/slideLayout" Target="../slideLayouts/slideLayout6.xml"/><Relationship Id="rId6" Type="http://schemas.openxmlformats.org/officeDocument/2006/relationships/image" Target="../media/image46.wmf"/><Relationship Id="rId5" Type="http://schemas.openxmlformats.org/officeDocument/2006/relationships/image" Target="../media/image45.wmf"/><Relationship Id="rId4" Type="http://schemas.openxmlformats.org/officeDocument/2006/relationships/image" Target="../media/image44.png"/></Relationships>
</file>

<file path=ppt/slides/_rels/slide52.xml.rels><?xml version="1.0" encoding="UTF-8" standalone="yes"?>
<Relationships xmlns="http://schemas.openxmlformats.org/package/2006/relationships"><Relationship Id="rId8" Type="http://schemas.microsoft.com/office/2007/relationships/diagramDrawing" Target="../diagrams/drawing23.xml"/><Relationship Id="rId3" Type="http://schemas.microsoft.com/office/2007/relationships/hdphoto" Target="../media/hdphoto10.wdp"/><Relationship Id="rId7" Type="http://schemas.openxmlformats.org/officeDocument/2006/relationships/diagramColors" Target="../diagrams/colors23.xml"/><Relationship Id="rId2" Type="http://schemas.openxmlformats.org/officeDocument/2006/relationships/image" Target="../media/image49.png"/><Relationship Id="rId1" Type="http://schemas.openxmlformats.org/officeDocument/2006/relationships/slideLayout" Target="../slideLayouts/slideLayout8.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 Id="rId9" Type="http://schemas.openxmlformats.org/officeDocument/2006/relationships/image" Target="../media/image57.jpeg"/></Relationships>
</file>

<file path=ppt/slides/_rels/slide5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Layout" Target="../diagrams/layout25.xml"/><Relationship Id="rId7" Type="http://schemas.openxmlformats.org/officeDocument/2006/relationships/image" Target="../media/image51.jpeg"/><Relationship Id="rId2" Type="http://schemas.openxmlformats.org/officeDocument/2006/relationships/diagramData" Target="../diagrams/data25.xml"/><Relationship Id="rId1" Type="http://schemas.openxmlformats.org/officeDocument/2006/relationships/slideLayout" Target="../slideLayouts/slideLayout8.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5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diagramLayout" Target="../diagrams/layout26.xml"/><Relationship Id="rId7" Type="http://schemas.openxmlformats.org/officeDocument/2006/relationships/slide" Target="slide59.xml"/><Relationship Id="rId12" Type="http://schemas.openxmlformats.org/officeDocument/2006/relationships/image" Target="../media/image62.png"/><Relationship Id="rId2" Type="http://schemas.openxmlformats.org/officeDocument/2006/relationships/diagramData" Target="../diagrams/data26.xml"/><Relationship Id="rId1" Type="http://schemas.openxmlformats.org/officeDocument/2006/relationships/slideLayout" Target="../slideLayouts/slideLayout8.xml"/><Relationship Id="rId6" Type="http://schemas.microsoft.com/office/2007/relationships/diagramDrawing" Target="../diagrams/drawing26.xml"/><Relationship Id="rId11" Type="http://schemas.openxmlformats.org/officeDocument/2006/relationships/image" Target="../media/image61.jpeg"/><Relationship Id="rId5" Type="http://schemas.openxmlformats.org/officeDocument/2006/relationships/diagramColors" Target="../diagrams/colors26.xml"/><Relationship Id="rId10" Type="http://schemas.openxmlformats.org/officeDocument/2006/relationships/image" Target="../media/image60.jpeg"/><Relationship Id="rId4" Type="http://schemas.openxmlformats.org/officeDocument/2006/relationships/diagramQuickStyle" Target="../diagrams/quickStyle26.xml"/><Relationship Id="rId9" Type="http://schemas.openxmlformats.org/officeDocument/2006/relationships/slide" Target="slide60.xml"/></Relationships>
</file>

<file path=ppt/slides/_rels/slide59.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diagramLayout" Target="../diagrams/layout27.xml"/><Relationship Id="rId7" Type="http://schemas.openxmlformats.org/officeDocument/2006/relationships/image" Target="../media/image63.jpeg"/><Relationship Id="rId2" Type="http://schemas.openxmlformats.org/officeDocument/2006/relationships/diagramData" Target="../diagrams/data27.xml"/><Relationship Id="rId1" Type="http://schemas.openxmlformats.org/officeDocument/2006/relationships/slideLayout" Target="../slideLayouts/slideLayout11.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 Id="rId9" Type="http://schemas.openxmlformats.org/officeDocument/2006/relationships/slide" Target="slide58.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28.xml"/><Relationship Id="rId7" Type="http://schemas.openxmlformats.org/officeDocument/2006/relationships/image" Target="../media/image60.jpeg"/><Relationship Id="rId2" Type="http://schemas.openxmlformats.org/officeDocument/2006/relationships/diagramData" Target="../diagrams/data28.xml"/><Relationship Id="rId1" Type="http://schemas.openxmlformats.org/officeDocument/2006/relationships/slideLayout" Target="../slideLayouts/slideLayout8.xml"/><Relationship Id="rId6" Type="http://schemas.microsoft.com/office/2007/relationships/diagramDrawing" Target="../diagrams/drawing28.xml"/><Relationship Id="rId5" Type="http://schemas.openxmlformats.org/officeDocument/2006/relationships/diagramColors" Target="../diagrams/colors28.xml"/><Relationship Id="rId4" Type="http://schemas.openxmlformats.org/officeDocument/2006/relationships/diagramQuickStyle" Target="../diagrams/quickStyle28.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29.xml"/><Relationship Id="rId7" Type="http://schemas.openxmlformats.org/officeDocument/2006/relationships/image" Target="../media/image64.jpeg"/><Relationship Id="rId2" Type="http://schemas.openxmlformats.org/officeDocument/2006/relationships/diagramData" Target="../diagrams/data29.xml"/><Relationship Id="rId1" Type="http://schemas.openxmlformats.org/officeDocument/2006/relationships/slideLayout" Target="../slideLayouts/slideLayout11.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6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microsoft.com/office/2007/relationships/hdphoto" Target="../media/hdphoto11.wdp"/></Relationships>
</file>

<file path=ppt/slides/_rels/slide6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6.png"/><Relationship Id="rId1" Type="http://schemas.openxmlformats.org/officeDocument/2006/relationships/slideLayout" Target="../slideLayouts/slideLayout10.xml"/><Relationship Id="rId5" Type="http://schemas.openxmlformats.org/officeDocument/2006/relationships/hyperlink" Target="https://www.agroptima.com/blog/novedades-pac-2018/" TargetMode="External"/><Relationship Id="rId4" Type="http://schemas.openxmlformats.org/officeDocument/2006/relationships/hyperlink" Target="https://pac.jcyl.es/web/jcyl/PAC/es/Plantilla100/1284786011392/_/_/_" TargetMode="External"/></Relationships>
</file>

<file path=ppt/slides/_rels/slide6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30.xml"/><Relationship Id="rId5" Type="http://schemas.openxmlformats.org/officeDocument/2006/relationships/diagramQuickStyle" Target="../diagrams/quickStyle30.xml"/><Relationship Id="rId10" Type="http://schemas.openxmlformats.org/officeDocument/2006/relationships/image" Target="../media/image69.png"/><Relationship Id="rId4" Type="http://schemas.openxmlformats.org/officeDocument/2006/relationships/diagramLayout" Target="../diagrams/layout30.xml"/><Relationship Id="rId9" Type="http://schemas.openxmlformats.org/officeDocument/2006/relationships/image" Target="../media/image68.jpeg"/></Relationships>
</file>

<file path=ppt/slides/_rels/slide65.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76.pn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diagramLayout" Target="../diagrams/layout31.xml"/><Relationship Id="rId7" Type="http://schemas.openxmlformats.org/officeDocument/2006/relationships/image" Target="../media/image78.jpeg"/><Relationship Id="rId2" Type="http://schemas.openxmlformats.org/officeDocument/2006/relationships/diagramData" Target="../diagrams/data31.xml"/><Relationship Id="rId1" Type="http://schemas.openxmlformats.org/officeDocument/2006/relationships/slideLayout" Target="../slideLayouts/slideLayout11.xml"/><Relationship Id="rId6" Type="http://schemas.microsoft.com/office/2007/relationships/diagramDrawing" Target="../diagrams/drawing31.xml"/><Relationship Id="rId5" Type="http://schemas.openxmlformats.org/officeDocument/2006/relationships/diagramColors" Target="../diagrams/colors31.xml"/><Relationship Id="rId4" Type="http://schemas.openxmlformats.org/officeDocument/2006/relationships/diagramQuickStyle" Target="../diagrams/quickStyle31.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32.xml"/><Relationship Id="rId7" Type="http://schemas.openxmlformats.org/officeDocument/2006/relationships/image" Target="../media/image79.png"/><Relationship Id="rId2" Type="http://schemas.openxmlformats.org/officeDocument/2006/relationships/diagramData" Target="../diagrams/data32.xml"/><Relationship Id="rId1" Type="http://schemas.openxmlformats.org/officeDocument/2006/relationships/slideLayout" Target="../slideLayouts/slideLayout11.xml"/><Relationship Id="rId6" Type="http://schemas.microsoft.com/office/2007/relationships/diagramDrawing" Target="../diagrams/drawing32.xml"/><Relationship Id="rId5" Type="http://schemas.openxmlformats.org/officeDocument/2006/relationships/diagramColors" Target="../diagrams/colors32.xml"/><Relationship Id="rId4" Type="http://schemas.openxmlformats.org/officeDocument/2006/relationships/diagramQuickStyle" Target="../diagrams/quickStyle32.xml"/></Relationships>
</file>

<file path=ppt/slides/_rels/slide7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8" Type="http://schemas.openxmlformats.org/officeDocument/2006/relationships/diagramLayout" Target="../diagrams/layout34.xml"/><Relationship Id="rId3" Type="http://schemas.openxmlformats.org/officeDocument/2006/relationships/diagramLayout" Target="../diagrams/layout33.xml"/><Relationship Id="rId7" Type="http://schemas.openxmlformats.org/officeDocument/2006/relationships/diagramData" Target="../diagrams/data34.xml"/><Relationship Id="rId12" Type="http://schemas.openxmlformats.org/officeDocument/2006/relationships/image" Target="../media/image82.png"/><Relationship Id="rId2" Type="http://schemas.openxmlformats.org/officeDocument/2006/relationships/diagramData" Target="../diagrams/data33.xml"/><Relationship Id="rId1" Type="http://schemas.openxmlformats.org/officeDocument/2006/relationships/slideLayout" Target="../slideLayouts/slideLayout6.xml"/><Relationship Id="rId6" Type="http://schemas.microsoft.com/office/2007/relationships/diagramDrawing" Target="../diagrams/drawing33.xml"/><Relationship Id="rId11" Type="http://schemas.microsoft.com/office/2007/relationships/diagramDrawing" Target="../diagrams/drawing34.xml"/><Relationship Id="rId5" Type="http://schemas.openxmlformats.org/officeDocument/2006/relationships/diagramColors" Target="../diagrams/colors33.xml"/><Relationship Id="rId10" Type="http://schemas.openxmlformats.org/officeDocument/2006/relationships/diagramColors" Target="../diagrams/colors34.xml"/><Relationship Id="rId4" Type="http://schemas.openxmlformats.org/officeDocument/2006/relationships/diagramQuickStyle" Target="../diagrams/quickStyle33.xml"/><Relationship Id="rId9" Type="http://schemas.openxmlformats.org/officeDocument/2006/relationships/diagramQuickStyle" Target="../diagrams/quickStyle34.xml"/></Relationships>
</file>

<file path=ppt/slides/_rels/slide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diagramLayout" Target="../diagrams/layout35.xml"/><Relationship Id="rId2" Type="http://schemas.openxmlformats.org/officeDocument/2006/relationships/diagramData" Target="../diagrams/data35.xml"/><Relationship Id="rId1" Type="http://schemas.openxmlformats.org/officeDocument/2006/relationships/slideLayout" Target="../slideLayouts/slideLayout4.xml"/><Relationship Id="rId6" Type="http://schemas.microsoft.com/office/2007/relationships/diagramDrawing" Target="../diagrams/drawing35.xml"/><Relationship Id="rId5" Type="http://schemas.openxmlformats.org/officeDocument/2006/relationships/diagramColors" Target="../diagrams/colors35.xml"/><Relationship Id="rId4" Type="http://schemas.openxmlformats.org/officeDocument/2006/relationships/diagramQuickStyle" Target="../diagrams/quickStyle35.xml"/></Relationships>
</file>

<file path=ppt/slides/_rels/slide79.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Layout" Target="../diagrams/layout36.xml"/><Relationship Id="rId7" Type="http://schemas.openxmlformats.org/officeDocument/2006/relationships/image" Target="../media/image89.png"/><Relationship Id="rId2" Type="http://schemas.openxmlformats.org/officeDocument/2006/relationships/diagramData" Target="../diagrams/data36.xml"/><Relationship Id="rId1" Type="http://schemas.openxmlformats.org/officeDocument/2006/relationships/slideLayout" Target="../slideLayouts/slideLayout8.xml"/><Relationship Id="rId6" Type="http://schemas.microsoft.com/office/2007/relationships/diagramDrawing" Target="../diagrams/drawing36.xml"/><Relationship Id="rId11" Type="http://schemas.openxmlformats.org/officeDocument/2006/relationships/image" Target="../media/image93.png"/><Relationship Id="rId5" Type="http://schemas.openxmlformats.org/officeDocument/2006/relationships/diagramColors" Target="../diagrams/colors36.xml"/><Relationship Id="rId10" Type="http://schemas.openxmlformats.org/officeDocument/2006/relationships/image" Target="../media/image92.png"/><Relationship Id="rId4" Type="http://schemas.openxmlformats.org/officeDocument/2006/relationships/diagramQuickStyle" Target="../diagrams/quickStyle36.xml"/><Relationship Id="rId9" Type="http://schemas.openxmlformats.org/officeDocument/2006/relationships/image" Target="../media/image91.png"/></Relationships>
</file>

<file path=ppt/slides/_rels/slide82.xml.rels><?xml version="1.0" encoding="UTF-8" standalone="yes"?>
<Relationships xmlns="http://schemas.openxmlformats.org/package/2006/relationships"><Relationship Id="rId3" Type="http://schemas.openxmlformats.org/officeDocument/2006/relationships/diagramLayout" Target="../diagrams/layout37.xml"/><Relationship Id="rId2" Type="http://schemas.openxmlformats.org/officeDocument/2006/relationships/diagramData" Target="../diagrams/data37.xml"/><Relationship Id="rId1" Type="http://schemas.openxmlformats.org/officeDocument/2006/relationships/slideLayout" Target="../slideLayouts/slideLayout8.xml"/><Relationship Id="rId6" Type="http://schemas.microsoft.com/office/2007/relationships/diagramDrawing" Target="../diagrams/drawing37.xml"/><Relationship Id="rId5" Type="http://schemas.openxmlformats.org/officeDocument/2006/relationships/diagramColors" Target="../diagrams/colors37.xml"/><Relationship Id="rId4" Type="http://schemas.openxmlformats.org/officeDocument/2006/relationships/diagramQuickStyle" Target="../diagrams/quickStyle3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diagramLayout" Target="../diagrams/layout38.xml"/><Relationship Id="rId7" Type="http://schemas.openxmlformats.org/officeDocument/2006/relationships/image" Target="../media/image5.jpeg"/><Relationship Id="rId2" Type="http://schemas.openxmlformats.org/officeDocument/2006/relationships/diagramData" Target="../diagrams/data38.xml"/><Relationship Id="rId1" Type="http://schemas.openxmlformats.org/officeDocument/2006/relationships/slideLayout" Target="../slideLayouts/slideLayout4.xml"/><Relationship Id="rId6" Type="http://schemas.microsoft.com/office/2007/relationships/diagramDrawing" Target="../diagrams/drawing38.xml"/><Relationship Id="rId5" Type="http://schemas.openxmlformats.org/officeDocument/2006/relationships/diagramColors" Target="../diagrams/colors38.xml"/><Relationship Id="rId4" Type="http://schemas.openxmlformats.org/officeDocument/2006/relationships/diagramQuickStyle" Target="../diagrams/quickStyle3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95.xml.rels><?xml version="1.0" encoding="UTF-8" standalone="yes"?>
<Relationships xmlns="http://schemas.openxmlformats.org/package/2006/relationships"><Relationship Id="rId8" Type="http://schemas.openxmlformats.org/officeDocument/2006/relationships/image" Target="../media/image110.jpeg"/><Relationship Id="rId13" Type="http://schemas.openxmlformats.org/officeDocument/2006/relationships/image" Target="../media/image114.png"/><Relationship Id="rId3" Type="http://schemas.openxmlformats.org/officeDocument/2006/relationships/image" Target="../media/image107.png"/><Relationship Id="rId7" Type="http://schemas.openxmlformats.org/officeDocument/2006/relationships/slide" Target="slide51.xml"/><Relationship Id="rId12" Type="http://schemas.openxmlformats.org/officeDocument/2006/relationships/image" Target="../media/image113.gif"/><Relationship Id="rId2" Type="http://schemas.openxmlformats.org/officeDocument/2006/relationships/notesSlide" Target="../notesSlides/notesSlide19.xml"/><Relationship Id="rId16" Type="http://schemas.openxmlformats.org/officeDocument/2006/relationships/image" Target="../media/image117.png"/><Relationship Id="rId1" Type="http://schemas.openxmlformats.org/officeDocument/2006/relationships/slideLayout" Target="../slideLayouts/slideLayout8.xml"/><Relationship Id="rId6" Type="http://schemas.openxmlformats.org/officeDocument/2006/relationships/image" Target="../media/image109.png"/><Relationship Id="rId11" Type="http://schemas.openxmlformats.org/officeDocument/2006/relationships/image" Target="../media/image112.jpeg"/><Relationship Id="rId5" Type="http://schemas.openxmlformats.org/officeDocument/2006/relationships/slide" Target="slide95.xml"/><Relationship Id="rId15" Type="http://schemas.openxmlformats.org/officeDocument/2006/relationships/image" Target="../media/image116.jpeg"/><Relationship Id="rId10" Type="http://schemas.openxmlformats.org/officeDocument/2006/relationships/image" Target="../media/image111.png"/><Relationship Id="rId4" Type="http://schemas.openxmlformats.org/officeDocument/2006/relationships/image" Target="../media/image108.png"/><Relationship Id="rId9" Type="http://schemas.openxmlformats.org/officeDocument/2006/relationships/slide" Target="slide94.xml"/><Relationship Id="rId14" Type="http://schemas.openxmlformats.org/officeDocument/2006/relationships/image" Target="../media/image115.png"/></Relationships>
</file>

<file path=ppt/slides/_rels/slide9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8.xml"/><Relationship Id="rId4" Type="http://schemas.openxmlformats.org/officeDocument/2006/relationships/image" Target="../media/image120.png"/></Relationships>
</file>

<file path=ppt/slides/_rels/slide97.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8.xml"/><Relationship Id="rId4" Type="http://schemas.openxmlformats.org/officeDocument/2006/relationships/image" Target="../media/image123.png"/></Relationships>
</file>

<file path=ppt/slides/_rels/slide98.xml.rels><?xml version="1.0" encoding="UTF-8" standalone="yes"?>
<Relationships xmlns="http://schemas.openxmlformats.org/package/2006/relationships"><Relationship Id="rId8" Type="http://schemas.openxmlformats.org/officeDocument/2006/relationships/diagramQuickStyle" Target="../diagrams/quickStyle40.xml"/><Relationship Id="rId3" Type="http://schemas.openxmlformats.org/officeDocument/2006/relationships/image" Target="../media/image91.png"/><Relationship Id="rId7" Type="http://schemas.openxmlformats.org/officeDocument/2006/relationships/diagramLayout" Target="../diagrams/layout40.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diagramData" Target="../diagrams/data40.xml"/><Relationship Id="rId11" Type="http://schemas.openxmlformats.org/officeDocument/2006/relationships/image" Target="../media/image126.png"/><Relationship Id="rId5" Type="http://schemas.openxmlformats.org/officeDocument/2006/relationships/image" Target="../media/image125.png"/><Relationship Id="rId10" Type="http://schemas.microsoft.com/office/2007/relationships/diagramDrawing" Target="../diagrams/drawing40.xml"/><Relationship Id="rId4" Type="http://schemas.openxmlformats.org/officeDocument/2006/relationships/image" Target="../media/image124.jpeg"/><Relationship Id="rId9" Type="http://schemas.openxmlformats.org/officeDocument/2006/relationships/diagramColors" Target="../diagrams/colors4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AC5BCA3A-F123-49D4-BB84-16779C15ABB6}"/>
              </a:ext>
            </a:extLst>
          </p:cNvPr>
          <p:cNvSpPr>
            <a:spLocks noGrp="1"/>
          </p:cNvSpPr>
          <p:nvPr>
            <p:ph type="ctrTitle"/>
          </p:nvPr>
        </p:nvSpPr>
        <p:spPr>
          <a:xfrm>
            <a:off x="1352550" y="1122363"/>
            <a:ext cx="9315450" cy="2387600"/>
          </a:xfrm>
        </p:spPr>
        <p:txBody>
          <a:bodyPr>
            <a:normAutofit fontScale="90000"/>
          </a:bodyPr>
          <a:lstStyle/>
          <a:p>
            <a:r>
              <a:rPr lang="es-ES" altLang="es-ES" noProof="0" dirty="0"/>
              <a:t>Master IA</a:t>
            </a:r>
            <a:br>
              <a:rPr lang="es-ES" altLang="es-ES" noProof="0" dirty="0"/>
            </a:br>
            <a:r>
              <a:rPr lang="es-ES" altLang="es-ES" noProof="0" dirty="0"/>
              <a:t>Tajamar Tech 2024 2025</a:t>
            </a:r>
            <a:br>
              <a:rPr lang="es-ES" altLang="es-ES" noProof="0" dirty="0"/>
            </a:br>
            <a:r>
              <a:rPr lang="es-ES" altLang="es-ES" noProof="0" dirty="0"/>
              <a:t>“Transformación Digital”</a:t>
            </a:r>
            <a:endParaRPr lang="es-ES" noProof="0" dirty="0"/>
          </a:p>
        </p:txBody>
      </p:sp>
      <p:sp>
        <p:nvSpPr>
          <p:cNvPr id="13315" name="Subtítulo 2"/>
          <p:cNvSpPr>
            <a:spLocks noGrp="1" noChangeArrowheads="1"/>
          </p:cNvSpPr>
          <p:nvPr>
            <p:ph type="subTitle" idx="1"/>
          </p:nvPr>
        </p:nvSpPr>
        <p:spPr>
          <a:xfrm>
            <a:off x="4905375" y="3602038"/>
            <a:ext cx="5762625" cy="1655762"/>
          </a:xfrm>
        </p:spPr>
        <p:txBody>
          <a:bodyPr>
            <a:normAutofit/>
          </a:bodyPr>
          <a:lstStyle/>
          <a:p>
            <a:fld id="{37B085B9-F319-4413-963E-C9242FACAED6}" type="datetime2">
              <a:rPr lang="es-ES" altLang="es-ES" noProof="0" smtClean="0"/>
              <a:pPr/>
              <a:t>jueves, 19 de septiembre de 2024</a:t>
            </a:fld>
            <a:endParaRPr lang="es-ES" altLang="es-ES" noProof="0" dirty="0"/>
          </a:p>
          <a:p>
            <a:r>
              <a:rPr lang="es-ES" altLang="es-ES" noProof="0" dirty="0"/>
              <a:t>José Antonio Ureta (JAUS)</a:t>
            </a:r>
          </a:p>
        </p:txBody>
      </p:sp>
      <p:pic>
        <p:nvPicPr>
          <p:cNvPr id="4" name="Marcador de posición de imagen 3">
            <a:extLst>
              <a:ext uri="{FF2B5EF4-FFF2-40B4-BE49-F238E27FC236}">
                <a16:creationId xmlns:a16="http://schemas.microsoft.com/office/drawing/2014/main" id="{125DF0DB-823D-66AF-5208-191F74EEBADA}"/>
              </a:ext>
            </a:extLst>
          </p:cNvPr>
          <p:cNvPicPr>
            <a:picLocks noGrp="1" noChangeAspect="1"/>
          </p:cNvPicPr>
          <p:nvPr>
            <p:ph type="pic" sz="quarter" idx="13"/>
          </p:nvPr>
        </p:nvPicPr>
        <p:blipFill>
          <a:blip r:embed="rId2"/>
          <a:srcRect l="6766" r="6766"/>
          <a:stretch/>
        </p:blipFill>
        <p:spPr>
          <a:xfrm>
            <a:off x="1057275" y="3602037"/>
            <a:ext cx="3743325" cy="2655888"/>
          </a:xfr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9E7AE8-E236-C8CA-A7A1-87F8E2C4F51F}"/>
              </a:ext>
            </a:extLst>
          </p:cNvPr>
          <p:cNvSpPr>
            <a:spLocks noGrp="1"/>
          </p:cNvSpPr>
          <p:nvPr>
            <p:ph type="title"/>
          </p:nvPr>
        </p:nvSpPr>
        <p:spPr>
          <a:xfrm>
            <a:off x="838200" y="365126"/>
            <a:ext cx="9840124" cy="1092200"/>
          </a:xfrm>
        </p:spPr>
        <p:txBody>
          <a:bodyPr/>
          <a:lstStyle/>
          <a:p>
            <a:r>
              <a:rPr lang="es-ES" noProof="0" dirty="0"/>
              <a:t>El mundo ha cambiado</a:t>
            </a:r>
          </a:p>
        </p:txBody>
      </p:sp>
      <p:pic>
        <p:nvPicPr>
          <p:cNvPr id="11" name="Marcador de contenido 10" descr="Texto, Pizarra&#10;&#10;Descripción generada automáticamente">
            <a:extLst>
              <a:ext uri="{FF2B5EF4-FFF2-40B4-BE49-F238E27FC236}">
                <a16:creationId xmlns:a16="http://schemas.microsoft.com/office/drawing/2014/main" id="{8222B57A-7864-DC3E-C49B-8E20A127BC92}"/>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181100" y="1834356"/>
            <a:ext cx="4495800" cy="4333875"/>
          </a:xfrm>
        </p:spPr>
      </p:pic>
      <p:sp>
        <p:nvSpPr>
          <p:cNvPr id="10" name="Marcador de contenido 9">
            <a:extLst>
              <a:ext uri="{FF2B5EF4-FFF2-40B4-BE49-F238E27FC236}">
                <a16:creationId xmlns:a16="http://schemas.microsoft.com/office/drawing/2014/main" id="{7E30D908-480C-8A71-FB8A-A9E1B03046A4}"/>
              </a:ext>
            </a:extLst>
          </p:cNvPr>
          <p:cNvSpPr>
            <a:spLocks noGrp="1"/>
          </p:cNvSpPr>
          <p:nvPr>
            <p:ph sz="half" idx="2"/>
          </p:nvPr>
        </p:nvSpPr>
        <p:spPr>
          <a:xfrm>
            <a:off x="6172200" y="1825625"/>
            <a:ext cx="5181600" cy="4351338"/>
          </a:xfrm>
          <a:noFill/>
        </p:spPr>
        <p:txBody>
          <a:bodyPr wrap="square" lIns="91440" tIns="45720" rIns="91440" bIns="45720" anchor="ctr">
            <a:spAutoFit/>
          </a:bodyPr>
          <a:lstStyle/>
          <a:p>
            <a:r>
              <a:rPr lang="es-ES" noProof="0" dirty="0"/>
              <a:t>Transformación digital</a:t>
            </a:r>
          </a:p>
        </p:txBody>
      </p:sp>
      <p:sp>
        <p:nvSpPr>
          <p:cNvPr id="3" name="Marcador de fecha 2">
            <a:extLst>
              <a:ext uri="{FF2B5EF4-FFF2-40B4-BE49-F238E27FC236}">
                <a16:creationId xmlns:a16="http://schemas.microsoft.com/office/drawing/2014/main" id="{10604D01-C2F6-F605-3D99-3B8581F4C145}"/>
              </a:ext>
            </a:extLst>
          </p:cNvPr>
          <p:cNvSpPr>
            <a:spLocks noGrp="1"/>
          </p:cNvSpPr>
          <p:nvPr>
            <p:ph type="dt" sz="half" idx="10"/>
          </p:nvPr>
        </p:nvSpPr>
        <p:spPr>
          <a:xfrm>
            <a:off x="814650" y="6400379"/>
            <a:ext cx="3380278" cy="365125"/>
          </a:xfrm>
        </p:spPr>
        <p:txBody>
          <a:bodyPr/>
          <a:lstStyle/>
          <a:p>
            <a:fld id="{3A41E225-F8C0-4654-A60A-0EE0B9DC887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89B14A8-B4B0-D1DB-A5E8-1A2E313AC87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7916B4F-6B12-700E-9593-C9195843A82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a:t>
            </a:fld>
            <a:endParaRPr lang="es-ES" dirty="0"/>
          </a:p>
        </p:txBody>
      </p:sp>
      <p:sp>
        <p:nvSpPr>
          <p:cNvPr id="6" name="Flecha: a la derecha con bandas 5">
            <a:extLst>
              <a:ext uri="{FF2B5EF4-FFF2-40B4-BE49-F238E27FC236}">
                <a16:creationId xmlns:a16="http://schemas.microsoft.com/office/drawing/2014/main" id="{8B0C2FE7-F5D3-13E9-8CCC-A512B3DA97C6}"/>
              </a:ext>
            </a:extLst>
          </p:cNvPr>
          <p:cNvSpPr/>
          <p:nvPr/>
        </p:nvSpPr>
        <p:spPr>
          <a:xfrm>
            <a:off x="5031822" y="3417352"/>
            <a:ext cx="1452880" cy="1325563"/>
          </a:xfrm>
          <a:prstGeom prst="strip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11107922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D467F57-ED9B-4022-8D12-D382E696EFDE}"/>
              </a:ext>
            </a:extLst>
          </p:cNvPr>
          <p:cNvSpPr>
            <a:spLocks noGrp="1"/>
          </p:cNvSpPr>
          <p:nvPr>
            <p:ph type="title"/>
          </p:nvPr>
        </p:nvSpPr>
        <p:spPr>
          <a:xfrm>
            <a:off x="838200" y="365126"/>
            <a:ext cx="9840124" cy="1092200"/>
          </a:xfrm>
        </p:spPr>
        <p:txBody>
          <a:bodyPr>
            <a:noAutofit/>
          </a:bodyPr>
          <a:lstStyle/>
          <a:p>
            <a:r>
              <a:rPr lang="es-ES" noProof="0" dirty="0"/>
              <a:t>Estándares de Calidad de datos: </a:t>
            </a:r>
            <a:br>
              <a:rPr lang="es-ES" noProof="0" dirty="0"/>
            </a:br>
            <a:r>
              <a:rPr lang="es-ES" noProof="0" dirty="0"/>
              <a:t>- No hay mucho, ISO 8000</a:t>
            </a:r>
          </a:p>
        </p:txBody>
      </p:sp>
      <p:pic>
        <p:nvPicPr>
          <p:cNvPr id="4" name="Picture 2" descr="Resultado de imagen de avecrem logo&quot;"/>
          <p:cNvPicPr>
            <a:picLocks noGrp="1" noChangeAspect="1" noChangeArrowheads="1"/>
          </p:cNvPicPr>
          <p:nvPr>
            <p:ph type="pic" sz="quarter" idx="13"/>
          </p:nvPr>
        </p:nvPicPr>
        <p:blipFill>
          <a:blip r:embed="rId2" cstate="print">
            <a:extLst>
              <a:ext uri="{28A0092B-C50C-407E-A947-70E740481C1C}">
                <a14:useLocalDpi xmlns:a14="http://schemas.microsoft.com/office/drawing/2010/main" val="0"/>
              </a:ext>
            </a:extLst>
          </a:blip>
          <a:srcRect l="2822" r="2822"/>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pic>
        <p:nvPicPr>
          <p:cNvPr id="9" name="Picture 2" descr="http://iso8000.es/images/Mapa-iso-80002.png">
            <a:extLst>
              <a:ext uri="{FF2B5EF4-FFF2-40B4-BE49-F238E27FC236}">
                <a16:creationId xmlns:a16="http://schemas.microsoft.com/office/drawing/2014/main" id="{B12965DB-2B48-4708-8CF6-E580372A6B37}"/>
              </a:ext>
            </a:extLst>
          </p:cNvPr>
          <p:cNvPicPr>
            <a:picLocks noGrp="1" noChangeAspect="1" noChangeArrowheads="1"/>
          </p:cNvPicPr>
          <p:nvPr>
            <p:ph sz="quarter" idx="14"/>
          </p:nvPr>
        </p:nvPicPr>
        <p:blipFill rotWithShape="1">
          <a:blip r:embed="rId3">
            <a:extLst>
              <a:ext uri="{28A0092B-C50C-407E-A947-70E740481C1C}">
                <a14:useLocalDpi xmlns:a14="http://schemas.microsoft.com/office/drawing/2010/main" val="0"/>
              </a:ext>
            </a:extLst>
          </a:blip>
          <a:stretch/>
        </p:blipFill>
        <p:spPr bwMode="auto">
          <a:xfrm>
            <a:off x="5087381" y="1450874"/>
            <a:ext cx="5259649" cy="4949926"/>
          </a:xfrm>
          <a:noFill/>
          <a:extLst>
            <a:ext uri="{909E8E84-426E-40DD-AFC4-6F175D3DCCD1}">
              <a14:hiddenFill xmlns:a14="http://schemas.microsoft.com/office/drawing/2010/main">
                <a:solidFill>
                  <a:srgbClr val="FFFFFF"/>
                </a:solidFill>
              </a14:hiddenFill>
            </a:ext>
          </a:extLst>
        </p:spPr>
      </p:pic>
      <p:sp>
        <p:nvSpPr>
          <p:cNvPr id="6" name="Marcador de fecha 5">
            <a:extLst>
              <a:ext uri="{FF2B5EF4-FFF2-40B4-BE49-F238E27FC236}">
                <a16:creationId xmlns:a16="http://schemas.microsoft.com/office/drawing/2014/main" id="{7D223BB5-5E06-4B4D-A5E2-79F69CEAA6D7}"/>
              </a:ext>
            </a:extLst>
          </p:cNvPr>
          <p:cNvSpPr>
            <a:spLocks noGrp="1"/>
          </p:cNvSpPr>
          <p:nvPr>
            <p:ph type="dt" sz="half" idx="15"/>
          </p:nvPr>
        </p:nvSpPr>
        <p:spPr>
          <a:xfrm>
            <a:off x="814650" y="6400379"/>
            <a:ext cx="3380278" cy="365125"/>
          </a:xfrm>
        </p:spPr>
        <p:txBody>
          <a:bodyPr/>
          <a:lstStyle/>
          <a:p>
            <a:fld id="{B6A18198-5CC1-4CA0-955E-C583F3C9A30E}"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6AB557BD-A073-4C97-9DDD-5FE37CDAB450}"/>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EF25457C-92ED-4FE3-8DDF-A649738F5DA6}"/>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00</a:t>
            </a:fld>
            <a:endParaRPr lang="es-ES" dirty="0"/>
          </a:p>
        </p:txBody>
      </p:sp>
      <p:sp>
        <p:nvSpPr>
          <p:cNvPr id="10" name="Elipse 9">
            <a:hlinkClick r:id="rId4" action="ppaction://hlinksldjump"/>
            <a:extLst>
              <a:ext uri="{FF2B5EF4-FFF2-40B4-BE49-F238E27FC236}">
                <a16:creationId xmlns:a16="http://schemas.microsoft.com/office/drawing/2014/main" id="{C8505749-FBF7-40FC-962C-108F6AE91C31}"/>
              </a:ext>
            </a:extLst>
          </p:cNvPr>
          <p:cNvSpPr/>
          <p:nvPr/>
        </p:nvSpPr>
        <p:spPr>
          <a:xfrm>
            <a:off x="844362" y="168019"/>
            <a:ext cx="468000" cy="468000"/>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s-ES" sz="2800" b="1" dirty="0">
                <a:latin typeface="Arial Narrow" panose="020B0606020202030204" pitchFamily="34" charset="0"/>
              </a:rPr>
              <a:t>2</a:t>
            </a:r>
          </a:p>
        </p:txBody>
      </p:sp>
      <p:sp>
        <p:nvSpPr>
          <p:cNvPr id="11" name="CuadroTexto 10">
            <a:extLst>
              <a:ext uri="{FF2B5EF4-FFF2-40B4-BE49-F238E27FC236}">
                <a16:creationId xmlns:a16="http://schemas.microsoft.com/office/drawing/2014/main" id="{8019D0D6-8280-15E8-8D82-BF5944F3C928}"/>
              </a:ext>
            </a:extLst>
          </p:cNvPr>
          <p:cNvSpPr txBox="1"/>
          <p:nvPr/>
        </p:nvSpPr>
        <p:spPr>
          <a:xfrm>
            <a:off x="610676" y="5268913"/>
            <a:ext cx="3239541" cy="400110"/>
          </a:xfrm>
          <a:prstGeom prst="rect">
            <a:avLst/>
          </a:prstGeom>
          <a:noFill/>
        </p:spPr>
        <p:txBody>
          <a:bodyPr wrap="none" anchor="ctr" anchorCtr="1">
            <a:spAutoFit/>
          </a:bodyPr>
          <a:lstStyle/>
          <a:p>
            <a:r>
              <a:rPr lang="es-ES" sz="2000" b="1" noProof="0" dirty="0">
                <a:latin typeface="+mj-lt"/>
              </a:rPr>
              <a:t>Es un trabajo muy manual</a:t>
            </a:r>
            <a:endParaRPr lang="es-ES" sz="2000" b="1" dirty="0">
              <a:latin typeface="+mj-lt"/>
            </a:endParaRPr>
          </a:p>
        </p:txBody>
      </p:sp>
    </p:spTree>
    <p:extLst>
      <p:ext uri="{BB962C8B-B14F-4D97-AF65-F5344CB8AC3E}">
        <p14:creationId xmlns:p14="http://schemas.microsoft.com/office/powerpoint/2010/main" val="69675095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219C85-F5D7-4210-978F-8BE3EE44AD75}"/>
              </a:ext>
            </a:extLst>
          </p:cNvPr>
          <p:cNvSpPr>
            <a:spLocks noGrp="1"/>
          </p:cNvSpPr>
          <p:nvPr>
            <p:ph type="title"/>
          </p:nvPr>
        </p:nvSpPr>
        <p:spPr>
          <a:xfrm>
            <a:off x="838200" y="365126"/>
            <a:ext cx="9840124" cy="1092200"/>
          </a:xfrm>
        </p:spPr>
        <p:txBody>
          <a:bodyPr/>
          <a:lstStyle/>
          <a:p>
            <a:r>
              <a:rPr lang="es-ES" noProof="0" dirty="0"/>
              <a:t>COMPONENTES DE UN FRAMEWORK DE TRABAJO</a:t>
            </a:r>
          </a:p>
        </p:txBody>
      </p:sp>
      <p:sp>
        <p:nvSpPr>
          <p:cNvPr id="3" name="Marcador de fecha 2">
            <a:extLst>
              <a:ext uri="{FF2B5EF4-FFF2-40B4-BE49-F238E27FC236}">
                <a16:creationId xmlns:a16="http://schemas.microsoft.com/office/drawing/2014/main" id="{A023C3D0-8418-43D2-ACCC-17BC1F301A1B}"/>
              </a:ext>
            </a:extLst>
          </p:cNvPr>
          <p:cNvSpPr>
            <a:spLocks noGrp="1"/>
          </p:cNvSpPr>
          <p:nvPr>
            <p:ph type="dt" sz="half" idx="10"/>
          </p:nvPr>
        </p:nvSpPr>
        <p:spPr>
          <a:xfrm>
            <a:off x="814650" y="6400379"/>
            <a:ext cx="3380278" cy="365125"/>
          </a:xfrm>
        </p:spPr>
        <p:txBody>
          <a:bodyPr/>
          <a:lstStyle/>
          <a:p>
            <a:fld id="{275D84EA-8E16-471F-9393-6CBF7D9168B6}"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F19F366-07EF-4E13-9B82-4979CD1D058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28CDD3D-9666-4188-956E-E374E1AB292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1</a:t>
            </a:fld>
            <a:endParaRPr lang="es-ES" dirty="0"/>
          </a:p>
        </p:txBody>
      </p:sp>
      <p:graphicFrame>
        <p:nvGraphicFramePr>
          <p:cNvPr id="6" name="Diagrama 5">
            <a:extLst>
              <a:ext uri="{FF2B5EF4-FFF2-40B4-BE49-F238E27FC236}">
                <a16:creationId xmlns:a16="http://schemas.microsoft.com/office/drawing/2014/main" id="{ED3B654A-60A8-4DBF-B86E-73D546044B8E}"/>
              </a:ext>
            </a:extLst>
          </p:cNvPr>
          <p:cNvGraphicFramePr/>
          <p:nvPr/>
        </p:nvGraphicFramePr>
        <p:xfrm>
          <a:off x="530631" y="1909259"/>
          <a:ext cx="11398017" cy="6135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Imagen 7">
            <a:extLst>
              <a:ext uri="{FF2B5EF4-FFF2-40B4-BE49-F238E27FC236}">
                <a16:creationId xmlns:a16="http://schemas.microsoft.com/office/drawing/2014/main" id="{1000AAC9-27A5-45DD-A9DB-4BBA469FF75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27496" y="2604296"/>
            <a:ext cx="834125" cy="646331"/>
          </a:xfrm>
          <a:prstGeom prst="rect">
            <a:avLst/>
          </a:prstGeom>
        </p:spPr>
      </p:pic>
      <p:pic>
        <p:nvPicPr>
          <p:cNvPr id="9" name="Imagen 8">
            <a:extLst>
              <a:ext uri="{FF2B5EF4-FFF2-40B4-BE49-F238E27FC236}">
                <a16:creationId xmlns:a16="http://schemas.microsoft.com/office/drawing/2014/main" id="{66594E1D-6B49-49B9-83C5-9DB4BA0CB081}"/>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187549" y="3944637"/>
            <a:ext cx="1699958" cy="846201"/>
          </a:xfrm>
          <a:prstGeom prst="rect">
            <a:avLst/>
          </a:prstGeom>
        </p:spPr>
      </p:pic>
      <p:pic>
        <p:nvPicPr>
          <p:cNvPr id="14" name="Imagen 13">
            <a:extLst>
              <a:ext uri="{FF2B5EF4-FFF2-40B4-BE49-F238E27FC236}">
                <a16:creationId xmlns:a16="http://schemas.microsoft.com/office/drawing/2014/main" id="{27A802C3-DC48-4D53-BF26-2A7917AF83AA}"/>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27496" y="3316084"/>
            <a:ext cx="2435842" cy="869943"/>
          </a:xfrm>
          <a:prstGeom prst="rect">
            <a:avLst/>
          </a:prstGeom>
        </p:spPr>
      </p:pic>
      <p:pic>
        <p:nvPicPr>
          <p:cNvPr id="16" name="Picture 4" descr="Resultado de imagen de azure logo&quot;">
            <a:extLst>
              <a:ext uri="{FF2B5EF4-FFF2-40B4-BE49-F238E27FC236}">
                <a16:creationId xmlns:a16="http://schemas.microsoft.com/office/drawing/2014/main" id="{4F7E665C-17DF-4535-BE77-4D67D9DEE44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87549" y="5204721"/>
            <a:ext cx="2121269" cy="6131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Resultado de imagen de aws logo&quot;">
            <a:extLst>
              <a:ext uri="{FF2B5EF4-FFF2-40B4-BE49-F238E27FC236}">
                <a16:creationId xmlns:a16="http://schemas.microsoft.com/office/drawing/2014/main" id="{C73C4DAC-81D5-409E-8AFA-9BCA5BA7BBC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87549" y="2810753"/>
            <a:ext cx="120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n 18">
            <a:extLst>
              <a:ext uri="{FF2B5EF4-FFF2-40B4-BE49-F238E27FC236}">
                <a16:creationId xmlns:a16="http://schemas.microsoft.com/office/drawing/2014/main" id="{0DC67AA1-466F-451A-B1C4-5FE49868A197}"/>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7180150" y="4946525"/>
            <a:ext cx="1746732" cy="1164487"/>
          </a:xfrm>
          <a:prstGeom prst="rect">
            <a:avLst/>
          </a:prstGeom>
        </p:spPr>
      </p:pic>
      <p:grpSp>
        <p:nvGrpSpPr>
          <p:cNvPr id="21" name="Grupo 20">
            <a:extLst>
              <a:ext uri="{FF2B5EF4-FFF2-40B4-BE49-F238E27FC236}">
                <a16:creationId xmlns:a16="http://schemas.microsoft.com/office/drawing/2014/main" id="{E0172922-82B2-4400-AAED-25EAE0B40403}"/>
              </a:ext>
            </a:extLst>
          </p:cNvPr>
          <p:cNvGrpSpPr>
            <a:grpSpLocks noChangeAspect="1"/>
          </p:cNvGrpSpPr>
          <p:nvPr/>
        </p:nvGrpSpPr>
        <p:grpSpPr>
          <a:xfrm>
            <a:off x="7180150" y="3926121"/>
            <a:ext cx="2244626" cy="847280"/>
            <a:chOff x="4906162" y="1949831"/>
            <a:chExt cx="2349500" cy="830189"/>
          </a:xfrm>
        </p:grpSpPr>
        <p:pic>
          <p:nvPicPr>
            <p:cNvPr id="22" name="Imagen 21">
              <a:extLst>
                <a:ext uri="{FF2B5EF4-FFF2-40B4-BE49-F238E27FC236}">
                  <a16:creationId xmlns:a16="http://schemas.microsoft.com/office/drawing/2014/main" id="{26EF307D-9C11-497D-BC2C-8DE30D2CEED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06162" y="1949831"/>
              <a:ext cx="2349500" cy="825500"/>
            </a:xfrm>
            <a:prstGeom prst="rect">
              <a:avLst/>
            </a:prstGeom>
          </p:spPr>
        </p:pic>
        <p:pic>
          <p:nvPicPr>
            <p:cNvPr id="23" name="Imagen 22">
              <a:extLst>
                <a:ext uri="{FF2B5EF4-FFF2-40B4-BE49-F238E27FC236}">
                  <a16:creationId xmlns:a16="http://schemas.microsoft.com/office/drawing/2014/main" id="{5DB85E2B-0E4D-463C-B900-20777D4C6F08}"/>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5529035" y="2566066"/>
              <a:ext cx="326130" cy="213954"/>
            </a:xfrm>
            <a:prstGeom prst="rect">
              <a:avLst/>
            </a:prstGeom>
          </p:spPr>
        </p:pic>
      </p:grpSp>
      <p:pic>
        <p:nvPicPr>
          <p:cNvPr id="24" name="Imagen 23">
            <a:extLst>
              <a:ext uri="{FF2B5EF4-FFF2-40B4-BE49-F238E27FC236}">
                <a16:creationId xmlns:a16="http://schemas.microsoft.com/office/drawing/2014/main" id="{497EBEB6-85C2-446A-AE36-36DB26F3C959}"/>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9581517" y="3642198"/>
            <a:ext cx="1597745" cy="759458"/>
          </a:xfrm>
          <a:prstGeom prst="rect">
            <a:avLst/>
          </a:prstGeom>
        </p:spPr>
      </p:pic>
      <p:pic>
        <p:nvPicPr>
          <p:cNvPr id="25" name="Imagen 24">
            <a:extLst>
              <a:ext uri="{FF2B5EF4-FFF2-40B4-BE49-F238E27FC236}">
                <a16:creationId xmlns:a16="http://schemas.microsoft.com/office/drawing/2014/main" id="{5E3BA31B-6EC8-48A3-AB7B-51E312B1538F}"/>
              </a:ext>
            </a:extLst>
          </p:cNvPr>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81517" y="5090580"/>
            <a:ext cx="1968500" cy="1028700"/>
          </a:xfrm>
          <a:prstGeom prst="rect">
            <a:avLst/>
          </a:prstGeom>
        </p:spPr>
      </p:pic>
      <p:pic>
        <p:nvPicPr>
          <p:cNvPr id="1026" name="Picture 2" descr="POWER BI LOGO - OBZ Consulting">
            <a:extLst>
              <a:ext uri="{FF2B5EF4-FFF2-40B4-BE49-F238E27FC236}">
                <a16:creationId xmlns:a16="http://schemas.microsoft.com/office/drawing/2014/main" id="{6DEDDC82-4732-4242-B97E-8CF5427F423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180150" y="2588510"/>
            <a:ext cx="2098866" cy="1164487"/>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n 19">
            <a:extLst>
              <a:ext uri="{FF2B5EF4-FFF2-40B4-BE49-F238E27FC236}">
                <a16:creationId xmlns:a16="http://schemas.microsoft.com/office/drawing/2014/main" id="{83881123-1BD1-148C-D520-647B3981F4A9}"/>
              </a:ext>
            </a:extLst>
          </p:cNvPr>
          <p:cNvPicPr>
            <a:picLocks noChangeAspect="1"/>
          </p:cNvPicPr>
          <p:nvPr/>
        </p:nvPicPr>
        <p:blipFill>
          <a:blip r:embed="rId18" cstate="screen">
            <a:extLst>
              <a:ext uri="{28A0092B-C50C-407E-A947-70E740481C1C}">
                <a14:useLocalDpi xmlns:a14="http://schemas.microsoft.com/office/drawing/2010/main" val="0"/>
              </a:ext>
            </a:extLst>
          </a:blip>
          <a:srcRect l="24557"/>
          <a:stretch/>
        </p:blipFill>
        <p:spPr>
          <a:xfrm>
            <a:off x="627496" y="5116650"/>
            <a:ext cx="1860412" cy="1164487"/>
          </a:xfrm>
          <a:prstGeom prst="rect">
            <a:avLst/>
          </a:prstGeom>
        </p:spPr>
      </p:pic>
      <p:pic>
        <p:nvPicPr>
          <p:cNvPr id="3074" name="Picture 2">
            <a:extLst>
              <a:ext uri="{FF2B5EF4-FFF2-40B4-BE49-F238E27FC236}">
                <a16:creationId xmlns:a16="http://schemas.microsoft.com/office/drawing/2014/main" id="{2BD86BED-DAB3-ACA9-653B-4AB89FF467A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27496" y="4251484"/>
            <a:ext cx="1746732" cy="799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6030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9840124" cy="1092200"/>
          </a:xfrm>
        </p:spPr>
        <p:txBody>
          <a:bodyPr/>
          <a:lstStyle/>
          <a:p>
            <a:r>
              <a:rPr lang="es-ES" noProof="0" dirty="0"/>
              <a:t>La infinitas “v” de Big Data</a:t>
            </a:r>
          </a:p>
        </p:txBody>
      </p:sp>
      <p:sp>
        <p:nvSpPr>
          <p:cNvPr id="10" name="Marcador de fecha 1">
            <a:extLst>
              <a:ext uri="{FF2B5EF4-FFF2-40B4-BE49-F238E27FC236}">
                <a16:creationId xmlns:a16="http://schemas.microsoft.com/office/drawing/2014/main" id="{FF49AD06-5A97-4FC9-94A0-35DB939D9501}"/>
              </a:ext>
            </a:extLst>
          </p:cNvPr>
          <p:cNvSpPr>
            <a:spLocks noGrp="1"/>
          </p:cNvSpPr>
          <p:nvPr>
            <p:ph type="dt" sz="half" idx="10"/>
          </p:nvPr>
        </p:nvSpPr>
        <p:spPr>
          <a:xfrm>
            <a:off x="814650" y="6400379"/>
            <a:ext cx="3380278" cy="365125"/>
          </a:xfrm>
        </p:spPr>
        <p:txBody>
          <a:bodyPr/>
          <a:lstStyle/>
          <a:p>
            <a:fld id="{0C9E523F-20E3-42CC-9EE0-342E388E6644}" type="datetime2">
              <a:rPr lang="es-ES" smtClean="0"/>
              <a:pPr/>
              <a:t>jueves, 19 de septiembre de 2024</a:t>
            </a:fld>
            <a:endParaRPr lang="es-ES" dirty="0"/>
          </a:p>
        </p:txBody>
      </p:sp>
      <p:sp>
        <p:nvSpPr>
          <p:cNvPr id="12" name="Marcador de pie de página 2">
            <a:extLst>
              <a:ext uri="{FF2B5EF4-FFF2-40B4-BE49-F238E27FC236}">
                <a16:creationId xmlns:a16="http://schemas.microsoft.com/office/drawing/2014/main" id="{79438565-69E1-4077-8F1B-FED3D6DC0D9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4" name="Marcador de número de diapositiva 4">
            <a:extLst>
              <a:ext uri="{FF2B5EF4-FFF2-40B4-BE49-F238E27FC236}">
                <a16:creationId xmlns:a16="http://schemas.microsoft.com/office/drawing/2014/main" id="{5121F1A0-1725-4212-9BBB-4A6F3790CE6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2</a:t>
            </a:fld>
            <a:endParaRPr lang="es-ES" dirty="0"/>
          </a:p>
        </p:txBody>
      </p:sp>
      <p:graphicFrame>
        <p:nvGraphicFramePr>
          <p:cNvPr id="3" name="Diagrama 2">
            <a:extLst>
              <a:ext uri="{FF2B5EF4-FFF2-40B4-BE49-F238E27FC236}">
                <a16:creationId xmlns:a16="http://schemas.microsoft.com/office/drawing/2014/main" id="{B961A8F4-5E87-4402-A860-F73B3634455A}"/>
              </a:ext>
            </a:extLst>
          </p:cNvPr>
          <p:cNvGraphicFramePr/>
          <p:nvPr/>
        </p:nvGraphicFramePr>
        <p:xfrm>
          <a:off x="2088502" y="1828801"/>
          <a:ext cx="11127601" cy="4124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La Boutade - Inicio | Facebook">
            <a:extLst>
              <a:ext uri="{FF2B5EF4-FFF2-40B4-BE49-F238E27FC236}">
                <a16:creationId xmlns:a16="http://schemas.microsoft.com/office/drawing/2014/main" id="{609B90D9-A937-47B9-8C59-DB4A4045D5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485" y="2594688"/>
            <a:ext cx="2621319" cy="2789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1916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572946E-683B-4B38-A082-57AEBBFD640E}"/>
              </a:ext>
            </a:extLst>
          </p:cNvPr>
          <p:cNvSpPr>
            <a:spLocks noGrp="1"/>
          </p:cNvSpPr>
          <p:nvPr>
            <p:ph type="title"/>
          </p:nvPr>
        </p:nvSpPr>
        <p:spPr/>
        <p:txBody>
          <a:bodyPr>
            <a:normAutofit fontScale="90000"/>
          </a:bodyPr>
          <a:lstStyle/>
          <a:p>
            <a:r>
              <a:rPr lang="es-ES" noProof="0" dirty="0"/>
              <a:t>Los datos y el data lake</a:t>
            </a:r>
            <a:br>
              <a:rPr lang="es-ES" noProof="0" dirty="0"/>
            </a:br>
            <a:r>
              <a:rPr lang="es-ES" noProof="0" dirty="0"/>
              <a:t>Otras fuentes de datos</a:t>
            </a:r>
          </a:p>
        </p:txBody>
      </p:sp>
      <p:sp>
        <p:nvSpPr>
          <p:cNvPr id="3" name="Marcador de fecha 2">
            <a:extLst>
              <a:ext uri="{FF2B5EF4-FFF2-40B4-BE49-F238E27FC236}">
                <a16:creationId xmlns:a16="http://schemas.microsoft.com/office/drawing/2014/main" id="{B9943267-0748-4259-9AFC-4E66F0D97CD4}"/>
              </a:ext>
            </a:extLst>
          </p:cNvPr>
          <p:cNvSpPr>
            <a:spLocks noGrp="1"/>
          </p:cNvSpPr>
          <p:nvPr>
            <p:ph type="dt" sz="half" idx="14"/>
          </p:nvPr>
        </p:nvSpPr>
        <p:spPr/>
        <p:txBody>
          <a:bodyPr/>
          <a:lstStyle/>
          <a:p>
            <a:fld id="{5C87403B-1F51-4AD5-BCF7-D524D83091BE}"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BB09EB60-4353-4272-9BC1-5D33DF454A73}"/>
              </a:ext>
            </a:extLst>
          </p:cNvPr>
          <p:cNvSpPr>
            <a:spLocks noGrp="1"/>
          </p:cNvSpPr>
          <p:nvPr>
            <p:ph type="ftr" sz="quarter" idx="15"/>
          </p:nvPr>
        </p:nvSpPr>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3F72A59-5AA4-494F-8E8A-A8CD76D9838A}"/>
              </a:ext>
            </a:extLst>
          </p:cNvPr>
          <p:cNvSpPr>
            <a:spLocks noGrp="1"/>
          </p:cNvSpPr>
          <p:nvPr>
            <p:ph type="sldNum" sz="quarter" idx="16"/>
          </p:nvPr>
        </p:nvSpPr>
        <p:spPr/>
        <p:txBody>
          <a:bodyPr/>
          <a:lstStyle/>
          <a:p>
            <a:fld id="{55440F6C-613C-488D-819E-DA6065366E0E}" type="slidenum">
              <a:rPr lang="es-ES" smtClean="0"/>
              <a:pPr/>
              <a:t>103</a:t>
            </a:fld>
            <a:endParaRPr lang="es-ES" dirty="0"/>
          </a:p>
        </p:txBody>
      </p:sp>
      <p:pic>
        <p:nvPicPr>
          <p:cNvPr id="4100" name="Picture 4" descr="Fuente de los Doce Caños. Fuenteheridos - Turismo Sierra de Aracena |  Experiencias para vivir y saborear">
            <a:extLst>
              <a:ext uri="{FF2B5EF4-FFF2-40B4-BE49-F238E27FC236}">
                <a16:creationId xmlns:a16="http://schemas.microsoft.com/office/drawing/2014/main" id="{A6381DF7-C1C6-7CB1-6722-C1EC7E6B8366}"/>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t="5249" b="524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384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2009 Kevin Ashton, profesor del MIT, en el RFID </a:t>
            </a:r>
            <a:r>
              <a:rPr lang="es-ES" noProof="0" dirty="0" err="1"/>
              <a:t>journal</a:t>
            </a:r>
            <a:r>
              <a:rPr lang="es-ES" noProof="0" dirty="0"/>
              <a:t>: IOT</a:t>
            </a:r>
          </a:p>
        </p:txBody>
      </p:sp>
      <p:pic>
        <p:nvPicPr>
          <p:cNvPr id="10" name="Marcador de contenido 7">
            <a:extLst>
              <a:ext uri="{FF2B5EF4-FFF2-40B4-BE49-F238E27FC236}">
                <a16:creationId xmlns:a16="http://schemas.microsoft.com/office/drawing/2014/main" id="{C016EF45-41CE-4F7B-91F6-41482005917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600601" y="1825625"/>
            <a:ext cx="3656797" cy="4351338"/>
          </a:xfrm>
        </p:spPr>
      </p:pic>
      <p:graphicFrame>
        <p:nvGraphicFramePr>
          <p:cNvPr id="2" name="Marcador de contenido 1">
            <a:extLst>
              <a:ext uri="{FF2B5EF4-FFF2-40B4-BE49-F238E27FC236}">
                <a16:creationId xmlns:a16="http://schemas.microsoft.com/office/drawing/2014/main" id="{91C26151-954F-4B59-8CA9-596C402D54B4}"/>
              </a:ext>
            </a:extLst>
          </p:cNvPr>
          <p:cNvGraphicFramePr>
            <a:graphicFrameLocks noGrp="1"/>
          </p:cNvGraphicFramePr>
          <p:nvPr>
            <p:ph sz="half" idx="2"/>
            <p:extLst>
              <p:ext uri="{D42A27DB-BD31-4B8C-83A1-F6EECF244321}">
                <p14:modId xmlns:p14="http://schemas.microsoft.com/office/powerpoint/2010/main" val="3990010134"/>
              </p:ext>
            </p:extLst>
          </p:nvPr>
        </p:nvGraphicFramePr>
        <p:xfrm>
          <a:off x="6172200" y="1825625"/>
          <a:ext cx="5181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Marcador de fecha 4">
            <a:extLst>
              <a:ext uri="{FF2B5EF4-FFF2-40B4-BE49-F238E27FC236}">
                <a16:creationId xmlns:a16="http://schemas.microsoft.com/office/drawing/2014/main" id="{65A34608-7AB5-49E1-AA41-5815EF811DA4}"/>
              </a:ext>
            </a:extLst>
          </p:cNvPr>
          <p:cNvSpPr>
            <a:spLocks noGrp="1"/>
          </p:cNvSpPr>
          <p:nvPr>
            <p:ph type="dt" sz="half" idx="10"/>
          </p:nvPr>
        </p:nvSpPr>
        <p:spPr>
          <a:xfrm>
            <a:off x="814650" y="6400379"/>
            <a:ext cx="3380278" cy="365125"/>
          </a:xfrm>
        </p:spPr>
        <p:txBody>
          <a:bodyPr/>
          <a:lstStyle/>
          <a:p>
            <a:fld id="{7E286C94-8668-4605-9D81-031A3534B08C}"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1564EFFC-CD73-46D7-B8FF-916CC593FC5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9" name="Marcador de número de diapositiva 8">
            <a:extLst>
              <a:ext uri="{FF2B5EF4-FFF2-40B4-BE49-F238E27FC236}">
                <a16:creationId xmlns:a16="http://schemas.microsoft.com/office/drawing/2014/main" id="{77354FFA-E0B9-41E9-8DC2-93AC8444F1D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4</a:t>
            </a:fld>
            <a:endParaRPr lang="es-ES" dirty="0"/>
          </a:p>
        </p:txBody>
      </p:sp>
      <p:sp>
        <p:nvSpPr>
          <p:cNvPr id="6" name="Marcador de contenido 3"/>
          <p:cNvSpPr txBox="1">
            <a:spLocks/>
          </p:cNvSpPr>
          <p:nvPr/>
        </p:nvSpPr>
        <p:spPr>
          <a:xfrm>
            <a:off x="6054771" y="1860710"/>
            <a:ext cx="5351165" cy="3952282"/>
          </a:xfrm>
          <a:prstGeom prst="rect">
            <a:avLst/>
          </a:prstGeom>
        </p:spPr>
        <p:txBody>
          <a:bodyPr>
            <a:normAutofit/>
          </a:bodyPr>
          <a:lstStyle>
            <a:lvl1pPr marL="228617" indent="-228617" algn="l" defTabSz="914466" rtl="0" eaLnBrk="1" latinLnBrk="0" hangingPunct="1">
              <a:lnSpc>
                <a:spcPct val="90000"/>
              </a:lnSpc>
              <a:spcBef>
                <a:spcPts val="1000"/>
              </a:spcBef>
              <a:buClr>
                <a:srgbClr val="E52828"/>
              </a:buClr>
              <a:buFont typeface="Arial"/>
              <a:buChar char="•"/>
              <a:defRPr sz="2799" kern="1200">
                <a:solidFill>
                  <a:schemeClr val="tx1"/>
                </a:solidFill>
                <a:latin typeface="Calibri" panose="020F0502020204030204" pitchFamily="34" charset="0"/>
                <a:ea typeface="+mn-ea"/>
                <a:cs typeface="Calibri" panose="020F0502020204030204" pitchFamily="34" charset="0"/>
              </a:defRPr>
            </a:lvl1pPr>
            <a:lvl2pPr marL="685849" indent="-228617" algn="l" defTabSz="914466" rtl="0" eaLnBrk="1" latinLnBrk="0" hangingPunct="1">
              <a:lnSpc>
                <a:spcPct val="90000"/>
              </a:lnSpc>
              <a:spcBef>
                <a:spcPts val="501"/>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83" indent="-228617" algn="l" defTabSz="914466" rtl="0" eaLnBrk="1" latinLnBrk="0" hangingPunct="1">
              <a:lnSpc>
                <a:spcPct val="90000"/>
              </a:lnSpc>
              <a:spcBef>
                <a:spcPts val="501"/>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317" indent="-228617" algn="l" defTabSz="914466" rtl="0" eaLnBrk="1" latinLnBrk="0" hangingPunct="1">
              <a:lnSpc>
                <a:spcPct val="90000"/>
              </a:lnSpc>
              <a:spcBef>
                <a:spcPts val="501"/>
              </a:spcBef>
              <a:buFont typeface="Arial"/>
              <a:buChar char="•"/>
              <a:defRPr sz="1799" kern="1200">
                <a:solidFill>
                  <a:schemeClr val="tx1"/>
                </a:solidFill>
                <a:latin typeface="Calibri" panose="020F0502020204030204" pitchFamily="34" charset="0"/>
                <a:ea typeface="+mn-ea"/>
                <a:cs typeface="Calibri" panose="020F0502020204030204" pitchFamily="34" charset="0"/>
              </a:defRPr>
            </a:lvl4pPr>
            <a:lvl5pPr marL="2057549" indent="-228617" algn="l" defTabSz="914466" rtl="0" eaLnBrk="1" latinLnBrk="0" hangingPunct="1">
              <a:lnSpc>
                <a:spcPct val="90000"/>
              </a:lnSpc>
              <a:spcBef>
                <a:spcPts val="501"/>
              </a:spcBef>
              <a:buFont typeface="Arial"/>
              <a:buChar char="•"/>
              <a:defRPr sz="1799" kern="1200">
                <a:solidFill>
                  <a:schemeClr val="tx1"/>
                </a:solidFill>
                <a:latin typeface="Calibri" panose="020F0502020204030204" pitchFamily="34" charset="0"/>
                <a:ea typeface="+mn-ea"/>
                <a:cs typeface="Calibri" panose="020F0502020204030204" pitchFamily="34" charset="0"/>
              </a:defRPr>
            </a:lvl5pPr>
            <a:lvl6pPr marL="2514783"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6pPr>
            <a:lvl7pPr marL="2972015"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7pPr>
            <a:lvl8pPr marL="3429249"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8pPr>
            <a:lvl9pPr marL="3886483"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9pPr>
          </a:lstStyle>
          <a:p>
            <a:endParaRPr lang="es-ES" dirty="0">
              <a:latin typeface="Avenir LT Std 35 Light" panose="020B0402020203020204" pitchFamily="34" charset="0"/>
            </a:endParaRPr>
          </a:p>
        </p:txBody>
      </p:sp>
      <p:sp>
        <p:nvSpPr>
          <p:cNvPr id="3" name="Rectángulo 2">
            <a:extLst>
              <a:ext uri="{FF2B5EF4-FFF2-40B4-BE49-F238E27FC236}">
                <a16:creationId xmlns:a16="http://schemas.microsoft.com/office/drawing/2014/main" id="{757C1F41-5087-FCC6-DEEC-64F41DD904F9}"/>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88789124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Estamos rodeados, por aproximadamente 1,000 a 5,000 objetos</a:t>
            </a:r>
          </a:p>
        </p:txBody>
      </p:sp>
      <p:sp>
        <p:nvSpPr>
          <p:cNvPr id="5" name="Marcador de fecha 4">
            <a:extLst>
              <a:ext uri="{FF2B5EF4-FFF2-40B4-BE49-F238E27FC236}">
                <a16:creationId xmlns:a16="http://schemas.microsoft.com/office/drawing/2014/main" id="{A6958322-02CE-4DEC-9687-2DC9249296A2}"/>
              </a:ext>
            </a:extLst>
          </p:cNvPr>
          <p:cNvSpPr>
            <a:spLocks noGrp="1"/>
          </p:cNvSpPr>
          <p:nvPr>
            <p:ph type="dt" sz="half" idx="10"/>
          </p:nvPr>
        </p:nvSpPr>
        <p:spPr>
          <a:xfrm>
            <a:off x="814650" y="6400379"/>
            <a:ext cx="3380278" cy="365125"/>
          </a:xfrm>
        </p:spPr>
        <p:txBody>
          <a:bodyPr/>
          <a:lstStyle/>
          <a:p>
            <a:fld id="{44A41512-3CA4-4DB7-8A4D-61D5A372C3AD}"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E51C7129-0375-44D8-8DD9-1F2D5FBE0A1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9" name="Marcador de número de diapositiva 8">
            <a:extLst>
              <a:ext uri="{FF2B5EF4-FFF2-40B4-BE49-F238E27FC236}">
                <a16:creationId xmlns:a16="http://schemas.microsoft.com/office/drawing/2014/main" id="{6C2D06DF-8D4F-4053-8519-4CA258D1DE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5</a:t>
            </a:fld>
            <a:endParaRPr lang="es-ES" dirty="0"/>
          </a:p>
        </p:txBody>
      </p:sp>
      <p:sp>
        <p:nvSpPr>
          <p:cNvPr id="4" name="Marcador de contenido 2"/>
          <p:cNvSpPr txBox="1">
            <a:spLocks/>
          </p:cNvSpPr>
          <p:nvPr/>
        </p:nvSpPr>
        <p:spPr>
          <a:xfrm>
            <a:off x="534503" y="1632441"/>
            <a:ext cx="10970109" cy="390532"/>
          </a:xfrm>
          <a:prstGeom prst="rect">
            <a:avLst/>
          </a:prstGeom>
        </p:spPr>
        <p:txBody>
          <a:bodyPr>
            <a:normAutofit fontScale="92500" lnSpcReduction="20000"/>
          </a:bodyPr>
          <a:lstStyle>
            <a:lvl1pPr marL="228617" indent="-228617" algn="l" defTabSz="914466" rtl="0" eaLnBrk="1" latinLnBrk="0" hangingPunct="1">
              <a:lnSpc>
                <a:spcPct val="90000"/>
              </a:lnSpc>
              <a:spcBef>
                <a:spcPts val="1000"/>
              </a:spcBef>
              <a:buClr>
                <a:srgbClr val="E52828"/>
              </a:buClr>
              <a:buFont typeface="Arial"/>
              <a:buChar char="•"/>
              <a:defRPr sz="2799" kern="1200">
                <a:solidFill>
                  <a:schemeClr val="tx1"/>
                </a:solidFill>
                <a:latin typeface="Calibri" panose="020F0502020204030204" pitchFamily="34" charset="0"/>
                <a:ea typeface="+mn-ea"/>
                <a:cs typeface="Calibri" panose="020F0502020204030204" pitchFamily="34" charset="0"/>
              </a:defRPr>
            </a:lvl1pPr>
            <a:lvl2pPr marL="685849" indent="-228617" algn="l" defTabSz="914466" rtl="0" eaLnBrk="1" latinLnBrk="0" hangingPunct="1">
              <a:lnSpc>
                <a:spcPct val="90000"/>
              </a:lnSpc>
              <a:spcBef>
                <a:spcPts val="501"/>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83" indent="-228617" algn="l" defTabSz="914466" rtl="0" eaLnBrk="1" latinLnBrk="0" hangingPunct="1">
              <a:lnSpc>
                <a:spcPct val="90000"/>
              </a:lnSpc>
              <a:spcBef>
                <a:spcPts val="501"/>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317" indent="-228617" algn="l" defTabSz="914466" rtl="0" eaLnBrk="1" latinLnBrk="0" hangingPunct="1">
              <a:lnSpc>
                <a:spcPct val="90000"/>
              </a:lnSpc>
              <a:spcBef>
                <a:spcPts val="501"/>
              </a:spcBef>
              <a:buFont typeface="Arial"/>
              <a:buChar char="•"/>
              <a:defRPr sz="1799" kern="1200">
                <a:solidFill>
                  <a:schemeClr val="tx1"/>
                </a:solidFill>
                <a:latin typeface="Calibri" panose="020F0502020204030204" pitchFamily="34" charset="0"/>
                <a:ea typeface="+mn-ea"/>
                <a:cs typeface="Calibri" panose="020F0502020204030204" pitchFamily="34" charset="0"/>
              </a:defRPr>
            </a:lvl4pPr>
            <a:lvl5pPr marL="2057549" indent="-228617" algn="l" defTabSz="914466" rtl="0" eaLnBrk="1" latinLnBrk="0" hangingPunct="1">
              <a:lnSpc>
                <a:spcPct val="90000"/>
              </a:lnSpc>
              <a:spcBef>
                <a:spcPts val="501"/>
              </a:spcBef>
              <a:buFont typeface="Arial"/>
              <a:buChar char="•"/>
              <a:defRPr sz="1799" kern="1200">
                <a:solidFill>
                  <a:schemeClr val="tx1"/>
                </a:solidFill>
                <a:latin typeface="Calibri" panose="020F0502020204030204" pitchFamily="34" charset="0"/>
                <a:ea typeface="+mn-ea"/>
                <a:cs typeface="Calibri" panose="020F0502020204030204" pitchFamily="34" charset="0"/>
              </a:defRPr>
            </a:lvl5pPr>
            <a:lvl6pPr marL="2514783"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6pPr>
            <a:lvl7pPr marL="2972015"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7pPr>
            <a:lvl8pPr marL="3429249"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8pPr>
            <a:lvl9pPr marL="3886483" indent="-228617" algn="l" defTabSz="914466" rtl="0" eaLnBrk="1" latinLnBrk="0" hangingPunct="1">
              <a:lnSpc>
                <a:spcPct val="90000"/>
              </a:lnSpc>
              <a:spcBef>
                <a:spcPts val="501"/>
              </a:spcBef>
              <a:buFont typeface="Arial"/>
              <a:buChar char="•"/>
              <a:defRPr sz="1799" kern="1200">
                <a:solidFill>
                  <a:schemeClr val="tx1"/>
                </a:solidFill>
                <a:latin typeface="+mn-lt"/>
                <a:ea typeface="+mn-ea"/>
                <a:cs typeface="+mn-cs"/>
              </a:defRPr>
            </a:lvl9pPr>
          </a:lstStyle>
          <a:p>
            <a:endParaRPr lang="es-ES" dirty="0">
              <a:latin typeface="Avenir LT Std 35 Light" panose="020B0402020203020204" pitchFamily="34" charset="0"/>
            </a:endParaRPr>
          </a:p>
        </p:txBody>
      </p:sp>
      <p:graphicFrame>
        <p:nvGraphicFramePr>
          <p:cNvPr id="6" name="Diagrama 5"/>
          <p:cNvGraphicFramePr/>
          <p:nvPr/>
        </p:nvGraphicFramePr>
        <p:xfrm>
          <a:off x="838200" y="1825626"/>
          <a:ext cx="10819296" cy="40601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098" name="Picture 2" descr="Objects Vectores, Iconos, Gráficos y Fondos para Descargar Gratis">
            <a:extLst>
              <a:ext uri="{FF2B5EF4-FFF2-40B4-BE49-F238E27FC236}">
                <a16:creationId xmlns:a16="http://schemas.microsoft.com/office/drawing/2014/main" id="{A6E39A39-EE25-ABAA-8367-CF07175AE72C}"/>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29025" y="2618180"/>
            <a:ext cx="2166335" cy="151654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Qué hacer si pierdes las llaves de casa?">
            <a:extLst>
              <a:ext uri="{FF2B5EF4-FFF2-40B4-BE49-F238E27FC236}">
                <a16:creationId xmlns:a16="http://schemas.microsoft.com/office/drawing/2014/main" id="{EE507BDF-14A8-9C3C-0B9A-B2C45948A7A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5300" t="18391" r="2694" b="20919"/>
          <a:stretch/>
        </p:blipFill>
        <p:spPr bwMode="auto">
          <a:xfrm>
            <a:off x="6596492" y="5355020"/>
            <a:ext cx="1364462" cy="1061546"/>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wifi signal wave connection network web technology internet vector  illustration vector de Stock | Adobe Stock">
            <a:extLst>
              <a:ext uri="{FF2B5EF4-FFF2-40B4-BE49-F238E27FC236}">
                <a16:creationId xmlns:a16="http://schemas.microsoft.com/office/drawing/2014/main" id="{7005916D-1629-B749-E140-2A0E30CF00D2}"/>
              </a:ext>
            </a:extLst>
          </p:cNvPr>
          <p:cNvPicPr>
            <a:picLocks noChangeAspect="1" noChangeArrowheads="1"/>
          </p:cNvPicPr>
          <p:nvPr/>
        </p:nvPicPr>
        <p:blipFill rotWithShape="1">
          <a:blip r:embed="rId9">
            <a:clrChange>
              <a:clrFrom>
                <a:srgbClr val="FCFCFC"/>
              </a:clrFrom>
              <a:clrTo>
                <a:srgbClr val="FCFCFC">
                  <a:alpha val="0"/>
                </a:srgbClr>
              </a:clrTo>
            </a:clrChange>
            <a:extLst>
              <a:ext uri="{28A0092B-C50C-407E-A947-70E740481C1C}">
                <a14:useLocalDpi xmlns:a14="http://schemas.microsoft.com/office/drawing/2010/main" val="0"/>
              </a:ext>
            </a:extLst>
          </a:blip>
          <a:srcRect l="7854" t="14176" r="6628" b="14176"/>
          <a:stretch/>
        </p:blipFill>
        <p:spPr bwMode="auto">
          <a:xfrm>
            <a:off x="6732595" y="4439912"/>
            <a:ext cx="1092257" cy="915108"/>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6E74E45E-5CC2-0514-A6CF-2588EFA17697}"/>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37697906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7A86DDE-6B63-F0A4-0B0F-88D8A4E11316}"/>
              </a:ext>
            </a:extLst>
          </p:cNvPr>
          <p:cNvSpPr>
            <a:spLocks noGrp="1"/>
          </p:cNvSpPr>
          <p:nvPr>
            <p:ph type="title"/>
          </p:nvPr>
        </p:nvSpPr>
        <p:spPr>
          <a:xfrm>
            <a:off x="838200" y="365126"/>
            <a:ext cx="9840124" cy="1092200"/>
          </a:xfrm>
        </p:spPr>
        <p:txBody>
          <a:bodyPr>
            <a:normAutofit fontScale="90000"/>
          </a:bodyPr>
          <a:lstStyle/>
          <a:p>
            <a:r>
              <a:rPr lang="es-ES" noProof="0" dirty="0"/>
              <a:t>Previsiones dispositivos IoT instalados | sin contar smartphones, tablets y PCs)   Fuente Incibe</a:t>
            </a:r>
          </a:p>
        </p:txBody>
      </p:sp>
      <p:pic>
        <p:nvPicPr>
          <p:cNvPr id="7" name="Picture 2" descr="TemáTICas: Internet of Things, luces y sombras de las cosas conectadas |  INCIBE">
            <a:extLst>
              <a:ext uri="{FF2B5EF4-FFF2-40B4-BE49-F238E27FC236}">
                <a16:creationId xmlns:a16="http://schemas.microsoft.com/office/drawing/2014/main" id="{F095F7B0-6DFE-4028-8B0B-A34E018EFEBF}"/>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a:stretch/>
        </p:blipFill>
        <p:spPr>
          <a:xfrm>
            <a:off x="3757612" y="2882106"/>
            <a:ext cx="4676775" cy="2238375"/>
          </a:xfrm>
          <a:noFill/>
        </p:spPr>
      </p:pic>
      <p:sp>
        <p:nvSpPr>
          <p:cNvPr id="4" name="Marcador de fecha 3">
            <a:extLst>
              <a:ext uri="{FF2B5EF4-FFF2-40B4-BE49-F238E27FC236}">
                <a16:creationId xmlns:a16="http://schemas.microsoft.com/office/drawing/2014/main" id="{14EF78D8-D3EA-440B-B37A-D949748F407A}"/>
              </a:ext>
            </a:extLst>
          </p:cNvPr>
          <p:cNvSpPr>
            <a:spLocks noGrp="1"/>
          </p:cNvSpPr>
          <p:nvPr>
            <p:ph type="dt" sz="half" idx="10"/>
          </p:nvPr>
        </p:nvSpPr>
        <p:spPr>
          <a:xfrm>
            <a:off x="814650" y="6400379"/>
            <a:ext cx="3380278" cy="365125"/>
          </a:xfrm>
        </p:spPr>
        <p:txBody>
          <a:bodyPr anchor="ctr">
            <a:normAutofit/>
          </a:bodyPr>
          <a:lstStyle/>
          <a:p>
            <a:fld id="{EE741C08-8A28-4C3C-A09C-1A797B3F28DB}"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59708A3C-AC00-41D0-B50C-57D91ACF889F}"/>
              </a:ext>
            </a:extLst>
          </p:cNvPr>
          <p:cNvSpPr>
            <a:spLocks noGrp="1"/>
          </p:cNvSpPr>
          <p:nvPr>
            <p:ph type="ftr" sz="quarter" idx="11"/>
          </p:nvPr>
        </p:nvSpPr>
        <p:spPr>
          <a:xfrm>
            <a:off x="4622986" y="6421474"/>
            <a:ext cx="5989596" cy="365125"/>
          </a:xfrm>
        </p:spPr>
        <p:txBody>
          <a:bodyPr anchor="ctr">
            <a:normAutofit/>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053F7438-F311-4A60-B8C2-100F83073966}"/>
              </a:ext>
            </a:extLst>
          </p:cNvPr>
          <p:cNvSpPr>
            <a:spLocks noGrp="1"/>
          </p:cNvSpPr>
          <p:nvPr>
            <p:ph type="sldNum" sz="quarter" idx="12"/>
          </p:nvPr>
        </p:nvSpPr>
        <p:spPr>
          <a:xfrm>
            <a:off x="10801350" y="6421474"/>
            <a:ext cx="576000" cy="365125"/>
          </a:xfrm>
        </p:spPr>
        <p:txBody>
          <a:bodyPr anchor="ctr">
            <a:normAutofit/>
          </a:bodyPr>
          <a:lstStyle/>
          <a:p>
            <a:fld id="{55440F6C-613C-488D-819E-DA6065366E0E}" type="slidenum">
              <a:rPr lang="es-ES" smtClean="0"/>
              <a:pPr/>
              <a:t>106</a:t>
            </a:fld>
            <a:endParaRPr lang="es-ES" dirty="0"/>
          </a:p>
        </p:txBody>
      </p:sp>
      <p:sp>
        <p:nvSpPr>
          <p:cNvPr id="10" name="CuadroTexto 9">
            <a:extLst>
              <a:ext uri="{FF2B5EF4-FFF2-40B4-BE49-F238E27FC236}">
                <a16:creationId xmlns:a16="http://schemas.microsoft.com/office/drawing/2014/main" id="{D4ECDB05-ED7E-443A-A0C1-D1E10D550347}"/>
              </a:ext>
            </a:extLst>
          </p:cNvPr>
          <p:cNvSpPr txBox="1"/>
          <p:nvPr/>
        </p:nvSpPr>
        <p:spPr>
          <a:xfrm>
            <a:off x="6220070" y="5987017"/>
            <a:ext cx="2542684" cy="369332"/>
          </a:xfrm>
          <a:prstGeom prst="rect">
            <a:avLst/>
          </a:prstGeom>
          <a:solidFill>
            <a:srgbClr val="3333FF"/>
          </a:solidFill>
        </p:spPr>
        <p:txBody>
          <a:bodyPr wrap="none">
            <a:spAutoFit/>
          </a:bodyPr>
          <a:lstStyle/>
          <a:p>
            <a:r>
              <a:rPr lang="es-ES" dirty="0">
                <a:solidFill>
                  <a:schemeClr val="bg1"/>
                </a:solidFill>
              </a:rPr>
              <a:t>2021 -35.82 mil millones </a:t>
            </a:r>
          </a:p>
        </p:txBody>
      </p:sp>
      <p:sp>
        <p:nvSpPr>
          <p:cNvPr id="13" name="CuadroTexto 12">
            <a:extLst>
              <a:ext uri="{FF2B5EF4-FFF2-40B4-BE49-F238E27FC236}">
                <a16:creationId xmlns:a16="http://schemas.microsoft.com/office/drawing/2014/main" id="{0D82E18E-BDAF-46CD-87EC-A8FDE7ED5B0F}"/>
              </a:ext>
            </a:extLst>
          </p:cNvPr>
          <p:cNvSpPr txBox="1"/>
          <p:nvPr/>
        </p:nvSpPr>
        <p:spPr>
          <a:xfrm>
            <a:off x="9236481" y="5987017"/>
            <a:ext cx="2542684" cy="369332"/>
          </a:xfrm>
          <a:prstGeom prst="rect">
            <a:avLst/>
          </a:prstGeom>
          <a:solidFill>
            <a:srgbClr val="3333FF"/>
          </a:solidFill>
        </p:spPr>
        <p:txBody>
          <a:bodyPr wrap="none">
            <a:spAutoFit/>
          </a:bodyPr>
          <a:lstStyle>
            <a:defPPr>
              <a:defRPr lang="en-US"/>
            </a:defPPr>
            <a:lvl1pPr>
              <a:defRPr>
                <a:solidFill>
                  <a:schemeClr val="bg1"/>
                </a:solidFill>
              </a:defRPr>
            </a:lvl1pPr>
          </a:lstStyle>
          <a:p>
            <a:r>
              <a:rPr lang="es-ES" dirty="0"/>
              <a:t>2025 - 75.44 mil millones</a:t>
            </a:r>
          </a:p>
        </p:txBody>
      </p:sp>
      <p:pic>
        <p:nvPicPr>
          <p:cNvPr id="14" name="Picture 2" descr="https://www.bloorresearch.com/wp-content/uploads/2018/07/5g-IoT-Edge-Computing-Figure-1.png">
            <a:extLst>
              <a:ext uri="{FF2B5EF4-FFF2-40B4-BE49-F238E27FC236}">
                <a16:creationId xmlns:a16="http://schemas.microsoft.com/office/drawing/2014/main" id="{65CBA291-D4AB-4B0A-84A9-D13A8AEEE99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2709444" y="3372725"/>
            <a:ext cx="1478605" cy="932255"/>
          </a:xfrm>
          <a:prstGeom prst="cloudCallout">
            <a:avLst>
              <a:gd name="adj1" fmla="val 8914"/>
              <a:gd name="adj2" fmla="val 83607"/>
            </a:avLst>
          </a:prstGeom>
          <a:noFill/>
          <a:extLst>
            <a:ext uri="{909E8E84-426E-40DD-AFC4-6F175D3DCCD1}">
              <a14:hiddenFill xmlns:a14="http://schemas.microsoft.com/office/drawing/2010/main">
                <a:solidFill>
                  <a:srgbClr val="FFFFFF"/>
                </a:solidFill>
              </a14:hiddenFill>
            </a:ext>
          </a:extLst>
        </p:spPr>
      </p:pic>
      <p:pic>
        <p:nvPicPr>
          <p:cNvPr id="15" name="Picture 2" descr="La inversión global en el Internet de las Cosas crecerá un 15% en 2017">
            <a:extLst>
              <a:ext uri="{FF2B5EF4-FFF2-40B4-BE49-F238E27FC236}">
                <a16:creationId xmlns:a16="http://schemas.microsoft.com/office/drawing/2014/main" id="{68BB6E9B-933D-4FC7-ABB5-5306DDB20A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6596" y="1753033"/>
            <a:ext cx="3451916" cy="1903784"/>
          </a:xfrm>
          <a:prstGeom prst="cloudCallout">
            <a:avLst>
              <a:gd name="adj1" fmla="val 15766"/>
              <a:gd name="adj2" fmla="val 50832"/>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798048E6-65C0-3D1A-EF3F-EE862C2E5F98}"/>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38488426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Esquema simple de IOT… pero hay muchas variables</a:t>
            </a:r>
          </a:p>
        </p:txBody>
      </p:sp>
      <p:sp>
        <p:nvSpPr>
          <p:cNvPr id="5" name="Marcador de fecha 4">
            <a:extLst>
              <a:ext uri="{FF2B5EF4-FFF2-40B4-BE49-F238E27FC236}">
                <a16:creationId xmlns:a16="http://schemas.microsoft.com/office/drawing/2014/main" id="{33AE7BA6-1973-4AF4-83E3-70ADADDFDED9}"/>
              </a:ext>
            </a:extLst>
          </p:cNvPr>
          <p:cNvSpPr>
            <a:spLocks noGrp="1"/>
          </p:cNvSpPr>
          <p:nvPr>
            <p:ph type="dt" sz="half" idx="10"/>
          </p:nvPr>
        </p:nvSpPr>
        <p:spPr>
          <a:xfrm>
            <a:off x="814650" y="6400379"/>
            <a:ext cx="3380278" cy="365125"/>
          </a:xfrm>
        </p:spPr>
        <p:txBody>
          <a:bodyPr/>
          <a:lstStyle/>
          <a:p>
            <a:fld id="{DA171E2D-4714-4FAC-8592-340E70191DD9}"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138401C0-E6B5-4FF5-8DC3-23C85D6A70FD}"/>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6" name="Marcador de número de diapositiva 15">
            <a:extLst>
              <a:ext uri="{FF2B5EF4-FFF2-40B4-BE49-F238E27FC236}">
                <a16:creationId xmlns:a16="http://schemas.microsoft.com/office/drawing/2014/main" id="{B958C90D-D3DD-44FC-B23C-B5AF18C8A2C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7</a:t>
            </a:fld>
            <a:endParaRPr lang="es-ES" dirty="0"/>
          </a:p>
        </p:txBody>
      </p:sp>
      <p:graphicFrame>
        <p:nvGraphicFramePr>
          <p:cNvPr id="7" name="5 Diagrama"/>
          <p:cNvGraphicFramePr/>
          <p:nvPr/>
        </p:nvGraphicFramePr>
        <p:xfrm>
          <a:off x="500743" y="1374196"/>
          <a:ext cx="10842171" cy="31786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ángulo: esquinas redondeadas 6">
            <a:extLst>
              <a:ext uri="{FF2B5EF4-FFF2-40B4-BE49-F238E27FC236}">
                <a16:creationId xmlns:a16="http://schemas.microsoft.com/office/drawing/2014/main" id="{04709CD1-F151-4581-81B1-E17FDD34255F}"/>
              </a:ext>
            </a:extLst>
          </p:cNvPr>
          <p:cNvSpPr/>
          <p:nvPr/>
        </p:nvSpPr>
        <p:spPr>
          <a:xfrm>
            <a:off x="9097108" y="1704391"/>
            <a:ext cx="2450123" cy="3966544"/>
          </a:xfrm>
          <a:prstGeom prst="roundRect">
            <a:avLst/>
          </a:prstGeom>
          <a:noFill/>
          <a:ln w="38100">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s-ES" dirty="0">
              <a:solidFill>
                <a:schemeClr val="accent1"/>
              </a:solidFill>
              <a:latin typeface="Avenir LT Std 35 Light" panose="020B0402020203020204" pitchFamily="34" charset="0"/>
              <a:cs typeface="Calibri" panose="020F0502020204030204" pitchFamily="34" charset="0"/>
            </a:endParaRPr>
          </a:p>
        </p:txBody>
      </p:sp>
      <p:grpSp>
        <p:nvGrpSpPr>
          <p:cNvPr id="10" name="Grupo 9"/>
          <p:cNvGrpSpPr/>
          <p:nvPr/>
        </p:nvGrpSpPr>
        <p:grpSpPr>
          <a:xfrm>
            <a:off x="9308122" y="4284127"/>
            <a:ext cx="2009152" cy="1260000"/>
            <a:chOff x="9308122" y="4284127"/>
            <a:chExt cx="2009152" cy="1260000"/>
          </a:xfrm>
        </p:grpSpPr>
        <p:pic>
          <p:nvPicPr>
            <p:cNvPr id="11" name="Picture 18" descr="MainFrameServer">
              <a:extLst>
                <a:ext uri="{FF2B5EF4-FFF2-40B4-BE49-F238E27FC236}">
                  <a16:creationId xmlns:a16="http://schemas.microsoft.com/office/drawing/2014/main" id="{8C0F30BB-412D-4250-AB15-F7A51C78591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08122" y="4284127"/>
              <a:ext cx="925189" cy="1260000"/>
            </a:xfrm>
            <a:prstGeom prst="rect">
              <a:avLst/>
            </a:prstGeom>
            <a:noFill/>
          </p:spPr>
        </p:pic>
        <p:pic>
          <p:nvPicPr>
            <p:cNvPr id="12" name="Imagen 11">
              <a:extLst>
                <a:ext uri="{FF2B5EF4-FFF2-40B4-BE49-F238E27FC236}">
                  <a16:creationId xmlns:a16="http://schemas.microsoft.com/office/drawing/2014/main" id="{54D829C8-F2CC-4111-B8F2-3A70D6D46571}"/>
                </a:ext>
              </a:extLst>
            </p:cNvPr>
            <p:cNvPicPr>
              <a:picLocks noChangeAspect="1"/>
            </p:cNvPicPr>
            <p:nvPr/>
          </p:nvPicPr>
          <p:blipFill rotWithShape="1">
            <a:blip r:embed="rId8">
              <a:extLst>
                <a:ext uri="{28A0092B-C50C-407E-A947-70E740481C1C}">
                  <a14:useLocalDpi xmlns:a14="http://schemas.microsoft.com/office/drawing/2010/main" val="0"/>
                </a:ext>
              </a:extLst>
            </a:blip>
            <a:srcRect l="8799"/>
            <a:stretch/>
          </p:blipFill>
          <p:spPr>
            <a:xfrm>
              <a:off x="10469964" y="4284127"/>
              <a:ext cx="847310" cy="1260000"/>
            </a:xfrm>
            <a:prstGeom prst="rect">
              <a:avLst/>
            </a:prstGeom>
          </p:spPr>
        </p:pic>
      </p:grpSp>
      <p:pic>
        <p:nvPicPr>
          <p:cNvPr id="13" name="Picture 2" descr="Resultado de imagen de iot device icon"/>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277253" y="3696539"/>
            <a:ext cx="2484000" cy="155826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Resultado de imagen de iot network internet 5G ic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83629" y="3716721"/>
            <a:ext cx="2484000" cy="18630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Resultado de imagen de arduino platform"/>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84985" y="3760184"/>
            <a:ext cx="2484000" cy="177009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o 17">
            <a:extLst>
              <a:ext uri="{FF2B5EF4-FFF2-40B4-BE49-F238E27FC236}">
                <a16:creationId xmlns:a16="http://schemas.microsoft.com/office/drawing/2014/main" id="{2F0B8418-1C82-B5BB-A1DD-8F760A8957B4}"/>
              </a:ext>
            </a:extLst>
          </p:cNvPr>
          <p:cNvGrpSpPr/>
          <p:nvPr/>
        </p:nvGrpSpPr>
        <p:grpSpPr>
          <a:xfrm>
            <a:off x="377369" y="1690302"/>
            <a:ext cx="4611456" cy="1977472"/>
            <a:chOff x="377369" y="1690302"/>
            <a:chExt cx="4611456" cy="1977472"/>
          </a:xfrm>
        </p:grpSpPr>
        <p:sp>
          <p:nvSpPr>
            <p:cNvPr id="2" name="CuadroTexto 1"/>
            <p:cNvSpPr txBox="1"/>
            <p:nvPr/>
          </p:nvSpPr>
          <p:spPr>
            <a:xfrm>
              <a:off x="377369" y="1690302"/>
              <a:ext cx="2588978" cy="461665"/>
            </a:xfrm>
            <a:prstGeom prst="rect">
              <a:avLst/>
            </a:prstGeom>
          </p:spPr>
          <p:txBody>
            <a:bodyPr wrap="none" rtlCol="0">
              <a:spAutoFit/>
            </a:bodyPr>
            <a:lstStyle/>
            <a:p>
              <a:r>
                <a:rPr lang="es-ES" sz="2400" dirty="0">
                  <a:latin typeface="+mj-lt"/>
                </a:rPr>
                <a:t>Dirección IP o no</a:t>
              </a:r>
            </a:p>
          </p:txBody>
        </p:sp>
        <p:sp>
          <p:nvSpPr>
            <p:cNvPr id="3" name="Rectángulo 2"/>
            <p:cNvSpPr/>
            <p:nvPr/>
          </p:nvSpPr>
          <p:spPr>
            <a:xfrm>
              <a:off x="4052350" y="2098114"/>
              <a:ext cx="936475" cy="1569660"/>
            </a:xfrm>
            <a:prstGeom prst="rect">
              <a:avLst/>
            </a:prstGeom>
            <a:noFill/>
          </p:spPr>
          <p:txBody>
            <a:bodyPr wrap="none" lIns="91440" tIns="45720" rIns="91440" bIns="45720">
              <a:spAutoFit/>
            </a:bodyPr>
            <a:lstStyle/>
            <a:p>
              <a:pPr algn="ctr"/>
              <a:r>
                <a:rPr lang="es-ES" sz="9600" b="0" cap="none" spc="0" dirty="0">
                  <a:ln w="0"/>
                  <a:solidFill>
                    <a:schemeClr val="tx1"/>
                  </a:solidFill>
                  <a:effectLst>
                    <a:outerShdw blurRad="38100" dist="19050" dir="2700000" algn="tl" rotWithShape="0">
                      <a:schemeClr val="dk1">
                        <a:alpha val="40000"/>
                      </a:schemeClr>
                    </a:outerShdw>
                  </a:effectLst>
                  <a:latin typeface="Avenir LT Std 35 Light" panose="020B0402020203020204" pitchFamily="34" charset="0"/>
                </a:rPr>
                <a:t>X</a:t>
              </a:r>
            </a:p>
          </p:txBody>
        </p:sp>
      </p:grpSp>
      <p:sp>
        <p:nvSpPr>
          <p:cNvPr id="17" name="Rectángulo 16">
            <a:extLst>
              <a:ext uri="{FF2B5EF4-FFF2-40B4-BE49-F238E27FC236}">
                <a16:creationId xmlns:a16="http://schemas.microsoft.com/office/drawing/2014/main" id="{7FE4A790-6465-053B-4231-9440DB87329B}"/>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360620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Sensores IOT en Bilbao (1 / 3)</a:t>
            </a:r>
          </a:p>
        </p:txBody>
      </p:sp>
      <p:sp>
        <p:nvSpPr>
          <p:cNvPr id="6" name="Marcador de fecha 5">
            <a:extLst>
              <a:ext uri="{FF2B5EF4-FFF2-40B4-BE49-F238E27FC236}">
                <a16:creationId xmlns:a16="http://schemas.microsoft.com/office/drawing/2014/main" id="{963E0D11-E02D-441F-8C70-16B38EBDA67C}"/>
              </a:ext>
            </a:extLst>
          </p:cNvPr>
          <p:cNvSpPr>
            <a:spLocks noGrp="1"/>
          </p:cNvSpPr>
          <p:nvPr>
            <p:ph type="dt" sz="half" idx="10"/>
          </p:nvPr>
        </p:nvSpPr>
        <p:spPr>
          <a:xfrm>
            <a:off x="814650" y="6400379"/>
            <a:ext cx="3380278" cy="365125"/>
          </a:xfrm>
        </p:spPr>
        <p:txBody>
          <a:bodyPr/>
          <a:lstStyle/>
          <a:p>
            <a:fld id="{6BBEAA57-6C6C-4219-9FF6-8DBC23C4EE9D}" type="datetime2">
              <a:rPr lang="es-ES" smtClean="0"/>
              <a:pPr/>
              <a:t>jueves, 19 de septiembre de 2024</a:t>
            </a:fld>
            <a:endParaRPr lang="es-ES" dirty="0"/>
          </a:p>
        </p:txBody>
      </p:sp>
      <p:sp>
        <p:nvSpPr>
          <p:cNvPr id="9" name="Marcador de pie de página 8">
            <a:extLst>
              <a:ext uri="{FF2B5EF4-FFF2-40B4-BE49-F238E27FC236}">
                <a16:creationId xmlns:a16="http://schemas.microsoft.com/office/drawing/2014/main" id="{1BFFF039-4DDB-4D2F-9E80-F03A156014B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1" name="Marcador de número de diapositiva 10">
            <a:extLst>
              <a:ext uri="{FF2B5EF4-FFF2-40B4-BE49-F238E27FC236}">
                <a16:creationId xmlns:a16="http://schemas.microsoft.com/office/drawing/2014/main" id="{E4B0B908-52CB-4A6D-ADCD-A8A07E5B288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8</a:t>
            </a:fld>
            <a:endParaRPr lang="es-ES" dirty="0"/>
          </a:p>
        </p:txBody>
      </p:sp>
      <p:graphicFrame>
        <p:nvGraphicFramePr>
          <p:cNvPr id="7" name="Diagrama 6"/>
          <p:cNvGraphicFramePr/>
          <p:nvPr/>
        </p:nvGraphicFramePr>
        <p:xfrm>
          <a:off x="534503" y="1950720"/>
          <a:ext cx="10429284" cy="41071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ángulo 1">
            <a:extLst>
              <a:ext uri="{FF2B5EF4-FFF2-40B4-BE49-F238E27FC236}">
                <a16:creationId xmlns:a16="http://schemas.microsoft.com/office/drawing/2014/main" id="{9FA3115A-82FE-E784-6232-35D6D9F7FD14}"/>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21918540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Sensores IOT en Bilbao  (2 / 3)</a:t>
            </a:r>
          </a:p>
        </p:txBody>
      </p:sp>
      <p:sp>
        <p:nvSpPr>
          <p:cNvPr id="7" name="Marcador de fecha 6">
            <a:extLst>
              <a:ext uri="{FF2B5EF4-FFF2-40B4-BE49-F238E27FC236}">
                <a16:creationId xmlns:a16="http://schemas.microsoft.com/office/drawing/2014/main" id="{4394B435-2442-4167-8323-6C194CC4A4D2}"/>
              </a:ext>
            </a:extLst>
          </p:cNvPr>
          <p:cNvSpPr>
            <a:spLocks noGrp="1"/>
          </p:cNvSpPr>
          <p:nvPr>
            <p:ph type="dt" sz="half" idx="10"/>
          </p:nvPr>
        </p:nvSpPr>
        <p:spPr>
          <a:xfrm>
            <a:off x="814650" y="6400379"/>
            <a:ext cx="3380278" cy="365125"/>
          </a:xfrm>
        </p:spPr>
        <p:txBody>
          <a:bodyPr/>
          <a:lstStyle/>
          <a:p>
            <a:fld id="{895E0FDD-6799-435C-B876-D5392A68FE34}" type="datetime2">
              <a:rPr lang="es-ES" smtClean="0"/>
              <a:pPr/>
              <a:t>jueves, 19 de septiembre de 2024</a:t>
            </a:fld>
            <a:endParaRPr lang="es-ES" dirty="0"/>
          </a:p>
        </p:txBody>
      </p:sp>
      <p:sp>
        <p:nvSpPr>
          <p:cNvPr id="9" name="Marcador de pie de página 8">
            <a:extLst>
              <a:ext uri="{FF2B5EF4-FFF2-40B4-BE49-F238E27FC236}">
                <a16:creationId xmlns:a16="http://schemas.microsoft.com/office/drawing/2014/main" id="{A77E2EC9-2FDC-4A3C-90ED-7892604B522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1" name="Marcador de número de diapositiva 10">
            <a:extLst>
              <a:ext uri="{FF2B5EF4-FFF2-40B4-BE49-F238E27FC236}">
                <a16:creationId xmlns:a16="http://schemas.microsoft.com/office/drawing/2014/main" id="{4D957D38-965C-4D80-9CBE-CE6615147C8E}"/>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09</a:t>
            </a:fld>
            <a:endParaRPr lang="es-ES" dirty="0"/>
          </a:p>
        </p:txBody>
      </p:sp>
      <p:graphicFrame>
        <p:nvGraphicFramePr>
          <p:cNvPr id="5" name="Diagrama 4"/>
          <p:cNvGraphicFramePr/>
          <p:nvPr/>
        </p:nvGraphicFramePr>
        <p:xfrm>
          <a:off x="697069" y="1765478"/>
          <a:ext cx="10429284" cy="41071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ángulo 1">
            <a:extLst>
              <a:ext uri="{FF2B5EF4-FFF2-40B4-BE49-F238E27FC236}">
                <a16:creationId xmlns:a16="http://schemas.microsoft.com/office/drawing/2014/main" id="{07FCF029-EAE0-48DF-EA67-92B9CA6CBD41}"/>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1894293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325953-F52A-478B-BA3C-B3B0880E972C}"/>
              </a:ext>
            </a:extLst>
          </p:cNvPr>
          <p:cNvSpPr>
            <a:spLocks noGrp="1"/>
          </p:cNvSpPr>
          <p:nvPr>
            <p:ph type="title"/>
          </p:nvPr>
        </p:nvSpPr>
        <p:spPr>
          <a:xfrm>
            <a:off x="341194" y="3814618"/>
            <a:ext cx="4932769" cy="1876594"/>
          </a:xfrm>
        </p:spPr>
        <p:txBody>
          <a:bodyPr/>
          <a:lstStyle/>
          <a:p>
            <a:r>
              <a:rPr lang="es-ES" noProof="0" dirty="0"/>
              <a:t>transformación digital</a:t>
            </a:r>
          </a:p>
        </p:txBody>
      </p:sp>
      <p:sp>
        <p:nvSpPr>
          <p:cNvPr id="3" name="Marcador de fecha 2">
            <a:extLst>
              <a:ext uri="{FF2B5EF4-FFF2-40B4-BE49-F238E27FC236}">
                <a16:creationId xmlns:a16="http://schemas.microsoft.com/office/drawing/2014/main" id="{0C521B9F-C6A9-40DA-ACD8-39C61D7BC65E}"/>
              </a:ext>
            </a:extLst>
          </p:cNvPr>
          <p:cNvSpPr>
            <a:spLocks noGrp="1"/>
          </p:cNvSpPr>
          <p:nvPr>
            <p:ph type="dt" sz="half" idx="10"/>
          </p:nvPr>
        </p:nvSpPr>
        <p:spPr>
          <a:xfrm>
            <a:off x="814650" y="6400379"/>
            <a:ext cx="3380278" cy="365125"/>
          </a:xfrm>
        </p:spPr>
        <p:txBody>
          <a:bodyPr/>
          <a:lstStyle/>
          <a:p>
            <a:fld id="{FBA57E7F-D43D-402D-9FCA-D07B1DB41A86}"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41A519F-B4EC-4FAC-AAE0-15F9C60BBBC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527C2BF9-B18C-41F0-949F-8A74EC588D8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a:t>
            </a:fld>
            <a:endParaRPr lang="es-ES" dirty="0"/>
          </a:p>
        </p:txBody>
      </p:sp>
    </p:spTree>
    <p:extLst>
      <p:ext uri="{BB962C8B-B14F-4D97-AF65-F5344CB8AC3E}">
        <p14:creationId xmlns:p14="http://schemas.microsoft.com/office/powerpoint/2010/main" val="366006644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Sensores IOT en Bilbao  (3 / 3)</a:t>
            </a:r>
          </a:p>
        </p:txBody>
      </p:sp>
      <p:sp>
        <p:nvSpPr>
          <p:cNvPr id="7" name="Marcador de fecha 6">
            <a:extLst>
              <a:ext uri="{FF2B5EF4-FFF2-40B4-BE49-F238E27FC236}">
                <a16:creationId xmlns:a16="http://schemas.microsoft.com/office/drawing/2014/main" id="{A9B8C704-C4BD-4476-8871-FF3A2425134C}"/>
              </a:ext>
            </a:extLst>
          </p:cNvPr>
          <p:cNvSpPr>
            <a:spLocks noGrp="1"/>
          </p:cNvSpPr>
          <p:nvPr>
            <p:ph type="dt" sz="half" idx="10"/>
          </p:nvPr>
        </p:nvSpPr>
        <p:spPr>
          <a:xfrm>
            <a:off x="814650" y="6400379"/>
            <a:ext cx="3380278" cy="365125"/>
          </a:xfrm>
        </p:spPr>
        <p:txBody>
          <a:bodyPr/>
          <a:lstStyle/>
          <a:p>
            <a:fld id="{86460FAF-0CA1-4553-BF40-A0D2CC6C2CFC}" type="datetime2">
              <a:rPr lang="es-ES" smtClean="0"/>
              <a:pPr/>
              <a:t>jueves, 19 de septiembre de 2024</a:t>
            </a:fld>
            <a:endParaRPr lang="es-ES" dirty="0"/>
          </a:p>
        </p:txBody>
      </p:sp>
      <p:sp>
        <p:nvSpPr>
          <p:cNvPr id="9" name="Marcador de pie de página 8">
            <a:extLst>
              <a:ext uri="{FF2B5EF4-FFF2-40B4-BE49-F238E27FC236}">
                <a16:creationId xmlns:a16="http://schemas.microsoft.com/office/drawing/2014/main" id="{0E439F19-5EC8-44FC-835E-0F2A127E279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0CB92465-E8D6-4BAD-8766-467BDCF974B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0</a:t>
            </a:fld>
            <a:endParaRPr lang="es-ES" dirty="0"/>
          </a:p>
        </p:txBody>
      </p:sp>
      <p:graphicFrame>
        <p:nvGraphicFramePr>
          <p:cNvPr id="6" name="Diagrama 5"/>
          <p:cNvGraphicFramePr/>
          <p:nvPr/>
        </p:nvGraphicFramePr>
        <p:xfrm>
          <a:off x="3624179" y="1700463"/>
          <a:ext cx="4561542"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ángulo 1">
            <a:extLst>
              <a:ext uri="{FF2B5EF4-FFF2-40B4-BE49-F238E27FC236}">
                <a16:creationId xmlns:a16="http://schemas.microsoft.com/office/drawing/2014/main" id="{5CE79899-B0D2-BB48-3AE7-408D4E8A55AA}"/>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28094683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A5855E-D851-430F-AEF0-6CCA2E29BAA1}"/>
              </a:ext>
            </a:extLst>
          </p:cNvPr>
          <p:cNvSpPr>
            <a:spLocks noGrp="1"/>
          </p:cNvSpPr>
          <p:nvPr>
            <p:ph type="title"/>
          </p:nvPr>
        </p:nvSpPr>
        <p:spPr>
          <a:xfrm>
            <a:off x="838200" y="365126"/>
            <a:ext cx="9840124" cy="1092200"/>
          </a:xfrm>
        </p:spPr>
        <p:txBody>
          <a:bodyPr/>
          <a:lstStyle/>
          <a:p>
            <a:r>
              <a:rPr lang="es-ES" noProof="0" dirty="0"/>
              <a:t>SANIDAD: Diagnóstico y Tratamiento</a:t>
            </a:r>
          </a:p>
        </p:txBody>
      </p:sp>
      <p:sp>
        <p:nvSpPr>
          <p:cNvPr id="8" name="Marcador de contenido 7">
            <a:extLst>
              <a:ext uri="{FF2B5EF4-FFF2-40B4-BE49-F238E27FC236}">
                <a16:creationId xmlns:a16="http://schemas.microsoft.com/office/drawing/2014/main" id="{1CAA4E78-02BF-4C32-8AAF-0D37FCC2653F}"/>
              </a:ext>
            </a:extLst>
          </p:cNvPr>
          <p:cNvSpPr>
            <a:spLocks noGrp="1"/>
          </p:cNvSpPr>
          <p:nvPr>
            <p:ph sz="half" idx="1"/>
          </p:nvPr>
        </p:nvSpPr>
        <p:spPr>
          <a:xfrm>
            <a:off x="2926700" y="1863518"/>
            <a:ext cx="8821604" cy="4212000"/>
          </a:xfrm>
        </p:spPr>
        <p:txBody>
          <a:bodyPr>
            <a:normAutofit/>
          </a:bodyPr>
          <a:lstStyle/>
          <a:p>
            <a:pPr lvl="0"/>
            <a:r>
              <a:rPr lang="es-ES" noProof="0" dirty="0"/>
              <a:t>Análisis en tiempo real de la información.</a:t>
            </a:r>
          </a:p>
          <a:p>
            <a:pPr lvl="0"/>
            <a:r>
              <a:rPr lang="es-ES" noProof="0" dirty="0"/>
              <a:t>Automatizar el diagnóstico precoz.</a:t>
            </a:r>
          </a:p>
          <a:p>
            <a:pPr lvl="0"/>
            <a:r>
              <a:rPr lang="es-ES" noProof="0" dirty="0"/>
              <a:t>Actuación sobre mecanismos implantados inteligentes para dosificación de medicación</a:t>
            </a:r>
          </a:p>
          <a:p>
            <a:pPr lvl="0"/>
            <a:r>
              <a:rPr lang="es-ES" noProof="0" dirty="0"/>
              <a:t>---------------------------------------------------------</a:t>
            </a:r>
          </a:p>
          <a:p>
            <a:r>
              <a:rPr lang="es-ES" noProof="0" dirty="0"/>
              <a:t>Sustituye al Holter.</a:t>
            </a:r>
          </a:p>
          <a:p>
            <a:r>
              <a:rPr lang="es-ES" noProof="0" dirty="0"/>
              <a:t>Mecanismos implantables inteligentes + Históricos de intervenciones + BBDD médicas + Informes médicos + GIS + Social Media.</a:t>
            </a:r>
          </a:p>
        </p:txBody>
      </p:sp>
      <p:pic>
        <p:nvPicPr>
          <p:cNvPr id="10" name="Picture 4" descr="https://techstack.in-two.com/imageurl?width=320&amp;id=72270658&amp;url=https%3A%2F%2Fpbs.twimg.com%2Fext_tw_video_thumb%2F1090339302016466946%2Fpu%2Fimg%2F0ygwLBRe1PbXETYR.jpg%3Alarge">
            <a:extLst>
              <a:ext uri="{FF2B5EF4-FFF2-40B4-BE49-F238E27FC236}">
                <a16:creationId xmlns:a16="http://schemas.microsoft.com/office/drawing/2014/main" id="{A4BD5958-4F71-412D-A5B4-0A531FAD31F3}"/>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tretch/>
        </p:blipFill>
        <p:spPr>
          <a:xfrm>
            <a:off x="666750" y="2828925"/>
            <a:ext cx="2160000" cy="2160000"/>
          </a:xfrm>
        </p:spPr>
      </p:pic>
      <p:sp>
        <p:nvSpPr>
          <p:cNvPr id="5" name="Marcador de fecha 4">
            <a:extLst>
              <a:ext uri="{FF2B5EF4-FFF2-40B4-BE49-F238E27FC236}">
                <a16:creationId xmlns:a16="http://schemas.microsoft.com/office/drawing/2014/main" id="{872A2A5D-68C0-46FF-91D0-98DE550B78CC}"/>
              </a:ext>
            </a:extLst>
          </p:cNvPr>
          <p:cNvSpPr>
            <a:spLocks noGrp="1"/>
          </p:cNvSpPr>
          <p:nvPr>
            <p:ph type="dt" sz="half" idx="14"/>
          </p:nvPr>
        </p:nvSpPr>
        <p:spPr>
          <a:xfrm>
            <a:off x="814650" y="6400379"/>
            <a:ext cx="3380278" cy="365125"/>
          </a:xfrm>
        </p:spPr>
        <p:txBody>
          <a:bodyPr/>
          <a:lstStyle/>
          <a:p>
            <a:fld id="{66E3059F-3CAB-48C0-A401-ABD9E12B1B7D}"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C06D0E52-66DD-4B7D-BB00-03A6DA18D3BF}"/>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1EC83081-D015-472A-AA31-2F18C3D80BBE}"/>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11</a:t>
            </a:fld>
            <a:endParaRPr lang="es-ES" dirty="0"/>
          </a:p>
        </p:txBody>
      </p:sp>
      <p:sp>
        <p:nvSpPr>
          <p:cNvPr id="3" name="Rectángulo 2">
            <a:extLst>
              <a:ext uri="{FF2B5EF4-FFF2-40B4-BE49-F238E27FC236}">
                <a16:creationId xmlns:a16="http://schemas.microsoft.com/office/drawing/2014/main" id="{D8787BC4-E774-C72F-F6AB-2954F984BA88}"/>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142903965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a:extLst>
              <a:ext uri="{FF2B5EF4-FFF2-40B4-BE49-F238E27FC236}">
                <a16:creationId xmlns:a16="http://schemas.microsoft.com/office/drawing/2014/main" id="{FB9AA937-1246-45C4-9DE5-DEDA08A3D7C6}"/>
              </a:ext>
            </a:extLst>
          </p:cNvPr>
          <p:cNvSpPr>
            <a:spLocks noGrp="1"/>
          </p:cNvSpPr>
          <p:nvPr>
            <p:ph type="title"/>
          </p:nvPr>
        </p:nvSpPr>
        <p:spPr>
          <a:xfrm>
            <a:off x="838200" y="365126"/>
            <a:ext cx="9840124" cy="1092200"/>
          </a:xfrm>
        </p:spPr>
        <p:txBody>
          <a:bodyPr/>
          <a:lstStyle/>
          <a:p>
            <a:r>
              <a:rPr lang="es-ES" noProof="0" dirty="0"/>
              <a:t>Singapur</a:t>
            </a:r>
          </a:p>
        </p:txBody>
      </p:sp>
      <p:sp>
        <p:nvSpPr>
          <p:cNvPr id="3" name="Marcador de contenido 2">
            <a:extLst>
              <a:ext uri="{FF2B5EF4-FFF2-40B4-BE49-F238E27FC236}">
                <a16:creationId xmlns:a16="http://schemas.microsoft.com/office/drawing/2014/main" id="{CE6FC035-E329-46F4-B8F9-4940286E7A53}"/>
              </a:ext>
            </a:extLst>
          </p:cNvPr>
          <p:cNvSpPr>
            <a:spLocks noGrp="1"/>
          </p:cNvSpPr>
          <p:nvPr>
            <p:ph sz="half" idx="1"/>
          </p:nvPr>
        </p:nvSpPr>
        <p:spPr>
          <a:xfrm>
            <a:off x="2926700" y="1863518"/>
            <a:ext cx="8821604" cy="4212000"/>
          </a:xfrm>
        </p:spPr>
        <p:txBody>
          <a:bodyPr>
            <a:normAutofit fontScale="85000" lnSpcReduction="20000"/>
          </a:bodyPr>
          <a:lstStyle/>
          <a:p>
            <a:r>
              <a:rPr lang="es-ES" noProof="0" dirty="0"/>
              <a:t>1ª en Doing business.</a:t>
            </a:r>
          </a:p>
          <a:p>
            <a:r>
              <a:rPr lang="es-ES" noProof="0" dirty="0"/>
              <a:t>1997 iniciativa “Singapore ONE (UNA red para TODOS), alta velocidad y banda ancha para conectar cualquier persona / objeto en cualquier lugar.</a:t>
            </a:r>
          </a:p>
          <a:p>
            <a:r>
              <a:rPr lang="es-ES" noProof="0" dirty="0"/>
              <a:t>Llena de sensores y cámaras …“ciudad en estado de vigilancia”</a:t>
            </a:r>
          </a:p>
          <a:p>
            <a:r>
              <a:rPr lang="es-ES" noProof="0" dirty="0"/>
              <a:t>diseño en tiempo real de rutas dinámicas para autobuses.</a:t>
            </a:r>
          </a:p>
          <a:p>
            <a:r>
              <a:rPr lang="es-ES" noProof="0" dirty="0"/>
              <a:t>taxis inteligentes, han logrado reducir el tráfico en un 60 %</a:t>
            </a:r>
          </a:p>
          <a:p>
            <a:r>
              <a:rPr lang="es-ES" noProof="0" dirty="0"/>
              <a:t>portales de enseñanza.</a:t>
            </a:r>
          </a:p>
          <a:p>
            <a:r>
              <a:rPr lang="es-ES" noProof="0" dirty="0"/>
              <a:t>análisis predictivo de fugas en las tuberías de agua.</a:t>
            </a:r>
          </a:p>
          <a:p>
            <a:r>
              <a:rPr lang="es-ES" noProof="0" dirty="0"/>
              <a:t>Edificios sostenibles = 80% edificios ecológicos para 2030.</a:t>
            </a:r>
          </a:p>
          <a:p>
            <a:r>
              <a:rPr lang="es-ES" noProof="0" dirty="0"/>
              <a:t>Futuro, </a:t>
            </a:r>
          </a:p>
          <a:p>
            <a:pPr lvl="2"/>
            <a:r>
              <a:rPr lang="es-ES" noProof="0" dirty="0"/>
              <a:t>(Singapore Virtual Platform), 3D. Será accesible a empresas públicas, privadas y ciudadanos.</a:t>
            </a:r>
          </a:p>
          <a:p>
            <a:pPr lvl="2"/>
            <a:r>
              <a:rPr lang="es-ES" noProof="0" dirty="0"/>
              <a:t>Smart Mobility</a:t>
            </a:r>
          </a:p>
        </p:txBody>
      </p:sp>
      <p:pic>
        <p:nvPicPr>
          <p:cNvPr id="8" name="Picture 2" descr="Resultado de imagen de singapur">
            <a:extLst>
              <a:ext uri="{FF2B5EF4-FFF2-40B4-BE49-F238E27FC236}">
                <a16:creationId xmlns:a16="http://schemas.microsoft.com/office/drawing/2014/main" id="{6FEE1782-A049-495C-B8BA-2B6EE6FBDAF3}"/>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tretch/>
        </p:blipFill>
        <p:spPr>
          <a:xfrm>
            <a:off x="666750" y="2828925"/>
            <a:ext cx="2160000" cy="2160000"/>
          </a:xfrm>
        </p:spPr>
      </p:pic>
      <p:sp>
        <p:nvSpPr>
          <p:cNvPr id="4" name="Marcador de fecha 3">
            <a:extLst>
              <a:ext uri="{FF2B5EF4-FFF2-40B4-BE49-F238E27FC236}">
                <a16:creationId xmlns:a16="http://schemas.microsoft.com/office/drawing/2014/main" id="{5D56C2E3-A1C9-475E-9FB3-5617BD36BFEB}"/>
              </a:ext>
            </a:extLst>
          </p:cNvPr>
          <p:cNvSpPr>
            <a:spLocks noGrp="1"/>
          </p:cNvSpPr>
          <p:nvPr>
            <p:ph type="dt" sz="half" idx="14"/>
          </p:nvPr>
        </p:nvSpPr>
        <p:spPr>
          <a:xfrm>
            <a:off x="814650" y="6400379"/>
            <a:ext cx="3380278" cy="365125"/>
          </a:xfrm>
        </p:spPr>
        <p:txBody>
          <a:bodyPr/>
          <a:lstStyle/>
          <a:p>
            <a:fld id="{51A986AE-3D5E-4077-BB3A-A9F3D86E9DA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D68A7C3E-6018-44DB-919E-EC8910DA7F2A}"/>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D8036441-D3E4-46BA-8E39-2AD670F72861}"/>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12</a:t>
            </a:fld>
            <a:endParaRPr lang="es-ES" dirty="0"/>
          </a:p>
        </p:txBody>
      </p:sp>
      <p:sp>
        <p:nvSpPr>
          <p:cNvPr id="2" name="Rectángulo 1">
            <a:extLst>
              <a:ext uri="{FF2B5EF4-FFF2-40B4-BE49-F238E27FC236}">
                <a16:creationId xmlns:a16="http://schemas.microsoft.com/office/drawing/2014/main" id="{32695AF6-704E-C057-31AB-772AB4F2FE94}"/>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314635962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F94EA3-C660-B32B-D65E-06EC68A99371}"/>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4DF3388-29AC-9CC3-21BB-156702E85D0A}"/>
              </a:ext>
            </a:extLst>
          </p:cNvPr>
          <p:cNvSpPr>
            <a:spLocks noGrp="1"/>
          </p:cNvSpPr>
          <p:nvPr>
            <p:ph type="title"/>
          </p:nvPr>
        </p:nvSpPr>
        <p:spPr>
          <a:xfrm>
            <a:off x="838200" y="365126"/>
            <a:ext cx="9840124" cy="1092200"/>
          </a:xfrm>
        </p:spPr>
        <p:txBody>
          <a:bodyPr/>
          <a:lstStyle/>
          <a:p>
            <a:r>
              <a:rPr lang="es-ES" noProof="0" dirty="0"/>
              <a:t>Para el desarrollo pleno de IoT hay que ir a IPv6. Formatos de dirección IPv4 vs IPv6</a:t>
            </a:r>
          </a:p>
        </p:txBody>
      </p:sp>
      <p:sp>
        <p:nvSpPr>
          <p:cNvPr id="2" name="Marcador de fecha 1">
            <a:extLst>
              <a:ext uri="{FF2B5EF4-FFF2-40B4-BE49-F238E27FC236}">
                <a16:creationId xmlns:a16="http://schemas.microsoft.com/office/drawing/2014/main" id="{8B9181B5-CA2E-2A59-6EC3-31666F1C157F}"/>
              </a:ext>
            </a:extLst>
          </p:cNvPr>
          <p:cNvSpPr>
            <a:spLocks noGrp="1"/>
          </p:cNvSpPr>
          <p:nvPr>
            <p:ph type="dt" sz="half" idx="10"/>
          </p:nvPr>
        </p:nvSpPr>
        <p:spPr>
          <a:xfrm>
            <a:off x="814650" y="6400379"/>
            <a:ext cx="3380278" cy="365125"/>
          </a:xfrm>
        </p:spPr>
        <p:txBody>
          <a:bodyPr/>
          <a:lstStyle/>
          <a:p>
            <a:fld id="{632ECB47-8998-454F-B348-362735963C0E}"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0BE69EE0-655F-9192-172A-3A46B5343F3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9046E9B3-AD1A-1267-F3B2-66D7712A45B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3</a:t>
            </a:fld>
            <a:endParaRPr lang="es-ES" dirty="0"/>
          </a:p>
        </p:txBody>
      </p:sp>
      <p:pic>
        <p:nvPicPr>
          <p:cNvPr id="10" name="Picture 2" descr="Resultado de imagen de ipv4">
            <a:extLst>
              <a:ext uri="{FF2B5EF4-FFF2-40B4-BE49-F238E27FC236}">
                <a16:creationId xmlns:a16="http://schemas.microsoft.com/office/drawing/2014/main" id="{7983E3C5-1837-4DB9-02C4-5DA301BDDE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071" y="2749175"/>
            <a:ext cx="2989422" cy="33150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Resultado de imagen de ipv4">
            <a:extLst>
              <a:ext uri="{FF2B5EF4-FFF2-40B4-BE49-F238E27FC236}">
                <a16:creationId xmlns:a16="http://schemas.microsoft.com/office/drawing/2014/main" id="{72EA266B-5AD4-95C7-246A-15701291F985}"/>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159453" y="2749175"/>
            <a:ext cx="2804534" cy="800026"/>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n 11">
            <a:extLst>
              <a:ext uri="{FF2B5EF4-FFF2-40B4-BE49-F238E27FC236}">
                <a16:creationId xmlns:a16="http://schemas.microsoft.com/office/drawing/2014/main" id="{04D15F29-F8F3-1C79-02C3-A6A0719CCE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1510" y="4604465"/>
            <a:ext cx="5750192" cy="1812005"/>
          </a:xfrm>
          <a:prstGeom prst="rect">
            <a:avLst/>
          </a:prstGeom>
        </p:spPr>
      </p:pic>
      <p:pic>
        <p:nvPicPr>
          <p:cNvPr id="13" name="Picture 6" descr="Imagen relacionada">
            <a:extLst>
              <a:ext uri="{FF2B5EF4-FFF2-40B4-BE49-F238E27FC236}">
                <a16:creationId xmlns:a16="http://schemas.microsoft.com/office/drawing/2014/main" id="{46228342-2BFD-E770-7CF2-EA3A783A42B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7080171" y="2692757"/>
            <a:ext cx="4046182" cy="2027178"/>
          </a:xfrm>
          <a:prstGeom prst="rect">
            <a:avLst/>
          </a:prstGeom>
          <a:solidFill>
            <a:srgbClr val="FFFFFF"/>
          </a:solidFill>
        </p:spPr>
      </p:pic>
      <p:pic>
        <p:nvPicPr>
          <p:cNvPr id="14" name="Picture 2" descr="Resultado de imagen de return icon">
            <a:hlinkClick r:id="rId7" action="ppaction://hlinksldjump"/>
            <a:extLst>
              <a:ext uri="{FF2B5EF4-FFF2-40B4-BE49-F238E27FC236}">
                <a16:creationId xmlns:a16="http://schemas.microsoft.com/office/drawing/2014/main" id="{554F4953-9DB9-EE64-C1C6-1EA8BD70A45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255498" y="5595374"/>
            <a:ext cx="612000" cy="612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a 5">
            <a:extLst>
              <a:ext uri="{FF2B5EF4-FFF2-40B4-BE49-F238E27FC236}">
                <a16:creationId xmlns:a16="http://schemas.microsoft.com/office/drawing/2014/main" id="{CCBB31C7-5626-AD89-8DF0-E1439611108C}"/>
              </a:ext>
            </a:extLst>
          </p:cNvPr>
          <p:cNvGraphicFramePr/>
          <p:nvPr/>
        </p:nvGraphicFramePr>
        <p:xfrm>
          <a:off x="691487" y="1862812"/>
          <a:ext cx="11199160" cy="80002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 name="Rectángulo 4">
            <a:extLst>
              <a:ext uri="{FF2B5EF4-FFF2-40B4-BE49-F238E27FC236}">
                <a16:creationId xmlns:a16="http://schemas.microsoft.com/office/drawing/2014/main" id="{A9C1DF24-C92F-CACC-4F34-E448EBCCABA1}"/>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289651475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E19AE-6C04-DC7C-B4E6-C84E7CFD0E36}"/>
            </a:ext>
          </a:extLst>
        </p:cNvPr>
        <p:cNvGrpSpPr/>
        <p:nvPr/>
      </p:nvGrpSpPr>
      <p:grpSpPr>
        <a:xfrm>
          <a:off x="0" y="0"/>
          <a:ext cx="0" cy="0"/>
          <a:chOff x="0" y="0"/>
          <a:chExt cx="0" cy="0"/>
        </a:xfrm>
      </p:grpSpPr>
      <p:sp>
        <p:nvSpPr>
          <p:cNvPr id="9" name="Título 8">
            <a:extLst>
              <a:ext uri="{FF2B5EF4-FFF2-40B4-BE49-F238E27FC236}">
                <a16:creationId xmlns:a16="http://schemas.microsoft.com/office/drawing/2014/main" id="{FCA6E5B9-3407-E360-2E53-508701377863}"/>
              </a:ext>
            </a:extLst>
          </p:cNvPr>
          <p:cNvSpPr>
            <a:spLocks noGrp="1"/>
          </p:cNvSpPr>
          <p:nvPr>
            <p:ph type="title"/>
          </p:nvPr>
        </p:nvSpPr>
        <p:spPr>
          <a:xfrm>
            <a:off x="838200" y="365126"/>
            <a:ext cx="9840124" cy="1092200"/>
          </a:xfrm>
        </p:spPr>
        <p:txBody>
          <a:bodyPr/>
          <a:lstStyle/>
          <a:p>
            <a:r>
              <a:rPr lang="es-ES" noProof="0" dirty="0"/>
              <a:t>Volúmenes IPv4 vs IPv6</a:t>
            </a:r>
          </a:p>
        </p:txBody>
      </p:sp>
      <p:sp>
        <p:nvSpPr>
          <p:cNvPr id="3" name="Marcador de fecha 2">
            <a:extLst>
              <a:ext uri="{FF2B5EF4-FFF2-40B4-BE49-F238E27FC236}">
                <a16:creationId xmlns:a16="http://schemas.microsoft.com/office/drawing/2014/main" id="{B7F08D84-FE24-4211-9DD9-853F6B8ED047}"/>
              </a:ext>
            </a:extLst>
          </p:cNvPr>
          <p:cNvSpPr>
            <a:spLocks noGrp="1"/>
          </p:cNvSpPr>
          <p:nvPr>
            <p:ph type="dt" sz="half" idx="10"/>
          </p:nvPr>
        </p:nvSpPr>
        <p:spPr>
          <a:xfrm>
            <a:off x="814650" y="6400379"/>
            <a:ext cx="3380278" cy="365125"/>
          </a:xfrm>
        </p:spPr>
        <p:txBody>
          <a:bodyPr/>
          <a:lstStyle/>
          <a:p>
            <a:fld id="{576F45AD-3DED-4056-A9FE-5A7808D3AB8F}"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DF28F63D-860C-62F0-308E-E188657B1D4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9410A014-9FB7-7F4A-F933-337A113BC40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4</a:t>
            </a:fld>
            <a:endParaRPr lang="es-ES" dirty="0"/>
          </a:p>
        </p:txBody>
      </p:sp>
      <p:sp>
        <p:nvSpPr>
          <p:cNvPr id="4" name="CuadroTexto 3">
            <a:extLst>
              <a:ext uri="{FF2B5EF4-FFF2-40B4-BE49-F238E27FC236}">
                <a16:creationId xmlns:a16="http://schemas.microsoft.com/office/drawing/2014/main" id="{675AF30E-028A-B838-E38F-FDA3DE16CD6F}"/>
              </a:ext>
            </a:extLst>
          </p:cNvPr>
          <p:cNvSpPr txBox="1"/>
          <p:nvPr/>
        </p:nvSpPr>
        <p:spPr>
          <a:xfrm>
            <a:off x="8493792" y="3224998"/>
            <a:ext cx="2339102" cy="369332"/>
          </a:xfrm>
          <a:prstGeom prst="rect">
            <a:avLst/>
          </a:prstGeom>
          <a:solidFill>
            <a:srgbClr val="FFFF00"/>
          </a:solidFill>
        </p:spPr>
        <p:txBody>
          <a:bodyPr wrap="none" rtlCol="0">
            <a:spAutoFit/>
          </a:bodyPr>
          <a:lstStyle/>
          <a:p>
            <a:r>
              <a:rPr lang="es-ES" b="1" dirty="0">
                <a:latin typeface="Avenir LT Std 35 Light" panose="020B0402020203020204" pitchFamily="34" charset="0"/>
              </a:rPr>
              <a:t>4,300 Millones IPV4 </a:t>
            </a:r>
          </a:p>
        </p:txBody>
      </p:sp>
      <p:pic>
        <p:nvPicPr>
          <p:cNvPr id="10" name="Imagen 9">
            <a:extLst>
              <a:ext uri="{FF2B5EF4-FFF2-40B4-BE49-F238E27FC236}">
                <a16:creationId xmlns:a16="http://schemas.microsoft.com/office/drawing/2014/main" id="{6B0A229D-8669-DAB6-A7DB-73C964708F5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299719" y="1925675"/>
            <a:ext cx="8211689" cy="4430674"/>
          </a:xfrm>
          <a:prstGeom prst="rect">
            <a:avLst/>
          </a:prstGeom>
        </p:spPr>
      </p:pic>
      <p:sp>
        <p:nvSpPr>
          <p:cNvPr id="5" name="Rectángulo 4">
            <a:extLst>
              <a:ext uri="{FF2B5EF4-FFF2-40B4-BE49-F238E27FC236}">
                <a16:creationId xmlns:a16="http://schemas.microsoft.com/office/drawing/2014/main" id="{999ABDDE-B307-0D24-D81D-8B9E0AE92265}"/>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
        <p:nvSpPr>
          <p:cNvPr id="11" name="CuadroTexto 10">
            <a:extLst>
              <a:ext uri="{FF2B5EF4-FFF2-40B4-BE49-F238E27FC236}">
                <a16:creationId xmlns:a16="http://schemas.microsoft.com/office/drawing/2014/main" id="{FA18EA4D-6C51-3D2D-04CD-28D6F4509CBA}"/>
              </a:ext>
            </a:extLst>
          </p:cNvPr>
          <p:cNvSpPr txBox="1"/>
          <p:nvPr/>
        </p:nvSpPr>
        <p:spPr>
          <a:xfrm>
            <a:off x="8516402" y="4389899"/>
            <a:ext cx="3493065" cy="1831271"/>
          </a:xfrm>
          <a:prstGeom prst="rect">
            <a:avLst/>
          </a:prstGeom>
          <a:solidFill>
            <a:srgbClr val="00FF00"/>
          </a:solidFill>
        </p:spPr>
        <p:txBody>
          <a:bodyPr wrap="square">
            <a:spAutoFit/>
          </a:bodyPr>
          <a:lstStyle/>
          <a:p>
            <a:pPr marL="285750" lvl="0" indent="-285750">
              <a:spcAft>
                <a:spcPts val="600"/>
              </a:spcAft>
              <a:buFont typeface="Arial" panose="020B0604020202020204" pitchFamily="34" charset="0"/>
              <a:buChar char="•"/>
            </a:pPr>
            <a:r>
              <a:rPr lang="es-ES" b="1" dirty="0">
                <a:latin typeface="Avenir LT Std 35 Light" panose="020B0402020203020204" pitchFamily="34" charset="0"/>
              </a:rPr>
              <a:t>340 Sextillones  de direcciones únicas IPv6</a:t>
            </a:r>
            <a:endParaRPr lang="es-ES" b="1" dirty="0">
              <a:latin typeface="Avenir LT Std 35 Light" panose="020B0402020203020204" pitchFamily="34" charset="0"/>
              <a:cs typeface="Calibri" panose="020F0502020204030204" pitchFamily="34" charset="0"/>
            </a:endParaRPr>
          </a:p>
          <a:p>
            <a:pPr marL="285750" lvl="0" indent="-285750">
              <a:spcAft>
                <a:spcPts val="600"/>
              </a:spcAft>
              <a:buFont typeface="Arial" panose="020B0604020202020204" pitchFamily="34" charset="0"/>
              <a:buChar char="•"/>
            </a:pPr>
            <a:r>
              <a:rPr lang="es-ES" b="1" dirty="0">
                <a:latin typeface="Avenir LT Std 35 Light" panose="020B0402020203020204" pitchFamily="34" charset="0"/>
                <a:cs typeface="Calibri" panose="020F0502020204030204" pitchFamily="34" charset="0"/>
              </a:rPr>
              <a:t>670 mil billones de direcciones por milímetro cuadrado de la superficie de la Tierra.</a:t>
            </a:r>
          </a:p>
        </p:txBody>
      </p:sp>
    </p:spTree>
    <p:extLst>
      <p:ext uri="{BB962C8B-B14F-4D97-AF65-F5344CB8AC3E}">
        <p14:creationId xmlns:p14="http://schemas.microsoft.com/office/powerpoint/2010/main" val="166729888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6C372-A917-F683-6B2B-AAE02C91347C}"/>
            </a:ext>
          </a:extLst>
        </p:cNvPr>
        <p:cNvGrpSpPr/>
        <p:nvPr/>
      </p:nvGrpSpPr>
      <p:grpSpPr>
        <a:xfrm>
          <a:off x="0" y="0"/>
          <a:ext cx="0" cy="0"/>
          <a:chOff x="0" y="0"/>
          <a:chExt cx="0" cy="0"/>
        </a:xfrm>
      </p:grpSpPr>
      <p:sp>
        <p:nvSpPr>
          <p:cNvPr id="14" name="Título 13">
            <a:extLst>
              <a:ext uri="{FF2B5EF4-FFF2-40B4-BE49-F238E27FC236}">
                <a16:creationId xmlns:a16="http://schemas.microsoft.com/office/drawing/2014/main" id="{4A72C21B-1283-80AE-7EBF-39BF8D98982B}"/>
              </a:ext>
            </a:extLst>
          </p:cNvPr>
          <p:cNvSpPr>
            <a:spLocks noGrp="1"/>
          </p:cNvSpPr>
          <p:nvPr>
            <p:ph type="title"/>
          </p:nvPr>
        </p:nvSpPr>
        <p:spPr>
          <a:xfrm>
            <a:off x="838200" y="365126"/>
            <a:ext cx="9840124" cy="1092200"/>
          </a:xfrm>
        </p:spPr>
        <p:txBody>
          <a:bodyPr/>
          <a:lstStyle/>
          <a:p>
            <a:r>
              <a:rPr lang="es-ES" noProof="0" dirty="0"/>
              <a:t>Tiempos de adopción de IPv6</a:t>
            </a:r>
          </a:p>
        </p:txBody>
      </p:sp>
      <p:graphicFrame>
        <p:nvGraphicFramePr>
          <p:cNvPr id="7" name="Marcador de contenido 6">
            <a:extLst>
              <a:ext uri="{FF2B5EF4-FFF2-40B4-BE49-F238E27FC236}">
                <a16:creationId xmlns:a16="http://schemas.microsoft.com/office/drawing/2014/main" id="{7C9EBACB-3529-9D2E-3F8F-6757D8BFC58D}"/>
              </a:ext>
            </a:extLst>
          </p:cNvPr>
          <p:cNvGraphicFramePr>
            <a:graphicFrameLocks noGrp="1"/>
          </p:cNvGraphicFramePr>
          <p:nvPr>
            <p:ph idx="1"/>
            <p:extLst>
              <p:ext uri="{D42A27DB-BD31-4B8C-83A1-F6EECF244321}">
                <p14:modId xmlns:p14="http://schemas.microsoft.com/office/powerpoint/2010/main" val="307053186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135043A1-68D3-56DD-44C0-6E81A57EB1E4}"/>
              </a:ext>
            </a:extLst>
          </p:cNvPr>
          <p:cNvSpPr>
            <a:spLocks noGrp="1"/>
          </p:cNvSpPr>
          <p:nvPr>
            <p:ph type="dt" sz="half" idx="10"/>
          </p:nvPr>
        </p:nvSpPr>
        <p:spPr>
          <a:xfrm>
            <a:off x="814650" y="6400379"/>
            <a:ext cx="3380278" cy="365125"/>
          </a:xfrm>
        </p:spPr>
        <p:txBody>
          <a:bodyPr/>
          <a:lstStyle/>
          <a:p>
            <a:fld id="{155D468D-1F2D-4366-A32E-86C077D5A3CE}"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C22C327E-ACDF-CCCD-2DCA-0E5D49E1807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E7A00C1-E21E-30D8-AA8D-406A1AD5550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5</a:t>
            </a:fld>
            <a:endParaRPr lang="es-ES" dirty="0"/>
          </a:p>
        </p:txBody>
      </p:sp>
      <p:sp>
        <p:nvSpPr>
          <p:cNvPr id="2" name="Rectángulo 1">
            <a:extLst>
              <a:ext uri="{FF2B5EF4-FFF2-40B4-BE49-F238E27FC236}">
                <a16:creationId xmlns:a16="http://schemas.microsoft.com/office/drawing/2014/main" id="{73D21572-69C1-AE2C-5DBD-A1A4F116E194}"/>
              </a:ext>
            </a:extLst>
          </p:cNvPr>
          <p:cNvSpPr/>
          <p:nvPr/>
        </p:nvSpPr>
        <p:spPr>
          <a:xfrm>
            <a:off x="-450" y="-9104"/>
            <a:ext cx="651139" cy="523220"/>
          </a:xfrm>
          <a:prstGeom prst="rect">
            <a:avLst/>
          </a:prstGeom>
          <a:noFill/>
        </p:spPr>
        <p:txBody>
          <a:bodyPr wrap="none" lIns="91440" tIns="45720" rIns="91440" bIns="45720">
            <a:spAutoFit/>
          </a:bodyPr>
          <a:lstStyle/>
          <a:p>
            <a:pPr algn="ctr"/>
            <a:r>
              <a:rPr lang="es-ES" sz="28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IoT</a:t>
            </a:r>
          </a:p>
        </p:txBody>
      </p:sp>
    </p:spTree>
    <p:extLst>
      <p:ext uri="{BB962C8B-B14F-4D97-AF65-F5344CB8AC3E}">
        <p14:creationId xmlns:p14="http://schemas.microsoft.com/office/powerpoint/2010/main" val="90901198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089FF-7B14-2B28-AE61-E6C17658841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53D3892-9A30-AFCA-EDBA-E06B2E0C8244}"/>
              </a:ext>
            </a:extLst>
          </p:cNvPr>
          <p:cNvSpPr>
            <a:spLocks noGrp="1"/>
          </p:cNvSpPr>
          <p:nvPr>
            <p:ph type="title"/>
          </p:nvPr>
        </p:nvSpPr>
        <p:spPr>
          <a:xfrm>
            <a:off x="838200" y="365126"/>
            <a:ext cx="9840124" cy="1092200"/>
          </a:xfrm>
        </p:spPr>
        <p:txBody>
          <a:bodyPr/>
          <a:lstStyle/>
          <a:p>
            <a:r>
              <a:rPr lang="es-ES" noProof="0" dirty="0"/>
              <a:t>Token NFT (Non -Fungible Token)</a:t>
            </a:r>
          </a:p>
        </p:txBody>
      </p:sp>
      <p:pic>
        <p:nvPicPr>
          <p:cNvPr id="12" name="Picture 2" descr="Resultado de imagen de ficha coches de choque&quot;">
            <a:extLst>
              <a:ext uri="{FF2B5EF4-FFF2-40B4-BE49-F238E27FC236}">
                <a16:creationId xmlns:a16="http://schemas.microsoft.com/office/drawing/2014/main" id="{2A9C92E5-8099-6D23-A946-58BEBD5CFFA3}"/>
              </a:ext>
            </a:extLst>
          </p:cNvPr>
          <p:cNvPicPr>
            <a:picLocks noGrp="1" noChangeAspect="1" noChangeArrowheads="1"/>
          </p:cNvPicPr>
          <p:nvPr>
            <p:ph idx="1"/>
          </p:nvPr>
        </p:nvPicPr>
        <p:blipFill rotWithShape="1">
          <a:blip r:embed="rId2" cstate="print">
            <a:clrChange>
              <a:clrFrom>
                <a:srgbClr val="DEDDD9"/>
              </a:clrFrom>
              <a:clrTo>
                <a:srgbClr val="DEDDD9">
                  <a:alpha val="0"/>
                </a:srgbClr>
              </a:clrTo>
            </a:clrChange>
            <a:extLst>
              <a:ext uri="{BEBA8EAE-BF5A-486C-A8C5-ECC9F3942E4B}">
                <a14:imgProps xmlns:a14="http://schemas.microsoft.com/office/drawing/2010/main">
                  <a14:imgLayer r:embed="rId3">
                    <a14:imgEffect>
                      <a14:artisticTexturizer/>
                    </a14:imgEffect>
                    <a14:imgEffect>
                      <a14:colorTemperature colorTemp="11200"/>
                    </a14:imgEffect>
                    <a14:imgEffect>
                      <a14:saturation sat="200000"/>
                    </a14:imgEffect>
                  </a14:imgLayer>
                </a14:imgProps>
              </a:ext>
              <a:ext uri="{28A0092B-C50C-407E-A947-70E740481C1C}">
                <a14:useLocalDpi xmlns:a14="http://schemas.microsoft.com/office/drawing/2010/main" val="0"/>
              </a:ext>
            </a:extLst>
          </a:blip>
          <a:stretch/>
        </p:blipFill>
        <p:spPr bwMode="auto">
          <a:xfrm>
            <a:off x="3920331" y="1825625"/>
            <a:ext cx="4351338" cy="4351338"/>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60217718-2344-D301-6E28-AA15E8D6BFE7}"/>
              </a:ext>
            </a:extLst>
          </p:cNvPr>
          <p:cNvSpPr>
            <a:spLocks noGrp="1"/>
          </p:cNvSpPr>
          <p:nvPr>
            <p:ph type="dt" sz="half" idx="10"/>
          </p:nvPr>
        </p:nvSpPr>
        <p:spPr>
          <a:xfrm>
            <a:off x="814650" y="6400379"/>
            <a:ext cx="3380278" cy="365125"/>
          </a:xfrm>
        </p:spPr>
        <p:txBody>
          <a:bodyPr/>
          <a:lstStyle/>
          <a:p>
            <a:fld id="{72AE2FCB-935F-4387-BAD7-95FA08917335}"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1EB0CD7D-C372-93B7-260C-69D067EBF1D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015166B4-9682-ED7F-BFF7-AA50E95EC94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6</a:t>
            </a:fld>
            <a:endParaRPr lang="es-ES" dirty="0"/>
          </a:p>
        </p:txBody>
      </p:sp>
      <p:sp>
        <p:nvSpPr>
          <p:cNvPr id="13" name="Rectángulo 12">
            <a:extLst>
              <a:ext uri="{FF2B5EF4-FFF2-40B4-BE49-F238E27FC236}">
                <a16:creationId xmlns:a16="http://schemas.microsoft.com/office/drawing/2014/main" id="{8EAACAAC-1E44-4979-3463-4A36AF7CF605}"/>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1475768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25D84-490F-78CD-B699-79EFFAFEBB9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978C844-4C59-D9A0-543A-A257D68A073B}"/>
              </a:ext>
            </a:extLst>
          </p:cNvPr>
          <p:cNvSpPr>
            <a:spLocks noGrp="1"/>
          </p:cNvSpPr>
          <p:nvPr>
            <p:ph type="title"/>
          </p:nvPr>
        </p:nvSpPr>
        <p:spPr>
          <a:xfrm>
            <a:off x="838200" y="365126"/>
            <a:ext cx="9840124" cy="1092200"/>
          </a:xfrm>
        </p:spPr>
        <p:txBody>
          <a:bodyPr/>
          <a:lstStyle/>
          <a:p>
            <a:r>
              <a:rPr lang="es-ES" noProof="0" dirty="0"/>
              <a:t>Tokens: Representación mediante una clave de un bien</a:t>
            </a:r>
          </a:p>
        </p:txBody>
      </p:sp>
      <p:graphicFrame>
        <p:nvGraphicFramePr>
          <p:cNvPr id="8" name="Marcador de contenido 7">
            <a:extLst>
              <a:ext uri="{FF2B5EF4-FFF2-40B4-BE49-F238E27FC236}">
                <a16:creationId xmlns:a16="http://schemas.microsoft.com/office/drawing/2014/main" id="{8E0B28FF-2EED-A8DE-AA77-3F36E1FCA5BE}"/>
              </a:ext>
            </a:extLst>
          </p:cNvPr>
          <p:cNvGraphicFramePr>
            <a:graphicFrameLocks noGrp="1"/>
          </p:cNvGraphicFramePr>
          <p:nvPr>
            <p:ph sz="half" idx="1"/>
            <p:extLst>
              <p:ext uri="{D42A27DB-BD31-4B8C-83A1-F6EECF244321}">
                <p14:modId xmlns:p14="http://schemas.microsoft.com/office/powerpoint/2010/main" val="3132093738"/>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2" descr="Resultado de imagen de ficha coches de choque&quot;">
            <a:extLst>
              <a:ext uri="{FF2B5EF4-FFF2-40B4-BE49-F238E27FC236}">
                <a16:creationId xmlns:a16="http://schemas.microsoft.com/office/drawing/2014/main" id="{46903C20-AFB6-1E63-A36A-25202018F5DA}"/>
              </a:ext>
            </a:extLst>
          </p:cNvPr>
          <p:cNvPicPr>
            <a:picLocks noGrp="1" noChangeAspect="1" noChangeArrowheads="1"/>
          </p:cNvPicPr>
          <p:nvPr>
            <p:ph sz="quarter" idx="13"/>
          </p:nvPr>
        </p:nvPicPr>
        <p:blipFill rotWithShape="1">
          <a:blip r:embed="rId7" cstate="print">
            <a:clrChange>
              <a:clrFrom>
                <a:srgbClr val="DEDDD9"/>
              </a:clrFrom>
              <a:clrTo>
                <a:srgbClr val="DEDDD9">
                  <a:alpha val="0"/>
                </a:srgbClr>
              </a:clrTo>
            </a:clrChange>
            <a:extLst>
              <a:ext uri="{BEBA8EAE-BF5A-486C-A8C5-ECC9F3942E4B}">
                <a14:imgProps xmlns:a14="http://schemas.microsoft.com/office/drawing/2010/main">
                  <a14:imgLayer r:embed="rId8">
                    <a14:imgEffect>
                      <a14:artisticTexturizer/>
                    </a14:imgEffect>
                    <a14:imgEffect>
                      <a14:colorTemperature colorTemp="11200"/>
                    </a14:imgEffect>
                    <a14:imgEffect>
                      <a14:saturation sat="200000"/>
                    </a14:imgEffect>
                  </a14:imgLayer>
                </a14:imgProps>
              </a:ext>
              <a:ext uri="{28A0092B-C50C-407E-A947-70E740481C1C}">
                <a14:useLocalDpi xmlns:a14="http://schemas.microsoft.com/office/drawing/2010/main" val="0"/>
              </a:ext>
            </a:extLst>
          </a:blip>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5516082F-5247-3D12-F41F-115E61D00C48}"/>
              </a:ext>
            </a:extLst>
          </p:cNvPr>
          <p:cNvSpPr>
            <a:spLocks noGrp="1"/>
          </p:cNvSpPr>
          <p:nvPr>
            <p:ph type="dt" sz="half" idx="14"/>
          </p:nvPr>
        </p:nvSpPr>
        <p:spPr>
          <a:xfrm>
            <a:off x="814650" y="6400379"/>
            <a:ext cx="3380278" cy="365125"/>
          </a:xfrm>
        </p:spPr>
        <p:txBody>
          <a:bodyPr/>
          <a:lstStyle/>
          <a:p>
            <a:fld id="{F0CDF26C-DD11-4C13-AAB1-E1D60779305E}"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F0951752-6B1D-29DE-64E1-BB79EB1AFF34}"/>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FDA63CF-F049-777E-D9FC-C78B1E058A51}"/>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17</a:t>
            </a:fld>
            <a:endParaRPr lang="es-ES" dirty="0"/>
          </a:p>
        </p:txBody>
      </p:sp>
      <p:sp>
        <p:nvSpPr>
          <p:cNvPr id="3" name="Rectángulo 2">
            <a:extLst>
              <a:ext uri="{FF2B5EF4-FFF2-40B4-BE49-F238E27FC236}">
                <a16:creationId xmlns:a16="http://schemas.microsoft.com/office/drawing/2014/main" id="{626608EF-35A0-9AE6-F7F2-65EDE752CC3F}"/>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411444976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5A732-5D62-8ACF-514E-C0C29693912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8793EEA-450B-E0C9-A6EC-2C5104D1A026}"/>
              </a:ext>
            </a:extLst>
          </p:cNvPr>
          <p:cNvSpPr>
            <a:spLocks noGrp="1"/>
          </p:cNvSpPr>
          <p:nvPr>
            <p:ph type="title"/>
          </p:nvPr>
        </p:nvSpPr>
        <p:spPr>
          <a:xfrm>
            <a:off x="838200" y="365126"/>
            <a:ext cx="9840124" cy="1092200"/>
          </a:xfrm>
        </p:spPr>
        <p:txBody>
          <a:bodyPr/>
          <a:lstStyle/>
          <a:p>
            <a:r>
              <a:rPr lang="es-ES" noProof="0" dirty="0"/>
              <a:t>Clasificación de los Token</a:t>
            </a:r>
          </a:p>
        </p:txBody>
      </p:sp>
      <p:graphicFrame>
        <p:nvGraphicFramePr>
          <p:cNvPr id="8" name="Marcador de contenido 7">
            <a:extLst>
              <a:ext uri="{FF2B5EF4-FFF2-40B4-BE49-F238E27FC236}">
                <a16:creationId xmlns:a16="http://schemas.microsoft.com/office/drawing/2014/main" id="{9CCDFB0A-96A2-855F-F7C0-639EB88779A3}"/>
              </a:ext>
            </a:extLst>
          </p:cNvPr>
          <p:cNvGraphicFramePr>
            <a:graphicFrameLocks noGrp="1"/>
          </p:cNvGraphicFramePr>
          <p:nvPr>
            <p:ph sz="half" idx="1"/>
            <p:extLst>
              <p:ext uri="{D42A27DB-BD31-4B8C-83A1-F6EECF244321}">
                <p14:modId xmlns:p14="http://schemas.microsoft.com/office/powerpoint/2010/main" val="230743169"/>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1" name="Marcador de posición de imagen 20">
            <a:extLst>
              <a:ext uri="{FF2B5EF4-FFF2-40B4-BE49-F238E27FC236}">
                <a16:creationId xmlns:a16="http://schemas.microsoft.com/office/drawing/2014/main" id="{2EF29347-7118-6C54-DAE5-1CEE19601B70}"/>
              </a:ext>
            </a:extLst>
          </p:cNvPr>
          <p:cNvPicPr>
            <a:picLocks noGrp="1" noChangeAspect="1"/>
          </p:cNvPicPr>
          <p:nvPr>
            <p:ph sz="quarter" idx="13"/>
          </p:nvPr>
        </p:nvPicPr>
        <p:blipFill>
          <a:blip r:embed="rId7">
            <a:extLst>
              <a:ext uri="{BEBA8EAE-BF5A-486C-A8C5-ECC9F3942E4B}">
                <a14:imgProps xmlns:a14="http://schemas.microsoft.com/office/drawing/2010/main">
                  <a14:imgLayer r:embed="rId8">
                    <a14:imgEffect>
                      <a14:artisticFilmGrain/>
                    </a14:imgEffect>
                    <a14:imgEffect>
                      <a14:saturation sat="400000"/>
                    </a14:imgEffect>
                  </a14:imgLayer>
                </a14:imgProps>
              </a:ext>
              <a:ext uri="{28A0092B-C50C-407E-A947-70E740481C1C}">
                <a14:useLocalDpi xmlns:a14="http://schemas.microsoft.com/office/drawing/2010/main" val="0"/>
              </a:ext>
            </a:extLst>
          </a:blip>
          <a:stretch/>
        </p:blipFill>
        <p:spPr>
          <a:xfrm>
            <a:off x="1110719" y="3303376"/>
            <a:ext cx="1272650" cy="1211685"/>
          </a:xfrm>
        </p:spPr>
      </p:pic>
      <p:sp>
        <p:nvSpPr>
          <p:cNvPr id="4" name="Marcador de fecha 3">
            <a:extLst>
              <a:ext uri="{FF2B5EF4-FFF2-40B4-BE49-F238E27FC236}">
                <a16:creationId xmlns:a16="http://schemas.microsoft.com/office/drawing/2014/main" id="{5DC69A97-9132-9FA9-C25F-D911C02BDADF}"/>
              </a:ext>
            </a:extLst>
          </p:cNvPr>
          <p:cNvSpPr>
            <a:spLocks noGrp="1"/>
          </p:cNvSpPr>
          <p:nvPr>
            <p:ph type="dt" sz="half" idx="14"/>
          </p:nvPr>
        </p:nvSpPr>
        <p:spPr>
          <a:xfrm>
            <a:off x="814650" y="6400379"/>
            <a:ext cx="3380278" cy="365125"/>
          </a:xfrm>
        </p:spPr>
        <p:txBody>
          <a:bodyPr/>
          <a:lstStyle/>
          <a:p>
            <a:fld id="{DDF8FD14-3EF3-4535-9758-FFD726CADCAC}"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FA3E2635-8D46-6952-26C4-EB7D68E68CBC}"/>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35267CC7-561D-19A0-E4FA-033BD879ACA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18</a:t>
            </a:fld>
            <a:endParaRPr lang="es-ES" dirty="0"/>
          </a:p>
        </p:txBody>
      </p:sp>
      <p:sp>
        <p:nvSpPr>
          <p:cNvPr id="3" name="Rectángulo 2">
            <a:extLst>
              <a:ext uri="{FF2B5EF4-FFF2-40B4-BE49-F238E27FC236}">
                <a16:creationId xmlns:a16="http://schemas.microsoft.com/office/drawing/2014/main" id="{F0D08083-818D-DC3B-124A-E9AE14970E15}"/>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385940398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3D9A-8C52-D3D4-FD53-3CEBB62ED88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866CFC3-BA85-7D56-246C-8ACA573CF896}"/>
              </a:ext>
            </a:extLst>
          </p:cNvPr>
          <p:cNvSpPr>
            <a:spLocks noGrp="1"/>
          </p:cNvSpPr>
          <p:nvPr>
            <p:ph type="title"/>
          </p:nvPr>
        </p:nvSpPr>
        <p:spPr>
          <a:xfrm>
            <a:off x="838200" y="365126"/>
            <a:ext cx="9840124" cy="1092200"/>
          </a:xfrm>
        </p:spPr>
        <p:txBody>
          <a:bodyPr/>
          <a:lstStyle/>
          <a:p>
            <a:r>
              <a:rPr lang="es-ES" noProof="0" dirty="0"/>
              <a:t>Ejemplo de Hash (encriptar)</a:t>
            </a:r>
          </a:p>
        </p:txBody>
      </p:sp>
      <p:sp>
        <p:nvSpPr>
          <p:cNvPr id="3" name="Marcador de contenido 2">
            <a:extLst>
              <a:ext uri="{FF2B5EF4-FFF2-40B4-BE49-F238E27FC236}">
                <a16:creationId xmlns:a16="http://schemas.microsoft.com/office/drawing/2014/main" id="{48B95604-A865-311B-96C5-452CCF7C3F68}"/>
              </a:ext>
            </a:extLst>
          </p:cNvPr>
          <p:cNvSpPr>
            <a:spLocks noGrp="1"/>
          </p:cNvSpPr>
          <p:nvPr>
            <p:ph sz="half" idx="1"/>
          </p:nvPr>
        </p:nvSpPr>
        <p:spPr>
          <a:xfrm>
            <a:off x="838200" y="1825625"/>
            <a:ext cx="5181600" cy="4351338"/>
          </a:xfrm>
        </p:spPr>
        <p:txBody>
          <a:bodyPr anchor="ctr">
            <a:normAutofit/>
          </a:bodyPr>
          <a:lstStyle/>
          <a:p>
            <a:r>
              <a:rPr lang="es-ES" noProof="0" dirty="0"/>
              <a:t>Aplicando el Árbol de Merkle a algo, el resultado siempre es una cadena de:</a:t>
            </a:r>
          </a:p>
          <a:p>
            <a:pPr lvl="1"/>
            <a:r>
              <a:rPr lang="es-ES" noProof="0" dirty="0"/>
              <a:t>64 dígitos hexadecimales.</a:t>
            </a:r>
          </a:p>
          <a:p>
            <a:pPr lvl="1"/>
            <a:r>
              <a:rPr lang="es-ES" noProof="0" dirty="0"/>
              <a:t>(con una codificación de 256 bits, 32 bytes).</a:t>
            </a:r>
          </a:p>
          <a:p>
            <a:endParaRPr lang="es-ES" noProof="0" dirty="0"/>
          </a:p>
        </p:txBody>
      </p:sp>
      <p:pic>
        <p:nvPicPr>
          <p:cNvPr id="9" name="Marcador de contenido 7">
            <a:extLst>
              <a:ext uri="{FF2B5EF4-FFF2-40B4-BE49-F238E27FC236}">
                <a16:creationId xmlns:a16="http://schemas.microsoft.com/office/drawing/2014/main" id="{3D10B7A8-B61B-A851-7C92-1EA8511CDCE4}"/>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72200" y="2838992"/>
            <a:ext cx="5181600" cy="2324603"/>
          </a:xfrm>
        </p:spPr>
      </p:pic>
      <p:sp>
        <p:nvSpPr>
          <p:cNvPr id="5" name="Marcador de fecha 4">
            <a:extLst>
              <a:ext uri="{FF2B5EF4-FFF2-40B4-BE49-F238E27FC236}">
                <a16:creationId xmlns:a16="http://schemas.microsoft.com/office/drawing/2014/main" id="{968DBF91-3EA9-6314-99A0-F088BC101B3E}"/>
              </a:ext>
            </a:extLst>
          </p:cNvPr>
          <p:cNvSpPr>
            <a:spLocks noGrp="1"/>
          </p:cNvSpPr>
          <p:nvPr>
            <p:ph type="dt" sz="half" idx="10"/>
          </p:nvPr>
        </p:nvSpPr>
        <p:spPr>
          <a:xfrm>
            <a:off x="814650" y="6400379"/>
            <a:ext cx="3380278" cy="365125"/>
          </a:xfrm>
        </p:spPr>
        <p:txBody>
          <a:bodyPr/>
          <a:lstStyle/>
          <a:p>
            <a:fld id="{8D0273E6-0F8A-4122-BD0B-51E06F5F0FDD}"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C513A5E0-3F6E-00CE-8A93-AA0F27F6256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5550DBC5-0337-79FF-31FF-8A244E9ED1D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19</a:t>
            </a:fld>
            <a:endParaRPr lang="es-ES" dirty="0"/>
          </a:p>
        </p:txBody>
      </p:sp>
      <p:sp>
        <p:nvSpPr>
          <p:cNvPr id="4" name="Rectángulo 3">
            <a:extLst>
              <a:ext uri="{FF2B5EF4-FFF2-40B4-BE49-F238E27FC236}">
                <a16:creationId xmlns:a16="http://schemas.microsoft.com/office/drawing/2014/main" id="{CB26E60A-2B43-8229-A59F-77B5207850FF}"/>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2786689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B95F02-BC6F-49F0-AE39-00E02194FD04}"/>
              </a:ext>
            </a:extLst>
          </p:cNvPr>
          <p:cNvSpPr>
            <a:spLocks noGrp="1"/>
          </p:cNvSpPr>
          <p:nvPr>
            <p:ph type="title"/>
          </p:nvPr>
        </p:nvSpPr>
        <p:spPr>
          <a:xfrm>
            <a:off x="7574797" y="4284815"/>
            <a:ext cx="3514553" cy="1092200"/>
          </a:xfrm>
        </p:spPr>
        <p:txBody>
          <a:bodyPr>
            <a:normAutofit fontScale="90000"/>
          </a:bodyPr>
          <a:lstStyle/>
          <a:p>
            <a:r>
              <a:rPr lang="es-ES" noProof="0" dirty="0"/>
              <a:t>Adaptar a la organización para llevarla allá donde y cuando (24x7) estén las Personas con sus necesidades, las conozcan estos o no</a:t>
            </a:r>
          </a:p>
        </p:txBody>
      </p:sp>
      <p:sp>
        <p:nvSpPr>
          <p:cNvPr id="3" name="Marcador de fecha 2">
            <a:extLst>
              <a:ext uri="{FF2B5EF4-FFF2-40B4-BE49-F238E27FC236}">
                <a16:creationId xmlns:a16="http://schemas.microsoft.com/office/drawing/2014/main" id="{4CE73173-3708-4A52-AA98-FE2950E41737}"/>
              </a:ext>
            </a:extLst>
          </p:cNvPr>
          <p:cNvSpPr>
            <a:spLocks noGrp="1"/>
          </p:cNvSpPr>
          <p:nvPr>
            <p:ph type="dt" sz="half" idx="10"/>
          </p:nvPr>
        </p:nvSpPr>
        <p:spPr>
          <a:xfrm>
            <a:off x="814650" y="6400379"/>
            <a:ext cx="3380278" cy="365125"/>
          </a:xfrm>
        </p:spPr>
        <p:txBody>
          <a:bodyPr/>
          <a:lstStyle/>
          <a:p>
            <a:fld id="{779971B3-9F97-44A2-8867-0D173F1E6FAE}"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B4B7D78-28A6-4EF7-A9C5-9B86DF54B43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DEDEB19-3DA5-4100-9BDF-8EEDE053D3F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a:t>
            </a:fld>
            <a:endParaRPr lang="es-ES" dirty="0"/>
          </a:p>
        </p:txBody>
      </p:sp>
      <p:sp>
        <p:nvSpPr>
          <p:cNvPr id="12" name="Elipse 11">
            <a:extLst>
              <a:ext uri="{FF2B5EF4-FFF2-40B4-BE49-F238E27FC236}">
                <a16:creationId xmlns:a16="http://schemas.microsoft.com/office/drawing/2014/main" id="{67305A74-090D-4F62-BD73-E4966BA80074}"/>
              </a:ext>
            </a:extLst>
          </p:cNvPr>
          <p:cNvSpPr>
            <a:spLocks noChangeAspect="1"/>
          </p:cNvSpPr>
          <p:nvPr/>
        </p:nvSpPr>
        <p:spPr>
          <a:xfrm>
            <a:off x="426604" y="500853"/>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68823" y="807547"/>
                  <a:pt x="654521" y="13776"/>
                  <a:pt x="1656000" y="0"/>
                </a:cubicBezTo>
                <a:cubicBezTo>
                  <a:pt x="2741492" y="98903"/>
                  <a:pt x="3215992" y="745573"/>
                  <a:pt x="3312000" y="1656000"/>
                </a:cubicBezTo>
                <a:cubicBezTo>
                  <a:pt x="3255094" y="2524456"/>
                  <a:pt x="2604305" y="3303479"/>
                  <a:pt x="1656000" y="3312000"/>
                </a:cubicBezTo>
                <a:cubicBezTo>
                  <a:pt x="711494" y="3214923"/>
                  <a:pt x="-155531" y="2727353"/>
                  <a:pt x="0" y="1656000"/>
                </a:cubicBezTo>
                <a:close/>
              </a:path>
              <a:path w="3312000" h="3312000" stroke="0" extrusionOk="0">
                <a:moveTo>
                  <a:pt x="0" y="1656000"/>
                </a:moveTo>
                <a:cubicBezTo>
                  <a:pt x="-33733" y="778661"/>
                  <a:pt x="850479" y="-190185"/>
                  <a:pt x="1656000" y="0"/>
                </a:cubicBezTo>
                <a:cubicBezTo>
                  <a:pt x="2645434" y="-197175"/>
                  <a:pt x="3365230" y="750883"/>
                  <a:pt x="3312000" y="1656000"/>
                </a:cubicBezTo>
                <a:cubicBezTo>
                  <a:pt x="3425462" y="2614880"/>
                  <a:pt x="2479959" y="3299728"/>
                  <a:pt x="1656000" y="3312000"/>
                </a:cubicBezTo>
                <a:cubicBezTo>
                  <a:pt x="747537" y="3274713"/>
                  <a:pt x="-60677" y="2754685"/>
                  <a:pt x="0" y="1656000"/>
                </a:cubicBezTo>
                <a:close/>
              </a:path>
            </a:pathLst>
          </a:custGeom>
          <a:solidFill>
            <a:schemeClr val="bg1"/>
          </a:solidFill>
          <a:ln w="76200">
            <a:solidFill>
              <a:schemeClr val="accent1"/>
            </a:solidFill>
            <a:extLst>
              <a:ext uri="{C807C97D-BFC1-408E-A445-0C87EB9F89A2}">
                <ask:lineSketchStyleProps xmlns:ask="http://schemas.microsoft.com/office/drawing/2018/sketchyshapes" sd="3066130187">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s-ES" sz="2800" dirty="0">
                <a:solidFill>
                  <a:schemeClr val="accent3">
                    <a:lumMod val="50000"/>
                  </a:schemeClr>
                </a:solidFill>
                <a:latin typeface="Impact" panose="020B0806030902050204" pitchFamily="34" charset="0"/>
              </a:rPr>
              <a:t>Liderazgo</a:t>
            </a:r>
          </a:p>
        </p:txBody>
      </p:sp>
      <p:sp>
        <p:nvSpPr>
          <p:cNvPr id="13" name="Elipse 12">
            <a:extLst>
              <a:ext uri="{FF2B5EF4-FFF2-40B4-BE49-F238E27FC236}">
                <a16:creationId xmlns:a16="http://schemas.microsoft.com/office/drawing/2014/main" id="{4C74F40F-4836-448D-AF15-7FA6B13AF8DD}"/>
              </a:ext>
            </a:extLst>
          </p:cNvPr>
          <p:cNvSpPr>
            <a:spLocks noChangeAspect="1"/>
          </p:cNvSpPr>
          <p:nvPr/>
        </p:nvSpPr>
        <p:spPr>
          <a:xfrm>
            <a:off x="3717747" y="500853"/>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52580" y="667104"/>
                  <a:pt x="809306" y="15547"/>
                  <a:pt x="1656000" y="0"/>
                </a:cubicBezTo>
                <a:cubicBezTo>
                  <a:pt x="2430775" y="105904"/>
                  <a:pt x="3401777" y="643931"/>
                  <a:pt x="3312000" y="1656000"/>
                </a:cubicBezTo>
                <a:cubicBezTo>
                  <a:pt x="3203476" y="2524770"/>
                  <a:pt x="2739586" y="3414467"/>
                  <a:pt x="1656000" y="3312000"/>
                </a:cubicBezTo>
                <a:cubicBezTo>
                  <a:pt x="777301" y="3411796"/>
                  <a:pt x="150580" y="2544329"/>
                  <a:pt x="0" y="1656000"/>
                </a:cubicBezTo>
                <a:close/>
              </a:path>
              <a:path w="3312000" h="3312000" stroke="0" extrusionOk="0">
                <a:moveTo>
                  <a:pt x="0" y="1656000"/>
                </a:moveTo>
                <a:cubicBezTo>
                  <a:pt x="155709" y="845082"/>
                  <a:pt x="946219" y="-151928"/>
                  <a:pt x="1656000" y="0"/>
                </a:cubicBezTo>
                <a:cubicBezTo>
                  <a:pt x="2733990" y="-141816"/>
                  <a:pt x="3333602" y="813234"/>
                  <a:pt x="3312000" y="1656000"/>
                </a:cubicBezTo>
                <a:cubicBezTo>
                  <a:pt x="3272993" y="2637016"/>
                  <a:pt x="2569062" y="3537963"/>
                  <a:pt x="1656000" y="3312000"/>
                </a:cubicBezTo>
                <a:cubicBezTo>
                  <a:pt x="535677" y="3349358"/>
                  <a:pt x="242583" y="2574666"/>
                  <a:pt x="0" y="1656000"/>
                </a:cubicBezTo>
                <a:close/>
              </a:path>
            </a:pathLst>
          </a:custGeom>
          <a:solidFill>
            <a:schemeClr val="bg1"/>
          </a:solidFill>
          <a:ln w="76200">
            <a:solidFill>
              <a:schemeClr val="accent1"/>
            </a:solidFill>
            <a:extLst>
              <a:ext uri="{C807C97D-BFC1-408E-A445-0C87EB9F89A2}">
                <ask:lineSketchStyleProps xmlns:ask="http://schemas.microsoft.com/office/drawing/2018/sketchyshapes" sd="334576469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s-ES" sz="2800" dirty="0">
                <a:solidFill>
                  <a:schemeClr val="accent3">
                    <a:lumMod val="50000"/>
                  </a:schemeClr>
                </a:solidFill>
                <a:latin typeface="Impact" panose="020B0806030902050204" pitchFamily="34" charset="0"/>
              </a:rPr>
              <a:t>Modelo de Negocio</a:t>
            </a:r>
          </a:p>
        </p:txBody>
      </p:sp>
      <p:sp>
        <p:nvSpPr>
          <p:cNvPr id="14" name="Elipse 13">
            <a:extLst>
              <a:ext uri="{FF2B5EF4-FFF2-40B4-BE49-F238E27FC236}">
                <a16:creationId xmlns:a16="http://schemas.microsoft.com/office/drawing/2014/main" id="{EA27E9A5-CA30-40BB-A5E0-DCF958E33201}"/>
              </a:ext>
            </a:extLst>
          </p:cNvPr>
          <p:cNvSpPr>
            <a:spLocks noChangeAspect="1"/>
          </p:cNvSpPr>
          <p:nvPr/>
        </p:nvSpPr>
        <p:spPr>
          <a:xfrm>
            <a:off x="426604" y="3294550"/>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218158" y="820700"/>
                  <a:pt x="720598" y="-76045"/>
                  <a:pt x="1656000" y="0"/>
                </a:cubicBezTo>
                <a:cubicBezTo>
                  <a:pt x="2573844" y="-48105"/>
                  <a:pt x="3482979" y="834941"/>
                  <a:pt x="3312000" y="1656000"/>
                </a:cubicBezTo>
                <a:cubicBezTo>
                  <a:pt x="3490911" y="2765995"/>
                  <a:pt x="2552849" y="3286738"/>
                  <a:pt x="1656000" y="3312000"/>
                </a:cubicBezTo>
                <a:cubicBezTo>
                  <a:pt x="649303" y="3405923"/>
                  <a:pt x="73555" y="2378011"/>
                  <a:pt x="0" y="1656000"/>
                </a:cubicBezTo>
                <a:close/>
              </a:path>
              <a:path w="3312000" h="3312000" stroke="0" extrusionOk="0">
                <a:moveTo>
                  <a:pt x="0" y="1656000"/>
                </a:moveTo>
                <a:cubicBezTo>
                  <a:pt x="66019" y="1004844"/>
                  <a:pt x="690822" y="107921"/>
                  <a:pt x="1656000" y="0"/>
                </a:cubicBezTo>
                <a:cubicBezTo>
                  <a:pt x="2576582" y="-64256"/>
                  <a:pt x="3288058" y="996435"/>
                  <a:pt x="3312000" y="1656000"/>
                </a:cubicBezTo>
                <a:cubicBezTo>
                  <a:pt x="3416928" y="2555356"/>
                  <a:pt x="2332771" y="3197522"/>
                  <a:pt x="1656000" y="3312000"/>
                </a:cubicBezTo>
                <a:cubicBezTo>
                  <a:pt x="835867" y="3306768"/>
                  <a:pt x="-210924" y="2554337"/>
                  <a:pt x="0" y="1656000"/>
                </a:cubicBezTo>
                <a:close/>
              </a:path>
            </a:pathLst>
          </a:custGeom>
          <a:solidFill>
            <a:schemeClr val="bg1"/>
          </a:solidFill>
          <a:ln w="76200">
            <a:solidFill>
              <a:schemeClr val="accent1"/>
            </a:solidFill>
            <a:extLst>
              <a:ext uri="{C807C97D-BFC1-408E-A445-0C87EB9F89A2}">
                <ask:lineSketchStyleProps xmlns:ask="http://schemas.microsoft.com/office/drawing/2018/sketchyshapes" sd="1775851235">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a:defRPr/>
            </a:pPr>
            <a:r>
              <a:rPr lang="es-ES" sz="2800" dirty="0">
                <a:solidFill>
                  <a:schemeClr val="accent3">
                    <a:lumMod val="50000"/>
                  </a:schemeClr>
                </a:solidFill>
                <a:latin typeface="Impact" panose="020B0806030902050204" pitchFamily="34" charset="0"/>
              </a:rPr>
              <a:t>Cultura</a:t>
            </a:r>
          </a:p>
        </p:txBody>
      </p:sp>
      <p:sp>
        <p:nvSpPr>
          <p:cNvPr id="15" name="Elipse 14">
            <a:extLst>
              <a:ext uri="{FF2B5EF4-FFF2-40B4-BE49-F238E27FC236}">
                <a16:creationId xmlns:a16="http://schemas.microsoft.com/office/drawing/2014/main" id="{2612C8C1-F664-40A7-907B-890138E38874}"/>
              </a:ext>
            </a:extLst>
          </p:cNvPr>
          <p:cNvSpPr>
            <a:spLocks noChangeAspect="1"/>
          </p:cNvSpPr>
          <p:nvPr/>
        </p:nvSpPr>
        <p:spPr>
          <a:xfrm>
            <a:off x="3717747" y="3294550"/>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80123" y="777588"/>
                  <a:pt x="589557" y="-226562"/>
                  <a:pt x="1656000" y="0"/>
                </a:cubicBezTo>
                <a:cubicBezTo>
                  <a:pt x="2654074" y="240035"/>
                  <a:pt x="3141128" y="673690"/>
                  <a:pt x="3312000" y="1656000"/>
                </a:cubicBezTo>
                <a:cubicBezTo>
                  <a:pt x="3459733" y="2499876"/>
                  <a:pt x="2605400" y="3362565"/>
                  <a:pt x="1656000" y="3312000"/>
                </a:cubicBezTo>
                <a:cubicBezTo>
                  <a:pt x="770987" y="3199858"/>
                  <a:pt x="15923" y="2438815"/>
                  <a:pt x="0" y="1656000"/>
                </a:cubicBezTo>
                <a:close/>
              </a:path>
              <a:path w="3312000" h="3312000" stroke="0" extrusionOk="0">
                <a:moveTo>
                  <a:pt x="0" y="1656000"/>
                </a:moveTo>
                <a:cubicBezTo>
                  <a:pt x="119740" y="660917"/>
                  <a:pt x="718460" y="2461"/>
                  <a:pt x="1656000" y="0"/>
                </a:cubicBezTo>
                <a:cubicBezTo>
                  <a:pt x="2612420" y="-75367"/>
                  <a:pt x="3271002" y="846031"/>
                  <a:pt x="3312000" y="1656000"/>
                </a:cubicBezTo>
                <a:cubicBezTo>
                  <a:pt x="3174890" y="2699803"/>
                  <a:pt x="2341926" y="3375312"/>
                  <a:pt x="1656000" y="3312000"/>
                </a:cubicBezTo>
                <a:cubicBezTo>
                  <a:pt x="757061" y="3131645"/>
                  <a:pt x="-90736" y="2650720"/>
                  <a:pt x="0" y="1656000"/>
                </a:cubicBezTo>
                <a:close/>
              </a:path>
            </a:pathLst>
          </a:custGeom>
          <a:solidFill>
            <a:schemeClr val="bg1"/>
          </a:solidFill>
          <a:ln w="76200">
            <a:solidFill>
              <a:schemeClr val="accent1"/>
            </a:solidFill>
            <a:extLst>
              <a:ext uri="{C807C97D-BFC1-408E-A445-0C87EB9F89A2}">
                <ask:lineSketchStyleProps xmlns:ask="http://schemas.microsoft.com/office/drawing/2018/sketchyshapes" sd="193564648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anchor="b"/>
          <a:lstStyle/>
          <a:p>
            <a:pPr algn="ctr">
              <a:defRPr/>
            </a:pPr>
            <a:r>
              <a:rPr lang="es-ES" sz="2800" dirty="0">
                <a:solidFill>
                  <a:schemeClr val="accent3">
                    <a:lumMod val="50000"/>
                  </a:schemeClr>
                </a:solidFill>
                <a:latin typeface="Impact" panose="020B0806030902050204" pitchFamily="34" charset="0"/>
              </a:rPr>
              <a:t>Procesos - procedimientos</a:t>
            </a:r>
          </a:p>
        </p:txBody>
      </p:sp>
      <p:sp>
        <p:nvSpPr>
          <p:cNvPr id="16" name="Flecha: a la izquierda y derecha 15">
            <a:extLst>
              <a:ext uri="{FF2B5EF4-FFF2-40B4-BE49-F238E27FC236}">
                <a16:creationId xmlns:a16="http://schemas.microsoft.com/office/drawing/2014/main" id="{E899D86B-CFFB-490C-A2AD-402521918B9F}"/>
              </a:ext>
            </a:extLst>
          </p:cNvPr>
          <p:cNvSpPr/>
          <p:nvPr/>
        </p:nvSpPr>
        <p:spPr>
          <a:xfrm>
            <a:off x="43718" y="3427025"/>
            <a:ext cx="7688171" cy="2357521"/>
          </a:xfrm>
          <a:custGeom>
            <a:avLst/>
            <a:gdLst>
              <a:gd name="connsiteX0" fmla="*/ 0 w 7688171"/>
              <a:gd name="connsiteY0" fmla="*/ 1178761 h 2357521"/>
              <a:gd name="connsiteX1" fmla="*/ 1178761 w 7688171"/>
              <a:gd name="connsiteY1" fmla="*/ 0 h 2357521"/>
              <a:gd name="connsiteX2" fmla="*/ 1178761 w 7688171"/>
              <a:gd name="connsiteY2" fmla="*/ 589380 h 2357521"/>
              <a:gd name="connsiteX3" fmla="*/ 6509411 w 7688171"/>
              <a:gd name="connsiteY3" fmla="*/ 589380 h 2357521"/>
              <a:gd name="connsiteX4" fmla="*/ 6509411 w 7688171"/>
              <a:gd name="connsiteY4" fmla="*/ 0 h 2357521"/>
              <a:gd name="connsiteX5" fmla="*/ 7688171 w 7688171"/>
              <a:gd name="connsiteY5" fmla="*/ 1178761 h 2357521"/>
              <a:gd name="connsiteX6" fmla="*/ 6509411 w 7688171"/>
              <a:gd name="connsiteY6" fmla="*/ 2357521 h 2357521"/>
              <a:gd name="connsiteX7" fmla="*/ 6509411 w 7688171"/>
              <a:gd name="connsiteY7" fmla="*/ 1768141 h 2357521"/>
              <a:gd name="connsiteX8" fmla="*/ 1178761 w 7688171"/>
              <a:gd name="connsiteY8" fmla="*/ 1768141 h 2357521"/>
              <a:gd name="connsiteX9" fmla="*/ 1178761 w 7688171"/>
              <a:gd name="connsiteY9" fmla="*/ 2357521 h 2357521"/>
              <a:gd name="connsiteX10" fmla="*/ 0 w 7688171"/>
              <a:gd name="connsiteY10" fmla="*/ 1178761 h 235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88171" h="2357521" fill="none" extrusionOk="0">
                <a:moveTo>
                  <a:pt x="0" y="1178761"/>
                </a:moveTo>
                <a:cubicBezTo>
                  <a:pt x="189544" y="957782"/>
                  <a:pt x="659549" y="639308"/>
                  <a:pt x="1178761" y="0"/>
                </a:cubicBezTo>
                <a:cubicBezTo>
                  <a:pt x="1210354" y="206018"/>
                  <a:pt x="1128800" y="298231"/>
                  <a:pt x="1178761" y="589380"/>
                </a:cubicBezTo>
                <a:cubicBezTo>
                  <a:pt x="3000339" y="528372"/>
                  <a:pt x="4921678" y="722222"/>
                  <a:pt x="6509411" y="589380"/>
                </a:cubicBezTo>
                <a:cubicBezTo>
                  <a:pt x="6485913" y="430771"/>
                  <a:pt x="6549748" y="254837"/>
                  <a:pt x="6509411" y="0"/>
                </a:cubicBezTo>
                <a:cubicBezTo>
                  <a:pt x="6784439" y="428188"/>
                  <a:pt x="7227358" y="605574"/>
                  <a:pt x="7688171" y="1178761"/>
                </a:cubicBezTo>
                <a:cubicBezTo>
                  <a:pt x="7414524" y="1429779"/>
                  <a:pt x="6590399" y="2134648"/>
                  <a:pt x="6509411" y="2357521"/>
                </a:cubicBezTo>
                <a:cubicBezTo>
                  <a:pt x="6464928" y="2137574"/>
                  <a:pt x="6524530" y="2002419"/>
                  <a:pt x="6509411" y="1768141"/>
                </a:cubicBezTo>
                <a:cubicBezTo>
                  <a:pt x="5414609" y="1607947"/>
                  <a:pt x="3402494" y="1874854"/>
                  <a:pt x="1178761" y="1768141"/>
                </a:cubicBezTo>
                <a:cubicBezTo>
                  <a:pt x="1226650" y="1910401"/>
                  <a:pt x="1153156" y="2202152"/>
                  <a:pt x="1178761" y="2357521"/>
                </a:cubicBezTo>
                <a:cubicBezTo>
                  <a:pt x="952727" y="2210309"/>
                  <a:pt x="277137" y="1273150"/>
                  <a:pt x="0" y="1178761"/>
                </a:cubicBezTo>
                <a:close/>
              </a:path>
              <a:path w="7688171" h="2357521" stroke="0" extrusionOk="0">
                <a:moveTo>
                  <a:pt x="0" y="1178761"/>
                </a:moveTo>
                <a:cubicBezTo>
                  <a:pt x="534715" y="709365"/>
                  <a:pt x="690922" y="398401"/>
                  <a:pt x="1178761" y="0"/>
                </a:cubicBezTo>
                <a:cubicBezTo>
                  <a:pt x="1142583" y="124094"/>
                  <a:pt x="1157931" y="391887"/>
                  <a:pt x="1178761" y="589380"/>
                </a:cubicBezTo>
                <a:cubicBezTo>
                  <a:pt x="2877436" y="560003"/>
                  <a:pt x="4249057" y="616743"/>
                  <a:pt x="6509411" y="589380"/>
                </a:cubicBezTo>
                <a:cubicBezTo>
                  <a:pt x="6528871" y="491764"/>
                  <a:pt x="6462126" y="72479"/>
                  <a:pt x="6509411" y="0"/>
                </a:cubicBezTo>
                <a:cubicBezTo>
                  <a:pt x="6766947" y="384496"/>
                  <a:pt x="7367444" y="911245"/>
                  <a:pt x="7688171" y="1178761"/>
                </a:cubicBezTo>
                <a:cubicBezTo>
                  <a:pt x="7428930" y="1487546"/>
                  <a:pt x="6907750" y="2072169"/>
                  <a:pt x="6509411" y="2357521"/>
                </a:cubicBezTo>
                <a:cubicBezTo>
                  <a:pt x="6464553" y="2134657"/>
                  <a:pt x="6486846" y="1953589"/>
                  <a:pt x="6509411" y="1768141"/>
                </a:cubicBezTo>
                <a:cubicBezTo>
                  <a:pt x="5911149" y="1783096"/>
                  <a:pt x="3102012" y="1774246"/>
                  <a:pt x="1178761" y="1768141"/>
                </a:cubicBezTo>
                <a:cubicBezTo>
                  <a:pt x="1180227" y="1913980"/>
                  <a:pt x="1207249" y="2074173"/>
                  <a:pt x="1178761" y="2357521"/>
                </a:cubicBezTo>
                <a:cubicBezTo>
                  <a:pt x="770402" y="2075329"/>
                  <a:pt x="233904" y="1236393"/>
                  <a:pt x="0" y="1178761"/>
                </a:cubicBezTo>
                <a:close/>
              </a:path>
            </a:pathLst>
          </a:custGeom>
          <a:solidFill>
            <a:schemeClr val="accent1">
              <a:lumMod val="20000"/>
              <a:lumOff val="80000"/>
            </a:schemeClr>
          </a:solidFill>
          <a:ln w="76200">
            <a:solidFill>
              <a:schemeClr val="accent1"/>
            </a:solidFill>
            <a:extLst>
              <a:ext uri="{C807C97D-BFC1-408E-A445-0C87EB9F89A2}">
                <ask:lineSketchStyleProps xmlns:ask="http://schemas.microsoft.com/office/drawing/2018/sketchyshapes" sd="1813216532">
                  <a:prstGeom prst="leftRightArrow">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r>
              <a:rPr lang="es-ES" sz="4000" dirty="0">
                <a:solidFill>
                  <a:schemeClr val="accent3">
                    <a:lumMod val="50000"/>
                  </a:schemeClr>
                </a:solidFill>
              </a:rPr>
              <a:t>Transformación digital</a:t>
            </a:r>
          </a:p>
          <a:p>
            <a:pPr algn="ctr"/>
            <a:r>
              <a:rPr lang="es-ES" sz="4000" dirty="0">
                <a:solidFill>
                  <a:schemeClr val="accent3">
                    <a:lumMod val="50000"/>
                  </a:schemeClr>
                </a:solidFill>
              </a:rPr>
              <a:t>(Proceso)</a:t>
            </a:r>
          </a:p>
        </p:txBody>
      </p:sp>
      <p:pic>
        <p:nvPicPr>
          <p:cNvPr id="7" name="Imagen 6">
            <a:extLst>
              <a:ext uri="{FF2B5EF4-FFF2-40B4-BE49-F238E27FC236}">
                <a16:creationId xmlns:a16="http://schemas.microsoft.com/office/drawing/2014/main" id="{A1CCB188-A5F7-DF66-D012-39C59C15979D}"/>
              </a:ext>
            </a:extLst>
          </p:cNvPr>
          <p:cNvPicPr>
            <a:picLocks noChangeAspect="1"/>
          </p:cNvPicPr>
          <p:nvPr/>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artisticPastelsSmooth/>
                    </a14:imgEffect>
                  </a14:imgLayer>
                </a14:imgProps>
              </a:ext>
            </a:extLst>
          </a:blip>
          <a:srcRect l="11110" t="4280" r="8861" b="7160"/>
          <a:stretch/>
        </p:blipFill>
        <p:spPr>
          <a:xfrm>
            <a:off x="2500465" y="1265366"/>
            <a:ext cx="2415164" cy="2731547"/>
          </a:xfrm>
          <a:prstGeom prst="rect">
            <a:avLst/>
          </a:prstGeom>
        </p:spPr>
      </p:pic>
      <p:sp>
        <p:nvSpPr>
          <p:cNvPr id="8" name="Rectángulo 7">
            <a:extLst>
              <a:ext uri="{FF2B5EF4-FFF2-40B4-BE49-F238E27FC236}">
                <a16:creationId xmlns:a16="http://schemas.microsoft.com/office/drawing/2014/main" id="{BD08FC1C-56E3-D1B0-D63E-3105BB87B62B}"/>
              </a:ext>
            </a:extLst>
          </p:cNvPr>
          <p:cNvSpPr/>
          <p:nvPr/>
        </p:nvSpPr>
        <p:spPr>
          <a:xfrm>
            <a:off x="2654137" y="3264237"/>
            <a:ext cx="2107821" cy="923330"/>
          </a:xfrm>
          <a:prstGeom prst="rect">
            <a:avLst/>
          </a:prstGeom>
          <a:noFill/>
        </p:spPr>
        <p:txBody>
          <a:bodyPr wrap="none" lIns="91440" tIns="45720" rIns="91440" bIns="45720">
            <a:spAutoFit/>
          </a:bodyPr>
          <a:lstStyle/>
          <a:p>
            <a:pPr algn="ctr"/>
            <a:r>
              <a:rPr lang="es-E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cliente</a:t>
            </a:r>
          </a:p>
        </p:txBody>
      </p:sp>
    </p:spTree>
    <p:extLst>
      <p:ext uri="{BB962C8B-B14F-4D97-AF65-F5344CB8AC3E}">
        <p14:creationId xmlns:p14="http://schemas.microsoft.com/office/powerpoint/2010/main" val="251782174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8C395-DF58-AB7C-1230-DD1652CC2D4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93BF595-1909-C3C8-8F64-EE45C96596ED}"/>
              </a:ext>
            </a:extLst>
          </p:cNvPr>
          <p:cNvSpPr>
            <a:spLocks noGrp="1"/>
          </p:cNvSpPr>
          <p:nvPr>
            <p:ph type="title"/>
          </p:nvPr>
        </p:nvSpPr>
        <p:spPr>
          <a:xfrm>
            <a:off x="838200" y="365126"/>
            <a:ext cx="9840124" cy="1092200"/>
          </a:xfrm>
        </p:spPr>
        <p:txBody>
          <a:bodyPr/>
          <a:lstStyle/>
          <a:p>
            <a:r>
              <a:rPr lang="es-ES" noProof="0" dirty="0"/>
              <a:t>Ejemplos de uso de Tokens y Blockchain (ACTUALES)</a:t>
            </a:r>
          </a:p>
        </p:txBody>
      </p:sp>
      <p:graphicFrame>
        <p:nvGraphicFramePr>
          <p:cNvPr id="7" name="Marcador de contenido 6">
            <a:extLst>
              <a:ext uri="{FF2B5EF4-FFF2-40B4-BE49-F238E27FC236}">
                <a16:creationId xmlns:a16="http://schemas.microsoft.com/office/drawing/2014/main" id="{79CC8CA1-74D6-3AF6-A569-674CDF1C6902}"/>
              </a:ext>
            </a:extLst>
          </p:cNvPr>
          <p:cNvGraphicFramePr>
            <a:graphicFrameLocks noGrp="1"/>
          </p:cNvGraphicFramePr>
          <p:nvPr>
            <p:ph sz="half" idx="1"/>
            <p:extLst>
              <p:ext uri="{D42A27DB-BD31-4B8C-83A1-F6EECF244321}">
                <p14:modId xmlns:p14="http://schemas.microsoft.com/office/powerpoint/2010/main" val="3835265847"/>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122" name="Picture 2" descr="Security token OneCoin Token coin Cryptocurrency, others, label, trademark,  payment png | PNGWing">
            <a:extLst>
              <a:ext uri="{FF2B5EF4-FFF2-40B4-BE49-F238E27FC236}">
                <a16:creationId xmlns:a16="http://schemas.microsoft.com/office/drawing/2014/main" id="{F24C919C-4DE0-8DA2-808E-17B633D87085}"/>
              </a:ext>
            </a:extLst>
          </p:cNvPr>
          <p:cNvPicPr>
            <a:picLocks noGrp="1" noChangeAspect="1" noChangeArrowheads="1"/>
          </p:cNvPicPr>
          <p:nvPr>
            <p:ph sz="quarter" idx="13"/>
          </p:nvPr>
        </p:nvPicPr>
        <p:blipFill>
          <a:blip r:embed="rId7">
            <a:extLst>
              <a:ext uri="{28A0092B-C50C-407E-A947-70E740481C1C}">
                <a14:useLocalDpi xmlns:a14="http://schemas.microsoft.com/office/drawing/2010/main" val="0"/>
              </a:ext>
            </a:extLst>
          </a:blip>
          <a:stretch>
            <a:fillRect/>
          </a:stretch>
        </p:blipFill>
        <p:spPr bwMode="auto">
          <a:xfrm>
            <a:off x="666750" y="2835970"/>
            <a:ext cx="2160588" cy="2146497"/>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5BB05F78-69D9-59F5-4B6E-460A81BA14C2}"/>
              </a:ext>
            </a:extLst>
          </p:cNvPr>
          <p:cNvSpPr>
            <a:spLocks noGrp="1"/>
          </p:cNvSpPr>
          <p:nvPr>
            <p:ph type="dt" sz="half" idx="14"/>
          </p:nvPr>
        </p:nvSpPr>
        <p:spPr>
          <a:xfrm>
            <a:off x="814650" y="6400379"/>
            <a:ext cx="3380278" cy="365125"/>
          </a:xfrm>
        </p:spPr>
        <p:txBody>
          <a:bodyPr/>
          <a:lstStyle/>
          <a:p>
            <a:fld id="{458449D6-C929-4FAB-9124-629722444AFB}"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7E6EE505-74DB-F9AD-B41A-16254E27BFDD}"/>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6B620D95-181F-2C5C-21D6-DE3B97892754}"/>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20</a:t>
            </a:fld>
            <a:endParaRPr lang="es-ES" dirty="0"/>
          </a:p>
        </p:txBody>
      </p:sp>
      <p:sp>
        <p:nvSpPr>
          <p:cNvPr id="8" name="Rectángulo 7">
            <a:extLst>
              <a:ext uri="{FF2B5EF4-FFF2-40B4-BE49-F238E27FC236}">
                <a16:creationId xmlns:a16="http://schemas.microsoft.com/office/drawing/2014/main" id="{36FCE5D7-930B-0D1C-6FFA-7A72D43F24DB}"/>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37461486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5BE8833-18AA-999F-F522-E4E533B7A5EE}"/>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CE9B02F-DB07-22BF-48C7-680BF7D91062}"/>
              </a:ext>
            </a:extLst>
          </p:cNvPr>
          <p:cNvSpPr>
            <a:spLocks noGrp="1"/>
          </p:cNvSpPr>
          <p:nvPr>
            <p:ph type="title"/>
          </p:nvPr>
        </p:nvSpPr>
        <p:spPr>
          <a:xfrm>
            <a:off x="838200" y="365126"/>
            <a:ext cx="9840124" cy="1092200"/>
          </a:xfrm>
        </p:spPr>
        <p:txBody>
          <a:bodyPr/>
          <a:lstStyle/>
          <a:p>
            <a:r>
              <a:rPr lang="es-ES" noProof="0" dirty="0"/>
              <a:t>La divisa digital</a:t>
            </a:r>
          </a:p>
        </p:txBody>
      </p:sp>
      <p:sp>
        <p:nvSpPr>
          <p:cNvPr id="3" name="Marcador de contenido 2">
            <a:extLst>
              <a:ext uri="{FF2B5EF4-FFF2-40B4-BE49-F238E27FC236}">
                <a16:creationId xmlns:a16="http://schemas.microsoft.com/office/drawing/2014/main" id="{FC587048-1E4C-CF7D-6DB9-83E5AB5796C1}"/>
              </a:ext>
            </a:extLst>
          </p:cNvPr>
          <p:cNvSpPr>
            <a:spLocks noGrp="1"/>
          </p:cNvSpPr>
          <p:nvPr>
            <p:ph sz="half" idx="1"/>
          </p:nvPr>
        </p:nvSpPr>
        <p:spPr>
          <a:xfrm>
            <a:off x="2926700" y="1863518"/>
            <a:ext cx="8821604" cy="4212000"/>
          </a:xfrm>
        </p:spPr>
        <p:txBody>
          <a:bodyPr/>
          <a:lstStyle/>
          <a:p>
            <a:endParaRPr lang="es-ES" noProof="0" dirty="0"/>
          </a:p>
          <a:p>
            <a:endParaRPr lang="es-ES" noProof="0" dirty="0"/>
          </a:p>
        </p:txBody>
      </p:sp>
      <p:pic>
        <p:nvPicPr>
          <p:cNvPr id="5122" name="Picture 2" descr="Así son las &quot;Central Bank Digital Currencies&quot; o CBDC - Confilegal">
            <a:extLst>
              <a:ext uri="{FF2B5EF4-FFF2-40B4-BE49-F238E27FC236}">
                <a16:creationId xmlns:a16="http://schemas.microsoft.com/office/drawing/2014/main" id="{F6EF689C-7BA9-4EAA-0DED-02B1630B10B9}"/>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07744DF6-A1F5-EA4A-307C-29EF49815DF1}"/>
              </a:ext>
            </a:extLst>
          </p:cNvPr>
          <p:cNvSpPr>
            <a:spLocks noGrp="1"/>
          </p:cNvSpPr>
          <p:nvPr>
            <p:ph type="dt" sz="half" idx="14"/>
          </p:nvPr>
        </p:nvSpPr>
        <p:spPr>
          <a:xfrm>
            <a:off x="814650" y="6400379"/>
            <a:ext cx="3380278" cy="365125"/>
          </a:xfrm>
        </p:spPr>
        <p:txBody>
          <a:bodyPr/>
          <a:lstStyle/>
          <a:p>
            <a:fld id="{0F45A0B5-0337-4E41-8392-FD81437D0BE0}"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CEDBF282-51B5-73D2-E6EF-2A3B2035E7C6}"/>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9A0A471E-25CB-A1FA-61C8-72BD715E7B22}"/>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21</a:t>
            </a:fld>
            <a:endParaRPr lang="es-ES" dirty="0"/>
          </a:p>
        </p:txBody>
      </p:sp>
      <p:graphicFrame>
        <p:nvGraphicFramePr>
          <p:cNvPr id="9" name="Tabla 9">
            <a:extLst>
              <a:ext uri="{FF2B5EF4-FFF2-40B4-BE49-F238E27FC236}">
                <a16:creationId xmlns:a16="http://schemas.microsoft.com/office/drawing/2014/main" id="{14B7BA43-AF6B-A70B-FE7A-5C8EFBBCBCF5}"/>
              </a:ext>
            </a:extLst>
          </p:cNvPr>
          <p:cNvGraphicFramePr>
            <a:graphicFrameLocks noGrp="1"/>
          </p:cNvGraphicFramePr>
          <p:nvPr/>
        </p:nvGraphicFramePr>
        <p:xfrm>
          <a:off x="3129279" y="4116358"/>
          <a:ext cx="6624000" cy="1776442"/>
        </p:xfrm>
        <a:graphic>
          <a:graphicData uri="http://schemas.openxmlformats.org/drawingml/2006/table">
            <a:tbl>
              <a:tblPr firstRow="1" bandRow="1">
                <a:tableStyleId>{00A15C55-8517-42AA-B614-E9B94910E393}</a:tableStyleId>
              </a:tblPr>
              <a:tblGrid>
                <a:gridCol w="3312000">
                  <a:extLst>
                    <a:ext uri="{9D8B030D-6E8A-4147-A177-3AD203B41FA5}">
                      <a16:colId xmlns:a16="http://schemas.microsoft.com/office/drawing/2014/main" val="82187248"/>
                    </a:ext>
                  </a:extLst>
                </a:gridCol>
                <a:gridCol w="3312000">
                  <a:extLst>
                    <a:ext uri="{9D8B030D-6E8A-4147-A177-3AD203B41FA5}">
                      <a16:colId xmlns:a16="http://schemas.microsoft.com/office/drawing/2014/main" val="4250295034"/>
                    </a:ext>
                  </a:extLst>
                </a:gridCol>
              </a:tblGrid>
              <a:tr h="455268">
                <a:tc>
                  <a:txBody>
                    <a:bodyPr/>
                    <a:lstStyle/>
                    <a:p>
                      <a:pPr algn="ctr"/>
                      <a:r>
                        <a:rPr lang="es-ES" dirty="0"/>
                        <a:t>Criptomonedas</a:t>
                      </a:r>
                    </a:p>
                  </a:txBody>
                  <a:tcPr/>
                </a:tc>
                <a:tc>
                  <a:txBody>
                    <a:bodyPr/>
                    <a:lstStyle/>
                    <a:p>
                      <a:pPr algn="ctr"/>
                      <a:r>
                        <a:rPr lang="es-ES" dirty="0"/>
                        <a:t>Monedas digitales</a:t>
                      </a:r>
                    </a:p>
                  </a:txBody>
                  <a:tcPr/>
                </a:tc>
                <a:extLst>
                  <a:ext uri="{0D108BD9-81ED-4DB2-BD59-A6C34878D82A}">
                    <a16:rowId xmlns:a16="http://schemas.microsoft.com/office/drawing/2014/main" val="1638409939"/>
                  </a:ext>
                </a:extLst>
              </a:tr>
              <a:tr h="1321174">
                <a:tc>
                  <a:txBody>
                    <a:bodyPr/>
                    <a:lstStyle/>
                    <a:p>
                      <a:pPr marL="285750" indent="-285750">
                        <a:buFont typeface="Arial" panose="020B0604020202020204" pitchFamily="34" charset="0"/>
                        <a:buChar char="•"/>
                      </a:pPr>
                      <a:r>
                        <a:rPr lang="es-ES" dirty="0"/>
                        <a:t>No rastreo.</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dirty="0"/>
                        <a:t>Eje: Bitcoin, Ethereum, Solana.</a:t>
                      </a:r>
                    </a:p>
                  </a:txBody>
                  <a:tcPr/>
                </a:tc>
                <a:tc>
                  <a:txBody>
                    <a:bodyPr/>
                    <a:lstStyle/>
                    <a:p>
                      <a:pPr marL="285750" indent="-285750">
                        <a:buFont typeface="Arial" panose="020B0604020202020204" pitchFamily="34" charset="0"/>
                        <a:buChar char="•"/>
                      </a:pPr>
                      <a:r>
                        <a:rPr lang="es-ES" dirty="0"/>
                        <a:t>Rastreo / Trazabilidad.</a:t>
                      </a:r>
                    </a:p>
                    <a:p>
                      <a:pPr marL="285750" indent="-285750">
                        <a:buFont typeface="Arial" panose="020B0604020202020204" pitchFamily="34" charset="0"/>
                        <a:buChar char="•"/>
                      </a:pPr>
                      <a:r>
                        <a:rPr lang="es-ES" dirty="0"/>
                        <a:t>Sirve para comercio exterior.</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dirty="0"/>
                        <a:t>Eje: Euro digital, Yuan digital.</a:t>
                      </a:r>
                    </a:p>
                  </a:txBody>
                  <a:tcPr/>
                </a:tc>
                <a:extLst>
                  <a:ext uri="{0D108BD9-81ED-4DB2-BD59-A6C34878D82A}">
                    <a16:rowId xmlns:a16="http://schemas.microsoft.com/office/drawing/2014/main" val="2761947283"/>
                  </a:ext>
                </a:extLst>
              </a:tr>
            </a:tbl>
          </a:graphicData>
        </a:graphic>
      </p:graphicFrame>
      <p:graphicFrame>
        <p:nvGraphicFramePr>
          <p:cNvPr id="16" name="Tabla 16">
            <a:extLst>
              <a:ext uri="{FF2B5EF4-FFF2-40B4-BE49-F238E27FC236}">
                <a16:creationId xmlns:a16="http://schemas.microsoft.com/office/drawing/2014/main" id="{1655DAB9-B7CF-09AB-6FB3-0551CF43265F}"/>
              </a:ext>
            </a:extLst>
          </p:cNvPr>
          <p:cNvGraphicFramePr>
            <a:graphicFrameLocks noGrp="1"/>
          </p:cNvGraphicFramePr>
          <p:nvPr>
            <p:extLst>
              <p:ext uri="{D42A27DB-BD31-4B8C-83A1-F6EECF244321}">
                <p14:modId xmlns:p14="http://schemas.microsoft.com/office/powerpoint/2010/main" val="1545722136"/>
              </p:ext>
            </p:extLst>
          </p:nvPr>
        </p:nvGraphicFramePr>
        <p:xfrm>
          <a:off x="3129280" y="1843088"/>
          <a:ext cx="8619024" cy="1778984"/>
        </p:xfrm>
        <a:graphic>
          <a:graphicData uri="http://schemas.openxmlformats.org/drawingml/2006/table">
            <a:tbl>
              <a:tblPr firstRow="1" bandRow="1">
                <a:tableStyleId>{5C22544A-7EE6-4342-B048-85BDC9FD1C3A}</a:tableStyleId>
              </a:tblPr>
              <a:tblGrid>
                <a:gridCol w="2651760">
                  <a:extLst>
                    <a:ext uri="{9D8B030D-6E8A-4147-A177-3AD203B41FA5}">
                      <a16:colId xmlns:a16="http://schemas.microsoft.com/office/drawing/2014/main" val="3565639979"/>
                    </a:ext>
                  </a:extLst>
                </a:gridCol>
                <a:gridCol w="1991360">
                  <a:extLst>
                    <a:ext uri="{9D8B030D-6E8A-4147-A177-3AD203B41FA5}">
                      <a16:colId xmlns:a16="http://schemas.microsoft.com/office/drawing/2014/main" val="1961078178"/>
                    </a:ext>
                  </a:extLst>
                </a:gridCol>
                <a:gridCol w="1821148">
                  <a:extLst>
                    <a:ext uri="{9D8B030D-6E8A-4147-A177-3AD203B41FA5}">
                      <a16:colId xmlns:a16="http://schemas.microsoft.com/office/drawing/2014/main" val="582251942"/>
                    </a:ext>
                  </a:extLst>
                </a:gridCol>
                <a:gridCol w="2154756">
                  <a:extLst>
                    <a:ext uri="{9D8B030D-6E8A-4147-A177-3AD203B41FA5}">
                      <a16:colId xmlns:a16="http://schemas.microsoft.com/office/drawing/2014/main" val="208936872"/>
                    </a:ext>
                  </a:extLst>
                </a:gridCol>
              </a:tblGrid>
              <a:tr h="3504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t>Euro digit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t>Dólar digit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t>A soluciona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t>duda</a:t>
                      </a:r>
                    </a:p>
                  </a:txBody>
                  <a:tcPr anchor="ctr"/>
                </a:tc>
                <a:extLst>
                  <a:ext uri="{0D108BD9-81ED-4DB2-BD59-A6C34878D82A}">
                    <a16:rowId xmlns:a16="http://schemas.microsoft.com/office/drawing/2014/main" val="642339058"/>
                  </a:ext>
                </a:extLst>
              </a:tr>
              <a:tr h="1382744">
                <a:tc>
                  <a:txBody>
                    <a:bodyPr/>
                    <a:lstStyle/>
                    <a:p>
                      <a:pPr marL="377825" lvl="1" indent="-285750">
                        <a:buFont typeface="Arial" panose="020B0604020202020204" pitchFamily="34" charset="0"/>
                        <a:buChar char="•"/>
                      </a:pPr>
                      <a:r>
                        <a:rPr lang="es-ES" sz="2000" dirty="0"/>
                        <a:t>Legislación en 2023</a:t>
                      </a:r>
                    </a:p>
                    <a:p>
                      <a:pPr marL="377825" lvl="1" indent="-285750">
                        <a:buFont typeface="Arial" panose="020B0604020202020204" pitchFamily="34" charset="0"/>
                        <a:buChar char="•"/>
                      </a:pPr>
                      <a:r>
                        <a:rPr lang="es-ES" sz="2000" dirty="0"/>
                        <a:t>Lanzamiento 2025.</a:t>
                      </a:r>
                    </a:p>
                  </a:txBody>
                  <a:tcPr/>
                </a:tc>
                <a:tc>
                  <a:txBody>
                    <a:bodyPr/>
                    <a:lstStyle/>
                    <a:p>
                      <a:pPr marL="377825" lvl="1" indent="-285750">
                        <a:buFont typeface="Arial" panose="020B0604020202020204" pitchFamily="34" charset="0"/>
                        <a:buChar char="•"/>
                      </a:pPr>
                      <a:r>
                        <a:rPr lang="es-ES" sz="2000" dirty="0"/>
                        <a:t>Roll out 15.nov.202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000" dirty="0"/>
                        <a:t>La privacida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000" dirty="0"/>
                        <a:t>Duda: Dinero digital programable.</a:t>
                      </a:r>
                    </a:p>
                  </a:txBody>
                  <a:tcPr/>
                </a:tc>
                <a:extLst>
                  <a:ext uri="{0D108BD9-81ED-4DB2-BD59-A6C34878D82A}">
                    <a16:rowId xmlns:a16="http://schemas.microsoft.com/office/drawing/2014/main" val="1103587360"/>
                  </a:ext>
                </a:extLst>
              </a:tr>
            </a:tbl>
          </a:graphicData>
        </a:graphic>
      </p:graphicFrame>
      <p:sp>
        <p:nvSpPr>
          <p:cNvPr id="7" name="Rectángulo 6">
            <a:extLst>
              <a:ext uri="{FF2B5EF4-FFF2-40B4-BE49-F238E27FC236}">
                <a16:creationId xmlns:a16="http://schemas.microsoft.com/office/drawing/2014/main" id="{87D8B1EA-7662-F5C7-A68B-98341DB83C54}"/>
              </a:ext>
            </a:extLst>
          </p:cNvPr>
          <p:cNvSpPr/>
          <p:nvPr/>
        </p:nvSpPr>
        <p:spPr>
          <a:xfrm>
            <a:off x="13107" y="-13335"/>
            <a:ext cx="1186350" cy="584775"/>
          </a:xfrm>
          <a:prstGeom prst="rect">
            <a:avLst/>
          </a:prstGeom>
          <a:noFill/>
        </p:spPr>
        <p:txBody>
          <a:bodyPr wrap="none" lIns="91440" tIns="45720" rIns="91440" bIns="45720">
            <a:spAutoFit/>
          </a:bodyPr>
          <a:lstStyle/>
          <a:p>
            <a:pPr algn="ctr"/>
            <a:r>
              <a:rPr lang="es-ES" sz="3200" b="1" dirty="0">
                <a:ln w="22225">
                  <a:solidFill>
                    <a:schemeClr val="accent2"/>
                  </a:solidFill>
                  <a:prstDash val="solid"/>
                </a:ln>
                <a:solidFill>
                  <a:schemeClr val="accent2">
                    <a:lumMod val="40000"/>
                    <a:lumOff val="60000"/>
                  </a:schemeClr>
                </a:solidFill>
              </a:rPr>
              <a:t>Token</a:t>
            </a:r>
          </a:p>
        </p:txBody>
      </p:sp>
    </p:spTree>
    <p:extLst>
      <p:ext uri="{BB962C8B-B14F-4D97-AF65-F5344CB8AC3E}">
        <p14:creationId xmlns:p14="http://schemas.microsoft.com/office/powerpoint/2010/main" val="27403187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EC6BEC-4BBB-4020-B43D-EE17206F1884}"/>
              </a:ext>
            </a:extLst>
          </p:cNvPr>
          <p:cNvSpPr>
            <a:spLocks noGrp="1"/>
          </p:cNvSpPr>
          <p:nvPr>
            <p:ph type="title"/>
          </p:nvPr>
        </p:nvSpPr>
        <p:spPr>
          <a:xfrm>
            <a:off x="838200" y="365126"/>
            <a:ext cx="9840124" cy="1092200"/>
          </a:xfrm>
        </p:spPr>
        <p:txBody>
          <a:bodyPr/>
          <a:lstStyle/>
          <a:p>
            <a:r>
              <a:rPr lang="es-ES" noProof="0" dirty="0"/>
              <a:t>El mundo del aceite de Oliva</a:t>
            </a:r>
          </a:p>
        </p:txBody>
      </p:sp>
      <p:sp>
        <p:nvSpPr>
          <p:cNvPr id="3" name="Marcador de fecha 2">
            <a:extLst>
              <a:ext uri="{FF2B5EF4-FFF2-40B4-BE49-F238E27FC236}">
                <a16:creationId xmlns:a16="http://schemas.microsoft.com/office/drawing/2014/main" id="{9397BAD9-0603-49D0-A83F-AD3680C68533}"/>
              </a:ext>
            </a:extLst>
          </p:cNvPr>
          <p:cNvSpPr>
            <a:spLocks noGrp="1"/>
          </p:cNvSpPr>
          <p:nvPr>
            <p:ph type="dt" sz="half" idx="10"/>
          </p:nvPr>
        </p:nvSpPr>
        <p:spPr>
          <a:xfrm>
            <a:off x="814650" y="6400379"/>
            <a:ext cx="3380278" cy="365125"/>
          </a:xfrm>
        </p:spPr>
        <p:txBody>
          <a:bodyPr/>
          <a:lstStyle/>
          <a:p>
            <a:fld id="{FF52BB72-56CE-4EE7-9CFE-3489DD487B81}"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8BEDB5AF-E88B-4D02-8F5E-CB233994E32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A8D2402-94A1-49E3-9921-C1045652703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2</a:t>
            </a:fld>
            <a:endParaRPr lang="es-ES" dirty="0"/>
          </a:p>
        </p:txBody>
      </p:sp>
      <p:pic>
        <p:nvPicPr>
          <p:cNvPr id="2052" name="Picture 4" descr="Botella de aceite de oliva aislado | Vector Premium">
            <a:extLst>
              <a:ext uri="{FF2B5EF4-FFF2-40B4-BE49-F238E27FC236}">
                <a16:creationId xmlns:a16="http://schemas.microsoft.com/office/drawing/2014/main" id="{123534BA-C8C2-43DB-AF03-0359B3B953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797611" y="173611"/>
            <a:ext cx="786138" cy="1526602"/>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esquinas redondeadas 7">
            <a:extLst>
              <a:ext uri="{FF2B5EF4-FFF2-40B4-BE49-F238E27FC236}">
                <a16:creationId xmlns:a16="http://schemas.microsoft.com/office/drawing/2014/main" id="{35178898-DE22-4AD8-A958-AB84BE6E6C88}"/>
              </a:ext>
            </a:extLst>
          </p:cNvPr>
          <p:cNvSpPr>
            <a:spLocks noChangeAspect="1"/>
          </p:cNvSpPr>
          <p:nvPr/>
        </p:nvSpPr>
        <p:spPr>
          <a:xfrm>
            <a:off x="596736" y="1882202"/>
            <a:ext cx="1157373" cy="756000"/>
          </a:xfrm>
          <a:prstGeom prst="roundRect">
            <a:avLst/>
          </a:prstGeom>
          <a:blipFill rotWithShape="1">
            <a:blip r:embed="rId3">
              <a:extLst>
                <a:ext uri="{28A0092B-C50C-407E-A947-70E740481C1C}">
                  <a14:useLocalDpi xmlns:a14="http://schemas.microsoft.com/office/drawing/2010/main" val="0"/>
                </a:ext>
              </a:extLst>
            </a:blip>
            <a:srcRect/>
            <a:stretch>
              <a:fillRect l="-2000" r="-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anchor="ctr" anchorCtr="0"/>
          <a:lstStyle/>
          <a:p>
            <a:endParaRPr lang="es-ES" dirty="0"/>
          </a:p>
        </p:txBody>
      </p:sp>
      <p:sp>
        <p:nvSpPr>
          <p:cNvPr id="9" name="Rectángulo: esquinas redondeadas 8">
            <a:extLst>
              <a:ext uri="{FF2B5EF4-FFF2-40B4-BE49-F238E27FC236}">
                <a16:creationId xmlns:a16="http://schemas.microsoft.com/office/drawing/2014/main" id="{140A0FEF-772E-4FFC-885C-69F3BC190023}"/>
              </a:ext>
            </a:extLst>
          </p:cNvPr>
          <p:cNvSpPr>
            <a:spLocks noChangeAspect="1"/>
          </p:cNvSpPr>
          <p:nvPr/>
        </p:nvSpPr>
        <p:spPr>
          <a:xfrm>
            <a:off x="574569" y="3280718"/>
            <a:ext cx="1106364" cy="756000"/>
          </a:xfrm>
          <a:prstGeom prst="roundRect">
            <a:avLst/>
          </a:prstGeom>
          <a:blipFill rotWithShape="1">
            <a:blip r:embed="rId4">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anchor="ctr" anchorCtr="0"/>
          <a:lstStyle/>
          <a:p>
            <a:endParaRPr lang="es-ES" dirty="0"/>
          </a:p>
        </p:txBody>
      </p:sp>
      <p:graphicFrame>
        <p:nvGraphicFramePr>
          <p:cNvPr id="6" name="Diagrama 5">
            <a:extLst>
              <a:ext uri="{FF2B5EF4-FFF2-40B4-BE49-F238E27FC236}">
                <a16:creationId xmlns:a16="http://schemas.microsoft.com/office/drawing/2014/main" id="{0C00E18C-4993-AC20-ABF7-F9A412AD0E4A}"/>
              </a:ext>
            </a:extLst>
          </p:cNvPr>
          <p:cNvGraphicFramePr/>
          <p:nvPr/>
        </p:nvGraphicFramePr>
        <p:xfrm>
          <a:off x="1819297" y="1626203"/>
          <a:ext cx="8214716" cy="47926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50" name="Picture 2" descr="dos personas hablando 18980104 Vector en Vecteezy">
            <a:extLst>
              <a:ext uri="{FF2B5EF4-FFF2-40B4-BE49-F238E27FC236}">
                <a16:creationId xmlns:a16="http://schemas.microsoft.com/office/drawing/2014/main" id="{B844C2E4-3A85-B3CB-C231-E9E614A8958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333" t="21777" r="7186" b="20992"/>
          <a:stretch/>
        </p:blipFill>
        <p:spPr bwMode="auto">
          <a:xfrm>
            <a:off x="9297050" y="4104640"/>
            <a:ext cx="2903646" cy="1944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ángulo: esquinas redondeadas 6">
            <a:extLst>
              <a:ext uri="{FF2B5EF4-FFF2-40B4-BE49-F238E27FC236}">
                <a16:creationId xmlns:a16="http://schemas.microsoft.com/office/drawing/2014/main" id="{D136D39E-747D-F0DD-F404-1B2DFD3EE5FB}"/>
              </a:ext>
            </a:extLst>
          </p:cNvPr>
          <p:cNvSpPr>
            <a:spLocks noChangeAspect="1"/>
          </p:cNvSpPr>
          <p:nvPr/>
        </p:nvSpPr>
        <p:spPr>
          <a:xfrm>
            <a:off x="9947744" y="4937759"/>
            <a:ext cx="284665" cy="194517"/>
          </a:xfrm>
          <a:prstGeom prst="roundRect">
            <a:avLst/>
          </a:prstGeom>
          <a:blipFill rotWithShape="1">
            <a:blip r:embed="rId4">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anchor="ctr" anchorCtr="0"/>
          <a:lstStyle/>
          <a:p>
            <a:endParaRPr lang="es-ES" dirty="0"/>
          </a:p>
        </p:txBody>
      </p:sp>
      <p:sp>
        <p:nvSpPr>
          <p:cNvPr id="10" name="Rectángulo: esquinas redondeadas 9">
            <a:extLst>
              <a:ext uri="{FF2B5EF4-FFF2-40B4-BE49-F238E27FC236}">
                <a16:creationId xmlns:a16="http://schemas.microsoft.com/office/drawing/2014/main" id="{57A27607-FBB2-8340-302B-1DB937F50418}"/>
              </a:ext>
            </a:extLst>
          </p:cNvPr>
          <p:cNvSpPr>
            <a:spLocks noChangeAspect="1"/>
          </p:cNvSpPr>
          <p:nvPr/>
        </p:nvSpPr>
        <p:spPr>
          <a:xfrm>
            <a:off x="11285056" y="4945116"/>
            <a:ext cx="373015" cy="243655"/>
          </a:xfrm>
          <a:prstGeom prst="roundRect">
            <a:avLst/>
          </a:prstGeom>
          <a:blipFill rotWithShape="1">
            <a:blip r:embed="rId3">
              <a:extLst>
                <a:ext uri="{28A0092B-C50C-407E-A947-70E740481C1C}">
                  <a14:useLocalDpi xmlns:a14="http://schemas.microsoft.com/office/drawing/2010/main" val="0"/>
                </a:ext>
              </a:extLst>
            </a:blip>
            <a:srcRect/>
            <a:stretch>
              <a:fillRect l="-2000" r="-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wrap="none" anchor="ctr" anchorCtr="0"/>
          <a:lstStyle/>
          <a:p>
            <a:endParaRPr lang="es-ES" dirty="0"/>
          </a:p>
        </p:txBody>
      </p:sp>
      <p:sp>
        <p:nvSpPr>
          <p:cNvPr id="11" name="Bocadillo: ovalado 10">
            <a:extLst>
              <a:ext uri="{FF2B5EF4-FFF2-40B4-BE49-F238E27FC236}">
                <a16:creationId xmlns:a16="http://schemas.microsoft.com/office/drawing/2014/main" id="{1A2E2536-B749-820E-6E2A-7CE360A6F491}"/>
              </a:ext>
            </a:extLst>
          </p:cNvPr>
          <p:cNvSpPr/>
          <p:nvPr/>
        </p:nvSpPr>
        <p:spPr>
          <a:xfrm>
            <a:off x="8595361" y="3320515"/>
            <a:ext cx="1842486" cy="703004"/>
          </a:xfrm>
          <a:prstGeom prst="wedgeEllipseCallout">
            <a:avLst>
              <a:gd name="adj1" fmla="val 10047"/>
              <a:gd name="adj2" fmla="val 81288"/>
            </a:avLst>
          </a:prstGeom>
          <a:solidFill>
            <a:srgbClr val="0066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dirty="0"/>
              <a:t>Si yo te demuestro</a:t>
            </a:r>
          </a:p>
        </p:txBody>
      </p:sp>
      <p:sp>
        <p:nvSpPr>
          <p:cNvPr id="12" name="Bocadillo: ovalado 11">
            <a:extLst>
              <a:ext uri="{FF2B5EF4-FFF2-40B4-BE49-F238E27FC236}">
                <a16:creationId xmlns:a16="http://schemas.microsoft.com/office/drawing/2014/main" id="{8DCF3DD9-1781-209D-2FD1-FF797DD28ABE}"/>
              </a:ext>
            </a:extLst>
          </p:cNvPr>
          <p:cNvSpPr/>
          <p:nvPr/>
        </p:nvSpPr>
        <p:spPr>
          <a:xfrm>
            <a:off x="10437847" y="3173651"/>
            <a:ext cx="1768452" cy="703004"/>
          </a:xfrm>
          <a:prstGeom prst="wedgeEllipseCallout">
            <a:avLst>
              <a:gd name="adj1" fmla="val 10047"/>
              <a:gd name="adj2" fmla="val 81288"/>
            </a:avLst>
          </a:prstGeom>
          <a:solidFill>
            <a:srgbClr val="0066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dirty="0"/>
              <a:t>Entonces yo te compro</a:t>
            </a:r>
          </a:p>
        </p:txBody>
      </p:sp>
      <p:sp>
        <p:nvSpPr>
          <p:cNvPr id="13" name="Rectángulo 12">
            <a:extLst>
              <a:ext uri="{FF2B5EF4-FFF2-40B4-BE49-F238E27FC236}">
                <a16:creationId xmlns:a16="http://schemas.microsoft.com/office/drawing/2014/main" id="{FF738DBB-9C6B-347A-F420-321D2E18243A}"/>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5391089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sz="half" idx="1"/>
          </p:nvPr>
        </p:nvSpPr>
        <p:spPr>
          <a:xfrm>
            <a:off x="270309" y="2241755"/>
            <a:ext cx="6387666" cy="3923835"/>
          </a:xfrm>
        </p:spPr>
        <p:txBody>
          <a:bodyPr>
            <a:normAutofit fontScale="92500" lnSpcReduction="10000"/>
          </a:bodyPr>
          <a:lstStyle/>
          <a:p>
            <a:r>
              <a:rPr lang="es-ES" noProof="0" dirty="0"/>
              <a:t>Los clientes</a:t>
            </a:r>
          </a:p>
          <a:p>
            <a:pPr lvl="1"/>
            <a:r>
              <a:rPr lang="es-ES" noProof="0" dirty="0"/>
              <a:t>Están exigiendo a los mayoristas aceites sostenibles y trazados, que cumplan requisitos de calidad exigentes y comprobables. </a:t>
            </a:r>
          </a:p>
          <a:p>
            <a:pPr lvl="1"/>
            <a:r>
              <a:rPr lang="es-ES" noProof="0" dirty="0"/>
              <a:t>Minoristas pueden comprobar la calidad del aceite y del vino mediante códigos QR.</a:t>
            </a:r>
          </a:p>
          <a:p>
            <a:r>
              <a:rPr lang="es-ES" noProof="0" dirty="0"/>
              <a:t>Incorporando Blockchain a todo el proceso productivo, se hace trazabilidad de las operaciones y se demuestra lo que se dice de forma fehaciente.</a:t>
            </a:r>
          </a:p>
          <a:p>
            <a:r>
              <a:rPr lang="es-ES" noProof="0" dirty="0"/>
              <a:t>Propuesta: Incorporar Blockchain a toda su cadena de valor: </a:t>
            </a:r>
            <a:r>
              <a:rPr lang="es-ES" noProof="0" dirty="0" err="1"/>
              <a:t>Supplychain</a:t>
            </a:r>
            <a:r>
              <a:rPr lang="es-ES" noProof="0" dirty="0"/>
              <a:t>, Producción y logística.</a:t>
            </a:r>
          </a:p>
        </p:txBody>
      </p:sp>
      <p:pic>
        <p:nvPicPr>
          <p:cNvPr id="10" name="Marcador de contenido 9">
            <a:extLst>
              <a:ext uri="{FF2B5EF4-FFF2-40B4-BE49-F238E27FC236}">
                <a16:creationId xmlns:a16="http://schemas.microsoft.com/office/drawing/2014/main" id="{344A0E8E-0067-AFBC-0B27-BC655B3CACA2}"/>
              </a:ext>
            </a:extLst>
          </p:cNvPr>
          <p:cNvPicPr>
            <a:picLocks noGrp="1" noChangeAspect="1"/>
          </p:cNvPicPr>
          <p:nvPr>
            <p:ph sz="half" idx="2"/>
          </p:nvPr>
        </p:nvPicPr>
        <p:blipFill>
          <a:blip r:embed="rId2"/>
          <a:stretch>
            <a:fillRect/>
          </a:stretch>
        </p:blipFill>
        <p:spPr>
          <a:xfrm>
            <a:off x="8308045" y="1643063"/>
            <a:ext cx="2086247" cy="2613025"/>
          </a:xfrm>
        </p:spPr>
      </p:pic>
      <p:sp>
        <p:nvSpPr>
          <p:cNvPr id="4" name="3 Marcador de texto"/>
          <p:cNvSpPr>
            <a:spLocks noGrp="1"/>
          </p:cNvSpPr>
          <p:nvPr>
            <p:ph sz="half" idx="13"/>
          </p:nvPr>
        </p:nvSpPr>
        <p:spPr>
          <a:xfrm>
            <a:off x="6779991" y="4902762"/>
            <a:ext cx="5141700" cy="1452030"/>
          </a:xfrm>
        </p:spPr>
        <p:txBody>
          <a:bodyPr>
            <a:normAutofit/>
          </a:bodyPr>
          <a:lstStyle/>
          <a:p>
            <a:r>
              <a:rPr lang="es-ES" noProof="0" dirty="0"/>
              <a:t>Etapas de producción, transformación y distribución.</a:t>
            </a:r>
          </a:p>
          <a:p>
            <a:r>
              <a:rPr lang="es-ES" noProof="0" dirty="0"/>
              <a:t>Sus participantes.</a:t>
            </a:r>
          </a:p>
        </p:txBody>
      </p:sp>
      <p:sp>
        <p:nvSpPr>
          <p:cNvPr id="8" name="7 Título"/>
          <p:cNvSpPr>
            <a:spLocks noGrp="1"/>
          </p:cNvSpPr>
          <p:nvPr>
            <p:ph type="title"/>
          </p:nvPr>
        </p:nvSpPr>
        <p:spPr>
          <a:xfrm>
            <a:off x="838200" y="365126"/>
            <a:ext cx="9840124" cy="1092200"/>
          </a:xfrm>
        </p:spPr>
        <p:txBody>
          <a:bodyPr>
            <a:normAutofit/>
          </a:bodyPr>
          <a:lstStyle/>
          <a:p>
            <a:r>
              <a:rPr lang="es-ES" noProof="0" dirty="0"/>
              <a:t>SOLUCIÓN: Trazabilidad del proceso productivo del Aceite</a:t>
            </a:r>
          </a:p>
        </p:txBody>
      </p:sp>
      <p:sp>
        <p:nvSpPr>
          <p:cNvPr id="6" name="5 Marcador de fecha"/>
          <p:cNvSpPr>
            <a:spLocks noGrp="1"/>
          </p:cNvSpPr>
          <p:nvPr>
            <p:ph type="dt" sz="half" idx="14"/>
          </p:nvPr>
        </p:nvSpPr>
        <p:spPr>
          <a:xfrm>
            <a:off x="814650" y="6400379"/>
            <a:ext cx="3380278" cy="365125"/>
          </a:xfrm>
        </p:spPr>
        <p:txBody>
          <a:bodyPr/>
          <a:lstStyle>
            <a:defPPr>
              <a:defRPr lang="es-ES"/>
            </a:defPPr>
            <a:lvl1pPr marL="0" algn="r" defTabSz="914400" rtl="0" eaLnBrk="1" latinLnBrk="0" hangingPunct="1">
              <a:defRPr sz="800" b="1"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1E28D3F-8901-4465-8BA9-6B6FFF84391F}" type="datetime2">
              <a:rPr lang="es-ES" smtClean="0"/>
              <a:pPr/>
              <a:t>jueves, 19 de septiembre de 2024</a:t>
            </a:fld>
            <a:endParaRPr lang="es-ES" dirty="0"/>
          </a:p>
        </p:txBody>
      </p:sp>
      <p:sp>
        <p:nvSpPr>
          <p:cNvPr id="7" name="6 Marcador de pie de página"/>
          <p:cNvSpPr>
            <a:spLocks noGrp="1"/>
          </p:cNvSpPr>
          <p:nvPr>
            <p:ph type="ftr" sz="quarter" idx="15"/>
          </p:nvPr>
        </p:nvSpPr>
        <p:spPr>
          <a:xfrm>
            <a:off x="4622986" y="6421474"/>
            <a:ext cx="5989596" cy="365125"/>
          </a:xfrm>
        </p:spPr>
        <p:txBody>
          <a:bodyPr/>
          <a:lstStyle>
            <a:defPPr>
              <a:defRPr lang="es-ES"/>
            </a:defPPr>
            <a:lvl1pPr marL="0" algn="l" defTabSz="914400" rtl="0" eaLnBrk="1" latinLnBrk="0" hangingPunct="1">
              <a:defRPr sz="10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a:t>Transformación Digital - 2024 2025 Master IA Tajamar Tech - José Antonio Ureta</a:t>
            </a:r>
          </a:p>
        </p:txBody>
      </p:sp>
      <p:sp>
        <p:nvSpPr>
          <p:cNvPr id="5" name="4 Marcador de número de diapositiva"/>
          <p:cNvSpPr>
            <a:spLocks noGrp="1"/>
          </p:cNvSpPr>
          <p:nvPr>
            <p:ph type="sldNum" sz="quarter" idx="16"/>
          </p:nvPr>
        </p:nvSpPr>
        <p:spPr>
          <a:xfrm>
            <a:off x="10801350" y="6421474"/>
            <a:ext cx="576000" cy="365125"/>
          </a:xfrm>
        </p:spPr>
        <p:txBody>
          <a:bodyPr/>
          <a:lstStyle/>
          <a:p>
            <a:fld id="{132FADFE-3B8F-471C-ABF0-DBC7717ECBBC}" type="slidenum">
              <a:rPr lang="es-ES" smtClean="0"/>
              <a:pPr/>
              <a:t>123</a:t>
            </a:fld>
            <a:endParaRPr lang="es-ES" dirty="0"/>
          </a:p>
        </p:txBody>
      </p:sp>
      <p:sp>
        <p:nvSpPr>
          <p:cNvPr id="3" name="Rectángulo 2">
            <a:extLst>
              <a:ext uri="{FF2B5EF4-FFF2-40B4-BE49-F238E27FC236}">
                <a16:creationId xmlns:a16="http://schemas.microsoft.com/office/drawing/2014/main" id="{855964EB-21D0-E254-33DA-6282F1BE2D8F}"/>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127073447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131DA66-FCCA-4EDE-AB81-EBB3ABFEC5F0}"/>
              </a:ext>
            </a:extLst>
          </p:cNvPr>
          <p:cNvSpPr>
            <a:spLocks noGrp="1"/>
          </p:cNvSpPr>
          <p:nvPr>
            <p:ph type="title"/>
          </p:nvPr>
        </p:nvSpPr>
        <p:spPr>
          <a:xfrm>
            <a:off x="838200" y="365126"/>
            <a:ext cx="9840124" cy="1092200"/>
          </a:xfrm>
        </p:spPr>
        <p:txBody>
          <a:bodyPr>
            <a:normAutofit fontScale="90000"/>
          </a:bodyPr>
          <a:lstStyle/>
          <a:p>
            <a:r>
              <a:rPr lang="es-ES" noProof="0" dirty="0"/>
              <a:t>Para cada uno de los 365 días, hacemos un diario (documento - fichero) con el historial de cada día</a:t>
            </a:r>
          </a:p>
        </p:txBody>
      </p:sp>
      <p:graphicFrame>
        <p:nvGraphicFramePr>
          <p:cNvPr id="7" name="Marcador de contenido 6">
            <a:extLst>
              <a:ext uri="{FF2B5EF4-FFF2-40B4-BE49-F238E27FC236}">
                <a16:creationId xmlns:a16="http://schemas.microsoft.com/office/drawing/2014/main" id="{285F203E-7CDB-4BC6-B4BC-B85AEA1DBC81}"/>
              </a:ext>
            </a:extLst>
          </p:cNvPr>
          <p:cNvGraphicFramePr>
            <a:graphicFrameLocks noGrp="1"/>
          </p:cNvGraphicFramePr>
          <p:nvPr>
            <p:ph idx="1"/>
            <p:extLst>
              <p:ext uri="{D42A27DB-BD31-4B8C-83A1-F6EECF244321}">
                <p14:modId xmlns:p14="http://schemas.microsoft.com/office/powerpoint/2010/main" val="217135332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D461084-E8CC-453C-9ABE-BF6F3D7BE23C}"/>
              </a:ext>
            </a:extLst>
          </p:cNvPr>
          <p:cNvSpPr>
            <a:spLocks noGrp="1"/>
          </p:cNvSpPr>
          <p:nvPr>
            <p:ph type="dt" sz="half" idx="10"/>
          </p:nvPr>
        </p:nvSpPr>
        <p:spPr>
          <a:xfrm>
            <a:off x="814650" y="6400379"/>
            <a:ext cx="3380278" cy="365125"/>
          </a:xfrm>
        </p:spPr>
        <p:txBody>
          <a:bodyPr/>
          <a:lstStyle/>
          <a:p>
            <a:fld id="{DB0B4D11-D703-4C28-8E8F-2E960DDBB55B}"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1FF8B5FD-DCCC-4C41-BB63-4B792885983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E7687920-C09A-4FE4-952E-1AAD69FAACC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4</a:t>
            </a:fld>
            <a:endParaRPr lang="es-ES" dirty="0"/>
          </a:p>
        </p:txBody>
      </p:sp>
      <p:grpSp>
        <p:nvGrpSpPr>
          <p:cNvPr id="8" name="Grupo 7">
            <a:extLst>
              <a:ext uri="{FF2B5EF4-FFF2-40B4-BE49-F238E27FC236}">
                <a16:creationId xmlns:a16="http://schemas.microsoft.com/office/drawing/2014/main" id="{C6B51753-FFF3-477E-B85D-441DCACBDDDC}"/>
              </a:ext>
            </a:extLst>
          </p:cNvPr>
          <p:cNvGrpSpPr/>
          <p:nvPr/>
        </p:nvGrpSpPr>
        <p:grpSpPr>
          <a:xfrm>
            <a:off x="573831" y="1278010"/>
            <a:ext cx="5346441" cy="2175866"/>
            <a:chOff x="2724539" y="1235642"/>
            <a:chExt cx="5346441" cy="2636562"/>
          </a:xfrm>
          <a:effectLst>
            <a:outerShdw blurRad="50800" dist="38100" dir="2700000" algn="tl" rotWithShape="0">
              <a:prstClr val="black">
                <a:alpha val="40000"/>
              </a:prstClr>
            </a:outerShdw>
          </a:effectLst>
        </p:grpSpPr>
        <p:sp>
          <p:nvSpPr>
            <p:cNvPr id="9" name="Rectángulo: esquina doblada 8">
              <a:extLst>
                <a:ext uri="{FF2B5EF4-FFF2-40B4-BE49-F238E27FC236}">
                  <a16:creationId xmlns:a16="http://schemas.microsoft.com/office/drawing/2014/main" id="{778896DE-91D8-48F6-A14F-A67706288F05}"/>
                </a:ext>
              </a:extLst>
            </p:cNvPr>
            <p:cNvSpPr/>
            <p:nvPr/>
          </p:nvSpPr>
          <p:spPr>
            <a:xfrm>
              <a:off x="2724539" y="1532247"/>
              <a:ext cx="5346441" cy="2339957"/>
            </a:xfrm>
            <a:prstGeom prst="foldedCorne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spcAft>
                  <a:spcPts val="600"/>
                </a:spcAft>
              </a:pPr>
              <a:r>
                <a:rPr lang="es-ES" sz="1400" b="1" dirty="0">
                  <a:solidFill>
                    <a:srgbClr val="002060"/>
                  </a:solidFill>
                  <a:latin typeface="Comic Sans MS" panose="030F0702030302020204" pitchFamily="66" charset="0"/>
                </a:rPr>
                <a:t>Día 1</a:t>
              </a:r>
            </a:p>
            <a:p>
              <a:pPr marL="285750" indent="-285750">
                <a:spcAft>
                  <a:spcPts val="600"/>
                </a:spcAft>
                <a:buFont typeface="Arial" panose="020B0604020202020204" pitchFamily="34" charset="0"/>
                <a:buChar char="•"/>
              </a:pPr>
              <a:r>
                <a:rPr lang="es-ES" sz="1400" u="sng" dirty="0">
                  <a:solidFill>
                    <a:srgbClr val="002060"/>
                  </a:solidFill>
                  <a:latin typeface="Comic Sans MS" panose="030F0702030302020204" pitchFamily="66" charset="0"/>
                </a:rPr>
                <a:t>Contrato de poda de los olivos.</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Fotografía satélite del campo (antes y después)</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Coordenadas GPS.</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Temperatura, humedad, condiciones atmosféricas</a:t>
              </a:r>
            </a:p>
          </p:txBody>
        </p:sp>
        <p:pic>
          <p:nvPicPr>
            <p:cNvPr id="10" name="Picture 4" descr="Empuje La Opinión Superior De La Chincheta Del Perno Ilustración del Vector  - Ilustración de conjunto, aislado: 100924136">
              <a:extLst>
                <a:ext uri="{FF2B5EF4-FFF2-40B4-BE49-F238E27FC236}">
                  <a16:creationId xmlns:a16="http://schemas.microsoft.com/office/drawing/2014/main" id="{6382F2B8-BDCD-43F1-83A8-B26740FD713C}"/>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157082" y="1235642"/>
              <a:ext cx="481354" cy="6733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upo 2">
            <a:extLst>
              <a:ext uri="{FF2B5EF4-FFF2-40B4-BE49-F238E27FC236}">
                <a16:creationId xmlns:a16="http://schemas.microsoft.com/office/drawing/2014/main" id="{8CD2977D-3FCA-435F-A542-D1027410367E}"/>
              </a:ext>
            </a:extLst>
          </p:cNvPr>
          <p:cNvGrpSpPr/>
          <p:nvPr/>
        </p:nvGrpSpPr>
        <p:grpSpPr>
          <a:xfrm>
            <a:off x="3484238" y="4357396"/>
            <a:ext cx="4661388" cy="1926671"/>
            <a:chOff x="3521560" y="4609323"/>
            <a:chExt cx="4661388" cy="1696322"/>
          </a:xfrm>
        </p:grpSpPr>
        <p:sp>
          <p:nvSpPr>
            <p:cNvPr id="12" name="Rectángulo: esquina doblada 11">
              <a:extLst>
                <a:ext uri="{FF2B5EF4-FFF2-40B4-BE49-F238E27FC236}">
                  <a16:creationId xmlns:a16="http://schemas.microsoft.com/office/drawing/2014/main" id="{6E26970C-1039-4621-BD94-42120D42D625}"/>
                </a:ext>
              </a:extLst>
            </p:cNvPr>
            <p:cNvSpPr/>
            <p:nvPr/>
          </p:nvSpPr>
          <p:spPr>
            <a:xfrm>
              <a:off x="3521560" y="4801984"/>
              <a:ext cx="4661388" cy="1503661"/>
            </a:xfrm>
            <a:prstGeom prst="foldedCorne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s-ES" sz="1400" b="1" dirty="0">
                  <a:solidFill>
                    <a:srgbClr val="002060"/>
                  </a:solidFill>
                  <a:latin typeface="Comic Sans MS" panose="030F0702030302020204" pitchFamily="66" charset="0"/>
                </a:rPr>
                <a:t>Día 83</a:t>
              </a:r>
            </a:p>
            <a:p>
              <a:pPr marL="285750" indent="-285750">
                <a:spcAft>
                  <a:spcPts val="600"/>
                </a:spcAft>
                <a:buFont typeface="Arial" panose="020B0604020202020204" pitchFamily="34" charset="0"/>
                <a:buChar char="•"/>
              </a:pPr>
              <a:r>
                <a:rPr lang="es-ES" sz="1400" u="sng" dirty="0">
                  <a:solidFill>
                    <a:srgbClr val="002060"/>
                  </a:solidFill>
                  <a:latin typeface="Comic Sans MS" panose="030F0702030302020204" pitchFamily="66" charset="0"/>
                </a:rPr>
                <a:t>Contrato de tractoreo</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Fotografía satélite del campo (antes y después)</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Coordenadas GPS.</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Temperatura, humedad, condiciones atmosférica.</a:t>
              </a:r>
            </a:p>
          </p:txBody>
        </p:sp>
        <p:pic>
          <p:nvPicPr>
            <p:cNvPr id="13" name="Picture 4" descr="Empuje La Opinión Superior De La Chincheta Del Perno Ilustración del Vector  - Ilustración de conjunto, aislado: 100924136">
              <a:extLst>
                <a:ext uri="{FF2B5EF4-FFF2-40B4-BE49-F238E27FC236}">
                  <a16:creationId xmlns:a16="http://schemas.microsoft.com/office/drawing/2014/main" id="{6B2D60BE-14FD-4F27-A9A2-DC7F0BD0C640}"/>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954102" y="4609323"/>
              <a:ext cx="481354" cy="5396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upo 13">
            <a:extLst>
              <a:ext uri="{FF2B5EF4-FFF2-40B4-BE49-F238E27FC236}">
                <a16:creationId xmlns:a16="http://schemas.microsoft.com/office/drawing/2014/main" id="{719A5838-167B-4E08-8F1D-D6CF4892268D}"/>
              </a:ext>
            </a:extLst>
          </p:cNvPr>
          <p:cNvGrpSpPr/>
          <p:nvPr/>
        </p:nvGrpSpPr>
        <p:grpSpPr>
          <a:xfrm>
            <a:off x="7554684" y="1332717"/>
            <a:ext cx="4239209" cy="2121159"/>
            <a:chOff x="4121020" y="3701144"/>
            <a:chExt cx="4239209" cy="2121159"/>
          </a:xfrm>
        </p:grpSpPr>
        <p:sp>
          <p:nvSpPr>
            <p:cNvPr id="15" name="Rectángulo: esquina doblada 14">
              <a:extLst>
                <a:ext uri="{FF2B5EF4-FFF2-40B4-BE49-F238E27FC236}">
                  <a16:creationId xmlns:a16="http://schemas.microsoft.com/office/drawing/2014/main" id="{CF903381-D90F-4B28-A702-0B0B7EDAF60D}"/>
                </a:ext>
              </a:extLst>
            </p:cNvPr>
            <p:cNvSpPr/>
            <p:nvPr/>
          </p:nvSpPr>
          <p:spPr>
            <a:xfrm>
              <a:off x="4121020" y="4037817"/>
              <a:ext cx="4239209" cy="1784486"/>
            </a:xfrm>
            <a:prstGeom prst="foldedCorne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s-ES" sz="1400" b="1" dirty="0">
                  <a:solidFill>
                    <a:srgbClr val="002060"/>
                  </a:solidFill>
                  <a:latin typeface="Comic Sans MS" panose="030F0702030302020204" pitchFamily="66" charset="0"/>
                </a:rPr>
                <a:t>Día 365</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Salida del transporte con el Aceite envasado.</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Origen y destino del transporte.</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 albarán</a:t>
              </a:r>
            </a:p>
            <a:p>
              <a:pPr marL="285750" indent="-285750">
                <a:spcAft>
                  <a:spcPts val="600"/>
                </a:spcAft>
                <a:buFont typeface="Arial" panose="020B0604020202020204" pitchFamily="34" charset="0"/>
                <a:buChar char="•"/>
              </a:pPr>
              <a:r>
                <a:rPr lang="es-ES" sz="1400" dirty="0">
                  <a:solidFill>
                    <a:srgbClr val="002060"/>
                  </a:solidFill>
                  <a:latin typeface="Comic Sans MS" panose="030F0702030302020204" pitchFamily="66" charset="0"/>
                </a:rPr>
                <a:t>Compañía logística.</a:t>
              </a:r>
            </a:p>
          </p:txBody>
        </p:sp>
        <p:pic>
          <p:nvPicPr>
            <p:cNvPr id="16" name="Picture 4" descr="Empuje La Opinión Superior De La Chincheta Del Perno Ilustración del Vector  - Ilustración de conjunto, aislado: 100924136">
              <a:extLst>
                <a:ext uri="{FF2B5EF4-FFF2-40B4-BE49-F238E27FC236}">
                  <a16:creationId xmlns:a16="http://schemas.microsoft.com/office/drawing/2014/main" id="{37966CB4-5241-45BA-A1FF-8F09AC2019F5}"/>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096000" y="3701144"/>
              <a:ext cx="481354" cy="673346"/>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ángulo 10">
            <a:extLst>
              <a:ext uri="{FF2B5EF4-FFF2-40B4-BE49-F238E27FC236}">
                <a16:creationId xmlns:a16="http://schemas.microsoft.com/office/drawing/2014/main" id="{A1413C0B-BEBD-1884-494D-692613C81290}"/>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417865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80A233-580A-44D5-BA32-0EA177C84498}"/>
              </a:ext>
            </a:extLst>
          </p:cNvPr>
          <p:cNvSpPr>
            <a:spLocks noGrp="1"/>
          </p:cNvSpPr>
          <p:nvPr>
            <p:ph type="title"/>
          </p:nvPr>
        </p:nvSpPr>
        <p:spPr>
          <a:xfrm>
            <a:off x="838200" y="365126"/>
            <a:ext cx="9840124" cy="1092200"/>
          </a:xfrm>
        </p:spPr>
        <p:txBody>
          <a:bodyPr/>
          <a:lstStyle/>
          <a:p>
            <a:r>
              <a:rPr lang="es-ES" noProof="0" dirty="0"/>
              <a:t>Y a cada día que termina le ponemos una clave que haga al sistema inviolable</a:t>
            </a:r>
          </a:p>
        </p:txBody>
      </p:sp>
      <p:sp>
        <p:nvSpPr>
          <p:cNvPr id="3" name="Marcador de fecha 2">
            <a:extLst>
              <a:ext uri="{FF2B5EF4-FFF2-40B4-BE49-F238E27FC236}">
                <a16:creationId xmlns:a16="http://schemas.microsoft.com/office/drawing/2014/main" id="{8FF777FA-7B5D-4AD9-BD67-A0937B814E1E}"/>
              </a:ext>
            </a:extLst>
          </p:cNvPr>
          <p:cNvSpPr>
            <a:spLocks noGrp="1"/>
          </p:cNvSpPr>
          <p:nvPr>
            <p:ph type="dt" sz="half" idx="10"/>
          </p:nvPr>
        </p:nvSpPr>
        <p:spPr>
          <a:xfrm>
            <a:off x="814650" y="6400379"/>
            <a:ext cx="3380278" cy="365125"/>
          </a:xfrm>
        </p:spPr>
        <p:txBody>
          <a:bodyPr/>
          <a:lstStyle/>
          <a:p>
            <a:fld id="{206D7573-93FA-465B-8D95-53ACD6E8130B}"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15473EB-7CB1-448C-8FEF-7D15D346284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BF74793-A7D3-4086-8955-35893538E91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5</a:t>
            </a:fld>
            <a:endParaRPr lang="es-ES" dirty="0"/>
          </a:p>
        </p:txBody>
      </p:sp>
      <p:graphicFrame>
        <p:nvGraphicFramePr>
          <p:cNvPr id="6" name="Marcador de contenido 6">
            <a:extLst>
              <a:ext uri="{FF2B5EF4-FFF2-40B4-BE49-F238E27FC236}">
                <a16:creationId xmlns:a16="http://schemas.microsoft.com/office/drawing/2014/main" id="{BB440350-B7E4-48D8-9F19-7E0FE2FD6D0F}"/>
              </a:ext>
            </a:extLst>
          </p:cNvPr>
          <p:cNvGraphicFramePr>
            <a:graphicFrameLocks/>
          </p:cNvGraphicFramePr>
          <p:nvPr>
            <p:extLst>
              <p:ext uri="{D42A27DB-BD31-4B8C-83A1-F6EECF244321}">
                <p14:modId xmlns:p14="http://schemas.microsoft.com/office/powerpoint/2010/main" val="3830857746"/>
              </p:ext>
            </p:extLst>
          </p:nvPr>
        </p:nvGraphicFramePr>
        <p:xfrm>
          <a:off x="838200" y="2836712"/>
          <a:ext cx="10515600" cy="11663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ángulo 6">
            <a:extLst>
              <a:ext uri="{FF2B5EF4-FFF2-40B4-BE49-F238E27FC236}">
                <a16:creationId xmlns:a16="http://schemas.microsoft.com/office/drawing/2014/main" id="{7E78797C-9480-40B8-B2FB-0086B58466FE}"/>
              </a:ext>
            </a:extLst>
          </p:cNvPr>
          <p:cNvSpPr/>
          <p:nvPr/>
        </p:nvSpPr>
        <p:spPr>
          <a:xfrm>
            <a:off x="875522" y="2548254"/>
            <a:ext cx="1764000" cy="365125"/>
          </a:xfrm>
          <a:prstGeom prst="rect">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s-ES" dirty="0"/>
              <a:t>Clave vacía</a:t>
            </a:r>
          </a:p>
        </p:txBody>
      </p:sp>
      <p:sp>
        <p:nvSpPr>
          <p:cNvPr id="8" name="Rectángulo 7">
            <a:extLst>
              <a:ext uri="{FF2B5EF4-FFF2-40B4-BE49-F238E27FC236}">
                <a16:creationId xmlns:a16="http://schemas.microsoft.com/office/drawing/2014/main" id="{409B1DDE-9648-4605-8150-9868B98143FB}"/>
              </a:ext>
            </a:extLst>
          </p:cNvPr>
          <p:cNvSpPr/>
          <p:nvPr/>
        </p:nvSpPr>
        <p:spPr>
          <a:xfrm>
            <a:off x="838199" y="3952187"/>
            <a:ext cx="1764000" cy="365125"/>
          </a:xfrm>
          <a:prstGeom prst="rect">
            <a:avLst/>
          </a:prstGeom>
          <a:solidFill>
            <a:srgbClr val="00FF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dirty="0">
                <a:solidFill>
                  <a:schemeClr val="accent6">
                    <a:lumMod val="50000"/>
                  </a:schemeClr>
                </a:solidFill>
              </a:rPr>
              <a:t>Clave día 1</a:t>
            </a:r>
          </a:p>
        </p:txBody>
      </p:sp>
      <p:sp>
        <p:nvSpPr>
          <p:cNvPr id="9" name="Rectángulo 8">
            <a:extLst>
              <a:ext uri="{FF2B5EF4-FFF2-40B4-BE49-F238E27FC236}">
                <a16:creationId xmlns:a16="http://schemas.microsoft.com/office/drawing/2014/main" id="{50707A5E-C768-4C4F-9500-08F58EF8DFD2}"/>
              </a:ext>
            </a:extLst>
          </p:cNvPr>
          <p:cNvSpPr/>
          <p:nvPr/>
        </p:nvSpPr>
        <p:spPr>
          <a:xfrm>
            <a:off x="2960150" y="2548254"/>
            <a:ext cx="1764000" cy="365125"/>
          </a:xfrm>
          <a:prstGeom prst="rect">
            <a:avLst/>
          </a:prstGeom>
          <a:solidFill>
            <a:srgbClr val="00FF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sz="1600" dirty="0">
                <a:solidFill>
                  <a:schemeClr val="accent6">
                    <a:lumMod val="50000"/>
                  </a:schemeClr>
                </a:solidFill>
              </a:rPr>
              <a:t>Clave día anterior</a:t>
            </a:r>
          </a:p>
        </p:txBody>
      </p:sp>
      <p:sp>
        <p:nvSpPr>
          <p:cNvPr id="10" name="Rectángulo 9">
            <a:extLst>
              <a:ext uri="{FF2B5EF4-FFF2-40B4-BE49-F238E27FC236}">
                <a16:creationId xmlns:a16="http://schemas.microsoft.com/office/drawing/2014/main" id="{85AA9DF2-0342-4C1B-9EE8-17BF225B30F1}"/>
              </a:ext>
            </a:extLst>
          </p:cNvPr>
          <p:cNvSpPr/>
          <p:nvPr/>
        </p:nvSpPr>
        <p:spPr>
          <a:xfrm>
            <a:off x="2838849" y="3952187"/>
            <a:ext cx="1764000" cy="365125"/>
          </a:xfrm>
          <a:prstGeom prst="rect">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s-ES" dirty="0"/>
              <a:t>Clave hoy</a:t>
            </a:r>
          </a:p>
        </p:txBody>
      </p:sp>
      <p:sp>
        <p:nvSpPr>
          <p:cNvPr id="11" name="Rectángulo 10">
            <a:extLst>
              <a:ext uri="{FF2B5EF4-FFF2-40B4-BE49-F238E27FC236}">
                <a16:creationId xmlns:a16="http://schemas.microsoft.com/office/drawing/2014/main" id="{4BF8FB1F-5DA1-41BC-8292-EE4DBDE4BF6C}"/>
              </a:ext>
            </a:extLst>
          </p:cNvPr>
          <p:cNvSpPr/>
          <p:nvPr/>
        </p:nvSpPr>
        <p:spPr>
          <a:xfrm>
            <a:off x="5026861" y="2548254"/>
            <a:ext cx="1764000" cy="365125"/>
          </a:xfrm>
          <a:prstGeom prst="rect">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s-ES" dirty="0"/>
              <a:t>Clave día 82</a:t>
            </a:r>
          </a:p>
        </p:txBody>
      </p:sp>
      <p:sp>
        <p:nvSpPr>
          <p:cNvPr id="12" name="Rectángulo 11">
            <a:extLst>
              <a:ext uri="{FF2B5EF4-FFF2-40B4-BE49-F238E27FC236}">
                <a16:creationId xmlns:a16="http://schemas.microsoft.com/office/drawing/2014/main" id="{71FB30B2-2F04-46B7-9FB7-2DCF09D4A3BF}"/>
              </a:ext>
            </a:extLst>
          </p:cNvPr>
          <p:cNvSpPr/>
          <p:nvPr/>
        </p:nvSpPr>
        <p:spPr>
          <a:xfrm>
            <a:off x="5028411" y="3952187"/>
            <a:ext cx="1764000" cy="365125"/>
          </a:xfrm>
          <a:prstGeom prst="rect">
            <a:avLst/>
          </a:prstGeom>
          <a:solidFill>
            <a:srgbClr val="00FF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dirty="0">
                <a:solidFill>
                  <a:schemeClr val="accent6">
                    <a:lumMod val="50000"/>
                  </a:schemeClr>
                </a:solidFill>
              </a:rPr>
              <a:t>Clave día 83</a:t>
            </a:r>
          </a:p>
        </p:txBody>
      </p:sp>
      <p:sp>
        <p:nvSpPr>
          <p:cNvPr id="13" name="Rectángulo 12">
            <a:extLst>
              <a:ext uri="{FF2B5EF4-FFF2-40B4-BE49-F238E27FC236}">
                <a16:creationId xmlns:a16="http://schemas.microsoft.com/office/drawing/2014/main" id="{B1CD504B-C409-4D5A-B7FA-15607EAAD8BC}"/>
              </a:ext>
            </a:extLst>
          </p:cNvPr>
          <p:cNvSpPr/>
          <p:nvPr/>
        </p:nvSpPr>
        <p:spPr>
          <a:xfrm>
            <a:off x="7051218" y="2548254"/>
            <a:ext cx="1764000" cy="365125"/>
          </a:xfrm>
          <a:prstGeom prst="rect">
            <a:avLst/>
          </a:prstGeom>
          <a:solidFill>
            <a:srgbClr val="00FF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sz="1600" dirty="0">
                <a:solidFill>
                  <a:schemeClr val="accent6">
                    <a:lumMod val="50000"/>
                  </a:schemeClr>
                </a:solidFill>
              </a:rPr>
              <a:t>Clave día anterior</a:t>
            </a:r>
          </a:p>
        </p:txBody>
      </p:sp>
      <p:sp>
        <p:nvSpPr>
          <p:cNvPr id="14" name="Rectángulo 13">
            <a:extLst>
              <a:ext uri="{FF2B5EF4-FFF2-40B4-BE49-F238E27FC236}">
                <a16:creationId xmlns:a16="http://schemas.microsoft.com/office/drawing/2014/main" id="{E7733D32-A2C1-43BA-A76B-CF4040564596}"/>
              </a:ext>
            </a:extLst>
          </p:cNvPr>
          <p:cNvSpPr/>
          <p:nvPr/>
        </p:nvSpPr>
        <p:spPr>
          <a:xfrm>
            <a:off x="7037602" y="3952187"/>
            <a:ext cx="1764000" cy="365125"/>
          </a:xfrm>
          <a:prstGeom prst="rect">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s-ES" dirty="0"/>
              <a:t>Clave hoy</a:t>
            </a:r>
          </a:p>
        </p:txBody>
      </p:sp>
      <p:sp>
        <p:nvSpPr>
          <p:cNvPr id="15" name="Rectángulo 14">
            <a:extLst>
              <a:ext uri="{FF2B5EF4-FFF2-40B4-BE49-F238E27FC236}">
                <a16:creationId xmlns:a16="http://schemas.microsoft.com/office/drawing/2014/main" id="{8BA1FFCA-1C82-47BD-AD97-F0E9CB55A6A9}"/>
              </a:ext>
            </a:extLst>
          </p:cNvPr>
          <p:cNvSpPr/>
          <p:nvPr/>
        </p:nvSpPr>
        <p:spPr>
          <a:xfrm>
            <a:off x="9112894" y="2548254"/>
            <a:ext cx="1764000" cy="365125"/>
          </a:xfrm>
          <a:prstGeom prst="rect">
            <a:avLst/>
          </a:prstGeom>
          <a:solidFill>
            <a:srgbClr val="FF0000"/>
          </a:solidFill>
        </p:spPr>
        <p:style>
          <a:lnRef idx="2">
            <a:schemeClr val="dk1">
              <a:shade val="50000"/>
            </a:schemeClr>
          </a:lnRef>
          <a:fillRef idx="1">
            <a:schemeClr val="dk1"/>
          </a:fillRef>
          <a:effectRef idx="0">
            <a:schemeClr val="dk1"/>
          </a:effectRef>
          <a:fontRef idx="minor">
            <a:schemeClr val="lt1"/>
          </a:fontRef>
        </p:style>
        <p:txBody>
          <a:bodyPr wrap="none" lIns="0" rIns="0" rtlCol="0" anchor="ctr"/>
          <a:lstStyle/>
          <a:p>
            <a:pPr algn="ctr"/>
            <a:r>
              <a:rPr lang="es-ES" dirty="0"/>
              <a:t>Clave día 364</a:t>
            </a:r>
          </a:p>
        </p:txBody>
      </p:sp>
      <p:sp>
        <p:nvSpPr>
          <p:cNvPr id="16" name="Rectángulo 15">
            <a:extLst>
              <a:ext uri="{FF2B5EF4-FFF2-40B4-BE49-F238E27FC236}">
                <a16:creationId xmlns:a16="http://schemas.microsoft.com/office/drawing/2014/main" id="{C4CE7D9C-536F-404F-B080-9E62BFFFA8CF}"/>
              </a:ext>
            </a:extLst>
          </p:cNvPr>
          <p:cNvSpPr/>
          <p:nvPr/>
        </p:nvSpPr>
        <p:spPr>
          <a:xfrm>
            <a:off x="9106666" y="3952187"/>
            <a:ext cx="1764000" cy="365125"/>
          </a:xfrm>
          <a:prstGeom prst="rect">
            <a:avLst/>
          </a:prstGeom>
          <a:solidFill>
            <a:srgbClr val="00FF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dirty="0">
                <a:solidFill>
                  <a:schemeClr val="accent6">
                    <a:lumMod val="50000"/>
                  </a:schemeClr>
                </a:solidFill>
              </a:rPr>
              <a:t>Clave día 365</a:t>
            </a:r>
          </a:p>
        </p:txBody>
      </p:sp>
      <p:cxnSp>
        <p:nvCxnSpPr>
          <p:cNvPr id="17" name="Conector: curvado 16">
            <a:extLst>
              <a:ext uri="{FF2B5EF4-FFF2-40B4-BE49-F238E27FC236}">
                <a16:creationId xmlns:a16="http://schemas.microsoft.com/office/drawing/2014/main" id="{5B6110FB-28B3-4628-B29F-C11256E3B9A2}"/>
              </a:ext>
            </a:extLst>
          </p:cNvPr>
          <p:cNvCxnSpPr>
            <a:stCxn id="8" idx="3"/>
            <a:endCxn id="9" idx="1"/>
          </p:cNvCxnSpPr>
          <p:nvPr/>
        </p:nvCxnSpPr>
        <p:spPr>
          <a:xfrm flipV="1">
            <a:off x="2602199" y="2730817"/>
            <a:ext cx="357951" cy="1403933"/>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Conector: curvado 17">
            <a:extLst>
              <a:ext uri="{FF2B5EF4-FFF2-40B4-BE49-F238E27FC236}">
                <a16:creationId xmlns:a16="http://schemas.microsoft.com/office/drawing/2014/main" id="{6436B1F1-72E2-4025-ABCA-8082D3298E92}"/>
              </a:ext>
            </a:extLst>
          </p:cNvPr>
          <p:cNvCxnSpPr>
            <a:cxnSpLocks/>
            <a:stCxn id="10" idx="3"/>
            <a:endCxn id="11" idx="1"/>
          </p:cNvCxnSpPr>
          <p:nvPr/>
        </p:nvCxnSpPr>
        <p:spPr>
          <a:xfrm flipV="1">
            <a:off x="4602849" y="2730817"/>
            <a:ext cx="424012" cy="1403933"/>
          </a:xfrm>
          <a:prstGeom prst="curved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Conector: curvado 18">
            <a:extLst>
              <a:ext uri="{FF2B5EF4-FFF2-40B4-BE49-F238E27FC236}">
                <a16:creationId xmlns:a16="http://schemas.microsoft.com/office/drawing/2014/main" id="{7FC9EEB6-514B-4084-93D6-FE01A0ED9EA7}"/>
              </a:ext>
            </a:extLst>
          </p:cNvPr>
          <p:cNvCxnSpPr>
            <a:cxnSpLocks/>
            <a:stCxn id="12" idx="3"/>
            <a:endCxn id="13" idx="1"/>
          </p:cNvCxnSpPr>
          <p:nvPr/>
        </p:nvCxnSpPr>
        <p:spPr>
          <a:xfrm flipV="1">
            <a:off x="6792411" y="2730817"/>
            <a:ext cx="258807" cy="1403933"/>
          </a:xfrm>
          <a:prstGeom prst="curved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Conector: curvado 19">
            <a:extLst>
              <a:ext uri="{FF2B5EF4-FFF2-40B4-BE49-F238E27FC236}">
                <a16:creationId xmlns:a16="http://schemas.microsoft.com/office/drawing/2014/main" id="{D1941A49-F3BE-4009-834B-5F8AC1437728}"/>
              </a:ext>
            </a:extLst>
          </p:cNvPr>
          <p:cNvCxnSpPr>
            <a:cxnSpLocks/>
            <a:stCxn id="14" idx="3"/>
            <a:endCxn id="15" idx="1"/>
          </p:cNvCxnSpPr>
          <p:nvPr/>
        </p:nvCxnSpPr>
        <p:spPr>
          <a:xfrm flipV="1">
            <a:off x="8801602" y="2730817"/>
            <a:ext cx="311292" cy="1403933"/>
          </a:xfrm>
          <a:prstGeom prst="curved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1" name="Rectángulo 20">
            <a:extLst>
              <a:ext uri="{FF2B5EF4-FFF2-40B4-BE49-F238E27FC236}">
                <a16:creationId xmlns:a16="http://schemas.microsoft.com/office/drawing/2014/main" id="{5DBF2CE6-E22D-0701-2E0C-EDC5293B9737}"/>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36799213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1BD4C4-C9E1-44A3-864A-0E4271290AFC}"/>
              </a:ext>
            </a:extLst>
          </p:cNvPr>
          <p:cNvSpPr>
            <a:spLocks noGrp="1"/>
          </p:cNvSpPr>
          <p:nvPr>
            <p:ph type="title"/>
          </p:nvPr>
        </p:nvSpPr>
        <p:spPr>
          <a:xfrm>
            <a:off x="1728730" y="365126"/>
            <a:ext cx="8949593" cy="1092200"/>
          </a:xfrm>
        </p:spPr>
        <p:txBody>
          <a:bodyPr>
            <a:normAutofit fontScale="90000"/>
          </a:bodyPr>
          <a:lstStyle/>
          <a:p>
            <a:r>
              <a:rPr lang="es-ES" noProof="0" dirty="0"/>
              <a:t>Y el sistema lo replicamos en los ordenadores de cada uno de los participantes y añadimos un sistema de consulta </a:t>
            </a:r>
          </a:p>
        </p:txBody>
      </p:sp>
      <p:sp>
        <p:nvSpPr>
          <p:cNvPr id="3" name="Marcador de fecha 2">
            <a:extLst>
              <a:ext uri="{FF2B5EF4-FFF2-40B4-BE49-F238E27FC236}">
                <a16:creationId xmlns:a16="http://schemas.microsoft.com/office/drawing/2014/main" id="{2DCDC89E-80ED-40F3-88B4-CA21BAA649A3}"/>
              </a:ext>
            </a:extLst>
          </p:cNvPr>
          <p:cNvSpPr>
            <a:spLocks noGrp="1"/>
          </p:cNvSpPr>
          <p:nvPr>
            <p:ph type="dt" sz="half" idx="10"/>
          </p:nvPr>
        </p:nvSpPr>
        <p:spPr>
          <a:xfrm>
            <a:off x="814650" y="6400379"/>
            <a:ext cx="3380278" cy="365125"/>
          </a:xfrm>
        </p:spPr>
        <p:txBody>
          <a:bodyPr/>
          <a:lstStyle/>
          <a:p>
            <a:fld id="{0406B0FF-DADB-4FCC-B2AD-2055C6ED202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C4D96B8D-9FB5-447C-809A-28C0DEF418D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0DBEAB3-6C4B-45CC-A8A7-3824B40C07D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6</a:t>
            </a:fld>
            <a:endParaRPr lang="es-ES" dirty="0"/>
          </a:p>
        </p:txBody>
      </p:sp>
      <p:pic>
        <p:nvPicPr>
          <p:cNvPr id="6" name="Picture 174" descr="MainFrameServer">
            <a:extLst>
              <a:ext uri="{FF2B5EF4-FFF2-40B4-BE49-F238E27FC236}">
                <a16:creationId xmlns:a16="http://schemas.microsoft.com/office/drawing/2014/main" id="{ADBB6E49-5923-4CD1-89C9-D7E5F865BA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49609" y="4844143"/>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74" descr="MainFrameServer">
            <a:extLst>
              <a:ext uri="{FF2B5EF4-FFF2-40B4-BE49-F238E27FC236}">
                <a16:creationId xmlns:a16="http://schemas.microsoft.com/office/drawing/2014/main" id="{6BC78BF5-FC8A-43CD-B1CE-DEA507A03CC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32918" y="4979760"/>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4" descr="MainFrameServer">
            <a:extLst>
              <a:ext uri="{FF2B5EF4-FFF2-40B4-BE49-F238E27FC236}">
                <a16:creationId xmlns:a16="http://schemas.microsoft.com/office/drawing/2014/main" id="{8A77C025-5DA4-4DE7-9059-63FCD538E7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95016" y="2220685"/>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74" descr="MainFrameServer">
            <a:extLst>
              <a:ext uri="{FF2B5EF4-FFF2-40B4-BE49-F238E27FC236}">
                <a16:creationId xmlns:a16="http://schemas.microsoft.com/office/drawing/2014/main" id="{6760926F-FD3E-46AC-9D7C-D750AACBCF9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0682" y="2244158"/>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74" descr="MainFrameServer">
            <a:extLst>
              <a:ext uri="{FF2B5EF4-FFF2-40B4-BE49-F238E27FC236}">
                <a16:creationId xmlns:a16="http://schemas.microsoft.com/office/drawing/2014/main" id="{AAEC762C-9488-42E1-B514-0CC4778DC63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61566" y="3494314"/>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74" descr="MainFrameServer">
            <a:extLst>
              <a:ext uri="{FF2B5EF4-FFF2-40B4-BE49-F238E27FC236}">
                <a16:creationId xmlns:a16="http://schemas.microsoft.com/office/drawing/2014/main" id="{AFA16C31-25E6-4E55-8FD5-FB9C4B6467B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4132" y="3559628"/>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74" descr="MainFrameServer">
            <a:extLst>
              <a:ext uri="{FF2B5EF4-FFF2-40B4-BE49-F238E27FC236}">
                <a16:creationId xmlns:a16="http://schemas.microsoft.com/office/drawing/2014/main" id="{E84907CF-C761-40BC-A715-77EE6F2610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7849" y="5385026"/>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74" descr="MainFrameServer">
            <a:extLst>
              <a:ext uri="{FF2B5EF4-FFF2-40B4-BE49-F238E27FC236}">
                <a16:creationId xmlns:a16="http://schemas.microsoft.com/office/drawing/2014/main" id="{2EB5C551-82EB-45E2-B1D8-FB9A2F6569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7849" y="1737972"/>
            <a:ext cx="642938" cy="762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ector recto 13">
            <a:extLst>
              <a:ext uri="{FF2B5EF4-FFF2-40B4-BE49-F238E27FC236}">
                <a16:creationId xmlns:a16="http://schemas.microsoft.com/office/drawing/2014/main" id="{43655E7A-E4BD-4347-835E-E82466C033CC}"/>
              </a:ext>
            </a:extLst>
          </p:cNvPr>
          <p:cNvCxnSpPr>
            <a:stCxn id="11" idx="3"/>
            <a:endCxn id="9" idx="2"/>
          </p:cNvCxnSpPr>
          <p:nvPr/>
        </p:nvCxnSpPr>
        <p:spPr>
          <a:xfrm flipV="1">
            <a:off x="2957070" y="3006158"/>
            <a:ext cx="145081" cy="9344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79B96003-364B-4A77-9E6A-E259FEFE64D1}"/>
              </a:ext>
            </a:extLst>
          </p:cNvPr>
          <p:cNvCxnSpPr>
            <a:stCxn id="11" idx="3"/>
            <a:endCxn id="13" idx="2"/>
          </p:cNvCxnSpPr>
          <p:nvPr/>
        </p:nvCxnSpPr>
        <p:spPr>
          <a:xfrm flipV="1">
            <a:off x="2957070" y="2499972"/>
            <a:ext cx="1652248" cy="1440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DE94DFC2-13FA-41A0-826F-4A7C01169BC5}"/>
              </a:ext>
            </a:extLst>
          </p:cNvPr>
          <p:cNvCxnSpPr>
            <a:stCxn id="11" idx="3"/>
            <a:endCxn id="8" idx="2"/>
          </p:cNvCxnSpPr>
          <p:nvPr/>
        </p:nvCxnSpPr>
        <p:spPr>
          <a:xfrm flipV="1">
            <a:off x="2957070" y="2982685"/>
            <a:ext cx="3159415" cy="9579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7FB8D4B2-F5ED-4B79-A17F-9B2C12631BB6}"/>
              </a:ext>
            </a:extLst>
          </p:cNvPr>
          <p:cNvCxnSpPr>
            <a:stCxn id="11" idx="3"/>
            <a:endCxn id="10" idx="1"/>
          </p:cNvCxnSpPr>
          <p:nvPr/>
        </p:nvCxnSpPr>
        <p:spPr>
          <a:xfrm flipV="1">
            <a:off x="2957070" y="3875314"/>
            <a:ext cx="3304496" cy="653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180E4C8B-7625-4765-B9CC-9189B057912D}"/>
              </a:ext>
            </a:extLst>
          </p:cNvPr>
          <p:cNvCxnSpPr>
            <a:stCxn id="11" idx="3"/>
            <a:endCxn id="6" idx="1"/>
          </p:cNvCxnSpPr>
          <p:nvPr/>
        </p:nvCxnSpPr>
        <p:spPr>
          <a:xfrm>
            <a:off x="2957070" y="3940628"/>
            <a:ext cx="2892539" cy="12845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2BBD4EE5-A4DF-4222-B5C3-5D58A26D192A}"/>
              </a:ext>
            </a:extLst>
          </p:cNvPr>
          <p:cNvCxnSpPr>
            <a:stCxn id="12" idx="0"/>
            <a:endCxn id="11" idx="3"/>
          </p:cNvCxnSpPr>
          <p:nvPr/>
        </p:nvCxnSpPr>
        <p:spPr>
          <a:xfrm flipH="1" flipV="1">
            <a:off x="2957070" y="3940628"/>
            <a:ext cx="1652248" cy="14443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5C375258-23E4-4D57-B839-01F93F7E83D0}"/>
              </a:ext>
            </a:extLst>
          </p:cNvPr>
          <p:cNvCxnSpPr>
            <a:stCxn id="11" idx="3"/>
            <a:endCxn id="7" idx="0"/>
          </p:cNvCxnSpPr>
          <p:nvPr/>
        </p:nvCxnSpPr>
        <p:spPr>
          <a:xfrm>
            <a:off x="2957070" y="3940628"/>
            <a:ext cx="297317" cy="103913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977588A4-8922-4075-8212-84CACE038904}"/>
              </a:ext>
            </a:extLst>
          </p:cNvPr>
          <p:cNvCxnSpPr>
            <a:stCxn id="13" idx="2"/>
            <a:endCxn id="9" idx="2"/>
          </p:cNvCxnSpPr>
          <p:nvPr/>
        </p:nvCxnSpPr>
        <p:spPr>
          <a:xfrm flipH="1">
            <a:off x="3102151" y="2499972"/>
            <a:ext cx="1507167" cy="5061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F78663F6-9795-4335-A870-6B3CA70C8783}"/>
              </a:ext>
            </a:extLst>
          </p:cNvPr>
          <p:cNvCxnSpPr>
            <a:stCxn id="9" idx="2"/>
            <a:endCxn id="8" idx="2"/>
          </p:cNvCxnSpPr>
          <p:nvPr/>
        </p:nvCxnSpPr>
        <p:spPr>
          <a:xfrm flipV="1">
            <a:off x="3102151" y="2982685"/>
            <a:ext cx="3014334" cy="23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0E3094F4-0FCA-4D57-9D7D-B1C569FE27A0}"/>
              </a:ext>
            </a:extLst>
          </p:cNvPr>
          <p:cNvCxnSpPr>
            <a:stCxn id="9" idx="2"/>
            <a:endCxn id="10" idx="1"/>
          </p:cNvCxnSpPr>
          <p:nvPr/>
        </p:nvCxnSpPr>
        <p:spPr>
          <a:xfrm>
            <a:off x="3102151" y="3006158"/>
            <a:ext cx="3159415" cy="8691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D66EF102-0FD0-4EF4-9E91-3BCFCD121840}"/>
              </a:ext>
            </a:extLst>
          </p:cNvPr>
          <p:cNvCxnSpPr>
            <a:stCxn id="9" idx="2"/>
            <a:endCxn id="12" idx="0"/>
          </p:cNvCxnSpPr>
          <p:nvPr/>
        </p:nvCxnSpPr>
        <p:spPr>
          <a:xfrm>
            <a:off x="3102151" y="3006158"/>
            <a:ext cx="1507167" cy="23788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FCA184AE-C49F-45F2-8934-4ACF1B24F0F0}"/>
              </a:ext>
            </a:extLst>
          </p:cNvPr>
          <p:cNvCxnSpPr>
            <a:stCxn id="9" idx="2"/>
            <a:endCxn id="7" idx="0"/>
          </p:cNvCxnSpPr>
          <p:nvPr/>
        </p:nvCxnSpPr>
        <p:spPr>
          <a:xfrm>
            <a:off x="3102151" y="3006158"/>
            <a:ext cx="152236" cy="19736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4EC6A850-CE84-494E-9592-85AA5FEA93C6}"/>
              </a:ext>
            </a:extLst>
          </p:cNvPr>
          <p:cNvCxnSpPr>
            <a:stCxn id="13" idx="2"/>
            <a:endCxn id="8" idx="2"/>
          </p:cNvCxnSpPr>
          <p:nvPr/>
        </p:nvCxnSpPr>
        <p:spPr>
          <a:xfrm>
            <a:off x="4609318" y="2499972"/>
            <a:ext cx="1507167" cy="4827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F1B355D9-0EBF-4372-AEBA-0F7AE54EF0DE}"/>
              </a:ext>
            </a:extLst>
          </p:cNvPr>
          <p:cNvCxnSpPr>
            <a:stCxn id="13" idx="2"/>
            <a:endCxn id="10" idx="1"/>
          </p:cNvCxnSpPr>
          <p:nvPr/>
        </p:nvCxnSpPr>
        <p:spPr>
          <a:xfrm>
            <a:off x="4609318" y="2499972"/>
            <a:ext cx="1652248" cy="137534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15498F1-FC2F-4297-9613-400DFC8C1031}"/>
              </a:ext>
            </a:extLst>
          </p:cNvPr>
          <p:cNvCxnSpPr>
            <a:stCxn id="9" idx="2"/>
            <a:endCxn id="6" idx="1"/>
          </p:cNvCxnSpPr>
          <p:nvPr/>
        </p:nvCxnSpPr>
        <p:spPr>
          <a:xfrm>
            <a:off x="3102151" y="3006158"/>
            <a:ext cx="2747458" cy="22189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A4D9410A-9280-4DA7-8A54-A2AB565B6BD6}"/>
              </a:ext>
            </a:extLst>
          </p:cNvPr>
          <p:cNvCxnSpPr>
            <a:stCxn id="10" idx="1"/>
            <a:endCxn id="8" idx="2"/>
          </p:cNvCxnSpPr>
          <p:nvPr/>
        </p:nvCxnSpPr>
        <p:spPr>
          <a:xfrm flipH="1" flipV="1">
            <a:off x="6116485" y="2982685"/>
            <a:ext cx="145081" cy="89262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CA6447-5DB9-4F06-A7C3-1B95D27EE98C}"/>
              </a:ext>
            </a:extLst>
          </p:cNvPr>
          <p:cNvCxnSpPr>
            <a:stCxn id="12" idx="0"/>
            <a:endCxn id="8" idx="2"/>
          </p:cNvCxnSpPr>
          <p:nvPr/>
        </p:nvCxnSpPr>
        <p:spPr>
          <a:xfrm flipV="1">
            <a:off x="4609318" y="2982685"/>
            <a:ext cx="1507167" cy="24023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EAD4B58B-CDF9-4FE2-81AA-C8322273A5F7}"/>
              </a:ext>
            </a:extLst>
          </p:cNvPr>
          <p:cNvCxnSpPr>
            <a:stCxn id="10" idx="1"/>
            <a:endCxn id="7" idx="0"/>
          </p:cNvCxnSpPr>
          <p:nvPr/>
        </p:nvCxnSpPr>
        <p:spPr>
          <a:xfrm flipH="1">
            <a:off x="3254387" y="3875314"/>
            <a:ext cx="3007179" cy="11044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A9EEFA48-EAD0-46E3-895F-D73DDDB80B92}"/>
              </a:ext>
            </a:extLst>
          </p:cNvPr>
          <p:cNvCxnSpPr>
            <a:stCxn id="6" idx="1"/>
            <a:endCxn id="12" idx="0"/>
          </p:cNvCxnSpPr>
          <p:nvPr/>
        </p:nvCxnSpPr>
        <p:spPr>
          <a:xfrm flipH="1">
            <a:off x="4609318" y="5225143"/>
            <a:ext cx="1240291" cy="1598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B420843B-C699-4656-AA49-0D54252D77C8}"/>
              </a:ext>
            </a:extLst>
          </p:cNvPr>
          <p:cNvCxnSpPr>
            <a:stCxn id="7" idx="0"/>
            <a:endCxn id="12" idx="0"/>
          </p:cNvCxnSpPr>
          <p:nvPr/>
        </p:nvCxnSpPr>
        <p:spPr>
          <a:xfrm>
            <a:off x="3254387" y="4979760"/>
            <a:ext cx="1354931" cy="40526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AEAA2C2C-D2AC-4AF0-A238-76B817BE26AD}"/>
              </a:ext>
            </a:extLst>
          </p:cNvPr>
          <p:cNvCxnSpPr>
            <a:stCxn id="12" idx="0"/>
            <a:endCxn id="13" idx="2"/>
          </p:cNvCxnSpPr>
          <p:nvPr/>
        </p:nvCxnSpPr>
        <p:spPr>
          <a:xfrm flipV="1">
            <a:off x="4609318" y="2499972"/>
            <a:ext cx="0" cy="2885054"/>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00140829-6736-49F6-A0FE-9657D8A94877}"/>
              </a:ext>
            </a:extLst>
          </p:cNvPr>
          <p:cNvCxnSpPr>
            <a:stCxn id="8" idx="2"/>
            <a:endCxn id="6" idx="1"/>
          </p:cNvCxnSpPr>
          <p:nvPr/>
        </p:nvCxnSpPr>
        <p:spPr>
          <a:xfrm flipH="1">
            <a:off x="5849609" y="2982685"/>
            <a:ext cx="266876" cy="224245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ector recto 35">
            <a:extLst>
              <a:ext uri="{FF2B5EF4-FFF2-40B4-BE49-F238E27FC236}">
                <a16:creationId xmlns:a16="http://schemas.microsoft.com/office/drawing/2014/main" id="{34B172B2-F29B-4124-A741-63AAB6A4A01E}"/>
              </a:ext>
            </a:extLst>
          </p:cNvPr>
          <p:cNvCxnSpPr>
            <a:stCxn id="6" idx="1"/>
            <a:endCxn id="10" idx="1"/>
          </p:cNvCxnSpPr>
          <p:nvPr/>
        </p:nvCxnSpPr>
        <p:spPr>
          <a:xfrm flipV="1">
            <a:off x="5849609" y="3875314"/>
            <a:ext cx="411957" cy="134982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ector recto 36">
            <a:extLst>
              <a:ext uri="{FF2B5EF4-FFF2-40B4-BE49-F238E27FC236}">
                <a16:creationId xmlns:a16="http://schemas.microsoft.com/office/drawing/2014/main" id="{F1DD1C32-7445-45A3-9D97-8E7A7CC3E481}"/>
              </a:ext>
            </a:extLst>
          </p:cNvPr>
          <p:cNvCxnSpPr>
            <a:stCxn id="10" idx="1"/>
            <a:endCxn id="12" idx="0"/>
          </p:cNvCxnSpPr>
          <p:nvPr/>
        </p:nvCxnSpPr>
        <p:spPr>
          <a:xfrm flipH="1">
            <a:off x="4609318" y="3875314"/>
            <a:ext cx="1652248" cy="15097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ector recto 37">
            <a:extLst>
              <a:ext uri="{FF2B5EF4-FFF2-40B4-BE49-F238E27FC236}">
                <a16:creationId xmlns:a16="http://schemas.microsoft.com/office/drawing/2014/main" id="{A5DE46CD-17B5-45CD-B053-742C68132218}"/>
              </a:ext>
            </a:extLst>
          </p:cNvPr>
          <p:cNvCxnSpPr>
            <a:stCxn id="13" idx="2"/>
            <a:endCxn id="6" idx="1"/>
          </p:cNvCxnSpPr>
          <p:nvPr/>
        </p:nvCxnSpPr>
        <p:spPr>
          <a:xfrm>
            <a:off x="4609318" y="2499972"/>
            <a:ext cx="1240291" cy="2725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24AB21F1-E43F-4FE4-A1FD-64BA66F496E6}"/>
              </a:ext>
            </a:extLst>
          </p:cNvPr>
          <p:cNvCxnSpPr>
            <a:stCxn id="13" idx="2"/>
            <a:endCxn id="7" idx="0"/>
          </p:cNvCxnSpPr>
          <p:nvPr/>
        </p:nvCxnSpPr>
        <p:spPr>
          <a:xfrm flipH="1">
            <a:off x="3254387" y="2499972"/>
            <a:ext cx="1354931" cy="24797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Conector recto 39">
            <a:extLst>
              <a:ext uri="{FF2B5EF4-FFF2-40B4-BE49-F238E27FC236}">
                <a16:creationId xmlns:a16="http://schemas.microsoft.com/office/drawing/2014/main" id="{D3E7BFD4-F60D-4997-AF12-C9798FA996D6}"/>
              </a:ext>
            </a:extLst>
          </p:cNvPr>
          <p:cNvCxnSpPr>
            <a:stCxn id="8" idx="2"/>
            <a:endCxn id="7" idx="0"/>
          </p:cNvCxnSpPr>
          <p:nvPr/>
        </p:nvCxnSpPr>
        <p:spPr>
          <a:xfrm flipH="1">
            <a:off x="3254387" y="2982685"/>
            <a:ext cx="2862098" cy="1997075"/>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ángulo 40">
            <a:extLst>
              <a:ext uri="{FF2B5EF4-FFF2-40B4-BE49-F238E27FC236}">
                <a16:creationId xmlns:a16="http://schemas.microsoft.com/office/drawing/2014/main" id="{EBAA6D4F-DAA6-4A08-A79E-A7288A0D655B}"/>
              </a:ext>
            </a:extLst>
          </p:cNvPr>
          <p:cNvSpPr/>
          <p:nvPr/>
        </p:nvSpPr>
        <p:spPr>
          <a:xfrm>
            <a:off x="6460378" y="2497793"/>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42" name="Rectángulo 41">
            <a:extLst>
              <a:ext uri="{FF2B5EF4-FFF2-40B4-BE49-F238E27FC236}">
                <a16:creationId xmlns:a16="http://schemas.microsoft.com/office/drawing/2014/main" id="{B88692F4-2957-4597-8C15-1EB5CF342F66}"/>
              </a:ext>
            </a:extLst>
          </p:cNvPr>
          <p:cNvSpPr/>
          <p:nvPr/>
        </p:nvSpPr>
        <p:spPr>
          <a:xfrm>
            <a:off x="6817813" y="2497793"/>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43" name="Rectángulo 42">
            <a:extLst>
              <a:ext uri="{FF2B5EF4-FFF2-40B4-BE49-F238E27FC236}">
                <a16:creationId xmlns:a16="http://schemas.microsoft.com/office/drawing/2014/main" id="{0D28B0E1-2F32-4616-9A20-FBE764F42962}"/>
              </a:ext>
            </a:extLst>
          </p:cNvPr>
          <p:cNvSpPr/>
          <p:nvPr/>
        </p:nvSpPr>
        <p:spPr>
          <a:xfrm>
            <a:off x="7140785" y="2497793"/>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44" name="Rectángulo 43">
            <a:extLst>
              <a:ext uri="{FF2B5EF4-FFF2-40B4-BE49-F238E27FC236}">
                <a16:creationId xmlns:a16="http://schemas.microsoft.com/office/drawing/2014/main" id="{26EC8F20-D41C-49D0-9260-93C9D48F3EC1}"/>
              </a:ext>
            </a:extLst>
          </p:cNvPr>
          <p:cNvSpPr/>
          <p:nvPr/>
        </p:nvSpPr>
        <p:spPr>
          <a:xfrm>
            <a:off x="7859023" y="2497793"/>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45" name="Conector angular 119">
            <a:extLst>
              <a:ext uri="{FF2B5EF4-FFF2-40B4-BE49-F238E27FC236}">
                <a16:creationId xmlns:a16="http://schemas.microsoft.com/office/drawing/2014/main" id="{D27ABE35-91E9-4A49-804A-BDC9F9A2A96C}"/>
              </a:ext>
            </a:extLst>
          </p:cNvPr>
          <p:cNvCxnSpPr>
            <a:stCxn id="41" idx="2"/>
            <a:endCxn id="42" idx="0"/>
          </p:cNvCxnSpPr>
          <p:nvPr/>
        </p:nvCxnSpPr>
        <p:spPr>
          <a:xfrm rot="5400000" flipH="1" flipV="1">
            <a:off x="6646389" y="2438419"/>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46" name="Conector angular 124">
            <a:extLst>
              <a:ext uri="{FF2B5EF4-FFF2-40B4-BE49-F238E27FC236}">
                <a16:creationId xmlns:a16="http://schemas.microsoft.com/office/drawing/2014/main" id="{83E0E698-612D-4D42-ACFB-A7083E975BEB}"/>
              </a:ext>
            </a:extLst>
          </p:cNvPr>
          <p:cNvCxnSpPr>
            <a:stCxn id="42" idx="2"/>
            <a:endCxn id="43" idx="0"/>
          </p:cNvCxnSpPr>
          <p:nvPr/>
        </p:nvCxnSpPr>
        <p:spPr>
          <a:xfrm rot="5400000" flipH="1" flipV="1">
            <a:off x="6974971" y="2444029"/>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47" name="Elipse 46">
            <a:extLst>
              <a:ext uri="{FF2B5EF4-FFF2-40B4-BE49-F238E27FC236}">
                <a16:creationId xmlns:a16="http://schemas.microsoft.com/office/drawing/2014/main" id="{27DE8046-8E54-4E1D-9118-E2ABB417C164}"/>
              </a:ext>
            </a:extLst>
          </p:cNvPr>
          <p:cNvSpPr/>
          <p:nvPr/>
        </p:nvSpPr>
        <p:spPr>
          <a:xfrm>
            <a:off x="7522336" y="2576798"/>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48" name="Elipse 47">
            <a:extLst>
              <a:ext uri="{FF2B5EF4-FFF2-40B4-BE49-F238E27FC236}">
                <a16:creationId xmlns:a16="http://schemas.microsoft.com/office/drawing/2014/main" id="{1CE2C149-8BD3-4E24-8206-3E4A3030D8A1}"/>
              </a:ext>
            </a:extLst>
          </p:cNvPr>
          <p:cNvSpPr/>
          <p:nvPr/>
        </p:nvSpPr>
        <p:spPr>
          <a:xfrm>
            <a:off x="7674736" y="2576798"/>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49" name="Conector angular 134">
            <a:extLst>
              <a:ext uri="{FF2B5EF4-FFF2-40B4-BE49-F238E27FC236}">
                <a16:creationId xmlns:a16="http://schemas.microsoft.com/office/drawing/2014/main" id="{1B8B2DF9-1A57-4B66-85EA-6F358014723D}"/>
              </a:ext>
            </a:extLst>
          </p:cNvPr>
          <p:cNvCxnSpPr>
            <a:stCxn id="43" idx="2"/>
            <a:endCxn id="47" idx="0"/>
          </p:cNvCxnSpPr>
          <p:nvPr/>
        </p:nvCxnSpPr>
        <p:spPr>
          <a:xfrm rot="5400000" flipH="1" flipV="1">
            <a:off x="7326467" y="2494509"/>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50" name="Conector angular 137">
            <a:extLst>
              <a:ext uri="{FF2B5EF4-FFF2-40B4-BE49-F238E27FC236}">
                <a16:creationId xmlns:a16="http://schemas.microsoft.com/office/drawing/2014/main" id="{BC49FFCE-D472-40D8-B919-1BB7D1D65011}"/>
              </a:ext>
            </a:extLst>
          </p:cNvPr>
          <p:cNvCxnSpPr>
            <a:stCxn id="47" idx="4"/>
            <a:endCxn id="48" idx="7"/>
          </p:cNvCxnSpPr>
          <p:nvPr/>
        </p:nvCxnSpPr>
        <p:spPr>
          <a:xfrm rot="5400000" flipH="1" flipV="1">
            <a:off x="7604966" y="2525439"/>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51" name="Conector angular 141">
            <a:extLst>
              <a:ext uri="{FF2B5EF4-FFF2-40B4-BE49-F238E27FC236}">
                <a16:creationId xmlns:a16="http://schemas.microsoft.com/office/drawing/2014/main" id="{328F3002-0780-476C-B563-5572912FE98E}"/>
              </a:ext>
            </a:extLst>
          </p:cNvPr>
          <p:cNvCxnSpPr>
            <a:stCxn id="48" idx="5"/>
            <a:endCxn id="44" idx="0"/>
          </p:cNvCxnSpPr>
          <p:nvPr/>
        </p:nvCxnSpPr>
        <p:spPr>
          <a:xfrm rot="5400000" flipH="1" flipV="1">
            <a:off x="7781688" y="2429865"/>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52" name="Rectángulo 51">
            <a:extLst>
              <a:ext uri="{FF2B5EF4-FFF2-40B4-BE49-F238E27FC236}">
                <a16:creationId xmlns:a16="http://schemas.microsoft.com/office/drawing/2014/main" id="{FA830A87-09FD-4229-82AA-4A82010AED9E}"/>
              </a:ext>
            </a:extLst>
          </p:cNvPr>
          <p:cNvSpPr/>
          <p:nvPr/>
        </p:nvSpPr>
        <p:spPr>
          <a:xfrm>
            <a:off x="6860973" y="3695220"/>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53" name="Rectángulo 52">
            <a:extLst>
              <a:ext uri="{FF2B5EF4-FFF2-40B4-BE49-F238E27FC236}">
                <a16:creationId xmlns:a16="http://schemas.microsoft.com/office/drawing/2014/main" id="{EDED14B0-D4D6-4677-88EE-4FA97BED6239}"/>
              </a:ext>
            </a:extLst>
          </p:cNvPr>
          <p:cNvSpPr/>
          <p:nvPr/>
        </p:nvSpPr>
        <p:spPr>
          <a:xfrm>
            <a:off x="7218408" y="3695220"/>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54" name="Rectángulo 53">
            <a:extLst>
              <a:ext uri="{FF2B5EF4-FFF2-40B4-BE49-F238E27FC236}">
                <a16:creationId xmlns:a16="http://schemas.microsoft.com/office/drawing/2014/main" id="{8051B23C-2441-4D1C-8DF3-9FD0FE03E134}"/>
              </a:ext>
            </a:extLst>
          </p:cNvPr>
          <p:cNvSpPr/>
          <p:nvPr/>
        </p:nvSpPr>
        <p:spPr>
          <a:xfrm>
            <a:off x="7541380" y="3695220"/>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55" name="Rectángulo 54">
            <a:extLst>
              <a:ext uri="{FF2B5EF4-FFF2-40B4-BE49-F238E27FC236}">
                <a16:creationId xmlns:a16="http://schemas.microsoft.com/office/drawing/2014/main" id="{45318606-0E76-41C2-8308-3A621AA9D64F}"/>
              </a:ext>
            </a:extLst>
          </p:cNvPr>
          <p:cNvSpPr/>
          <p:nvPr/>
        </p:nvSpPr>
        <p:spPr>
          <a:xfrm>
            <a:off x="8259618" y="3695220"/>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56" name="Conector angular 156">
            <a:extLst>
              <a:ext uri="{FF2B5EF4-FFF2-40B4-BE49-F238E27FC236}">
                <a16:creationId xmlns:a16="http://schemas.microsoft.com/office/drawing/2014/main" id="{3F70CC0C-9460-4768-B63A-DA1B598D1233}"/>
              </a:ext>
            </a:extLst>
          </p:cNvPr>
          <p:cNvCxnSpPr>
            <a:stCxn id="52" idx="2"/>
            <a:endCxn id="53" idx="0"/>
          </p:cNvCxnSpPr>
          <p:nvPr/>
        </p:nvCxnSpPr>
        <p:spPr>
          <a:xfrm rot="5400000" flipH="1" flipV="1">
            <a:off x="7046984" y="3635846"/>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57" name="Conector angular 157">
            <a:extLst>
              <a:ext uri="{FF2B5EF4-FFF2-40B4-BE49-F238E27FC236}">
                <a16:creationId xmlns:a16="http://schemas.microsoft.com/office/drawing/2014/main" id="{717B25D6-8BB2-4279-82BD-04B8AD373B8A}"/>
              </a:ext>
            </a:extLst>
          </p:cNvPr>
          <p:cNvCxnSpPr>
            <a:stCxn id="53" idx="2"/>
            <a:endCxn id="54" idx="0"/>
          </p:cNvCxnSpPr>
          <p:nvPr/>
        </p:nvCxnSpPr>
        <p:spPr>
          <a:xfrm rot="5400000" flipH="1" flipV="1">
            <a:off x="7375566" y="3641456"/>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58" name="Elipse 57">
            <a:extLst>
              <a:ext uri="{FF2B5EF4-FFF2-40B4-BE49-F238E27FC236}">
                <a16:creationId xmlns:a16="http://schemas.microsoft.com/office/drawing/2014/main" id="{4281E9BA-6E5B-4A91-9E79-DBA97F46863D}"/>
              </a:ext>
            </a:extLst>
          </p:cNvPr>
          <p:cNvSpPr/>
          <p:nvPr/>
        </p:nvSpPr>
        <p:spPr>
          <a:xfrm>
            <a:off x="7922931" y="3774225"/>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59" name="Elipse 58">
            <a:extLst>
              <a:ext uri="{FF2B5EF4-FFF2-40B4-BE49-F238E27FC236}">
                <a16:creationId xmlns:a16="http://schemas.microsoft.com/office/drawing/2014/main" id="{E1CFA4B3-F8AD-4AA6-A79C-B5DA52B4CD2D}"/>
              </a:ext>
            </a:extLst>
          </p:cNvPr>
          <p:cNvSpPr/>
          <p:nvPr/>
        </p:nvSpPr>
        <p:spPr>
          <a:xfrm>
            <a:off x="8075331" y="3774225"/>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60" name="Conector angular 160">
            <a:extLst>
              <a:ext uri="{FF2B5EF4-FFF2-40B4-BE49-F238E27FC236}">
                <a16:creationId xmlns:a16="http://schemas.microsoft.com/office/drawing/2014/main" id="{25B563D3-CBDC-467A-BFD7-37DBE5301E03}"/>
              </a:ext>
            </a:extLst>
          </p:cNvPr>
          <p:cNvCxnSpPr>
            <a:stCxn id="54" idx="2"/>
            <a:endCxn id="58" idx="0"/>
          </p:cNvCxnSpPr>
          <p:nvPr/>
        </p:nvCxnSpPr>
        <p:spPr>
          <a:xfrm rot="5400000" flipH="1" flipV="1">
            <a:off x="7727062" y="3691936"/>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61" name="Conector angular 161">
            <a:extLst>
              <a:ext uri="{FF2B5EF4-FFF2-40B4-BE49-F238E27FC236}">
                <a16:creationId xmlns:a16="http://schemas.microsoft.com/office/drawing/2014/main" id="{3DE92E2B-05F4-4504-8341-0D63EC606364}"/>
              </a:ext>
            </a:extLst>
          </p:cNvPr>
          <p:cNvCxnSpPr>
            <a:stCxn id="58" idx="4"/>
            <a:endCxn id="59" idx="7"/>
          </p:cNvCxnSpPr>
          <p:nvPr/>
        </p:nvCxnSpPr>
        <p:spPr>
          <a:xfrm rot="5400000" flipH="1" flipV="1">
            <a:off x="8005561" y="3722866"/>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62" name="Conector angular 162">
            <a:extLst>
              <a:ext uri="{FF2B5EF4-FFF2-40B4-BE49-F238E27FC236}">
                <a16:creationId xmlns:a16="http://schemas.microsoft.com/office/drawing/2014/main" id="{4F73948E-6A3E-4B6C-AF7D-81875B6A3EE8}"/>
              </a:ext>
            </a:extLst>
          </p:cNvPr>
          <p:cNvCxnSpPr>
            <a:stCxn id="59" idx="5"/>
            <a:endCxn id="55" idx="0"/>
          </p:cNvCxnSpPr>
          <p:nvPr/>
        </p:nvCxnSpPr>
        <p:spPr>
          <a:xfrm rot="5400000" flipH="1" flipV="1">
            <a:off x="8182283" y="3627292"/>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63" name="Rectángulo 62">
            <a:extLst>
              <a:ext uri="{FF2B5EF4-FFF2-40B4-BE49-F238E27FC236}">
                <a16:creationId xmlns:a16="http://schemas.microsoft.com/office/drawing/2014/main" id="{43AE66A3-C7C1-49EA-B766-F625D15648E7}"/>
              </a:ext>
            </a:extLst>
          </p:cNvPr>
          <p:cNvSpPr/>
          <p:nvPr/>
        </p:nvSpPr>
        <p:spPr>
          <a:xfrm>
            <a:off x="6456022" y="5119077"/>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64" name="Rectángulo 63">
            <a:extLst>
              <a:ext uri="{FF2B5EF4-FFF2-40B4-BE49-F238E27FC236}">
                <a16:creationId xmlns:a16="http://schemas.microsoft.com/office/drawing/2014/main" id="{2754CE99-56CA-484C-8243-B337A40CBFF9}"/>
              </a:ext>
            </a:extLst>
          </p:cNvPr>
          <p:cNvSpPr/>
          <p:nvPr/>
        </p:nvSpPr>
        <p:spPr>
          <a:xfrm>
            <a:off x="6813457" y="5119077"/>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65" name="Rectángulo 64">
            <a:extLst>
              <a:ext uri="{FF2B5EF4-FFF2-40B4-BE49-F238E27FC236}">
                <a16:creationId xmlns:a16="http://schemas.microsoft.com/office/drawing/2014/main" id="{99657104-CE63-489B-80A2-DA02EC648438}"/>
              </a:ext>
            </a:extLst>
          </p:cNvPr>
          <p:cNvSpPr/>
          <p:nvPr/>
        </p:nvSpPr>
        <p:spPr>
          <a:xfrm>
            <a:off x="7136429" y="5119077"/>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66" name="Rectángulo 65">
            <a:extLst>
              <a:ext uri="{FF2B5EF4-FFF2-40B4-BE49-F238E27FC236}">
                <a16:creationId xmlns:a16="http://schemas.microsoft.com/office/drawing/2014/main" id="{D404FA23-568F-4BBA-A127-7853D67A3A4D}"/>
              </a:ext>
            </a:extLst>
          </p:cNvPr>
          <p:cNvSpPr/>
          <p:nvPr/>
        </p:nvSpPr>
        <p:spPr>
          <a:xfrm>
            <a:off x="7854667" y="5119077"/>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67" name="Conector angular 167">
            <a:extLst>
              <a:ext uri="{FF2B5EF4-FFF2-40B4-BE49-F238E27FC236}">
                <a16:creationId xmlns:a16="http://schemas.microsoft.com/office/drawing/2014/main" id="{E9D17194-F9D9-4128-A1DD-736EE44958A5}"/>
              </a:ext>
            </a:extLst>
          </p:cNvPr>
          <p:cNvCxnSpPr>
            <a:stCxn id="63" idx="2"/>
            <a:endCxn id="64" idx="0"/>
          </p:cNvCxnSpPr>
          <p:nvPr/>
        </p:nvCxnSpPr>
        <p:spPr>
          <a:xfrm rot="5400000" flipH="1" flipV="1">
            <a:off x="6642033" y="5059703"/>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68" name="Conector angular 168">
            <a:extLst>
              <a:ext uri="{FF2B5EF4-FFF2-40B4-BE49-F238E27FC236}">
                <a16:creationId xmlns:a16="http://schemas.microsoft.com/office/drawing/2014/main" id="{8EDAC316-150A-4A19-B7C2-04233B85F0A4}"/>
              </a:ext>
            </a:extLst>
          </p:cNvPr>
          <p:cNvCxnSpPr>
            <a:stCxn id="64" idx="2"/>
            <a:endCxn id="65" idx="0"/>
          </p:cNvCxnSpPr>
          <p:nvPr/>
        </p:nvCxnSpPr>
        <p:spPr>
          <a:xfrm rot="5400000" flipH="1" flipV="1">
            <a:off x="6970615" y="5065313"/>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69" name="Elipse 68">
            <a:extLst>
              <a:ext uri="{FF2B5EF4-FFF2-40B4-BE49-F238E27FC236}">
                <a16:creationId xmlns:a16="http://schemas.microsoft.com/office/drawing/2014/main" id="{3262267E-EBC7-4812-891E-5C515F0A806C}"/>
              </a:ext>
            </a:extLst>
          </p:cNvPr>
          <p:cNvSpPr/>
          <p:nvPr/>
        </p:nvSpPr>
        <p:spPr>
          <a:xfrm>
            <a:off x="7517980" y="519808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70" name="Elipse 69">
            <a:extLst>
              <a:ext uri="{FF2B5EF4-FFF2-40B4-BE49-F238E27FC236}">
                <a16:creationId xmlns:a16="http://schemas.microsoft.com/office/drawing/2014/main" id="{C6FEA4D7-88C2-4D42-A759-A66C6BB130C1}"/>
              </a:ext>
            </a:extLst>
          </p:cNvPr>
          <p:cNvSpPr/>
          <p:nvPr/>
        </p:nvSpPr>
        <p:spPr>
          <a:xfrm>
            <a:off x="7670380" y="519808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71" name="Conector angular 171">
            <a:extLst>
              <a:ext uri="{FF2B5EF4-FFF2-40B4-BE49-F238E27FC236}">
                <a16:creationId xmlns:a16="http://schemas.microsoft.com/office/drawing/2014/main" id="{C0FDAAC3-8F9E-4E5A-8A23-B35B507D66EB}"/>
              </a:ext>
            </a:extLst>
          </p:cNvPr>
          <p:cNvCxnSpPr>
            <a:stCxn id="65" idx="2"/>
            <a:endCxn id="69" idx="0"/>
          </p:cNvCxnSpPr>
          <p:nvPr/>
        </p:nvCxnSpPr>
        <p:spPr>
          <a:xfrm rot="5400000" flipH="1" flipV="1">
            <a:off x="7322111" y="5115793"/>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72" name="Conector angular 172">
            <a:extLst>
              <a:ext uri="{FF2B5EF4-FFF2-40B4-BE49-F238E27FC236}">
                <a16:creationId xmlns:a16="http://schemas.microsoft.com/office/drawing/2014/main" id="{76DD55B3-40AE-4BA9-B93D-C331649007B7}"/>
              </a:ext>
            </a:extLst>
          </p:cNvPr>
          <p:cNvCxnSpPr>
            <a:stCxn id="69" idx="4"/>
            <a:endCxn id="70" idx="7"/>
          </p:cNvCxnSpPr>
          <p:nvPr/>
        </p:nvCxnSpPr>
        <p:spPr>
          <a:xfrm rot="5400000" flipH="1" flipV="1">
            <a:off x="7600610" y="5146723"/>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73" name="Conector angular 173">
            <a:extLst>
              <a:ext uri="{FF2B5EF4-FFF2-40B4-BE49-F238E27FC236}">
                <a16:creationId xmlns:a16="http://schemas.microsoft.com/office/drawing/2014/main" id="{F19BF3E2-E6C2-4153-BEAB-734C06D51D8E}"/>
              </a:ext>
            </a:extLst>
          </p:cNvPr>
          <p:cNvCxnSpPr>
            <a:stCxn id="70" idx="5"/>
            <a:endCxn id="66" idx="0"/>
          </p:cNvCxnSpPr>
          <p:nvPr/>
        </p:nvCxnSpPr>
        <p:spPr>
          <a:xfrm rot="5400000" flipH="1" flipV="1">
            <a:off x="7777332" y="5051149"/>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74" name="Rectángulo 73">
            <a:extLst>
              <a:ext uri="{FF2B5EF4-FFF2-40B4-BE49-F238E27FC236}">
                <a16:creationId xmlns:a16="http://schemas.microsoft.com/office/drawing/2014/main" id="{8D85D6AE-E2C1-4955-90A7-60554E57677F}"/>
              </a:ext>
            </a:extLst>
          </p:cNvPr>
          <p:cNvSpPr/>
          <p:nvPr/>
        </p:nvSpPr>
        <p:spPr>
          <a:xfrm>
            <a:off x="1152492" y="2558752"/>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75" name="Rectángulo 74">
            <a:extLst>
              <a:ext uri="{FF2B5EF4-FFF2-40B4-BE49-F238E27FC236}">
                <a16:creationId xmlns:a16="http://schemas.microsoft.com/office/drawing/2014/main" id="{80188375-3536-4794-9C72-3848D7FFCBC4}"/>
              </a:ext>
            </a:extLst>
          </p:cNvPr>
          <p:cNvSpPr/>
          <p:nvPr/>
        </p:nvSpPr>
        <p:spPr>
          <a:xfrm>
            <a:off x="1509927" y="2558752"/>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76" name="Rectángulo 75">
            <a:extLst>
              <a:ext uri="{FF2B5EF4-FFF2-40B4-BE49-F238E27FC236}">
                <a16:creationId xmlns:a16="http://schemas.microsoft.com/office/drawing/2014/main" id="{0E50A621-6B63-42B0-85EA-5E867AC147DD}"/>
              </a:ext>
            </a:extLst>
          </p:cNvPr>
          <p:cNvSpPr/>
          <p:nvPr/>
        </p:nvSpPr>
        <p:spPr>
          <a:xfrm>
            <a:off x="1832899" y="2558752"/>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77" name="Rectángulo 76">
            <a:extLst>
              <a:ext uri="{FF2B5EF4-FFF2-40B4-BE49-F238E27FC236}">
                <a16:creationId xmlns:a16="http://schemas.microsoft.com/office/drawing/2014/main" id="{F78FB58D-0B0B-4182-8246-151B810719CF}"/>
              </a:ext>
            </a:extLst>
          </p:cNvPr>
          <p:cNvSpPr/>
          <p:nvPr/>
        </p:nvSpPr>
        <p:spPr>
          <a:xfrm>
            <a:off x="2551137" y="2558752"/>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78" name="Conector angular 178">
            <a:extLst>
              <a:ext uri="{FF2B5EF4-FFF2-40B4-BE49-F238E27FC236}">
                <a16:creationId xmlns:a16="http://schemas.microsoft.com/office/drawing/2014/main" id="{B7B46E19-0912-4326-9813-982088336634}"/>
              </a:ext>
            </a:extLst>
          </p:cNvPr>
          <p:cNvCxnSpPr>
            <a:stCxn id="74" idx="2"/>
            <a:endCxn id="75" idx="0"/>
          </p:cNvCxnSpPr>
          <p:nvPr/>
        </p:nvCxnSpPr>
        <p:spPr>
          <a:xfrm rot="5400000" flipH="1" flipV="1">
            <a:off x="1338503" y="2499378"/>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79" name="Conector angular 179">
            <a:extLst>
              <a:ext uri="{FF2B5EF4-FFF2-40B4-BE49-F238E27FC236}">
                <a16:creationId xmlns:a16="http://schemas.microsoft.com/office/drawing/2014/main" id="{2A177B28-AECB-4FC8-90A0-2F92FDEEB374}"/>
              </a:ext>
            </a:extLst>
          </p:cNvPr>
          <p:cNvCxnSpPr>
            <a:stCxn id="75" idx="2"/>
            <a:endCxn id="76" idx="0"/>
          </p:cNvCxnSpPr>
          <p:nvPr/>
        </p:nvCxnSpPr>
        <p:spPr>
          <a:xfrm rot="5400000" flipH="1" flipV="1">
            <a:off x="1667085" y="2504988"/>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80" name="Elipse 79">
            <a:extLst>
              <a:ext uri="{FF2B5EF4-FFF2-40B4-BE49-F238E27FC236}">
                <a16:creationId xmlns:a16="http://schemas.microsoft.com/office/drawing/2014/main" id="{01F91791-BFAE-4D61-B1A6-E3DAB277992D}"/>
              </a:ext>
            </a:extLst>
          </p:cNvPr>
          <p:cNvSpPr/>
          <p:nvPr/>
        </p:nvSpPr>
        <p:spPr>
          <a:xfrm>
            <a:off x="2214450" y="2637757"/>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81" name="Elipse 80">
            <a:extLst>
              <a:ext uri="{FF2B5EF4-FFF2-40B4-BE49-F238E27FC236}">
                <a16:creationId xmlns:a16="http://schemas.microsoft.com/office/drawing/2014/main" id="{6054ADC5-228E-41F3-9FE1-0FA81734BC83}"/>
              </a:ext>
            </a:extLst>
          </p:cNvPr>
          <p:cNvSpPr/>
          <p:nvPr/>
        </p:nvSpPr>
        <p:spPr>
          <a:xfrm>
            <a:off x="2366850" y="2637757"/>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82" name="Conector angular 182">
            <a:extLst>
              <a:ext uri="{FF2B5EF4-FFF2-40B4-BE49-F238E27FC236}">
                <a16:creationId xmlns:a16="http://schemas.microsoft.com/office/drawing/2014/main" id="{99675660-82B5-45BA-923E-B0A0DFC6C767}"/>
              </a:ext>
            </a:extLst>
          </p:cNvPr>
          <p:cNvCxnSpPr>
            <a:stCxn id="76" idx="2"/>
            <a:endCxn id="80" idx="0"/>
          </p:cNvCxnSpPr>
          <p:nvPr/>
        </p:nvCxnSpPr>
        <p:spPr>
          <a:xfrm rot="5400000" flipH="1" flipV="1">
            <a:off x="2018581" y="2555468"/>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83" name="Conector angular 183">
            <a:extLst>
              <a:ext uri="{FF2B5EF4-FFF2-40B4-BE49-F238E27FC236}">
                <a16:creationId xmlns:a16="http://schemas.microsoft.com/office/drawing/2014/main" id="{77A8EEAD-BEA8-418A-88F2-D71AFCCB01BA}"/>
              </a:ext>
            </a:extLst>
          </p:cNvPr>
          <p:cNvCxnSpPr>
            <a:stCxn id="80" idx="4"/>
            <a:endCxn id="81" idx="7"/>
          </p:cNvCxnSpPr>
          <p:nvPr/>
        </p:nvCxnSpPr>
        <p:spPr>
          <a:xfrm rot="5400000" flipH="1" flipV="1">
            <a:off x="2297080" y="2586398"/>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84" name="Conector angular 184">
            <a:extLst>
              <a:ext uri="{FF2B5EF4-FFF2-40B4-BE49-F238E27FC236}">
                <a16:creationId xmlns:a16="http://schemas.microsoft.com/office/drawing/2014/main" id="{E6CED795-6172-45DB-AC6C-1C9DC121DB89}"/>
              </a:ext>
            </a:extLst>
          </p:cNvPr>
          <p:cNvCxnSpPr>
            <a:stCxn id="81" idx="5"/>
            <a:endCxn id="77" idx="0"/>
          </p:cNvCxnSpPr>
          <p:nvPr/>
        </p:nvCxnSpPr>
        <p:spPr>
          <a:xfrm rot="5400000" flipH="1" flipV="1">
            <a:off x="2473802" y="2490824"/>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85" name="Rectángulo 84">
            <a:extLst>
              <a:ext uri="{FF2B5EF4-FFF2-40B4-BE49-F238E27FC236}">
                <a16:creationId xmlns:a16="http://schemas.microsoft.com/office/drawing/2014/main" id="{FA74FF27-1FF0-4F10-B3E9-A8ACF500C192}"/>
              </a:ext>
            </a:extLst>
          </p:cNvPr>
          <p:cNvSpPr/>
          <p:nvPr/>
        </p:nvSpPr>
        <p:spPr>
          <a:xfrm>
            <a:off x="682230" y="3878107"/>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86" name="Rectángulo 85">
            <a:extLst>
              <a:ext uri="{FF2B5EF4-FFF2-40B4-BE49-F238E27FC236}">
                <a16:creationId xmlns:a16="http://schemas.microsoft.com/office/drawing/2014/main" id="{BF4CE228-B49C-4B9E-94BA-C6DC4610F7E9}"/>
              </a:ext>
            </a:extLst>
          </p:cNvPr>
          <p:cNvSpPr/>
          <p:nvPr/>
        </p:nvSpPr>
        <p:spPr>
          <a:xfrm>
            <a:off x="1039665" y="3878107"/>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87" name="Rectángulo 86">
            <a:extLst>
              <a:ext uri="{FF2B5EF4-FFF2-40B4-BE49-F238E27FC236}">
                <a16:creationId xmlns:a16="http://schemas.microsoft.com/office/drawing/2014/main" id="{DA08B0D2-68BD-4184-8A76-7B3BECBDD038}"/>
              </a:ext>
            </a:extLst>
          </p:cNvPr>
          <p:cNvSpPr/>
          <p:nvPr/>
        </p:nvSpPr>
        <p:spPr>
          <a:xfrm>
            <a:off x="1362637" y="3878107"/>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88" name="Rectángulo 87">
            <a:extLst>
              <a:ext uri="{FF2B5EF4-FFF2-40B4-BE49-F238E27FC236}">
                <a16:creationId xmlns:a16="http://schemas.microsoft.com/office/drawing/2014/main" id="{A4837E0F-9E4D-4147-83F5-CB15A23A4C6C}"/>
              </a:ext>
            </a:extLst>
          </p:cNvPr>
          <p:cNvSpPr/>
          <p:nvPr/>
        </p:nvSpPr>
        <p:spPr>
          <a:xfrm>
            <a:off x="2080875" y="3878107"/>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89" name="Conector angular 189">
            <a:extLst>
              <a:ext uri="{FF2B5EF4-FFF2-40B4-BE49-F238E27FC236}">
                <a16:creationId xmlns:a16="http://schemas.microsoft.com/office/drawing/2014/main" id="{5F917588-4D9A-4272-879A-CA22CF0B50D5}"/>
              </a:ext>
            </a:extLst>
          </p:cNvPr>
          <p:cNvCxnSpPr>
            <a:stCxn id="85" idx="2"/>
            <a:endCxn id="86" idx="0"/>
          </p:cNvCxnSpPr>
          <p:nvPr/>
        </p:nvCxnSpPr>
        <p:spPr>
          <a:xfrm rot="5400000" flipH="1" flipV="1">
            <a:off x="868241" y="3818733"/>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90" name="Conector angular 190">
            <a:extLst>
              <a:ext uri="{FF2B5EF4-FFF2-40B4-BE49-F238E27FC236}">
                <a16:creationId xmlns:a16="http://schemas.microsoft.com/office/drawing/2014/main" id="{92F16CB5-D0BC-43A7-8D31-8F412E8604EF}"/>
              </a:ext>
            </a:extLst>
          </p:cNvPr>
          <p:cNvCxnSpPr>
            <a:stCxn id="86" idx="2"/>
            <a:endCxn id="87" idx="0"/>
          </p:cNvCxnSpPr>
          <p:nvPr/>
        </p:nvCxnSpPr>
        <p:spPr>
          <a:xfrm rot="5400000" flipH="1" flipV="1">
            <a:off x="1196823" y="3824343"/>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91" name="Elipse 90">
            <a:extLst>
              <a:ext uri="{FF2B5EF4-FFF2-40B4-BE49-F238E27FC236}">
                <a16:creationId xmlns:a16="http://schemas.microsoft.com/office/drawing/2014/main" id="{607686BA-9189-4AAF-A0A5-128246B90477}"/>
              </a:ext>
            </a:extLst>
          </p:cNvPr>
          <p:cNvSpPr/>
          <p:nvPr/>
        </p:nvSpPr>
        <p:spPr>
          <a:xfrm>
            <a:off x="1744188" y="395711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92" name="Elipse 91">
            <a:extLst>
              <a:ext uri="{FF2B5EF4-FFF2-40B4-BE49-F238E27FC236}">
                <a16:creationId xmlns:a16="http://schemas.microsoft.com/office/drawing/2014/main" id="{574D37C9-EDCC-425C-992E-1535B9E83DCF}"/>
              </a:ext>
            </a:extLst>
          </p:cNvPr>
          <p:cNvSpPr/>
          <p:nvPr/>
        </p:nvSpPr>
        <p:spPr>
          <a:xfrm>
            <a:off x="1896588" y="395711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93" name="Conector angular 193">
            <a:extLst>
              <a:ext uri="{FF2B5EF4-FFF2-40B4-BE49-F238E27FC236}">
                <a16:creationId xmlns:a16="http://schemas.microsoft.com/office/drawing/2014/main" id="{37EC4CEE-9AF8-4AC1-940E-98C2CFE392B9}"/>
              </a:ext>
            </a:extLst>
          </p:cNvPr>
          <p:cNvCxnSpPr>
            <a:stCxn id="87" idx="2"/>
            <a:endCxn id="91" idx="0"/>
          </p:cNvCxnSpPr>
          <p:nvPr/>
        </p:nvCxnSpPr>
        <p:spPr>
          <a:xfrm rot="5400000" flipH="1" flipV="1">
            <a:off x="1548319" y="3874823"/>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94" name="Conector angular 194">
            <a:extLst>
              <a:ext uri="{FF2B5EF4-FFF2-40B4-BE49-F238E27FC236}">
                <a16:creationId xmlns:a16="http://schemas.microsoft.com/office/drawing/2014/main" id="{F0196E7B-D2B5-473E-9B57-887221D2A802}"/>
              </a:ext>
            </a:extLst>
          </p:cNvPr>
          <p:cNvCxnSpPr>
            <a:stCxn id="91" idx="4"/>
            <a:endCxn id="92" idx="7"/>
          </p:cNvCxnSpPr>
          <p:nvPr/>
        </p:nvCxnSpPr>
        <p:spPr>
          <a:xfrm rot="5400000" flipH="1" flipV="1">
            <a:off x="1826818" y="3905753"/>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95" name="Conector angular 195">
            <a:extLst>
              <a:ext uri="{FF2B5EF4-FFF2-40B4-BE49-F238E27FC236}">
                <a16:creationId xmlns:a16="http://schemas.microsoft.com/office/drawing/2014/main" id="{48C312E0-68F9-4646-AFDF-16BA754A85B7}"/>
              </a:ext>
            </a:extLst>
          </p:cNvPr>
          <p:cNvCxnSpPr>
            <a:stCxn id="92" idx="5"/>
            <a:endCxn id="88" idx="0"/>
          </p:cNvCxnSpPr>
          <p:nvPr/>
        </p:nvCxnSpPr>
        <p:spPr>
          <a:xfrm rot="5400000" flipH="1" flipV="1">
            <a:off x="2003540" y="3810179"/>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96" name="Rectángulo 95">
            <a:extLst>
              <a:ext uri="{FF2B5EF4-FFF2-40B4-BE49-F238E27FC236}">
                <a16:creationId xmlns:a16="http://schemas.microsoft.com/office/drawing/2014/main" id="{C9C184D6-C801-4492-8D3E-BA18FDCDBD7A}"/>
              </a:ext>
            </a:extLst>
          </p:cNvPr>
          <p:cNvSpPr/>
          <p:nvPr/>
        </p:nvSpPr>
        <p:spPr>
          <a:xfrm>
            <a:off x="4914604" y="1670479"/>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97" name="Rectángulo 96">
            <a:extLst>
              <a:ext uri="{FF2B5EF4-FFF2-40B4-BE49-F238E27FC236}">
                <a16:creationId xmlns:a16="http://schemas.microsoft.com/office/drawing/2014/main" id="{A97B8DFC-DD1B-4636-BBD4-82863EF20DB6}"/>
              </a:ext>
            </a:extLst>
          </p:cNvPr>
          <p:cNvSpPr/>
          <p:nvPr/>
        </p:nvSpPr>
        <p:spPr>
          <a:xfrm>
            <a:off x="5272039" y="1670479"/>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98" name="Rectángulo 97">
            <a:extLst>
              <a:ext uri="{FF2B5EF4-FFF2-40B4-BE49-F238E27FC236}">
                <a16:creationId xmlns:a16="http://schemas.microsoft.com/office/drawing/2014/main" id="{C89921AE-81DB-4596-B35E-DDB137928296}"/>
              </a:ext>
            </a:extLst>
          </p:cNvPr>
          <p:cNvSpPr/>
          <p:nvPr/>
        </p:nvSpPr>
        <p:spPr>
          <a:xfrm>
            <a:off x="5595011" y="1670479"/>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99" name="Rectángulo 98">
            <a:extLst>
              <a:ext uri="{FF2B5EF4-FFF2-40B4-BE49-F238E27FC236}">
                <a16:creationId xmlns:a16="http://schemas.microsoft.com/office/drawing/2014/main" id="{DD21677E-11BE-4B3C-B6AE-318736ADFB99}"/>
              </a:ext>
            </a:extLst>
          </p:cNvPr>
          <p:cNvSpPr/>
          <p:nvPr/>
        </p:nvSpPr>
        <p:spPr>
          <a:xfrm>
            <a:off x="6313249" y="1670479"/>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100" name="Conector angular 200">
            <a:extLst>
              <a:ext uri="{FF2B5EF4-FFF2-40B4-BE49-F238E27FC236}">
                <a16:creationId xmlns:a16="http://schemas.microsoft.com/office/drawing/2014/main" id="{C4B8663D-1089-4680-8A70-6F77E993D227}"/>
              </a:ext>
            </a:extLst>
          </p:cNvPr>
          <p:cNvCxnSpPr>
            <a:stCxn id="96" idx="2"/>
            <a:endCxn id="97" idx="0"/>
          </p:cNvCxnSpPr>
          <p:nvPr/>
        </p:nvCxnSpPr>
        <p:spPr>
          <a:xfrm rot="5400000" flipH="1" flipV="1">
            <a:off x="5100615" y="1611105"/>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101" name="Conector angular 201">
            <a:extLst>
              <a:ext uri="{FF2B5EF4-FFF2-40B4-BE49-F238E27FC236}">
                <a16:creationId xmlns:a16="http://schemas.microsoft.com/office/drawing/2014/main" id="{6D17E169-5302-4237-B543-9E4BFC7CA33E}"/>
              </a:ext>
            </a:extLst>
          </p:cNvPr>
          <p:cNvCxnSpPr>
            <a:stCxn id="97" idx="2"/>
            <a:endCxn id="98" idx="0"/>
          </p:cNvCxnSpPr>
          <p:nvPr/>
        </p:nvCxnSpPr>
        <p:spPr>
          <a:xfrm rot="5400000" flipH="1" flipV="1">
            <a:off x="5429197" y="1616715"/>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102" name="Elipse 101">
            <a:extLst>
              <a:ext uri="{FF2B5EF4-FFF2-40B4-BE49-F238E27FC236}">
                <a16:creationId xmlns:a16="http://schemas.microsoft.com/office/drawing/2014/main" id="{96C66265-30E4-4125-81E7-E5CE8866AF11}"/>
              </a:ext>
            </a:extLst>
          </p:cNvPr>
          <p:cNvSpPr/>
          <p:nvPr/>
        </p:nvSpPr>
        <p:spPr>
          <a:xfrm>
            <a:off x="5976562" y="1749484"/>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103" name="Elipse 102">
            <a:extLst>
              <a:ext uri="{FF2B5EF4-FFF2-40B4-BE49-F238E27FC236}">
                <a16:creationId xmlns:a16="http://schemas.microsoft.com/office/drawing/2014/main" id="{4F1D5C5B-9A59-4E03-A2E5-0B1156E64159}"/>
              </a:ext>
            </a:extLst>
          </p:cNvPr>
          <p:cNvSpPr/>
          <p:nvPr/>
        </p:nvSpPr>
        <p:spPr>
          <a:xfrm>
            <a:off x="6128962" y="1749484"/>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104" name="Conector angular 204">
            <a:extLst>
              <a:ext uri="{FF2B5EF4-FFF2-40B4-BE49-F238E27FC236}">
                <a16:creationId xmlns:a16="http://schemas.microsoft.com/office/drawing/2014/main" id="{1A02D640-4F1B-48E9-BA94-72CFACBAC9E2}"/>
              </a:ext>
            </a:extLst>
          </p:cNvPr>
          <p:cNvCxnSpPr>
            <a:stCxn id="98" idx="2"/>
            <a:endCxn id="102" idx="0"/>
          </p:cNvCxnSpPr>
          <p:nvPr/>
        </p:nvCxnSpPr>
        <p:spPr>
          <a:xfrm rot="5400000" flipH="1" flipV="1">
            <a:off x="5780693" y="1667195"/>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105" name="Conector angular 205">
            <a:extLst>
              <a:ext uri="{FF2B5EF4-FFF2-40B4-BE49-F238E27FC236}">
                <a16:creationId xmlns:a16="http://schemas.microsoft.com/office/drawing/2014/main" id="{299F33C0-4BB3-40EB-A6C6-18B22D14D3A4}"/>
              </a:ext>
            </a:extLst>
          </p:cNvPr>
          <p:cNvCxnSpPr>
            <a:stCxn id="102" idx="4"/>
            <a:endCxn id="103" idx="7"/>
          </p:cNvCxnSpPr>
          <p:nvPr/>
        </p:nvCxnSpPr>
        <p:spPr>
          <a:xfrm rot="5400000" flipH="1" flipV="1">
            <a:off x="6059192" y="1698125"/>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06" name="Conector angular 206">
            <a:extLst>
              <a:ext uri="{FF2B5EF4-FFF2-40B4-BE49-F238E27FC236}">
                <a16:creationId xmlns:a16="http://schemas.microsoft.com/office/drawing/2014/main" id="{97E29E34-5ED4-4BE1-9C1B-0E8E516D8615}"/>
              </a:ext>
            </a:extLst>
          </p:cNvPr>
          <p:cNvCxnSpPr>
            <a:stCxn id="103" idx="5"/>
            <a:endCxn id="99" idx="0"/>
          </p:cNvCxnSpPr>
          <p:nvPr/>
        </p:nvCxnSpPr>
        <p:spPr>
          <a:xfrm rot="5400000" flipH="1" flipV="1">
            <a:off x="6235914" y="1602551"/>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107" name="Rectángulo 106">
            <a:extLst>
              <a:ext uri="{FF2B5EF4-FFF2-40B4-BE49-F238E27FC236}">
                <a16:creationId xmlns:a16="http://schemas.microsoft.com/office/drawing/2014/main" id="{BAFA935D-CB7E-4F93-9502-ED84AADB80A9}"/>
              </a:ext>
            </a:extLst>
          </p:cNvPr>
          <p:cNvSpPr/>
          <p:nvPr/>
        </p:nvSpPr>
        <p:spPr>
          <a:xfrm>
            <a:off x="2715699" y="5959448"/>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108" name="Rectángulo 107">
            <a:extLst>
              <a:ext uri="{FF2B5EF4-FFF2-40B4-BE49-F238E27FC236}">
                <a16:creationId xmlns:a16="http://schemas.microsoft.com/office/drawing/2014/main" id="{907BE4A7-A133-4CEF-9C16-EB0574868BBD}"/>
              </a:ext>
            </a:extLst>
          </p:cNvPr>
          <p:cNvSpPr/>
          <p:nvPr/>
        </p:nvSpPr>
        <p:spPr>
          <a:xfrm>
            <a:off x="3073134" y="5959448"/>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109" name="Rectángulo 108">
            <a:extLst>
              <a:ext uri="{FF2B5EF4-FFF2-40B4-BE49-F238E27FC236}">
                <a16:creationId xmlns:a16="http://schemas.microsoft.com/office/drawing/2014/main" id="{9211EB5E-BAAF-4BE6-8C6E-FD8EF5DD347F}"/>
              </a:ext>
            </a:extLst>
          </p:cNvPr>
          <p:cNvSpPr/>
          <p:nvPr/>
        </p:nvSpPr>
        <p:spPr>
          <a:xfrm>
            <a:off x="3396106" y="5959448"/>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110" name="Rectángulo 109">
            <a:extLst>
              <a:ext uri="{FF2B5EF4-FFF2-40B4-BE49-F238E27FC236}">
                <a16:creationId xmlns:a16="http://schemas.microsoft.com/office/drawing/2014/main" id="{62F37C62-1BCD-4E0C-8A25-0105EC59E693}"/>
              </a:ext>
            </a:extLst>
          </p:cNvPr>
          <p:cNvSpPr/>
          <p:nvPr/>
        </p:nvSpPr>
        <p:spPr>
          <a:xfrm>
            <a:off x="4114344" y="5959448"/>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111" name="Conector angular 211">
            <a:extLst>
              <a:ext uri="{FF2B5EF4-FFF2-40B4-BE49-F238E27FC236}">
                <a16:creationId xmlns:a16="http://schemas.microsoft.com/office/drawing/2014/main" id="{4B48E774-1CE6-4CD2-A16D-1B084D2C367B}"/>
              </a:ext>
            </a:extLst>
          </p:cNvPr>
          <p:cNvCxnSpPr>
            <a:stCxn id="107" idx="2"/>
            <a:endCxn id="108" idx="0"/>
          </p:cNvCxnSpPr>
          <p:nvPr/>
        </p:nvCxnSpPr>
        <p:spPr>
          <a:xfrm rot="5400000" flipH="1" flipV="1">
            <a:off x="2901710" y="5900074"/>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112" name="Conector angular 212">
            <a:extLst>
              <a:ext uri="{FF2B5EF4-FFF2-40B4-BE49-F238E27FC236}">
                <a16:creationId xmlns:a16="http://schemas.microsoft.com/office/drawing/2014/main" id="{2C0A0450-EEE7-44EE-B63E-A7F275DDF9F8}"/>
              </a:ext>
            </a:extLst>
          </p:cNvPr>
          <p:cNvCxnSpPr>
            <a:stCxn id="108" idx="2"/>
            <a:endCxn id="109" idx="0"/>
          </p:cNvCxnSpPr>
          <p:nvPr/>
        </p:nvCxnSpPr>
        <p:spPr>
          <a:xfrm rot="5400000" flipH="1" flipV="1">
            <a:off x="3230292" y="5905684"/>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113" name="Elipse 112">
            <a:extLst>
              <a:ext uri="{FF2B5EF4-FFF2-40B4-BE49-F238E27FC236}">
                <a16:creationId xmlns:a16="http://schemas.microsoft.com/office/drawing/2014/main" id="{001EB709-04D4-43ED-8D64-BF8352887C90}"/>
              </a:ext>
            </a:extLst>
          </p:cNvPr>
          <p:cNvSpPr/>
          <p:nvPr/>
        </p:nvSpPr>
        <p:spPr>
          <a:xfrm>
            <a:off x="3777657" y="6038453"/>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114" name="Elipse 113">
            <a:extLst>
              <a:ext uri="{FF2B5EF4-FFF2-40B4-BE49-F238E27FC236}">
                <a16:creationId xmlns:a16="http://schemas.microsoft.com/office/drawing/2014/main" id="{6E23698F-3EE3-46A7-9990-EA5FFA5FB5D3}"/>
              </a:ext>
            </a:extLst>
          </p:cNvPr>
          <p:cNvSpPr/>
          <p:nvPr/>
        </p:nvSpPr>
        <p:spPr>
          <a:xfrm>
            <a:off x="3930057" y="6038453"/>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115" name="Conector angular 215">
            <a:extLst>
              <a:ext uri="{FF2B5EF4-FFF2-40B4-BE49-F238E27FC236}">
                <a16:creationId xmlns:a16="http://schemas.microsoft.com/office/drawing/2014/main" id="{86637380-D0DB-44E5-B48C-C3E0BEBCDE76}"/>
              </a:ext>
            </a:extLst>
          </p:cNvPr>
          <p:cNvCxnSpPr>
            <a:stCxn id="109" idx="2"/>
            <a:endCxn id="113" idx="0"/>
          </p:cNvCxnSpPr>
          <p:nvPr/>
        </p:nvCxnSpPr>
        <p:spPr>
          <a:xfrm rot="5400000" flipH="1" flipV="1">
            <a:off x="3581788" y="5956164"/>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116" name="Conector angular 216">
            <a:extLst>
              <a:ext uri="{FF2B5EF4-FFF2-40B4-BE49-F238E27FC236}">
                <a16:creationId xmlns:a16="http://schemas.microsoft.com/office/drawing/2014/main" id="{CE26A288-D7A0-48FA-82AB-C5A7D9A70798}"/>
              </a:ext>
            </a:extLst>
          </p:cNvPr>
          <p:cNvCxnSpPr>
            <a:stCxn id="113" idx="4"/>
            <a:endCxn id="114" idx="7"/>
          </p:cNvCxnSpPr>
          <p:nvPr/>
        </p:nvCxnSpPr>
        <p:spPr>
          <a:xfrm rot="5400000" flipH="1" flipV="1">
            <a:off x="3860287" y="5987094"/>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17" name="Conector angular 217">
            <a:extLst>
              <a:ext uri="{FF2B5EF4-FFF2-40B4-BE49-F238E27FC236}">
                <a16:creationId xmlns:a16="http://schemas.microsoft.com/office/drawing/2014/main" id="{254DA917-F259-4719-A7A5-5BE6C025B23F}"/>
              </a:ext>
            </a:extLst>
          </p:cNvPr>
          <p:cNvCxnSpPr>
            <a:stCxn id="114" idx="5"/>
            <a:endCxn id="110" idx="0"/>
          </p:cNvCxnSpPr>
          <p:nvPr/>
        </p:nvCxnSpPr>
        <p:spPr>
          <a:xfrm rot="5400000" flipH="1" flipV="1">
            <a:off x="4037009" y="5891520"/>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118" name="Rectángulo 117">
            <a:extLst>
              <a:ext uri="{FF2B5EF4-FFF2-40B4-BE49-F238E27FC236}">
                <a16:creationId xmlns:a16="http://schemas.microsoft.com/office/drawing/2014/main" id="{B730EF6E-B55B-4666-9DFD-FDE263E4B1B2}"/>
              </a:ext>
            </a:extLst>
          </p:cNvPr>
          <p:cNvSpPr/>
          <p:nvPr/>
        </p:nvSpPr>
        <p:spPr>
          <a:xfrm>
            <a:off x="1267902" y="5262764"/>
            <a:ext cx="253274"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G</a:t>
            </a:r>
          </a:p>
        </p:txBody>
      </p:sp>
      <p:sp>
        <p:nvSpPr>
          <p:cNvPr id="119" name="Rectángulo 118">
            <a:extLst>
              <a:ext uri="{FF2B5EF4-FFF2-40B4-BE49-F238E27FC236}">
                <a16:creationId xmlns:a16="http://schemas.microsoft.com/office/drawing/2014/main" id="{B46DD871-F42C-4B1C-974A-9DE30D40C025}"/>
              </a:ext>
            </a:extLst>
          </p:cNvPr>
          <p:cNvSpPr/>
          <p:nvPr/>
        </p:nvSpPr>
        <p:spPr>
          <a:xfrm>
            <a:off x="1625337" y="5262764"/>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1</a:t>
            </a:r>
          </a:p>
        </p:txBody>
      </p:sp>
      <p:sp>
        <p:nvSpPr>
          <p:cNvPr id="120" name="Rectángulo 119">
            <a:extLst>
              <a:ext uri="{FF2B5EF4-FFF2-40B4-BE49-F238E27FC236}">
                <a16:creationId xmlns:a16="http://schemas.microsoft.com/office/drawing/2014/main" id="{E940FB65-95EE-417E-9234-8C8BCBC9F7BC}"/>
              </a:ext>
            </a:extLst>
          </p:cNvPr>
          <p:cNvSpPr/>
          <p:nvPr/>
        </p:nvSpPr>
        <p:spPr>
          <a:xfrm>
            <a:off x="1948309" y="5262764"/>
            <a:ext cx="206788"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2</a:t>
            </a:r>
          </a:p>
        </p:txBody>
      </p:sp>
      <p:sp>
        <p:nvSpPr>
          <p:cNvPr id="121" name="Rectángulo 120">
            <a:extLst>
              <a:ext uri="{FF2B5EF4-FFF2-40B4-BE49-F238E27FC236}">
                <a16:creationId xmlns:a16="http://schemas.microsoft.com/office/drawing/2014/main" id="{26A12D43-56E6-4877-9310-8558F9768E09}"/>
              </a:ext>
            </a:extLst>
          </p:cNvPr>
          <p:cNvSpPr/>
          <p:nvPr/>
        </p:nvSpPr>
        <p:spPr>
          <a:xfrm>
            <a:off x="2666547" y="5262764"/>
            <a:ext cx="237245" cy="2154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1400" dirty="0">
                <a:solidFill>
                  <a:schemeClr val="tx2"/>
                </a:solidFill>
                <a:latin typeface="Avenir LT Std 35 Light" panose="020B0402020203020204" pitchFamily="34" charset="0"/>
              </a:rPr>
              <a:t>BA</a:t>
            </a:r>
          </a:p>
        </p:txBody>
      </p:sp>
      <p:cxnSp>
        <p:nvCxnSpPr>
          <p:cNvPr id="122" name="Conector angular 222">
            <a:extLst>
              <a:ext uri="{FF2B5EF4-FFF2-40B4-BE49-F238E27FC236}">
                <a16:creationId xmlns:a16="http://schemas.microsoft.com/office/drawing/2014/main" id="{653904ED-492B-4C4B-B5EA-A8551DCD60F4}"/>
              </a:ext>
            </a:extLst>
          </p:cNvPr>
          <p:cNvCxnSpPr>
            <a:stCxn id="118" idx="2"/>
            <a:endCxn id="119" idx="0"/>
          </p:cNvCxnSpPr>
          <p:nvPr/>
        </p:nvCxnSpPr>
        <p:spPr>
          <a:xfrm rot="5400000" flipH="1" flipV="1">
            <a:off x="1453913" y="5203390"/>
            <a:ext cx="215444" cy="334192"/>
          </a:xfrm>
          <a:prstGeom prst="bentConnector5">
            <a:avLst>
              <a:gd name="adj1" fmla="val -106106"/>
              <a:gd name="adj2" fmla="val 53477"/>
              <a:gd name="adj3" fmla="val 206106"/>
            </a:avLst>
          </a:prstGeom>
        </p:spPr>
        <p:style>
          <a:lnRef idx="1">
            <a:schemeClr val="accent1"/>
          </a:lnRef>
          <a:fillRef idx="0">
            <a:schemeClr val="accent1"/>
          </a:fillRef>
          <a:effectRef idx="0">
            <a:schemeClr val="accent1"/>
          </a:effectRef>
          <a:fontRef idx="minor">
            <a:schemeClr val="tx1"/>
          </a:fontRef>
        </p:style>
      </p:cxnSp>
      <p:cxnSp>
        <p:nvCxnSpPr>
          <p:cNvPr id="123" name="Conector angular 223">
            <a:extLst>
              <a:ext uri="{FF2B5EF4-FFF2-40B4-BE49-F238E27FC236}">
                <a16:creationId xmlns:a16="http://schemas.microsoft.com/office/drawing/2014/main" id="{0599BE8A-A72C-4940-B316-5DEE0D61C9A1}"/>
              </a:ext>
            </a:extLst>
          </p:cNvPr>
          <p:cNvCxnSpPr>
            <a:stCxn id="119" idx="2"/>
            <a:endCxn id="120" idx="0"/>
          </p:cNvCxnSpPr>
          <p:nvPr/>
        </p:nvCxnSpPr>
        <p:spPr>
          <a:xfrm rot="5400000" flipH="1" flipV="1">
            <a:off x="1782495" y="5209000"/>
            <a:ext cx="215444" cy="322972"/>
          </a:xfrm>
          <a:prstGeom prst="bentConnector5">
            <a:avLst>
              <a:gd name="adj1" fmla="val -106106"/>
              <a:gd name="adj2" fmla="val 50000"/>
              <a:gd name="adj3" fmla="val 206106"/>
            </a:avLst>
          </a:prstGeom>
        </p:spPr>
        <p:style>
          <a:lnRef idx="1">
            <a:schemeClr val="accent1"/>
          </a:lnRef>
          <a:fillRef idx="0">
            <a:schemeClr val="accent1"/>
          </a:fillRef>
          <a:effectRef idx="0">
            <a:schemeClr val="accent1"/>
          </a:effectRef>
          <a:fontRef idx="minor">
            <a:schemeClr val="tx1"/>
          </a:fontRef>
        </p:style>
      </p:cxnSp>
      <p:sp>
        <p:nvSpPr>
          <p:cNvPr id="124" name="Elipse 123">
            <a:extLst>
              <a:ext uri="{FF2B5EF4-FFF2-40B4-BE49-F238E27FC236}">
                <a16:creationId xmlns:a16="http://schemas.microsoft.com/office/drawing/2014/main" id="{30D08133-E960-4278-8380-07BF7893930B}"/>
              </a:ext>
            </a:extLst>
          </p:cNvPr>
          <p:cNvSpPr/>
          <p:nvPr/>
        </p:nvSpPr>
        <p:spPr>
          <a:xfrm>
            <a:off x="2329860" y="5341769"/>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sp>
        <p:nvSpPr>
          <p:cNvPr id="125" name="Elipse 124">
            <a:extLst>
              <a:ext uri="{FF2B5EF4-FFF2-40B4-BE49-F238E27FC236}">
                <a16:creationId xmlns:a16="http://schemas.microsoft.com/office/drawing/2014/main" id="{3B2D9361-FDB8-442F-9D51-D11C86B0F87D}"/>
              </a:ext>
            </a:extLst>
          </p:cNvPr>
          <p:cNvSpPr/>
          <p:nvPr/>
        </p:nvSpPr>
        <p:spPr>
          <a:xfrm>
            <a:off x="2482260" y="5341769"/>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cxnSp>
        <p:nvCxnSpPr>
          <p:cNvPr id="126" name="Conector angular 226">
            <a:extLst>
              <a:ext uri="{FF2B5EF4-FFF2-40B4-BE49-F238E27FC236}">
                <a16:creationId xmlns:a16="http://schemas.microsoft.com/office/drawing/2014/main" id="{2336D898-4715-4837-B1EC-877122F62F4A}"/>
              </a:ext>
            </a:extLst>
          </p:cNvPr>
          <p:cNvCxnSpPr>
            <a:stCxn id="120" idx="2"/>
            <a:endCxn id="124" idx="0"/>
          </p:cNvCxnSpPr>
          <p:nvPr/>
        </p:nvCxnSpPr>
        <p:spPr>
          <a:xfrm rot="5400000" flipH="1" flipV="1">
            <a:off x="2133991" y="5259480"/>
            <a:ext cx="136439" cy="301017"/>
          </a:xfrm>
          <a:prstGeom prst="bentConnector5">
            <a:avLst>
              <a:gd name="adj1" fmla="val -167547"/>
              <a:gd name="adj2" fmla="val 63377"/>
              <a:gd name="adj3" fmla="val 267547"/>
            </a:avLst>
          </a:prstGeom>
        </p:spPr>
        <p:style>
          <a:lnRef idx="1">
            <a:schemeClr val="accent1"/>
          </a:lnRef>
          <a:fillRef idx="0">
            <a:schemeClr val="accent1"/>
          </a:fillRef>
          <a:effectRef idx="0">
            <a:schemeClr val="accent1"/>
          </a:effectRef>
          <a:fontRef idx="minor">
            <a:schemeClr val="tx1"/>
          </a:fontRef>
        </p:style>
      </p:cxnSp>
      <p:cxnSp>
        <p:nvCxnSpPr>
          <p:cNvPr id="127" name="Conector angular 227">
            <a:extLst>
              <a:ext uri="{FF2B5EF4-FFF2-40B4-BE49-F238E27FC236}">
                <a16:creationId xmlns:a16="http://schemas.microsoft.com/office/drawing/2014/main" id="{CBE20815-F7DF-4825-A2BC-702BDDC8731C}"/>
              </a:ext>
            </a:extLst>
          </p:cNvPr>
          <p:cNvCxnSpPr>
            <a:stCxn id="124" idx="4"/>
            <a:endCxn id="125" idx="7"/>
          </p:cNvCxnSpPr>
          <p:nvPr/>
        </p:nvCxnSpPr>
        <p:spPr>
          <a:xfrm rot="5400000" flipH="1" flipV="1">
            <a:off x="2412490" y="5290410"/>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28" name="Conector angular 228">
            <a:extLst>
              <a:ext uri="{FF2B5EF4-FFF2-40B4-BE49-F238E27FC236}">
                <a16:creationId xmlns:a16="http://schemas.microsoft.com/office/drawing/2014/main" id="{93D381AD-8B3C-4263-923D-1871BCB5014E}"/>
              </a:ext>
            </a:extLst>
          </p:cNvPr>
          <p:cNvCxnSpPr>
            <a:stCxn id="125" idx="5"/>
            <a:endCxn id="121" idx="0"/>
          </p:cNvCxnSpPr>
          <p:nvPr/>
        </p:nvCxnSpPr>
        <p:spPr>
          <a:xfrm rot="5400000" flipH="1" flipV="1">
            <a:off x="2589212" y="5194836"/>
            <a:ext cx="128029" cy="263886"/>
          </a:xfrm>
          <a:prstGeom prst="bentConnector5">
            <a:avLst>
              <a:gd name="adj1" fmla="val -178553"/>
              <a:gd name="adj2" fmla="val 28792"/>
              <a:gd name="adj3" fmla="val 278553"/>
            </a:avLst>
          </a:prstGeom>
        </p:spPr>
        <p:style>
          <a:lnRef idx="1">
            <a:schemeClr val="accent1"/>
          </a:lnRef>
          <a:fillRef idx="0">
            <a:schemeClr val="accent1"/>
          </a:fillRef>
          <a:effectRef idx="0">
            <a:schemeClr val="accent1"/>
          </a:effectRef>
          <a:fontRef idx="minor">
            <a:schemeClr val="tx1"/>
          </a:fontRef>
        </p:style>
      </p:cxnSp>
      <p:sp>
        <p:nvSpPr>
          <p:cNvPr id="137" name="CuadroTexto 136">
            <a:extLst>
              <a:ext uri="{FF2B5EF4-FFF2-40B4-BE49-F238E27FC236}">
                <a16:creationId xmlns:a16="http://schemas.microsoft.com/office/drawing/2014/main" id="{D7FC059B-B8C0-4B76-904C-3B318B0AB1BF}"/>
              </a:ext>
            </a:extLst>
          </p:cNvPr>
          <p:cNvSpPr txBox="1"/>
          <p:nvPr/>
        </p:nvSpPr>
        <p:spPr>
          <a:xfrm>
            <a:off x="56165" y="2179682"/>
            <a:ext cx="1293807"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Transportista</a:t>
            </a:r>
          </a:p>
        </p:txBody>
      </p:sp>
      <p:sp>
        <p:nvSpPr>
          <p:cNvPr id="138" name="CuadroTexto 137">
            <a:extLst>
              <a:ext uri="{FF2B5EF4-FFF2-40B4-BE49-F238E27FC236}">
                <a16:creationId xmlns:a16="http://schemas.microsoft.com/office/drawing/2014/main" id="{EC21AD22-5D93-47F8-A83D-1A666E934DBD}"/>
              </a:ext>
            </a:extLst>
          </p:cNvPr>
          <p:cNvSpPr txBox="1"/>
          <p:nvPr/>
        </p:nvSpPr>
        <p:spPr>
          <a:xfrm>
            <a:off x="-1668" y="3492742"/>
            <a:ext cx="977631"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Recolecta</a:t>
            </a:r>
          </a:p>
        </p:txBody>
      </p:sp>
      <p:sp>
        <p:nvSpPr>
          <p:cNvPr id="139" name="CuadroTexto 138">
            <a:extLst>
              <a:ext uri="{FF2B5EF4-FFF2-40B4-BE49-F238E27FC236}">
                <a16:creationId xmlns:a16="http://schemas.microsoft.com/office/drawing/2014/main" id="{16EEEBE5-EB21-4E7F-B3C3-448F1F6DFE36}"/>
              </a:ext>
            </a:extLst>
          </p:cNvPr>
          <p:cNvSpPr txBox="1"/>
          <p:nvPr/>
        </p:nvSpPr>
        <p:spPr>
          <a:xfrm>
            <a:off x="487147" y="4884256"/>
            <a:ext cx="1038480"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Envasador</a:t>
            </a:r>
          </a:p>
        </p:txBody>
      </p:sp>
      <p:sp>
        <p:nvSpPr>
          <p:cNvPr id="140" name="CuadroTexto 139">
            <a:extLst>
              <a:ext uri="{FF2B5EF4-FFF2-40B4-BE49-F238E27FC236}">
                <a16:creationId xmlns:a16="http://schemas.microsoft.com/office/drawing/2014/main" id="{19887538-286E-4EC0-A07C-8F8F417517DD}"/>
              </a:ext>
            </a:extLst>
          </p:cNvPr>
          <p:cNvSpPr txBox="1"/>
          <p:nvPr/>
        </p:nvSpPr>
        <p:spPr>
          <a:xfrm>
            <a:off x="6545821" y="1700503"/>
            <a:ext cx="933003"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Olivarero</a:t>
            </a:r>
          </a:p>
        </p:txBody>
      </p:sp>
      <p:sp>
        <p:nvSpPr>
          <p:cNvPr id="141" name="CuadroTexto 140">
            <a:extLst>
              <a:ext uri="{FF2B5EF4-FFF2-40B4-BE49-F238E27FC236}">
                <a16:creationId xmlns:a16="http://schemas.microsoft.com/office/drawing/2014/main" id="{B48F7C4A-6EA5-41F0-BA1B-89E0ECCBCBE5}"/>
              </a:ext>
            </a:extLst>
          </p:cNvPr>
          <p:cNvSpPr txBox="1"/>
          <p:nvPr/>
        </p:nvSpPr>
        <p:spPr>
          <a:xfrm>
            <a:off x="8031937" y="2134156"/>
            <a:ext cx="1055921"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Tractorista</a:t>
            </a:r>
          </a:p>
        </p:txBody>
      </p:sp>
      <p:sp>
        <p:nvSpPr>
          <p:cNvPr id="142" name="CuadroTexto 141">
            <a:extLst>
              <a:ext uri="{FF2B5EF4-FFF2-40B4-BE49-F238E27FC236}">
                <a16:creationId xmlns:a16="http://schemas.microsoft.com/office/drawing/2014/main" id="{208ECE3E-8A40-4ACD-9559-B404ED5FABD9}"/>
              </a:ext>
            </a:extLst>
          </p:cNvPr>
          <p:cNvSpPr txBox="1"/>
          <p:nvPr/>
        </p:nvSpPr>
        <p:spPr>
          <a:xfrm>
            <a:off x="8246297" y="3952446"/>
            <a:ext cx="1332407"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Fitosanitarios</a:t>
            </a:r>
          </a:p>
        </p:txBody>
      </p:sp>
      <p:sp>
        <p:nvSpPr>
          <p:cNvPr id="143" name="CuadroTexto 142">
            <a:extLst>
              <a:ext uri="{FF2B5EF4-FFF2-40B4-BE49-F238E27FC236}">
                <a16:creationId xmlns:a16="http://schemas.microsoft.com/office/drawing/2014/main" id="{097EA4E3-B405-4948-AB33-DEF4EE7974D1}"/>
              </a:ext>
            </a:extLst>
          </p:cNvPr>
          <p:cNvSpPr txBox="1"/>
          <p:nvPr/>
        </p:nvSpPr>
        <p:spPr>
          <a:xfrm>
            <a:off x="7841346" y="5367564"/>
            <a:ext cx="1851716"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Dron / foto satélite</a:t>
            </a:r>
          </a:p>
        </p:txBody>
      </p:sp>
      <p:sp>
        <p:nvSpPr>
          <p:cNvPr id="144" name="CuadroTexto 143">
            <a:extLst>
              <a:ext uri="{FF2B5EF4-FFF2-40B4-BE49-F238E27FC236}">
                <a16:creationId xmlns:a16="http://schemas.microsoft.com/office/drawing/2014/main" id="{3FDF0274-99B1-4E47-9308-2573246AB0F0}"/>
              </a:ext>
            </a:extLst>
          </p:cNvPr>
          <p:cNvSpPr txBox="1"/>
          <p:nvPr/>
        </p:nvSpPr>
        <p:spPr>
          <a:xfrm>
            <a:off x="1855436" y="6182289"/>
            <a:ext cx="1146908" cy="349702"/>
          </a:xfrm>
          <a:prstGeom prst="rect">
            <a:avLst/>
          </a:prstGeom>
          <a:solidFill>
            <a:schemeClr val="bg1">
              <a:lumMod val="85000"/>
            </a:schemeClr>
          </a:solidFill>
        </p:spPr>
        <p:txBody>
          <a:bodyPr wrap="none" lIns="36000" tIns="36000" rIns="36000" bIns="36000" rtlCol="0" anchor="ctr" anchorCtr="1">
            <a:spAutoFit/>
          </a:bodyPr>
          <a:lstStyle/>
          <a:p>
            <a:r>
              <a:rPr lang="es-ES" dirty="0">
                <a:solidFill>
                  <a:schemeClr val="bg2">
                    <a:lumMod val="10000"/>
                  </a:schemeClr>
                </a:solidFill>
              </a:rPr>
              <a:t>Cliente B2B</a:t>
            </a:r>
          </a:p>
        </p:txBody>
      </p:sp>
      <p:pic>
        <p:nvPicPr>
          <p:cNvPr id="2050" name="Picture 2" descr="man smiling and using MacBook">
            <a:extLst>
              <a:ext uri="{FF2B5EF4-FFF2-40B4-BE49-F238E27FC236}">
                <a16:creationId xmlns:a16="http://schemas.microsoft.com/office/drawing/2014/main" id="{6147EF00-A621-4416-948E-AF545B741A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542038" y="2922854"/>
            <a:ext cx="2690602" cy="2185789"/>
          </a:xfrm>
          <a:prstGeom prst="rect">
            <a:avLst/>
          </a:prstGeom>
          <a:noFill/>
          <a:extLst>
            <a:ext uri="{909E8E84-426E-40DD-AFC4-6F175D3DCCD1}">
              <a14:hiddenFill xmlns:a14="http://schemas.microsoft.com/office/drawing/2010/main">
                <a:solidFill>
                  <a:srgbClr val="FFFFFF"/>
                </a:solidFill>
              </a14:hiddenFill>
            </a:ext>
          </a:extLst>
        </p:spPr>
      </p:pic>
      <p:sp>
        <p:nvSpPr>
          <p:cNvPr id="129" name="Rectángulo 128">
            <a:extLst>
              <a:ext uri="{FF2B5EF4-FFF2-40B4-BE49-F238E27FC236}">
                <a16:creationId xmlns:a16="http://schemas.microsoft.com/office/drawing/2014/main" id="{802E8040-9E8F-86D5-4BB3-3426436835D7}"/>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90626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1+#ppt_w/2"/>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9D4328-330C-49A9-A070-2F2519F17B91}"/>
              </a:ext>
            </a:extLst>
          </p:cNvPr>
          <p:cNvSpPr>
            <a:spLocks noGrp="1"/>
          </p:cNvSpPr>
          <p:nvPr>
            <p:ph type="title"/>
          </p:nvPr>
        </p:nvSpPr>
        <p:spPr>
          <a:xfrm>
            <a:off x="838200" y="365126"/>
            <a:ext cx="9840124" cy="1092200"/>
          </a:xfrm>
        </p:spPr>
        <p:txBody>
          <a:bodyPr/>
          <a:lstStyle/>
          <a:p>
            <a:r>
              <a:rPr lang="es-ES" noProof="0" dirty="0"/>
              <a:t>Obtenemos Blockchain</a:t>
            </a:r>
          </a:p>
        </p:txBody>
      </p:sp>
      <p:graphicFrame>
        <p:nvGraphicFramePr>
          <p:cNvPr id="7" name="Marcador de contenido 6">
            <a:extLst>
              <a:ext uri="{FF2B5EF4-FFF2-40B4-BE49-F238E27FC236}">
                <a16:creationId xmlns:a16="http://schemas.microsoft.com/office/drawing/2014/main" id="{9BCB6B51-6395-4716-BE6A-8EED05620CD7}"/>
              </a:ext>
            </a:extLst>
          </p:cNvPr>
          <p:cNvGraphicFramePr>
            <a:graphicFrameLocks noGrp="1"/>
          </p:cNvGraphicFramePr>
          <p:nvPr>
            <p:ph idx="1"/>
            <p:extLst>
              <p:ext uri="{D42A27DB-BD31-4B8C-83A1-F6EECF244321}">
                <p14:modId xmlns:p14="http://schemas.microsoft.com/office/powerpoint/2010/main" val="265294570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7F9F95A-5271-4113-BBB4-626DE656FCF5}"/>
              </a:ext>
            </a:extLst>
          </p:cNvPr>
          <p:cNvSpPr>
            <a:spLocks noGrp="1"/>
          </p:cNvSpPr>
          <p:nvPr>
            <p:ph type="dt" sz="half" idx="10"/>
          </p:nvPr>
        </p:nvSpPr>
        <p:spPr>
          <a:xfrm>
            <a:off x="814650" y="6400379"/>
            <a:ext cx="3380278" cy="365125"/>
          </a:xfrm>
        </p:spPr>
        <p:txBody>
          <a:bodyPr/>
          <a:lstStyle/>
          <a:p>
            <a:fld id="{56A6C105-22A2-4C17-93DD-7FEDDD801AAB}"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A9B541D-8DA7-42D0-95F6-13090AAB291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2F4D75C0-852F-48E7-AD2E-48976D85D59E}"/>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7</a:t>
            </a:fld>
            <a:endParaRPr lang="es-ES" dirty="0"/>
          </a:p>
        </p:txBody>
      </p:sp>
      <p:pic>
        <p:nvPicPr>
          <p:cNvPr id="3074" name="Picture 2" descr="BlockChain for layman — Part 2. Hashing and Hash functions: | by Praveen  Kanumarlapudi | Medium">
            <a:extLst>
              <a:ext uri="{FF2B5EF4-FFF2-40B4-BE49-F238E27FC236}">
                <a16:creationId xmlns:a16="http://schemas.microsoft.com/office/drawing/2014/main" id="{A1A02185-2AAD-44AC-940E-802373575CA6}"/>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1102" y="5376898"/>
            <a:ext cx="2133600" cy="96901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o 7">
            <a:extLst>
              <a:ext uri="{FF2B5EF4-FFF2-40B4-BE49-F238E27FC236}">
                <a16:creationId xmlns:a16="http://schemas.microsoft.com/office/drawing/2014/main" id="{D113BA5C-D1D8-454A-9850-F8BC1538C9D4}"/>
              </a:ext>
            </a:extLst>
          </p:cNvPr>
          <p:cNvGrpSpPr>
            <a:grpSpLocks noChangeAspect="1"/>
          </p:cNvGrpSpPr>
          <p:nvPr/>
        </p:nvGrpSpPr>
        <p:grpSpPr>
          <a:xfrm>
            <a:off x="3538508" y="5357909"/>
            <a:ext cx="2351338" cy="857292"/>
            <a:chOff x="107324" y="1670478"/>
            <a:chExt cx="10555145" cy="4863270"/>
          </a:xfrm>
        </p:grpSpPr>
        <p:pic>
          <p:nvPicPr>
            <p:cNvPr id="9" name="Picture 174" descr="MainFrameServer">
              <a:extLst>
                <a:ext uri="{FF2B5EF4-FFF2-40B4-BE49-F238E27FC236}">
                  <a16:creationId xmlns:a16="http://schemas.microsoft.com/office/drawing/2014/main" id="{05C36172-9002-436E-9259-D5B3A0590A0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49609" y="4844143"/>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74" descr="MainFrameServer">
              <a:extLst>
                <a:ext uri="{FF2B5EF4-FFF2-40B4-BE49-F238E27FC236}">
                  <a16:creationId xmlns:a16="http://schemas.microsoft.com/office/drawing/2014/main" id="{2462DE0A-44AF-4E72-A3E8-4EDBE85ABF6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32918" y="4979760"/>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74" descr="MainFrameServer">
              <a:extLst>
                <a:ext uri="{FF2B5EF4-FFF2-40B4-BE49-F238E27FC236}">
                  <a16:creationId xmlns:a16="http://schemas.microsoft.com/office/drawing/2014/main" id="{0C60423E-8CD5-4C53-80C7-A5DB6D7C0A3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95016" y="2220685"/>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74" descr="MainFrameServer">
              <a:extLst>
                <a:ext uri="{FF2B5EF4-FFF2-40B4-BE49-F238E27FC236}">
                  <a16:creationId xmlns:a16="http://schemas.microsoft.com/office/drawing/2014/main" id="{75C8CA9B-57F3-4BA8-BCD9-9B0A68A711F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80682" y="2244158"/>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74" descr="MainFrameServer">
              <a:extLst>
                <a:ext uri="{FF2B5EF4-FFF2-40B4-BE49-F238E27FC236}">
                  <a16:creationId xmlns:a16="http://schemas.microsoft.com/office/drawing/2014/main" id="{FFA837D3-8E3D-4DC4-BF59-4D438D3D00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61566" y="3494314"/>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74" descr="MainFrameServer">
              <a:extLst>
                <a:ext uri="{FF2B5EF4-FFF2-40B4-BE49-F238E27FC236}">
                  <a16:creationId xmlns:a16="http://schemas.microsoft.com/office/drawing/2014/main" id="{F1B189C0-5D3B-43E3-ACFA-2CE3B7E95DD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14132" y="3559628"/>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74" descr="MainFrameServer">
              <a:extLst>
                <a:ext uri="{FF2B5EF4-FFF2-40B4-BE49-F238E27FC236}">
                  <a16:creationId xmlns:a16="http://schemas.microsoft.com/office/drawing/2014/main" id="{008452F0-1693-41D3-A9B0-1140295FAD7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87849" y="5385026"/>
              <a:ext cx="642938" cy="762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74" descr="MainFrameServer">
              <a:extLst>
                <a:ext uri="{FF2B5EF4-FFF2-40B4-BE49-F238E27FC236}">
                  <a16:creationId xmlns:a16="http://schemas.microsoft.com/office/drawing/2014/main" id="{51DAF650-8D17-4AC3-8D0E-C1293EE0B91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87849" y="1737972"/>
              <a:ext cx="642938" cy="7620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ector recto 16">
              <a:extLst>
                <a:ext uri="{FF2B5EF4-FFF2-40B4-BE49-F238E27FC236}">
                  <a16:creationId xmlns:a16="http://schemas.microsoft.com/office/drawing/2014/main" id="{D22A01BA-3C65-4728-88C9-78827E4C012B}"/>
                </a:ext>
              </a:extLst>
            </p:cNvPr>
            <p:cNvCxnSpPr>
              <a:stCxn id="14" idx="3"/>
              <a:endCxn id="12" idx="2"/>
            </p:cNvCxnSpPr>
            <p:nvPr/>
          </p:nvCxnSpPr>
          <p:spPr>
            <a:xfrm flipV="1">
              <a:off x="2957070" y="3006158"/>
              <a:ext cx="145081" cy="9344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AAB30025-9AB4-4AB2-8609-517B70F9C4F2}"/>
                </a:ext>
              </a:extLst>
            </p:cNvPr>
            <p:cNvCxnSpPr>
              <a:stCxn id="14" idx="3"/>
              <a:endCxn id="16" idx="2"/>
            </p:cNvCxnSpPr>
            <p:nvPr/>
          </p:nvCxnSpPr>
          <p:spPr>
            <a:xfrm flipV="1">
              <a:off x="2957070" y="2499972"/>
              <a:ext cx="1652248" cy="1440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50F8DEC1-6449-4A37-96FA-EC8AFD8BC813}"/>
                </a:ext>
              </a:extLst>
            </p:cNvPr>
            <p:cNvCxnSpPr>
              <a:stCxn id="14" idx="3"/>
              <a:endCxn id="11" idx="2"/>
            </p:cNvCxnSpPr>
            <p:nvPr/>
          </p:nvCxnSpPr>
          <p:spPr>
            <a:xfrm flipV="1">
              <a:off x="2957070" y="2982685"/>
              <a:ext cx="3159415" cy="9579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9AD7862B-5ED8-4577-BF54-6FD6999058DE}"/>
                </a:ext>
              </a:extLst>
            </p:cNvPr>
            <p:cNvCxnSpPr>
              <a:stCxn id="14" idx="3"/>
              <a:endCxn id="13" idx="1"/>
            </p:cNvCxnSpPr>
            <p:nvPr/>
          </p:nvCxnSpPr>
          <p:spPr>
            <a:xfrm flipV="1">
              <a:off x="2957070" y="3875314"/>
              <a:ext cx="3304496" cy="6531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BCA64BE9-C82D-4257-8355-81FC0B1BF3F4}"/>
                </a:ext>
              </a:extLst>
            </p:cNvPr>
            <p:cNvCxnSpPr>
              <a:stCxn id="14" idx="3"/>
              <a:endCxn id="9" idx="1"/>
            </p:cNvCxnSpPr>
            <p:nvPr/>
          </p:nvCxnSpPr>
          <p:spPr>
            <a:xfrm>
              <a:off x="2957070" y="3940628"/>
              <a:ext cx="2892539" cy="12845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6AF82764-5F93-4DAA-B3F9-1A0BC1AF055E}"/>
                </a:ext>
              </a:extLst>
            </p:cNvPr>
            <p:cNvCxnSpPr>
              <a:stCxn id="15" idx="0"/>
              <a:endCxn id="14" idx="3"/>
            </p:cNvCxnSpPr>
            <p:nvPr/>
          </p:nvCxnSpPr>
          <p:spPr>
            <a:xfrm flipH="1" flipV="1">
              <a:off x="2957070" y="3940628"/>
              <a:ext cx="1652248" cy="14443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9397CAFF-E8E4-48CA-BF90-DCB92D7E91F8}"/>
                </a:ext>
              </a:extLst>
            </p:cNvPr>
            <p:cNvCxnSpPr>
              <a:stCxn id="14" idx="3"/>
              <a:endCxn id="10" idx="0"/>
            </p:cNvCxnSpPr>
            <p:nvPr/>
          </p:nvCxnSpPr>
          <p:spPr>
            <a:xfrm>
              <a:off x="2957070" y="3940628"/>
              <a:ext cx="297317" cy="1039132"/>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C8A3ED89-8DA7-4D53-B313-9DAB03AD5491}"/>
                </a:ext>
              </a:extLst>
            </p:cNvPr>
            <p:cNvCxnSpPr>
              <a:stCxn id="16" idx="2"/>
              <a:endCxn id="12" idx="2"/>
            </p:cNvCxnSpPr>
            <p:nvPr/>
          </p:nvCxnSpPr>
          <p:spPr>
            <a:xfrm flipH="1">
              <a:off x="3102151" y="2499972"/>
              <a:ext cx="1507167" cy="5061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5AC97000-32E2-42FF-92E5-08986BF27065}"/>
                </a:ext>
              </a:extLst>
            </p:cNvPr>
            <p:cNvCxnSpPr>
              <a:stCxn id="12" idx="2"/>
              <a:endCxn id="11" idx="2"/>
            </p:cNvCxnSpPr>
            <p:nvPr/>
          </p:nvCxnSpPr>
          <p:spPr>
            <a:xfrm flipV="1">
              <a:off x="3102151" y="2982685"/>
              <a:ext cx="3014334" cy="23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38A01FAD-C147-4BF8-AFFD-9A536E783F2A}"/>
                </a:ext>
              </a:extLst>
            </p:cNvPr>
            <p:cNvCxnSpPr>
              <a:stCxn id="12" idx="2"/>
              <a:endCxn id="13" idx="1"/>
            </p:cNvCxnSpPr>
            <p:nvPr/>
          </p:nvCxnSpPr>
          <p:spPr>
            <a:xfrm>
              <a:off x="3102151" y="3006158"/>
              <a:ext cx="3159415" cy="8691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F919B2D3-BC46-46A6-8CB6-89942BDE7049}"/>
                </a:ext>
              </a:extLst>
            </p:cNvPr>
            <p:cNvCxnSpPr>
              <a:stCxn id="12" idx="2"/>
              <a:endCxn id="15" idx="0"/>
            </p:cNvCxnSpPr>
            <p:nvPr/>
          </p:nvCxnSpPr>
          <p:spPr>
            <a:xfrm>
              <a:off x="3102151" y="3006158"/>
              <a:ext cx="1507167" cy="23788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E593B48F-B1AE-4058-97D0-309CD517129A}"/>
                </a:ext>
              </a:extLst>
            </p:cNvPr>
            <p:cNvCxnSpPr>
              <a:stCxn id="12" idx="2"/>
              <a:endCxn id="10" idx="0"/>
            </p:cNvCxnSpPr>
            <p:nvPr/>
          </p:nvCxnSpPr>
          <p:spPr>
            <a:xfrm>
              <a:off x="3102151" y="3006158"/>
              <a:ext cx="152236" cy="19736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A6707764-F6A0-494B-8302-29A85DB545C6}"/>
                </a:ext>
              </a:extLst>
            </p:cNvPr>
            <p:cNvCxnSpPr>
              <a:stCxn id="16" idx="2"/>
              <a:endCxn id="11" idx="2"/>
            </p:cNvCxnSpPr>
            <p:nvPr/>
          </p:nvCxnSpPr>
          <p:spPr>
            <a:xfrm>
              <a:off x="4609318" y="2499972"/>
              <a:ext cx="1507167" cy="48271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0AE70635-FF2E-4F47-96F9-70A019D7DAD6}"/>
                </a:ext>
              </a:extLst>
            </p:cNvPr>
            <p:cNvCxnSpPr>
              <a:stCxn id="16" idx="2"/>
              <a:endCxn id="13" idx="1"/>
            </p:cNvCxnSpPr>
            <p:nvPr/>
          </p:nvCxnSpPr>
          <p:spPr>
            <a:xfrm>
              <a:off x="4609318" y="2499972"/>
              <a:ext cx="1652248" cy="137534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57A311C8-154F-4CCA-9D07-4CF7CD2E406F}"/>
                </a:ext>
              </a:extLst>
            </p:cNvPr>
            <p:cNvCxnSpPr>
              <a:stCxn id="12" idx="2"/>
              <a:endCxn id="9" idx="1"/>
            </p:cNvCxnSpPr>
            <p:nvPr/>
          </p:nvCxnSpPr>
          <p:spPr>
            <a:xfrm>
              <a:off x="3102151" y="3006158"/>
              <a:ext cx="2747458" cy="221898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D1873D70-CCC9-42A2-998E-C84384EB096F}"/>
                </a:ext>
              </a:extLst>
            </p:cNvPr>
            <p:cNvCxnSpPr>
              <a:stCxn id="13" idx="1"/>
              <a:endCxn id="11" idx="2"/>
            </p:cNvCxnSpPr>
            <p:nvPr/>
          </p:nvCxnSpPr>
          <p:spPr>
            <a:xfrm flipH="1" flipV="1">
              <a:off x="6116485" y="2982685"/>
              <a:ext cx="145081" cy="892629"/>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A65AB783-50D5-4CA4-9D82-0BA67F8C7032}"/>
                </a:ext>
              </a:extLst>
            </p:cNvPr>
            <p:cNvCxnSpPr>
              <a:stCxn id="15" idx="0"/>
              <a:endCxn id="11" idx="2"/>
            </p:cNvCxnSpPr>
            <p:nvPr/>
          </p:nvCxnSpPr>
          <p:spPr>
            <a:xfrm flipV="1">
              <a:off x="4609318" y="2982685"/>
              <a:ext cx="1507167" cy="24023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D7D0AD5F-1557-4CB0-8C8F-AD70D82214A8}"/>
                </a:ext>
              </a:extLst>
            </p:cNvPr>
            <p:cNvCxnSpPr>
              <a:stCxn id="13" idx="1"/>
              <a:endCxn id="10" idx="0"/>
            </p:cNvCxnSpPr>
            <p:nvPr/>
          </p:nvCxnSpPr>
          <p:spPr>
            <a:xfrm flipH="1">
              <a:off x="3254387" y="3875314"/>
              <a:ext cx="3007179" cy="11044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3BA6BB79-57EA-45DE-A165-158C3D5FCFAC}"/>
                </a:ext>
              </a:extLst>
            </p:cNvPr>
            <p:cNvCxnSpPr>
              <a:stCxn id="9" idx="1"/>
              <a:endCxn id="15" idx="0"/>
            </p:cNvCxnSpPr>
            <p:nvPr/>
          </p:nvCxnSpPr>
          <p:spPr>
            <a:xfrm flipH="1">
              <a:off x="4609318" y="5225143"/>
              <a:ext cx="1240291" cy="1598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ector recto 35">
              <a:extLst>
                <a:ext uri="{FF2B5EF4-FFF2-40B4-BE49-F238E27FC236}">
                  <a16:creationId xmlns:a16="http://schemas.microsoft.com/office/drawing/2014/main" id="{C4B03517-174B-4D35-805D-6FDDF993EF95}"/>
                </a:ext>
              </a:extLst>
            </p:cNvPr>
            <p:cNvCxnSpPr>
              <a:stCxn id="10" idx="0"/>
              <a:endCxn id="15" idx="0"/>
            </p:cNvCxnSpPr>
            <p:nvPr/>
          </p:nvCxnSpPr>
          <p:spPr>
            <a:xfrm>
              <a:off x="3254387" y="4979760"/>
              <a:ext cx="1354931" cy="40526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ector recto 36">
              <a:extLst>
                <a:ext uri="{FF2B5EF4-FFF2-40B4-BE49-F238E27FC236}">
                  <a16:creationId xmlns:a16="http://schemas.microsoft.com/office/drawing/2014/main" id="{7C9EA3EE-451E-4666-81C5-6A410F43CA5D}"/>
                </a:ext>
              </a:extLst>
            </p:cNvPr>
            <p:cNvCxnSpPr>
              <a:stCxn id="15" idx="0"/>
              <a:endCxn id="16" idx="2"/>
            </p:cNvCxnSpPr>
            <p:nvPr/>
          </p:nvCxnSpPr>
          <p:spPr>
            <a:xfrm flipV="1">
              <a:off x="4609318" y="2499972"/>
              <a:ext cx="0" cy="2885054"/>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ector recto 37">
              <a:extLst>
                <a:ext uri="{FF2B5EF4-FFF2-40B4-BE49-F238E27FC236}">
                  <a16:creationId xmlns:a16="http://schemas.microsoft.com/office/drawing/2014/main" id="{536BD309-E062-4AE1-ADF8-6B65910D21D7}"/>
                </a:ext>
              </a:extLst>
            </p:cNvPr>
            <p:cNvCxnSpPr>
              <a:stCxn id="11" idx="2"/>
              <a:endCxn id="9" idx="1"/>
            </p:cNvCxnSpPr>
            <p:nvPr/>
          </p:nvCxnSpPr>
          <p:spPr>
            <a:xfrm flipH="1">
              <a:off x="5849609" y="2982685"/>
              <a:ext cx="266876" cy="224245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89267938-D51A-4B9E-B070-A17A647EE970}"/>
                </a:ext>
              </a:extLst>
            </p:cNvPr>
            <p:cNvCxnSpPr>
              <a:stCxn id="9" idx="1"/>
              <a:endCxn id="13" idx="1"/>
            </p:cNvCxnSpPr>
            <p:nvPr/>
          </p:nvCxnSpPr>
          <p:spPr>
            <a:xfrm flipV="1">
              <a:off x="5849609" y="3875314"/>
              <a:ext cx="411957" cy="13498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Conector recto 39">
              <a:extLst>
                <a:ext uri="{FF2B5EF4-FFF2-40B4-BE49-F238E27FC236}">
                  <a16:creationId xmlns:a16="http://schemas.microsoft.com/office/drawing/2014/main" id="{6AF583D3-2A5D-4D25-BA7D-BAFB1CAF22A9}"/>
                </a:ext>
              </a:extLst>
            </p:cNvPr>
            <p:cNvCxnSpPr>
              <a:stCxn id="13" idx="1"/>
              <a:endCxn id="15" idx="0"/>
            </p:cNvCxnSpPr>
            <p:nvPr/>
          </p:nvCxnSpPr>
          <p:spPr>
            <a:xfrm flipH="1">
              <a:off x="4609318" y="3875314"/>
              <a:ext cx="1652248" cy="1509712"/>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Conector recto 40">
              <a:extLst>
                <a:ext uri="{FF2B5EF4-FFF2-40B4-BE49-F238E27FC236}">
                  <a16:creationId xmlns:a16="http://schemas.microsoft.com/office/drawing/2014/main" id="{8F3A6D5A-ED25-47F2-B115-5C876261AEE7}"/>
                </a:ext>
              </a:extLst>
            </p:cNvPr>
            <p:cNvCxnSpPr>
              <a:stCxn id="16" idx="2"/>
              <a:endCxn id="9" idx="1"/>
            </p:cNvCxnSpPr>
            <p:nvPr/>
          </p:nvCxnSpPr>
          <p:spPr>
            <a:xfrm>
              <a:off x="4609318" y="2499972"/>
              <a:ext cx="1240291" cy="2725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Conector recto 41">
              <a:extLst>
                <a:ext uri="{FF2B5EF4-FFF2-40B4-BE49-F238E27FC236}">
                  <a16:creationId xmlns:a16="http://schemas.microsoft.com/office/drawing/2014/main" id="{70017DDD-AEA3-4193-B811-D664D10BA39A}"/>
                </a:ext>
              </a:extLst>
            </p:cNvPr>
            <p:cNvCxnSpPr>
              <a:stCxn id="16" idx="2"/>
              <a:endCxn id="10" idx="0"/>
            </p:cNvCxnSpPr>
            <p:nvPr/>
          </p:nvCxnSpPr>
          <p:spPr>
            <a:xfrm flipH="1">
              <a:off x="3254387" y="2499972"/>
              <a:ext cx="1354931" cy="24797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F95EA816-EE22-4796-9650-DCDE3DB28677}"/>
                </a:ext>
              </a:extLst>
            </p:cNvPr>
            <p:cNvCxnSpPr>
              <a:stCxn id="11" idx="2"/>
              <a:endCxn id="10" idx="0"/>
            </p:cNvCxnSpPr>
            <p:nvPr/>
          </p:nvCxnSpPr>
          <p:spPr>
            <a:xfrm flipH="1">
              <a:off x="3254387" y="2982685"/>
              <a:ext cx="2862098" cy="1997075"/>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ángulo 43">
              <a:extLst>
                <a:ext uri="{FF2B5EF4-FFF2-40B4-BE49-F238E27FC236}">
                  <a16:creationId xmlns:a16="http://schemas.microsoft.com/office/drawing/2014/main" id="{DB2C8E9F-8F1B-48D7-82C1-0279C9E99F0C}"/>
                </a:ext>
              </a:extLst>
            </p:cNvPr>
            <p:cNvSpPr/>
            <p:nvPr/>
          </p:nvSpPr>
          <p:spPr>
            <a:xfrm>
              <a:off x="6453888" y="2497792"/>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45" name="Rectángulo 44">
              <a:extLst>
                <a:ext uri="{FF2B5EF4-FFF2-40B4-BE49-F238E27FC236}">
                  <a16:creationId xmlns:a16="http://schemas.microsoft.com/office/drawing/2014/main" id="{462DC4BF-9201-418C-AC0D-BFE98B7171EA}"/>
                </a:ext>
              </a:extLst>
            </p:cNvPr>
            <p:cNvSpPr/>
            <p:nvPr/>
          </p:nvSpPr>
          <p:spPr>
            <a:xfrm>
              <a:off x="6802472" y="249779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46" name="Rectángulo 45">
              <a:extLst>
                <a:ext uri="{FF2B5EF4-FFF2-40B4-BE49-F238E27FC236}">
                  <a16:creationId xmlns:a16="http://schemas.microsoft.com/office/drawing/2014/main" id="{DE706869-860E-42E7-AFA2-DAE32C979C04}"/>
                </a:ext>
              </a:extLst>
            </p:cNvPr>
            <p:cNvSpPr/>
            <p:nvPr/>
          </p:nvSpPr>
          <p:spPr>
            <a:xfrm>
              <a:off x="7125442" y="249779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47" name="Rectángulo 46">
              <a:extLst>
                <a:ext uri="{FF2B5EF4-FFF2-40B4-BE49-F238E27FC236}">
                  <a16:creationId xmlns:a16="http://schemas.microsoft.com/office/drawing/2014/main" id="{D1AA4BCF-E67A-4D8B-9AE3-96460F99EEE0}"/>
                </a:ext>
              </a:extLst>
            </p:cNvPr>
            <p:cNvSpPr/>
            <p:nvPr/>
          </p:nvSpPr>
          <p:spPr>
            <a:xfrm>
              <a:off x="7848121" y="2497792"/>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48" name="Conector angular 119">
              <a:extLst>
                <a:ext uri="{FF2B5EF4-FFF2-40B4-BE49-F238E27FC236}">
                  <a16:creationId xmlns:a16="http://schemas.microsoft.com/office/drawing/2014/main" id="{D85D77BF-9F62-4289-9515-C2A01A6B41D6}"/>
                </a:ext>
              </a:extLst>
            </p:cNvPr>
            <p:cNvCxnSpPr>
              <a:stCxn id="44" idx="2"/>
              <a:endCxn id="45" idx="0"/>
            </p:cNvCxnSpPr>
            <p:nvPr/>
          </p:nvCxnSpPr>
          <p:spPr>
            <a:xfrm rot="5400000" flipH="1" flipV="1">
              <a:off x="6579510" y="2505291"/>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49" name="Conector angular 124">
              <a:extLst>
                <a:ext uri="{FF2B5EF4-FFF2-40B4-BE49-F238E27FC236}">
                  <a16:creationId xmlns:a16="http://schemas.microsoft.com/office/drawing/2014/main" id="{E18AB627-BB9D-47F4-B6A1-04C5A95354E1}"/>
                </a:ext>
              </a:extLst>
            </p:cNvPr>
            <p:cNvCxnSpPr>
              <a:stCxn id="45" idx="2"/>
              <a:endCxn id="46" idx="0"/>
            </p:cNvCxnSpPr>
            <p:nvPr/>
          </p:nvCxnSpPr>
          <p:spPr>
            <a:xfrm rot="5400000" flipH="1" flipV="1">
              <a:off x="6908091" y="2510902"/>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50" name="Elipse 49">
              <a:extLst>
                <a:ext uri="{FF2B5EF4-FFF2-40B4-BE49-F238E27FC236}">
                  <a16:creationId xmlns:a16="http://schemas.microsoft.com/office/drawing/2014/main" id="{C9C51B5F-9160-49A7-B93C-4AFAFF9822C7}"/>
                </a:ext>
              </a:extLst>
            </p:cNvPr>
            <p:cNvSpPr/>
            <p:nvPr/>
          </p:nvSpPr>
          <p:spPr>
            <a:xfrm>
              <a:off x="7522336" y="2576798"/>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51" name="Elipse 50">
              <a:extLst>
                <a:ext uri="{FF2B5EF4-FFF2-40B4-BE49-F238E27FC236}">
                  <a16:creationId xmlns:a16="http://schemas.microsoft.com/office/drawing/2014/main" id="{3CEFCF2B-50EB-42FD-B481-0673DC8CB766}"/>
                </a:ext>
              </a:extLst>
            </p:cNvPr>
            <p:cNvSpPr/>
            <p:nvPr/>
          </p:nvSpPr>
          <p:spPr>
            <a:xfrm>
              <a:off x="7674736" y="2576798"/>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52" name="Conector angular 134">
              <a:extLst>
                <a:ext uri="{FF2B5EF4-FFF2-40B4-BE49-F238E27FC236}">
                  <a16:creationId xmlns:a16="http://schemas.microsoft.com/office/drawing/2014/main" id="{1FC88875-DA97-4E7C-9414-E689CEC01A5F}"/>
                </a:ext>
              </a:extLst>
            </p:cNvPr>
            <p:cNvCxnSpPr>
              <a:stCxn id="46" idx="2"/>
              <a:endCxn id="50" idx="0"/>
            </p:cNvCxnSpPr>
            <p:nvPr/>
          </p:nvCxnSpPr>
          <p:spPr>
            <a:xfrm rot="5400000" flipH="1" flipV="1">
              <a:off x="7259594" y="2561379"/>
              <a:ext cx="270185" cy="301023"/>
            </a:xfrm>
            <a:prstGeom prst="bentConnector5">
              <a:avLst>
                <a:gd name="adj1" fmla="val -479970"/>
                <a:gd name="adj2" fmla="val 65924"/>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53" name="Conector angular 137">
              <a:extLst>
                <a:ext uri="{FF2B5EF4-FFF2-40B4-BE49-F238E27FC236}">
                  <a16:creationId xmlns:a16="http://schemas.microsoft.com/office/drawing/2014/main" id="{9ECD7763-49E3-4F82-B39B-0829AF478467}"/>
                </a:ext>
              </a:extLst>
            </p:cNvPr>
            <p:cNvCxnSpPr>
              <a:stCxn id="50" idx="4"/>
              <a:endCxn id="51" idx="7"/>
            </p:cNvCxnSpPr>
            <p:nvPr/>
          </p:nvCxnSpPr>
          <p:spPr>
            <a:xfrm rot="5400000" flipH="1" flipV="1">
              <a:off x="7604966" y="2525439"/>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54" name="Conector angular 141">
              <a:extLst>
                <a:ext uri="{FF2B5EF4-FFF2-40B4-BE49-F238E27FC236}">
                  <a16:creationId xmlns:a16="http://schemas.microsoft.com/office/drawing/2014/main" id="{7EEC893F-6201-45EE-8E28-16AA017D0F47}"/>
                </a:ext>
              </a:extLst>
            </p:cNvPr>
            <p:cNvCxnSpPr>
              <a:stCxn id="51" idx="5"/>
              <a:endCxn id="47" idx="0"/>
            </p:cNvCxnSpPr>
            <p:nvPr/>
          </p:nvCxnSpPr>
          <p:spPr>
            <a:xfrm rot="5400000" flipH="1" flipV="1">
              <a:off x="7781684" y="2429864"/>
              <a:ext cx="128030" cy="263886"/>
            </a:xfrm>
            <a:prstGeom prst="bentConnector5">
              <a:avLst>
                <a:gd name="adj1" fmla="val -1012894"/>
                <a:gd name="adj2" fmla="val 26726"/>
                <a:gd name="adj3" fmla="val 1112894"/>
              </a:avLst>
            </a:prstGeom>
          </p:spPr>
          <p:style>
            <a:lnRef idx="1">
              <a:schemeClr val="accent1"/>
            </a:lnRef>
            <a:fillRef idx="0">
              <a:schemeClr val="accent1"/>
            </a:fillRef>
            <a:effectRef idx="0">
              <a:schemeClr val="accent1"/>
            </a:effectRef>
            <a:fontRef idx="minor">
              <a:schemeClr val="tx1"/>
            </a:fontRef>
          </p:style>
        </p:cxnSp>
        <p:sp>
          <p:nvSpPr>
            <p:cNvPr id="55" name="Rectángulo 54">
              <a:extLst>
                <a:ext uri="{FF2B5EF4-FFF2-40B4-BE49-F238E27FC236}">
                  <a16:creationId xmlns:a16="http://schemas.microsoft.com/office/drawing/2014/main" id="{EA245E27-97D9-4551-B89E-EED898A37ECA}"/>
                </a:ext>
              </a:extLst>
            </p:cNvPr>
            <p:cNvSpPr/>
            <p:nvPr/>
          </p:nvSpPr>
          <p:spPr>
            <a:xfrm>
              <a:off x="6854481" y="3695218"/>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56" name="Rectángulo 55">
              <a:extLst>
                <a:ext uri="{FF2B5EF4-FFF2-40B4-BE49-F238E27FC236}">
                  <a16:creationId xmlns:a16="http://schemas.microsoft.com/office/drawing/2014/main" id="{588D894F-8BB6-4C7F-BF94-070B7CA77469}"/>
                </a:ext>
              </a:extLst>
            </p:cNvPr>
            <p:cNvSpPr/>
            <p:nvPr/>
          </p:nvSpPr>
          <p:spPr>
            <a:xfrm>
              <a:off x="7203070" y="3695218"/>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57" name="Rectángulo 56">
              <a:extLst>
                <a:ext uri="{FF2B5EF4-FFF2-40B4-BE49-F238E27FC236}">
                  <a16:creationId xmlns:a16="http://schemas.microsoft.com/office/drawing/2014/main" id="{CB0F8DCB-31CA-493E-89C7-EEC8C7227BE1}"/>
                </a:ext>
              </a:extLst>
            </p:cNvPr>
            <p:cNvSpPr/>
            <p:nvPr/>
          </p:nvSpPr>
          <p:spPr>
            <a:xfrm>
              <a:off x="7526040" y="3695218"/>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58" name="Rectángulo 57">
              <a:extLst>
                <a:ext uri="{FF2B5EF4-FFF2-40B4-BE49-F238E27FC236}">
                  <a16:creationId xmlns:a16="http://schemas.microsoft.com/office/drawing/2014/main" id="{693AF5A5-AEE5-43CC-B060-286A2EF47048}"/>
                </a:ext>
              </a:extLst>
            </p:cNvPr>
            <p:cNvSpPr/>
            <p:nvPr/>
          </p:nvSpPr>
          <p:spPr>
            <a:xfrm>
              <a:off x="8248719" y="3695218"/>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59" name="Conector angular 156">
              <a:extLst>
                <a:ext uri="{FF2B5EF4-FFF2-40B4-BE49-F238E27FC236}">
                  <a16:creationId xmlns:a16="http://schemas.microsoft.com/office/drawing/2014/main" id="{A753C5C7-DBEF-469F-A1D9-739C5E4C1BED}"/>
                </a:ext>
              </a:extLst>
            </p:cNvPr>
            <p:cNvCxnSpPr>
              <a:stCxn id="55" idx="2"/>
              <a:endCxn id="56" idx="0"/>
            </p:cNvCxnSpPr>
            <p:nvPr/>
          </p:nvCxnSpPr>
          <p:spPr>
            <a:xfrm rot="5400000" flipH="1" flipV="1">
              <a:off x="6980108" y="3702718"/>
              <a:ext cx="349191" cy="334197"/>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60" name="Conector angular 157">
              <a:extLst>
                <a:ext uri="{FF2B5EF4-FFF2-40B4-BE49-F238E27FC236}">
                  <a16:creationId xmlns:a16="http://schemas.microsoft.com/office/drawing/2014/main" id="{3AC3E535-B8AA-46E3-915D-077EEC485E5A}"/>
                </a:ext>
              </a:extLst>
            </p:cNvPr>
            <p:cNvCxnSpPr>
              <a:stCxn id="56" idx="2"/>
              <a:endCxn id="57" idx="0"/>
            </p:cNvCxnSpPr>
            <p:nvPr/>
          </p:nvCxnSpPr>
          <p:spPr>
            <a:xfrm rot="5400000" flipH="1" flipV="1">
              <a:off x="7308689" y="3708329"/>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61" name="Elipse 60">
              <a:extLst>
                <a:ext uri="{FF2B5EF4-FFF2-40B4-BE49-F238E27FC236}">
                  <a16:creationId xmlns:a16="http://schemas.microsoft.com/office/drawing/2014/main" id="{B33A7A0B-9960-4EBA-8B98-82BEDE1EA038}"/>
                </a:ext>
              </a:extLst>
            </p:cNvPr>
            <p:cNvSpPr/>
            <p:nvPr/>
          </p:nvSpPr>
          <p:spPr>
            <a:xfrm>
              <a:off x="7922931" y="3774225"/>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62" name="Elipse 61">
              <a:extLst>
                <a:ext uri="{FF2B5EF4-FFF2-40B4-BE49-F238E27FC236}">
                  <a16:creationId xmlns:a16="http://schemas.microsoft.com/office/drawing/2014/main" id="{17A13D02-7B22-4096-9579-0565B248F82E}"/>
                </a:ext>
              </a:extLst>
            </p:cNvPr>
            <p:cNvSpPr/>
            <p:nvPr/>
          </p:nvSpPr>
          <p:spPr>
            <a:xfrm>
              <a:off x="8075331" y="3774225"/>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63" name="Conector angular 160">
              <a:extLst>
                <a:ext uri="{FF2B5EF4-FFF2-40B4-BE49-F238E27FC236}">
                  <a16:creationId xmlns:a16="http://schemas.microsoft.com/office/drawing/2014/main" id="{227273A5-701B-48F2-AF63-43B90C4ACDF5}"/>
                </a:ext>
              </a:extLst>
            </p:cNvPr>
            <p:cNvCxnSpPr>
              <a:stCxn id="57" idx="2"/>
              <a:endCxn id="61" idx="0"/>
            </p:cNvCxnSpPr>
            <p:nvPr/>
          </p:nvCxnSpPr>
          <p:spPr>
            <a:xfrm rot="5400000" flipH="1" flipV="1">
              <a:off x="7660188" y="3758804"/>
              <a:ext cx="270185" cy="301019"/>
            </a:xfrm>
            <a:prstGeom prst="bentConnector5">
              <a:avLst>
                <a:gd name="adj1" fmla="val -479970"/>
                <a:gd name="adj2" fmla="val 65925"/>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64" name="Conector angular 161">
              <a:extLst>
                <a:ext uri="{FF2B5EF4-FFF2-40B4-BE49-F238E27FC236}">
                  <a16:creationId xmlns:a16="http://schemas.microsoft.com/office/drawing/2014/main" id="{C9FA6739-A4CF-4E13-973A-2A22B3E9FE32}"/>
                </a:ext>
              </a:extLst>
            </p:cNvPr>
            <p:cNvCxnSpPr>
              <a:stCxn id="61" idx="4"/>
              <a:endCxn id="62" idx="7"/>
            </p:cNvCxnSpPr>
            <p:nvPr/>
          </p:nvCxnSpPr>
          <p:spPr>
            <a:xfrm rot="5400000" flipH="1" flipV="1">
              <a:off x="8005561" y="3722866"/>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65" name="Conector angular 162">
              <a:extLst>
                <a:ext uri="{FF2B5EF4-FFF2-40B4-BE49-F238E27FC236}">
                  <a16:creationId xmlns:a16="http://schemas.microsoft.com/office/drawing/2014/main" id="{1C90B5CE-1AC1-411B-9B53-254870EB5783}"/>
                </a:ext>
              </a:extLst>
            </p:cNvPr>
            <p:cNvCxnSpPr>
              <a:stCxn id="62" idx="5"/>
              <a:endCxn id="58" idx="0"/>
            </p:cNvCxnSpPr>
            <p:nvPr/>
          </p:nvCxnSpPr>
          <p:spPr>
            <a:xfrm rot="5400000" flipH="1" flipV="1">
              <a:off x="8182282" y="3627291"/>
              <a:ext cx="128030" cy="263890"/>
            </a:xfrm>
            <a:prstGeom prst="bentConnector5">
              <a:avLst>
                <a:gd name="adj1" fmla="val -1012894"/>
                <a:gd name="adj2" fmla="val 26727"/>
                <a:gd name="adj3" fmla="val 1112894"/>
              </a:avLst>
            </a:prstGeom>
          </p:spPr>
          <p:style>
            <a:lnRef idx="1">
              <a:schemeClr val="accent1"/>
            </a:lnRef>
            <a:fillRef idx="0">
              <a:schemeClr val="accent1"/>
            </a:fillRef>
            <a:effectRef idx="0">
              <a:schemeClr val="accent1"/>
            </a:effectRef>
            <a:fontRef idx="minor">
              <a:schemeClr val="tx1"/>
            </a:fontRef>
          </p:style>
        </p:cxnSp>
        <p:sp>
          <p:nvSpPr>
            <p:cNvPr id="66" name="Rectángulo 65">
              <a:extLst>
                <a:ext uri="{FF2B5EF4-FFF2-40B4-BE49-F238E27FC236}">
                  <a16:creationId xmlns:a16="http://schemas.microsoft.com/office/drawing/2014/main" id="{1C23BDC1-99CA-465E-995F-1D7C208684E9}"/>
                </a:ext>
              </a:extLst>
            </p:cNvPr>
            <p:cNvSpPr/>
            <p:nvPr/>
          </p:nvSpPr>
          <p:spPr>
            <a:xfrm>
              <a:off x="6449529" y="5119075"/>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67" name="Rectángulo 66">
              <a:extLst>
                <a:ext uri="{FF2B5EF4-FFF2-40B4-BE49-F238E27FC236}">
                  <a16:creationId xmlns:a16="http://schemas.microsoft.com/office/drawing/2014/main" id="{47027E3A-A73B-4BEF-A10F-17137D4608FE}"/>
                </a:ext>
              </a:extLst>
            </p:cNvPr>
            <p:cNvSpPr/>
            <p:nvPr/>
          </p:nvSpPr>
          <p:spPr>
            <a:xfrm>
              <a:off x="6798113" y="5119075"/>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68" name="Rectángulo 67">
              <a:extLst>
                <a:ext uri="{FF2B5EF4-FFF2-40B4-BE49-F238E27FC236}">
                  <a16:creationId xmlns:a16="http://schemas.microsoft.com/office/drawing/2014/main" id="{83C801C3-5F4D-4BD2-9164-CD687715633E}"/>
                </a:ext>
              </a:extLst>
            </p:cNvPr>
            <p:cNvSpPr/>
            <p:nvPr/>
          </p:nvSpPr>
          <p:spPr>
            <a:xfrm>
              <a:off x="7121083" y="5119075"/>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69" name="Rectángulo 68">
              <a:extLst>
                <a:ext uri="{FF2B5EF4-FFF2-40B4-BE49-F238E27FC236}">
                  <a16:creationId xmlns:a16="http://schemas.microsoft.com/office/drawing/2014/main" id="{14AC1529-9BC8-4777-9662-9754630BAB9B}"/>
                </a:ext>
              </a:extLst>
            </p:cNvPr>
            <p:cNvSpPr/>
            <p:nvPr/>
          </p:nvSpPr>
          <p:spPr>
            <a:xfrm>
              <a:off x="7843766" y="5119075"/>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70" name="Conector angular 167">
              <a:extLst>
                <a:ext uri="{FF2B5EF4-FFF2-40B4-BE49-F238E27FC236}">
                  <a16:creationId xmlns:a16="http://schemas.microsoft.com/office/drawing/2014/main" id="{476714C0-4C55-4F58-96A0-56789132105A}"/>
                </a:ext>
              </a:extLst>
            </p:cNvPr>
            <p:cNvCxnSpPr>
              <a:stCxn id="66" idx="2"/>
              <a:endCxn id="67" idx="0"/>
            </p:cNvCxnSpPr>
            <p:nvPr/>
          </p:nvCxnSpPr>
          <p:spPr>
            <a:xfrm rot="5400000" flipH="1" flipV="1">
              <a:off x="6575151" y="5126575"/>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71" name="Conector angular 168">
              <a:extLst>
                <a:ext uri="{FF2B5EF4-FFF2-40B4-BE49-F238E27FC236}">
                  <a16:creationId xmlns:a16="http://schemas.microsoft.com/office/drawing/2014/main" id="{CFA9498A-E815-4108-8E98-BC4006350E17}"/>
                </a:ext>
              </a:extLst>
            </p:cNvPr>
            <p:cNvCxnSpPr>
              <a:stCxn id="67" idx="2"/>
              <a:endCxn id="68" idx="0"/>
            </p:cNvCxnSpPr>
            <p:nvPr/>
          </p:nvCxnSpPr>
          <p:spPr>
            <a:xfrm rot="5400000" flipH="1" flipV="1">
              <a:off x="6903732" y="5132186"/>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72" name="Elipse 71">
              <a:extLst>
                <a:ext uri="{FF2B5EF4-FFF2-40B4-BE49-F238E27FC236}">
                  <a16:creationId xmlns:a16="http://schemas.microsoft.com/office/drawing/2014/main" id="{7DBD69A1-B021-474D-9426-737BF8B341A8}"/>
                </a:ext>
              </a:extLst>
            </p:cNvPr>
            <p:cNvSpPr/>
            <p:nvPr/>
          </p:nvSpPr>
          <p:spPr>
            <a:xfrm>
              <a:off x="7517980" y="519808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73" name="Elipse 72">
              <a:extLst>
                <a:ext uri="{FF2B5EF4-FFF2-40B4-BE49-F238E27FC236}">
                  <a16:creationId xmlns:a16="http://schemas.microsoft.com/office/drawing/2014/main" id="{C972F78C-5C74-4F81-A6AF-91028FB43008}"/>
                </a:ext>
              </a:extLst>
            </p:cNvPr>
            <p:cNvSpPr/>
            <p:nvPr/>
          </p:nvSpPr>
          <p:spPr>
            <a:xfrm>
              <a:off x="7670380" y="519808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74" name="Conector angular 171">
              <a:extLst>
                <a:ext uri="{FF2B5EF4-FFF2-40B4-BE49-F238E27FC236}">
                  <a16:creationId xmlns:a16="http://schemas.microsoft.com/office/drawing/2014/main" id="{5CC7874D-E4E5-4C3D-90E8-233A8362219A}"/>
                </a:ext>
              </a:extLst>
            </p:cNvPr>
            <p:cNvCxnSpPr>
              <a:stCxn id="68" idx="2"/>
              <a:endCxn id="72" idx="0"/>
            </p:cNvCxnSpPr>
            <p:nvPr/>
          </p:nvCxnSpPr>
          <p:spPr>
            <a:xfrm rot="5400000" flipH="1" flipV="1">
              <a:off x="7255236" y="5182657"/>
              <a:ext cx="270185" cy="301028"/>
            </a:xfrm>
            <a:prstGeom prst="bentConnector5">
              <a:avLst>
                <a:gd name="adj1" fmla="val -479970"/>
                <a:gd name="adj2" fmla="val 65924"/>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75" name="Conector angular 172">
              <a:extLst>
                <a:ext uri="{FF2B5EF4-FFF2-40B4-BE49-F238E27FC236}">
                  <a16:creationId xmlns:a16="http://schemas.microsoft.com/office/drawing/2014/main" id="{3132B938-D52A-4CA1-9CC1-B73C3502314A}"/>
                </a:ext>
              </a:extLst>
            </p:cNvPr>
            <p:cNvCxnSpPr>
              <a:stCxn id="72" idx="4"/>
              <a:endCxn id="73" idx="7"/>
            </p:cNvCxnSpPr>
            <p:nvPr/>
          </p:nvCxnSpPr>
          <p:spPr>
            <a:xfrm rot="5400000" flipH="1" flipV="1">
              <a:off x="7600610" y="5146723"/>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76" name="Conector angular 173">
              <a:extLst>
                <a:ext uri="{FF2B5EF4-FFF2-40B4-BE49-F238E27FC236}">
                  <a16:creationId xmlns:a16="http://schemas.microsoft.com/office/drawing/2014/main" id="{44CFEB6E-9F7D-4130-AFB2-F569E57B252E}"/>
                </a:ext>
              </a:extLst>
            </p:cNvPr>
            <p:cNvCxnSpPr>
              <a:stCxn id="73" idx="5"/>
              <a:endCxn id="69" idx="0"/>
            </p:cNvCxnSpPr>
            <p:nvPr/>
          </p:nvCxnSpPr>
          <p:spPr>
            <a:xfrm rot="5400000" flipH="1" flipV="1">
              <a:off x="7777329" y="5051148"/>
              <a:ext cx="128030" cy="263890"/>
            </a:xfrm>
            <a:prstGeom prst="bentConnector5">
              <a:avLst>
                <a:gd name="adj1" fmla="val -1012894"/>
                <a:gd name="adj2" fmla="val 26727"/>
                <a:gd name="adj3" fmla="val 1112894"/>
              </a:avLst>
            </a:prstGeom>
          </p:spPr>
          <p:style>
            <a:lnRef idx="1">
              <a:schemeClr val="accent1"/>
            </a:lnRef>
            <a:fillRef idx="0">
              <a:schemeClr val="accent1"/>
            </a:fillRef>
            <a:effectRef idx="0">
              <a:schemeClr val="accent1"/>
            </a:effectRef>
            <a:fontRef idx="minor">
              <a:schemeClr val="tx1"/>
            </a:fontRef>
          </p:style>
        </p:cxnSp>
        <p:sp>
          <p:nvSpPr>
            <p:cNvPr id="77" name="Rectángulo 76">
              <a:extLst>
                <a:ext uri="{FF2B5EF4-FFF2-40B4-BE49-F238E27FC236}">
                  <a16:creationId xmlns:a16="http://schemas.microsoft.com/office/drawing/2014/main" id="{1F72DC68-E794-4BA9-9856-23B62FD029B2}"/>
                </a:ext>
              </a:extLst>
            </p:cNvPr>
            <p:cNvSpPr/>
            <p:nvPr/>
          </p:nvSpPr>
          <p:spPr>
            <a:xfrm>
              <a:off x="1146006" y="2558752"/>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78" name="Rectángulo 77">
              <a:extLst>
                <a:ext uri="{FF2B5EF4-FFF2-40B4-BE49-F238E27FC236}">
                  <a16:creationId xmlns:a16="http://schemas.microsoft.com/office/drawing/2014/main" id="{7E2C1506-5613-406A-BC87-7171BE9B9D4B}"/>
                </a:ext>
              </a:extLst>
            </p:cNvPr>
            <p:cNvSpPr/>
            <p:nvPr/>
          </p:nvSpPr>
          <p:spPr>
            <a:xfrm>
              <a:off x="1494590" y="255875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79" name="Rectángulo 78">
              <a:extLst>
                <a:ext uri="{FF2B5EF4-FFF2-40B4-BE49-F238E27FC236}">
                  <a16:creationId xmlns:a16="http://schemas.microsoft.com/office/drawing/2014/main" id="{FF2CB1BB-8DCC-41E3-8BA4-D6E692F9FB00}"/>
                </a:ext>
              </a:extLst>
            </p:cNvPr>
            <p:cNvSpPr/>
            <p:nvPr/>
          </p:nvSpPr>
          <p:spPr>
            <a:xfrm>
              <a:off x="1817559" y="255875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80" name="Rectángulo 79">
              <a:extLst>
                <a:ext uri="{FF2B5EF4-FFF2-40B4-BE49-F238E27FC236}">
                  <a16:creationId xmlns:a16="http://schemas.microsoft.com/office/drawing/2014/main" id="{91208750-563B-437B-863C-C3D1EF425035}"/>
                </a:ext>
              </a:extLst>
            </p:cNvPr>
            <p:cNvSpPr/>
            <p:nvPr/>
          </p:nvSpPr>
          <p:spPr>
            <a:xfrm>
              <a:off x="2540238" y="2558752"/>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81" name="Conector angular 178">
              <a:extLst>
                <a:ext uri="{FF2B5EF4-FFF2-40B4-BE49-F238E27FC236}">
                  <a16:creationId xmlns:a16="http://schemas.microsoft.com/office/drawing/2014/main" id="{DB7E9DE7-95A3-43E5-BA0C-005D71A3E7D5}"/>
                </a:ext>
              </a:extLst>
            </p:cNvPr>
            <p:cNvCxnSpPr>
              <a:stCxn id="77" idx="2"/>
              <a:endCxn id="78" idx="0"/>
            </p:cNvCxnSpPr>
            <p:nvPr/>
          </p:nvCxnSpPr>
          <p:spPr>
            <a:xfrm rot="5400000" flipH="1" flipV="1">
              <a:off x="1271627" y="2566251"/>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82" name="Conector angular 179">
              <a:extLst>
                <a:ext uri="{FF2B5EF4-FFF2-40B4-BE49-F238E27FC236}">
                  <a16:creationId xmlns:a16="http://schemas.microsoft.com/office/drawing/2014/main" id="{E9E49F4E-F180-4824-8520-689CBB47D280}"/>
                </a:ext>
              </a:extLst>
            </p:cNvPr>
            <p:cNvCxnSpPr>
              <a:stCxn id="78" idx="2"/>
              <a:endCxn id="79" idx="0"/>
            </p:cNvCxnSpPr>
            <p:nvPr/>
          </p:nvCxnSpPr>
          <p:spPr>
            <a:xfrm rot="5400000" flipH="1" flipV="1">
              <a:off x="1600208" y="2571863"/>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83" name="Elipse 82">
              <a:extLst>
                <a:ext uri="{FF2B5EF4-FFF2-40B4-BE49-F238E27FC236}">
                  <a16:creationId xmlns:a16="http://schemas.microsoft.com/office/drawing/2014/main" id="{788A5961-7D6C-4668-92F0-0D585B9B05CC}"/>
                </a:ext>
              </a:extLst>
            </p:cNvPr>
            <p:cNvSpPr/>
            <p:nvPr/>
          </p:nvSpPr>
          <p:spPr>
            <a:xfrm>
              <a:off x="2214450" y="2637757"/>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84" name="Elipse 83">
              <a:extLst>
                <a:ext uri="{FF2B5EF4-FFF2-40B4-BE49-F238E27FC236}">
                  <a16:creationId xmlns:a16="http://schemas.microsoft.com/office/drawing/2014/main" id="{C497F5A2-8B54-46E1-9BCC-A1921C4A184B}"/>
                </a:ext>
              </a:extLst>
            </p:cNvPr>
            <p:cNvSpPr/>
            <p:nvPr/>
          </p:nvSpPr>
          <p:spPr>
            <a:xfrm>
              <a:off x="2366850" y="2637757"/>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85" name="Conector angular 182">
              <a:extLst>
                <a:ext uri="{FF2B5EF4-FFF2-40B4-BE49-F238E27FC236}">
                  <a16:creationId xmlns:a16="http://schemas.microsoft.com/office/drawing/2014/main" id="{DF10BE48-2CAA-44BA-8175-AFE4CA31A77D}"/>
                </a:ext>
              </a:extLst>
            </p:cNvPr>
            <p:cNvCxnSpPr>
              <a:stCxn id="79" idx="2"/>
              <a:endCxn id="83" idx="0"/>
            </p:cNvCxnSpPr>
            <p:nvPr/>
          </p:nvCxnSpPr>
          <p:spPr>
            <a:xfrm rot="5400000" flipH="1" flipV="1">
              <a:off x="1951708" y="2622338"/>
              <a:ext cx="270185" cy="301019"/>
            </a:xfrm>
            <a:prstGeom prst="bentConnector5">
              <a:avLst>
                <a:gd name="adj1" fmla="val -479970"/>
                <a:gd name="adj2" fmla="val 65925"/>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86" name="Conector angular 183">
              <a:extLst>
                <a:ext uri="{FF2B5EF4-FFF2-40B4-BE49-F238E27FC236}">
                  <a16:creationId xmlns:a16="http://schemas.microsoft.com/office/drawing/2014/main" id="{F50C20D8-C6F5-4418-B8C4-C8CCD18AB6DA}"/>
                </a:ext>
              </a:extLst>
            </p:cNvPr>
            <p:cNvCxnSpPr>
              <a:stCxn id="83" idx="4"/>
              <a:endCxn id="84" idx="7"/>
            </p:cNvCxnSpPr>
            <p:nvPr/>
          </p:nvCxnSpPr>
          <p:spPr>
            <a:xfrm rot="5400000" flipH="1" flipV="1">
              <a:off x="2297080" y="2586398"/>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87" name="Conector angular 184">
              <a:extLst>
                <a:ext uri="{FF2B5EF4-FFF2-40B4-BE49-F238E27FC236}">
                  <a16:creationId xmlns:a16="http://schemas.microsoft.com/office/drawing/2014/main" id="{1BBF3628-F5DD-4236-9FCB-678E9480FE74}"/>
                </a:ext>
              </a:extLst>
            </p:cNvPr>
            <p:cNvCxnSpPr>
              <a:stCxn id="84" idx="5"/>
              <a:endCxn id="80" idx="0"/>
            </p:cNvCxnSpPr>
            <p:nvPr/>
          </p:nvCxnSpPr>
          <p:spPr>
            <a:xfrm rot="5400000" flipH="1" flipV="1">
              <a:off x="2473801" y="2490825"/>
              <a:ext cx="128030" cy="263890"/>
            </a:xfrm>
            <a:prstGeom prst="bentConnector5">
              <a:avLst>
                <a:gd name="adj1" fmla="val -1012894"/>
                <a:gd name="adj2" fmla="val 26727"/>
                <a:gd name="adj3" fmla="val 1112894"/>
              </a:avLst>
            </a:prstGeom>
          </p:spPr>
          <p:style>
            <a:lnRef idx="1">
              <a:schemeClr val="accent1"/>
            </a:lnRef>
            <a:fillRef idx="0">
              <a:schemeClr val="accent1"/>
            </a:fillRef>
            <a:effectRef idx="0">
              <a:schemeClr val="accent1"/>
            </a:effectRef>
            <a:fontRef idx="minor">
              <a:schemeClr val="tx1"/>
            </a:fontRef>
          </p:style>
        </p:cxnSp>
        <p:sp>
          <p:nvSpPr>
            <p:cNvPr id="88" name="Rectángulo 87">
              <a:extLst>
                <a:ext uri="{FF2B5EF4-FFF2-40B4-BE49-F238E27FC236}">
                  <a16:creationId xmlns:a16="http://schemas.microsoft.com/office/drawing/2014/main" id="{2585B014-4B8E-40C7-BE06-A26E72FD5738}"/>
                </a:ext>
              </a:extLst>
            </p:cNvPr>
            <p:cNvSpPr/>
            <p:nvPr/>
          </p:nvSpPr>
          <p:spPr>
            <a:xfrm>
              <a:off x="675739" y="3878104"/>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89" name="Rectángulo 88">
              <a:extLst>
                <a:ext uri="{FF2B5EF4-FFF2-40B4-BE49-F238E27FC236}">
                  <a16:creationId xmlns:a16="http://schemas.microsoft.com/office/drawing/2014/main" id="{8CE22E68-27A0-4223-B98A-111E1E7A055D}"/>
                </a:ext>
              </a:extLst>
            </p:cNvPr>
            <p:cNvSpPr/>
            <p:nvPr/>
          </p:nvSpPr>
          <p:spPr>
            <a:xfrm>
              <a:off x="1024322" y="3878104"/>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90" name="Rectángulo 89">
              <a:extLst>
                <a:ext uri="{FF2B5EF4-FFF2-40B4-BE49-F238E27FC236}">
                  <a16:creationId xmlns:a16="http://schemas.microsoft.com/office/drawing/2014/main" id="{97B5C7F4-3BF1-4C82-AD73-A5FC16CA526E}"/>
                </a:ext>
              </a:extLst>
            </p:cNvPr>
            <p:cNvSpPr/>
            <p:nvPr/>
          </p:nvSpPr>
          <p:spPr>
            <a:xfrm>
              <a:off x="1347292" y="3878104"/>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91" name="Rectángulo 90">
              <a:extLst>
                <a:ext uri="{FF2B5EF4-FFF2-40B4-BE49-F238E27FC236}">
                  <a16:creationId xmlns:a16="http://schemas.microsoft.com/office/drawing/2014/main" id="{247C51C1-CC55-4B9F-907D-ECBA79AE6F98}"/>
                </a:ext>
              </a:extLst>
            </p:cNvPr>
            <p:cNvSpPr/>
            <p:nvPr/>
          </p:nvSpPr>
          <p:spPr>
            <a:xfrm>
              <a:off x="2069971" y="3878104"/>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92" name="Conector angular 189">
              <a:extLst>
                <a:ext uri="{FF2B5EF4-FFF2-40B4-BE49-F238E27FC236}">
                  <a16:creationId xmlns:a16="http://schemas.microsoft.com/office/drawing/2014/main" id="{34518994-5180-4AAF-8445-C31E63D4A4E9}"/>
                </a:ext>
              </a:extLst>
            </p:cNvPr>
            <p:cNvCxnSpPr>
              <a:stCxn id="88" idx="2"/>
              <a:endCxn id="89" idx="0"/>
            </p:cNvCxnSpPr>
            <p:nvPr/>
          </p:nvCxnSpPr>
          <p:spPr>
            <a:xfrm rot="5400000" flipH="1" flipV="1">
              <a:off x="801360" y="3885604"/>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93" name="Conector angular 190">
              <a:extLst>
                <a:ext uri="{FF2B5EF4-FFF2-40B4-BE49-F238E27FC236}">
                  <a16:creationId xmlns:a16="http://schemas.microsoft.com/office/drawing/2014/main" id="{3382081B-C6C0-400B-953D-A0CC31204B81}"/>
                </a:ext>
              </a:extLst>
            </p:cNvPr>
            <p:cNvCxnSpPr>
              <a:stCxn id="89" idx="2"/>
              <a:endCxn id="90" idx="0"/>
            </p:cNvCxnSpPr>
            <p:nvPr/>
          </p:nvCxnSpPr>
          <p:spPr>
            <a:xfrm rot="5400000" flipH="1" flipV="1">
              <a:off x="1129941" y="3891215"/>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94" name="Elipse 93">
              <a:extLst>
                <a:ext uri="{FF2B5EF4-FFF2-40B4-BE49-F238E27FC236}">
                  <a16:creationId xmlns:a16="http://schemas.microsoft.com/office/drawing/2014/main" id="{7C8611D5-55D1-4305-8B76-9D522D1652AD}"/>
                </a:ext>
              </a:extLst>
            </p:cNvPr>
            <p:cNvSpPr/>
            <p:nvPr/>
          </p:nvSpPr>
          <p:spPr>
            <a:xfrm>
              <a:off x="1744188" y="395711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95" name="Elipse 94">
              <a:extLst>
                <a:ext uri="{FF2B5EF4-FFF2-40B4-BE49-F238E27FC236}">
                  <a16:creationId xmlns:a16="http://schemas.microsoft.com/office/drawing/2014/main" id="{4A0BD8C9-6024-42B6-BD70-24128994EE33}"/>
                </a:ext>
              </a:extLst>
            </p:cNvPr>
            <p:cNvSpPr/>
            <p:nvPr/>
          </p:nvSpPr>
          <p:spPr>
            <a:xfrm>
              <a:off x="1896588" y="3957112"/>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96" name="Conector angular 193">
              <a:extLst>
                <a:ext uri="{FF2B5EF4-FFF2-40B4-BE49-F238E27FC236}">
                  <a16:creationId xmlns:a16="http://schemas.microsoft.com/office/drawing/2014/main" id="{480C0D57-D5A9-4354-AF7C-7AD7D649561B}"/>
                </a:ext>
              </a:extLst>
            </p:cNvPr>
            <p:cNvCxnSpPr>
              <a:stCxn id="90" idx="2"/>
              <a:endCxn id="94" idx="0"/>
            </p:cNvCxnSpPr>
            <p:nvPr/>
          </p:nvCxnSpPr>
          <p:spPr>
            <a:xfrm rot="5400000" flipH="1" flipV="1">
              <a:off x="1481445" y="3941691"/>
              <a:ext cx="270185" cy="301023"/>
            </a:xfrm>
            <a:prstGeom prst="bentConnector5">
              <a:avLst>
                <a:gd name="adj1" fmla="val -479970"/>
                <a:gd name="adj2" fmla="val 65924"/>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97" name="Conector angular 194">
              <a:extLst>
                <a:ext uri="{FF2B5EF4-FFF2-40B4-BE49-F238E27FC236}">
                  <a16:creationId xmlns:a16="http://schemas.microsoft.com/office/drawing/2014/main" id="{171213CF-D516-4413-A36B-FC923FB5F967}"/>
                </a:ext>
              </a:extLst>
            </p:cNvPr>
            <p:cNvCxnSpPr>
              <a:stCxn id="94" idx="4"/>
              <a:endCxn id="95" idx="7"/>
            </p:cNvCxnSpPr>
            <p:nvPr/>
          </p:nvCxnSpPr>
          <p:spPr>
            <a:xfrm rot="5400000" flipH="1" flipV="1">
              <a:off x="1826818" y="3905753"/>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98" name="Conector angular 195">
              <a:extLst>
                <a:ext uri="{FF2B5EF4-FFF2-40B4-BE49-F238E27FC236}">
                  <a16:creationId xmlns:a16="http://schemas.microsoft.com/office/drawing/2014/main" id="{F24CE0C8-24CA-4EAE-9201-72D75C74B541}"/>
                </a:ext>
              </a:extLst>
            </p:cNvPr>
            <p:cNvCxnSpPr>
              <a:stCxn id="95" idx="5"/>
              <a:endCxn id="91" idx="0"/>
            </p:cNvCxnSpPr>
            <p:nvPr/>
          </p:nvCxnSpPr>
          <p:spPr>
            <a:xfrm rot="5400000" flipH="1" flipV="1">
              <a:off x="2003534" y="3810177"/>
              <a:ext cx="128030" cy="263886"/>
            </a:xfrm>
            <a:prstGeom prst="bentConnector5">
              <a:avLst>
                <a:gd name="adj1" fmla="val -1012894"/>
                <a:gd name="adj2" fmla="val 26726"/>
                <a:gd name="adj3" fmla="val 1112894"/>
              </a:avLst>
            </a:prstGeom>
          </p:spPr>
          <p:style>
            <a:lnRef idx="1">
              <a:schemeClr val="accent1"/>
            </a:lnRef>
            <a:fillRef idx="0">
              <a:schemeClr val="accent1"/>
            </a:fillRef>
            <a:effectRef idx="0">
              <a:schemeClr val="accent1"/>
            </a:effectRef>
            <a:fontRef idx="minor">
              <a:schemeClr val="tx1"/>
            </a:fontRef>
          </p:style>
        </p:cxnSp>
        <p:sp>
          <p:nvSpPr>
            <p:cNvPr id="99" name="Rectángulo 98">
              <a:extLst>
                <a:ext uri="{FF2B5EF4-FFF2-40B4-BE49-F238E27FC236}">
                  <a16:creationId xmlns:a16="http://schemas.microsoft.com/office/drawing/2014/main" id="{C6D3FA5D-41EB-4AB6-B9B8-212EA4A5AC52}"/>
                </a:ext>
              </a:extLst>
            </p:cNvPr>
            <p:cNvSpPr/>
            <p:nvPr/>
          </p:nvSpPr>
          <p:spPr>
            <a:xfrm>
              <a:off x="4908116" y="1670478"/>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100" name="Rectángulo 99">
              <a:extLst>
                <a:ext uri="{FF2B5EF4-FFF2-40B4-BE49-F238E27FC236}">
                  <a16:creationId xmlns:a16="http://schemas.microsoft.com/office/drawing/2014/main" id="{B9A739BE-5303-4FA9-8B91-E7509C4A9C8E}"/>
                </a:ext>
              </a:extLst>
            </p:cNvPr>
            <p:cNvSpPr/>
            <p:nvPr/>
          </p:nvSpPr>
          <p:spPr>
            <a:xfrm>
              <a:off x="5256700" y="1670484"/>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101" name="Rectángulo 100">
              <a:extLst>
                <a:ext uri="{FF2B5EF4-FFF2-40B4-BE49-F238E27FC236}">
                  <a16:creationId xmlns:a16="http://schemas.microsoft.com/office/drawing/2014/main" id="{EC7F69AD-EE43-4833-91BD-E2EB784717AD}"/>
                </a:ext>
              </a:extLst>
            </p:cNvPr>
            <p:cNvSpPr/>
            <p:nvPr/>
          </p:nvSpPr>
          <p:spPr>
            <a:xfrm>
              <a:off x="5579670" y="1670481"/>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102" name="Rectángulo 101">
              <a:extLst>
                <a:ext uri="{FF2B5EF4-FFF2-40B4-BE49-F238E27FC236}">
                  <a16:creationId xmlns:a16="http://schemas.microsoft.com/office/drawing/2014/main" id="{8D4B3FC6-03C4-40A8-8CB6-D5C211484005}"/>
                </a:ext>
              </a:extLst>
            </p:cNvPr>
            <p:cNvSpPr/>
            <p:nvPr/>
          </p:nvSpPr>
          <p:spPr>
            <a:xfrm>
              <a:off x="6302349" y="1670478"/>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103" name="Conector angular 200">
              <a:extLst>
                <a:ext uri="{FF2B5EF4-FFF2-40B4-BE49-F238E27FC236}">
                  <a16:creationId xmlns:a16="http://schemas.microsoft.com/office/drawing/2014/main" id="{DF3F1A45-71D7-42D9-8EF8-0FD7E5EEC38B}"/>
                </a:ext>
              </a:extLst>
            </p:cNvPr>
            <p:cNvCxnSpPr>
              <a:stCxn id="99" idx="2"/>
              <a:endCxn id="100" idx="0"/>
            </p:cNvCxnSpPr>
            <p:nvPr/>
          </p:nvCxnSpPr>
          <p:spPr>
            <a:xfrm rot="5400000" flipH="1" flipV="1">
              <a:off x="5033743" y="1677977"/>
              <a:ext cx="349185" cy="334192"/>
            </a:xfrm>
            <a:prstGeom prst="bentConnector5">
              <a:avLst>
                <a:gd name="adj1" fmla="val -371381"/>
                <a:gd name="adj2" fmla="val 52153"/>
                <a:gd name="adj3" fmla="val 471381"/>
              </a:avLst>
            </a:prstGeom>
          </p:spPr>
          <p:style>
            <a:lnRef idx="1">
              <a:schemeClr val="accent1"/>
            </a:lnRef>
            <a:fillRef idx="0">
              <a:schemeClr val="accent1"/>
            </a:fillRef>
            <a:effectRef idx="0">
              <a:schemeClr val="accent1"/>
            </a:effectRef>
            <a:fontRef idx="minor">
              <a:schemeClr val="tx1"/>
            </a:fontRef>
          </p:style>
        </p:cxnSp>
        <p:cxnSp>
          <p:nvCxnSpPr>
            <p:cNvPr id="104" name="Conector angular 201">
              <a:extLst>
                <a:ext uri="{FF2B5EF4-FFF2-40B4-BE49-F238E27FC236}">
                  <a16:creationId xmlns:a16="http://schemas.microsoft.com/office/drawing/2014/main" id="{F7E1F144-D0D6-4436-990F-FA6315C62686}"/>
                </a:ext>
              </a:extLst>
            </p:cNvPr>
            <p:cNvCxnSpPr>
              <a:stCxn id="100" idx="2"/>
              <a:endCxn id="101" idx="0"/>
            </p:cNvCxnSpPr>
            <p:nvPr/>
          </p:nvCxnSpPr>
          <p:spPr>
            <a:xfrm rot="5400000" flipH="1" flipV="1">
              <a:off x="5362318" y="1683591"/>
              <a:ext cx="349196" cy="322970"/>
            </a:xfrm>
            <a:prstGeom prst="bentConnector5">
              <a:avLst>
                <a:gd name="adj1" fmla="val -371369"/>
                <a:gd name="adj2" fmla="val 49999"/>
                <a:gd name="adj3" fmla="val 471369"/>
              </a:avLst>
            </a:prstGeom>
          </p:spPr>
          <p:style>
            <a:lnRef idx="1">
              <a:schemeClr val="accent1"/>
            </a:lnRef>
            <a:fillRef idx="0">
              <a:schemeClr val="accent1"/>
            </a:fillRef>
            <a:effectRef idx="0">
              <a:schemeClr val="accent1"/>
            </a:effectRef>
            <a:fontRef idx="minor">
              <a:schemeClr val="tx1"/>
            </a:fontRef>
          </p:style>
        </p:cxnSp>
        <p:sp>
          <p:nvSpPr>
            <p:cNvPr id="105" name="Elipse 104">
              <a:extLst>
                <a:ext uri="{FF2B5EF4-FFF2-40B4-BE49-F238E27FC236}">
                  <a16:creationId xmlns:a16="http://schemas.microsoft.com/office/drawing/2014/main" id="{A280DD2C-32D6-464B-A53B-24C717550DB0}"/>
                </a:ext>
              </a:extLst>
            </p:cNvPr>
            <p:cNvSpPr/>
            <p:nvPr/>
          </p:nvSpPr>
          <p:spPr>
            <a:xfrm>
              <a:off x="5976562" y="1749484"/>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106" name="Elipse 105">
              <a:extLst>
                <a:ext uri="{FF2B5EF4-FFF2-40B4-BE49-F238E27FC236}">
                  <a16:creationId xmlns:a16="http://schemas.microsoft.com/office/drawing/2014/main" id="{EA78274E-F3B5-4184-87A9-F46159605D44}"/>
                </a:ext>
              </a:extLst>
            </p:cNvPr>
            <p:cNvSpPr/>
            <p:nvPr/>
          </p:nvSpPr>
          <p:spPr>
            <a:xfrm>
              <a:off x="6128962" y="1749484"/>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107" name="Conector angular 204">
              <a:extLst>
                <a:ext uri="{FF2B5EF4-FFF2-40B4-BE49-F238E27FC236}">
                  <a16:creationId xmlns:a16="http://schemas.microsoft.com/office/drawing/2014/main" id="{02871248-6936-4BA5-91C3-7DB11873722A}"/>
                </a:ext>
              </a:extLst>
            </p:cNvPr>
            <p:cNvCxnSpPr>
              <a:stCxn id="101" idx="2"/>
              <a:endCxn id="105" idx="0"/>
            </p:cNvCxnSpPr>
            <p:nvPr/>
          </p:nvCxnSpPr>
          <p:spPr>
            <a:xfrm rot="5400000" flipH="1" flipV="1">
              <a:off x="5713817" y="1734070"/>
              <a:ext cx="270191" cy="301023"/>
            </a:xfrm>
            <a:prstGeom prst="bentConnector5">
              <a:avLst>
                <a:gd name="adj1" fmla="val -479960"/>
                <a:gd name="adj2" fmla="val 65924"/>
                <a:gd name="adj3" fmla="val 579960"/>
              </a:avLst>
            </a:prstGeom>
          </p:spPr>
          <p:style>
            <a:lnRef idx="1">
              <a:schemeClr val="accent1"/>
            </a:lnRef>
            <a:fillRef idx="0">
              <a:schemeClr val="accent1"/>
            </a:fillRef>
            <a:effectRef idx="0">
              <a:schemeClr val="accent1"/>
            </a:effectRef>
            <a:fontRef idx="minor">
              <a:schemeClr val="tx1"/>
            </a:fontRef>
          </p:style>
        </p:cxnSp>
        <p:cxnSp>
          <p:nvCxnSpPr>
            <p:cNvPr id="108" name="Conector angular 205">
              <a:extLst>
                <a:ext uri="{FF2B5EF4-FFF2-40B4-BE49-F238E27FC236}">
                  <a16:creationId xmlns:a16="http://schemas.microsoft.com/office/drawing/2014/main" id="{913E04FF-62A2-4762-9E97-7894909377AB}"/>
                </a:ext>
              </a:extLst>
            </p:cNvPr>
            <p:cNvCxnSpPr>
              <a:stCxn id="105" idx="4"/>
              <a:endCxn id="106" idx="7"/>
            </p:cNvCxnSpPr>
            <p:nvPr/>
          </p:nvCxnSpPr>
          <p:spPr>
            <a:xfrm rot="5400000" flipH="1" flipV="1">
              <a:off x="6059192" y="1698125"/>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09" name="Conector angular 206">
              <a:extLst>
                <a:ext uri="{FF2B5EF4-FFF2-40B4-BE49-F238E27FC236}">
                  <a16:creationId xmlns:a16="http://schemas.microsoft.com/office/drawing/2014/main" id="{E06190B0-B932-446F-9CA9-49051DA4B81D}"/>
                </a:ext>
              </a:extLst>
            </p:cNvPr>
            <p:cNvCxnSpPr>
              <a:stCxn id="106" idx="5"/>
              <a:endCxn id="102" idx="0"/>
            </p:cNvCxnSpPr>
            <p:nvPr/>
          </p:nvCxnSpPr>
          <p:spPr>
            <a:xfrm rot="5400000" flipH="1" flipV="1">
              <a:off x="6235912" y="1602551"/>
              <a:ext cx="128030" cy="263890"/>
            </a:xfrm>
            <a:prstGeom prst="bentConnector5">
              <a:avLst>
                <a:gd name="adj1" fmla="val -1012894"/>
                <a:gd name="adj2" fmla="val 26727"/>
                <a:gd name="adj3" fmla="val 1112894"/>
              </a:avLst>
            </a:prstGeom>
          </p:spPr>
          <p:style>
            <a:lnRef idx="1">
              <a:schemeClr val="accent1"/>
            </a:lnRef>
            <a:fillRef idx="0">
              <a:schemeClr val="accent1"/>
            </a:fillRef>
            <a:effectRef idx="0">
              <a:schemeClr val="accent1"/>
            </a:effectRef>
            <a:fontRef idx="minor">
              <a:schemeClr val="tx1"/>
            </a:fontRef>
          </p:style>
        </p:cxnSp>
        <p:sp>
          <p:nvSpPr>
            <p:cNvPr id="110" name="Rectángulo 109">
              <a:extLst>
                <a:ext uri="{FF2B5EF4-FFF2-40B4-BE49-F238E27FC236}">
                  <a16:creationId xmlns:a16="http://schemas.microsoft.com/office/drawing/2014/main" id="{EC4CC73E-FCD8-4DA0-852C-FE749D87E626}"/>
                </a:ext>
              </a:extLst>
            </p:cNvPr>
            <p:cNvSpPr/>
            <p:nvPr/>
          </p:nvSpPr>
          <p:spPr>
            <a:xfrm>
              <a:off x="2709209" y="5959448"/>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111" name="Rectángulo 110">
              <a:extLst>
                <a:ext uri="{FF2B5EF4-FFF2-40B4-BE49-F238E27FC236}">
                  <a16:creationId xmlns:a16="http://schemas.microsoft.com/office/drawing/2014/main" id="{61D404B3-23CB-431F-8372-4CF2F3951A71}"/>
                </a:ext>
              </a:extLst>
            </p:cNvPr>
            <p:cNvSpPr/>
            <p:nvPr/>
          </p:nvSpPr>
          <p:spPr>
            <a:xfrm>
              <a:off x="3057792" y="5959448"/>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112" name="Rectángulo 111">
              <a:extLst>
                <a:ext uri="{FF2B5EF4-FFF2-40B4-BE49-F238E27FC236}">
                  <a16:creationId xmlns:a16="http://schemas.microsoft.com/office/drawing/2014/main" id="{25CC3467-43BC-4EEB-AF76-B4A889243E0E}"/>
                </a:ext>
              </a:extLst>
            </p:cNvPr>
            <p:cNvSpPr/>
            <p:nvPr/>
          </p:nvSpPr>
          <p:spPr>
            <a:xfrm>
              <a:off x="3380762" y="5959448"/>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113" name="Rectángulo 112">
              <a:extLst>
                <a:ext uri="{FF2B5EF4-FFF2-40B4-BE49-F238E27FC236}">
                  <a16:creationId xmlns:a16="http://schemas.microsoft.com/office/drawing/2014/main" id="{52726803-B636-4416-99A3-0FEA95BBC529}"/>
                </a:ext>
              </a:extLst>
            </p:cNvPr>
            <p:cNvSpPr/>
            <p:nvPr/>
          </p:nvSpPr>
          <p:spPr>
            <a:xfrm>
              <a:off x="4103441" y="5959448"/>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114" name="Conector angular 211">
              <a:extLst>
                <a:ext uri="{FF2B5EF4-FFF2-40B4-BE49-F238E27FC236}">
                  <a16:creationId xmlns:a16="http://schemas.microsoft.com/office/drawing/2014/main" id="{31E333AA-952A-47B6-A42E-ACF154483FEC}"/>
                </a:ext>
              </a:extLst>
            </p:cNvPr>
            <p:cNvCxnSpPr>
              <a:stCxn id="110" idx="2"/>
              <a:endCxn id="111" idx="0"/>
            </p:cNvCxnSpPr>
            <p:nvPr/>
          </p:nvCxnSpPr>
          <p:spPr>
            <a:xfrm rot="5400000" flipH="1" flipV="1">
              <a:off x="2834830" y="5966947"/>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115" name="Conector angular 212">
              <a:extLst>
                <a:ext uri="{FF2B5EF4-FFF2-40B4-BE49-F238E27FC236}">
                  <a16:creationId xmlns:a16="http://schemas.microsoft.com/office/drawing/2014/main" id="{B05FBF60-2BC2-466F-B236-BE6EA344FE20}"/>
                </a:ext>
              </a:extLst>
            </p:cNvPr>
            <p:cNvCxnSpPr>
              <a:stCxn id="111" idx="2"/>
              <a:endCxn id="112" idx="0"/>
            </p:cNvCxnSpPr>
            <p:nvPr/>
          </p:nvCxnSpPr>
          <p:spPr>
            <a:xfrm rot="5400000" flipH="1" flipV="1">
              <a:off x="3163411" y="5972559"/>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116" name="Elipse 115">
              <a:extLst>
                <a:ext uri="{FF2B5EF4-FFF2-40B4-BE49-F238E27FC236}">
                  <a16:creationId xmlns:a16="http://schemas.microsoft.com/office/drawing/2014/main" id="{227F4D32-6CA6-4577-A772-4653082E4E9E}"/>
                </a:ext>
              </a:extLst>
            </p:cNvPr>
            <p:cNvSpPr/>
            <p:nvPr/>
          </p:nvSpPr>
          <p:spPr>
            <a:xfrm>
              <a:off x="3777657" y="6038453"/>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117" name="Elipse 116">
              <a:extLst>
                <a:ext uri="{FF2B5EF4-FFF2-40B4-BE49-F238E27FC236}">
                  <a16:creationId xmlns:a16="http://schemas.microsoft.com/office/drawing/2014/main" id="{FE7E9572-9FF1-47D3-A5EA-BFC5D2E2DA05}"/>
                </a:ext>
              </a:extLst>
            </p:cNvPr>
            <p:cNvSpPr/>
            <p:nvPr/>
          </p:nvSpPr>
          <p:spPr>
            <a:xfrm>
              <a:off x="3930057" y="6038453"/>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118" name="Conector angular 215">
              <a:extLst>
                <a:ext uri="{FF2B5EF4-FFF2-40B4-BE49-F238E27FC236}">
                  <a16:creationId xmlns:a16="http://schemas.microsoft.com/office/drawing/2014/main" id="{AC0DE96A-8C9C-4AD4-9229-EA4FDA49E96E}"/>
                </a:ext>
              </a:extLst>
            </p:cNvPr>
            <p:cNvCxnSpPr>
              <a:stCxn id="112" idx="2"/>
              <a:endCxn id="116" idx="0"/>
            </p:cNvCxnSpPr>
            <p:nvPr/>
          </p:nvCxnSpPr>
          <p:spPr>
            <a:xfrm rot="5400000" flipH="1" flipV="1">
              <a:off x="3514915" y="6023035"/>
              <a:ext cx="270185" cy="301023"/>
            </a:xfrm>
            <a:prstGeom prst="bentConnector5">
              <a:avLst>
                <a:gd name="adj1" fmla="val -479970"/>
                <a:gd name="adj2" fmla="val 65924"/>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119" name="Conector angular 216">
              <a:extLst>
                <a:ext uri="{FF2B5EF4-FFF2-40B4-BE49-F238E27FC236}">
                  <a16:creationId xmlns:a16="http://schemas.microsoft.com/office/drawing/2014/main" id="{7AB8FA30-D290-4A6D-AD32-6FFB26F65C96}"/>
                </a:ext>
              </a:extLst>
            </p:cNvPr>
            <p:cNvCxnSpPr>
              <a:stCxn id="116" idx="4"/>
              <a:endCxn id="117" idx="7"/>
            </p:cNvCxnSpPr>
            <p:nvPr/>
          </p:nvCxnSpPr>
          <p:spPr>
            <a:xfrm rot="5400000" flipH="1" flipV="1">
              <a:off x="3860287" y="5987094"/>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20" name="Conector angular 217">
              <a:extLst>
                <a:ext uri="{FF2B5EF4-FFF2-40B4-BE49-F238E27FC236}">
                  <a16:creationId xmlns:a16="http://schemas.microsoft.com/office/drawing/2014/main" id="{97317BBF-D02A-4F3E-891D-8EBDA8E1BDA9}"/>
                </a:ext>
              </a:extLst>
            </p:cNvPr>
            <p:cNvCxnSpPr>
              <a:stCxn id="117" idx="5"/>
              <a:endCxn id="113" idx="0"/>
            </p:cNvCxnSpPr>
            <p:nvPr/>
          </p:nvCxnSpPr>
          <p:spPr>
            <a:xfrm rot="5400000" flipH="1" flipV="1">
              <a:off x="4037004" y="5891520"/>
              <a:ext cx="128030" cy="263886"/>
            </a:xfrm>
            <a:prstGeom prst="bentConnector5">
              <a:avLst>
                <a:gd name="adj1" fmla="val -1012894"/>
                <a:gd name="adj2" fmla="val 26726"/>
                <a:gd name="adj3" fmla="val 1112894"/>
              </a:avLst>
            </a:prstGeom>
          </p:spPr>
          <p:style>
            <a:lnRef idx="1">
              <a:schemeClr val="accent1"/>
            </a:lnRef>
            <a:fillRef idx="0">
              <a:schemeClr val="accent1"/>
            </a:fillRef>
            <a:effectRef idx="0">
              <a:schemeClr val="accent1"/>
            </a:effectRef>
            <a:fontRef idx="minor">
              <a:schemeClr val="tx1"/>
            </a:fontRef>
          </p:style>
        </p:cxnSp>
        <p:sp>
          <p:nvSpPr>
            <p:cNvPr id="121" name="Rectángulo 120">
              <a:extLst>
                <a:ext uri="{FF2B5EF4-FFF2-40B4-BE49-F238E27FC236}">
                  <a16:creationId xmlns:a16="http://schemas.microsoft.com/office/drawing/2014/main" id="{688A98BF-4FC3-44D5-BEA8-28091932E0CF}"/>
                </a:ext>
              </a:extLst>
            </p:cNvPr>
            <p:cNvSpPr/>
            <p:nvPr/>
          </p:nvSpPr>
          <p:spPr>
            <a:xfrm>
              <a:off x="1261413" y="5262762"/>
              <a:ext cx="2662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G</a:t>
              </a:r>
            </a:p>
          </p:txBody>
        </p:sp>
        <p:sp>
          <p:nvSpPr>
            <p:cNvPr id="122" name="Rectángulo 121">
              <a:extLst>
                <a:ext uri="{FF2B5EF4-FFF2-40B4-BE49-F238E27FC236}">
                  <a16:creationId xmlns:a16="http://schemas.microsoft.com/office/drawing/2014/main" id="{B9819C32-6A9B-4620-B1F4-ACCF53C28BE0}"/>
                </a:ext>
              </a:extLst>
            </p:cNvPr>
            <p:cNvSpPr/>
            <p:nvPr/>
          </p:nvSpPr>
          <p:spPr>
            <a:xfrm>
              <a:off x="1609997" y="526276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1</a:t>
              </a:r>
            </a:p>
          </p:txBody>
        </p:sp>
        <p:sp>
          <p:nvSpPr>
            <p:cNvPr id="123" name="Rectángulo 122">
              <a:extLst>
                <a:ext uri="{FF2B5EF4-FFF2-40B4-BE49-F238E27FC236}">
                  <a16:creationId xmlns:a16="http://schemas.microsoft.com/office/drawing/2014/main" id="{AFDBD73E-7DC8-4102-8E32-A4FEFF79F05C}"/>
                </a:ext>
              </a:extLst>
            </p:cNvPr>
            <p:cNvSpPr/>
            <p:nvPr/>
          </p:nvSpPr>
          <p:spPr>
            <a:xfrm>
              <a:off x="1932967" y="5262762"/>
              <a:ext cx="237468"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2</a:t>
              </a:r>
            </a:p>
          </p:txBody>
        </p:sp>
        <p:sp>
          <p:nvSpPr>
            <p:cNvPr id="124" name="Rectángulo 123">
              <a:extLst>
                <a:ext uri="{FF2B5EF4-FFF2-40B4-BE49-F238E27FC236}">
                  <a16:creationId xmlns:a16="http://schemas.microsoft.com/office/drawing/2014/main" id="{2DF026E4-DE5D-41B9-B31D-5C0C94A8768E}"/>
                </a:ext>
              </a:extLst>
            </p:cNvPr>
            <p:cNvSpPr/>
            <p:nvPr/>
          </p:nvSpPr>
          <p:spPr>
            <a:xfrm>
              <a:off x="2655646" y="5262762"/>
              <a:ext cx="259051" cy="3491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1">
              <a:spAutoFit/>
            </a:bodyPr>
            <a:lstStyle/>
            <a:p>
              <a:pPr algn="ctr"/>
              <a:r>
                <a:rPr lang="es-ES" sz="400" dirty="0">
                  <a:solidFill>
                    <a:schemeClr val="tx2"/>
                  </a:solidFill>
                </a:rPr>
                <a:t>BA</a:t>
              </a:r>
            </a:p>
          </p:txBody>
        </p:sp>
        <p:cxnSp>
          <p:nvCxnSpPr>
            <p:cNvPr id="125" name="Conector angular 222">
              <a:extLst>
                <a:ext uri="{FF2B5EF4-FFF2-40B4-BE49-F238E27FC236}">
                  <a16:creationId xmlns:a16="http://schemas.microsoft.com/office/drawing/2014/main" id="{E91C43E7-D1E9-44E1-8466-B19BDEF190CD}"/>
                </a:ext>
              </a:extLst>
            </p:cNvPr>
            <p:cNvCxnSpPr>
              <a:stCxn id="121" idx="2"/>
              <a:endCxn id="122" idx="0"/>
            </p:cNvCxnSpPr>
            <p:nvPr/>
          </p:nvCxnSpPr>
          <p:spPr>
            <a:xfrm rot="5400000" flipH="1" flipV="1">
              <a:off x="1387035" y="5270262"/>
              <a:ext cx="349191" cy="334192"/>
            </a:xfrm>
            <a:prstGeom prst="bentConnector5">
              <a:avLst>
                <a:gd name="adj1" fmla="val -371375"/>
                <a:gd name="adj2" fmla="val 52153"/>
                <a:gd name="adj3" fmla="val 471375"/>
              </a:avLst>
            </a:prstGeom>
          </p:spPr>
          <p:style>
            <a:lnRef idx="1">
              <a:schemeClr val="accent1"/>
            </a:lnRef>
            <a:fillRef idx="0">
              <a:schemeClr val="accent1"/>
            </a:fillRef>
            <a:effectRef idx="0">
              <a:schemeClr val="accent1"/>
            </a:effectRef>
            <a:fontRef idx="minor">
              <a:schemeClr val="tx1"/>
            </a:fontRef>
          </p:style>
        </p:cxnSp>
        <p:cxnSp>
          <p:nvCxnSpPr>
            <p:cNvPr id="126" name="Conector angular 223">
              <a:extLst>
                <a:ext uri="{FF2B5EF4-FFF2-40B4-BE49-F238E27FC236}">
                  <a16:creationId xmlns:a16="http://schemas.microsoft.com/office/drawing/2014/main" id="{7F050D09-CCC2-474F-8601-5D43B1CB165B}"/>
                </a:ext>
              </a:extLst>
            </p:cNvPr>
            <p:cNvCxnSpPr>
              <a:stCxn id="122" idx="2"/>
              <a:endCxn id="123" idx="0"/>
            </p:cNvCxnSpPr>
            <p:nvPr/>
          </p:nvCxnSpPr>
          <p:spPr>
            <a:xfrm rot="5400000" flipH="1" flipV="1">
              <a:off x="1715616" y="5275873"/>
              <a:ext cx="349191" cy="322970"/>
            </a:xfrm>
            <a:prstGeom prst="bentConnector5">
              <a:avLst>
                <a:gd name="adj1" fmla="val -371375"/>
                <a:gd name="adj2" fmla="val 49999"/>
                <a:gd name="adj3" fmla="val 471375"/>
              </a:avLst>
            </a:prstGeom>
          </p:spPr>
          <p:style>
            <a:lnRef idx="1">
              <a:schemeClr val="accent1"/>
            </a:lnRef>
            <a:fillRef idx="0">
              <a:schemeClr val="accent1"/>
            </a:fillRef>
            <a:effectRef idx="0">
              <a:schemeClr val="accent1"/>
            </a:effectRef>
            <a:fontRef idx="minor">
              <a:schemeClr val="tx1"/>
            </a:fontRef>
          </p:style>
        </p:cxnSp>
        <p:sp>
          <p:nvSpPr>
            <p:cNvPr id="127" name="Elipse 126">
              <a:extLst>
                <a:ext uri="{FF2B5EF4-FFF2-40B4-BE49-F238E27FC236}">
                  <a16:creationId xmlns:a16="http://schemas.microsoft.com/office/drawing/2014/main" id="{41BF4DA5-4987-49FE-9890-4D163AB4F223}"/>
                </a:ext>
              </a:extLst>
            </p:cNvPr>
            <p:cNvSpPr/>
            <p:nvPr/>
          </p:nvSpPr>
          <p:spPr>
            <a:xfrm>
              <a:off x="2329860" y="5341769"/>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sp>
          <p:nvSpPr>
            <p:cNvPr id="128" name="Elipse 127">
              <a:extLst>
                <a:ext uri="{FF2B5EF4-FFF2-40B4-BE49-F238E27FC236}">
                  <a16:creationId xmlns:a16="http://schemas.microsoft.com/office/drawing/2014/main" id="{79406C6D-5863-459B-9697-585C3D5DBE1F}"/>
                </a:ext>
              </a:extLst>
            </p:cNvPr>
            <p:cNvSpPr/>
            <p:nvPr/>
          </p:nvSpPr>
          <p:spPr>
            <a:xfrm>
              <a:off x="2482260" y="5341769"/>
              <a:ext cx="45719" cy="5743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 dirty="0"/>
            </a:p>
          </p:txBody>
        </p:sp>
        <p:cxnSp>
          <p:nvCxnSpPr>
            <p:cNvPr id="129" name="Conector angular 226">
              <a:extLst>
                <a:ext uri="{FF2B5EF4-FFF2-40B4-BE49-F238E27FC236}">
                  <a16:creationId xmlns:a16="http://schemas.microsoft.com/office/drawing/2014/main" id="{3FFAE6C2-9FAF-4925-A18C-B890920AECEC}"/>
                </a:ext>
              </a:extLst>
            </p:cNvPr>
            <p:cNvCxnSpPr>
              <a:stCxn id="123" idx="2"/>
              <a:endCxn id="127" idx="0"/>
            </p:cNvCxnSpPr>
            <p:nvPr/>
          </p:nvCxnSpPr>
          <p:spPr>
            <a:xfrm rot="5400000" flipH="1" flipV="1">
              <a:off x="2067120" y="5326349"/>
              <a:ext cx="270185" cy="301023"/>
            </a:xfrm>
            <a:prstGeom prst="bentConnector5">
              <a:avLst>
                <a:gd name="adj1" fmla="val -479970"/>
                <a:gd name="adj2" fmla="val 65924"/>
                <a:gd name="adj3" fmla="val 579970"/>
              </a:avLst>
            </a:prstGeom>
          </p:spPr>
          <p:style>
            <a:lnRef idx="1">
              <a:schemeClr val="accent1"/>
            </a:lnRef>
            <a:fillRef idx="0">
              <a:schemeClr val="accent1"/>
            </a:fillRef>
            <a:effectRef idx="0">
              <a:schemeClr val="accent1"/>
            </a:effectRef>
            <a:fontRef idx="minor">
              <a:schemeClr val="tx1"/>
            </a:fontRef>
          </p:style>
        </p:cxnSp>
        <p:cxnSp>
          <p:nvCxnSpPr>
            <p:cNvPr id="130" name="Conector angular 227">
              <a:extLst>
                <a:ext uri="{FF2B5EF4-FFF2-40B4-BE49-F238E27FC236}">
                  <a16:creationId xmlns:a16="http://schemas.microsoft.com/office/drawing/2014/main" id="{B4D02D3E-0AD3-460F-AA9F-3229475B55DD}"/>
                </a:ext>
              </a:extLst>
            </p:cNvPr>
            <p:cNvCxnSpPr>
              <a:stCxn id="127" idx="4"/>
              <a:endCxn id="128" idx="7"/>
            </p:cNvCxnSpPr>
            <p:nvPr/>
          </p:nvCxnSpPr>
          <p:spPr>
            <a:xfrm rot="5400000" flipH="1" flipV="1">
              <a:off x="2412490" y="5290410"/>
              <a:ext cx="49024" cy="168564"/>
            </a:xfrm>
            <a:prstGeom prst="bentConnector5">
              <a:avLst>
                <a:gd name="adj1" fmla="val -466302"/>
                <a:gd name="adj2" fmla="val 45205"/>
                <a:gd name="adj3" fmla="val 566302"/>
              </a:avLst>
            </a:prstGeom>
          </p:spPr>
          <p:style>
            <a:lnRef idx="1">
              <a:schemeClr val="accent1"/>
            </a:lnRef>
            <a:fillRef idx="0">
              <a:schemeClr val="accent1"/>
            </a:fillRef>
            <a:effectRef idx="0">
              <a:schemeClr val="accent1"/>
            </a:effectRef>
            <a:fontRef idx="minor">
              <a:schemeClr val="tx1"/>
            </a:fontRef>
          </p:style>
        </p:cxnSp>
        <p:cxnSp>
          <p:nvCxnSpPr>
            <p:cNvPr id="131" name="Conector angular 228">
              <a:extLst>
                <a:ext uri="{FF2B5EF4-FFF2-40B4-BE49-F238E27FC236}">
                  <a16:creationId xmlns:a16="http://schemas.microsoft.com/office/drawing/2014/main" id="{E657E0AC-0D58-40D8-A947-74AF8B45B765}"/>
                </a:ext>
              </a:extLst>
            </p:cNvPr>
            <p:cNvCxnSpPr>
              <a:stCxn id="128" idx="5"/>
              <a:endCxn id="124" idx="0"/>
            </p:cNvCxnSpPr>
            <p:nvPr/>
          </p:nvCxnSpPr>
          <p:spPr>
            <a:xfrm rot="5400000" flipH="1" flipV="1">
              <a:off x="2589209" y="5194835"/>
              <a:ext cx="128030" cy="263890"/>
            </a:xfrm>
            <a:prstGeom prst="bentConnector5">
              <a:avLst>
                <a:gd name="adj1" fmla="val -1012894"/>
                <a:gd name="adj2" fmla="val 26727"/>
                <a:gd name="adj3" fmla="val 1112894"/>
              </a:avLst>
            </a:prstGeom>
          </p:spPr>
          <p:style>
            <a:lnRef idx="1">
              <a:schemeClr val="accent1"/>
            </a:lnRef>
            <a:fillRef idx="0">
              <a:schemeClr val="accent1"/>
            </a:fillRef>
            <a:effectRef idx="0">
              <a:schemeClr val="accent1"/>
            </a:effectRef>
            <a:fontRef idx="minor">
              <a:schemeClr val="tx1"/>
            </a:fontRef>
          </p:style>
        </p:cxnSp>
        <p:sp>
          <p:nvSpPr>
            <p:cNvPr id="132" name="CuadroTexto 131">
              <a:extLst>
                <a:ext uri="{FF2B5EF4-FFF2-40B4-BE49-F238E27FC236}">
                  <a16:creationId xmlns:a16="http://schemas.microsoft.com/office/drawing/2014/main" id="{798FB3C7-BE73-4A72-878E-746BA2E994DD}"/>
                </a:ext>
              </a:extLst>
            </p:cNvPr>
            <p:cNvSpPr txBox="1"/>
            <p:nvPr/>
          </p:nvSpPr>
          <p:spPr>
            <a:xfrm>
              <a:off x="2033651" y="1994022"/>
              <a:ext cx="2081044" cy="872980"/>
            </a:xfrm>
            <a:prstGeom prst="rect">
              <a:avLst/>
            </a:prstGeom>
            <a:noFill/>
          </p:spPr>
          <p:txBody>
            <a:bodyPr wrap="none" rtlCol="0">
              <a:spAutoFit/>
            </a:bodyPr>
            <a:lstStyle/>
            <a:p>
              <a:r>
                <a:rPr lang="es-ES" sz="400" dirty="0"/>
                <a:t>Transportista</a:t>
              </a:r>
            </a:p>
          </p:txBody>
        </p:sp>
        <p:sp>
          <p:nvSpPr>
            <p:cNvPr id="133" name="CuadroTexto 132">
              <a:extLst>
                <a:ext uri="{FF2B5EF4-FFF2-40B4-BE49-F238E27FC236}">
                  <a16:creationId xmlns:a16="http://schemas.microsoft.com/office/drawing/2014/main" id="{02C0176F-EB57-45DB-A60D-9521A57463FE}"/>
                </a:ext>
              </a:extLst>
            </p:cNvPr>
            <p:cNvSpPr txBox="1"/>
            <p:nvPr/>
          </p:nvSpPr>
          <p:spPr>
            <a:xfrm>
              <a:off x="1879889" y="4235322"/>
              <a:ext cx="1742843" cy="872980"/>
            </a:xfrm>
            <a:prstGeom prst="rect">
              <a:avLst/>
            </a:prstGeom>
            <a:noFill/>
          </p:spPr>
          <p:txBody>
            <a:bodyPr wrap="none" rtlCol="0">
              <a:spAutoFit/>
            </a:bodyPr>
            <a:lstStyle/>
            <a:p>
              <a:r>
                <a:rPr lang="es-ES" sz="400" dirty="0"/>
                <a:t>Recolecta</a:t>
              </a:r>
            </a:p>
          </p:txBody>
        </p:sp>
        <p:sp>
          <p:nvSpPr>
            <p:cNvPr id="134" name="CuadroTexto 133">
              <a:extLst>
                <a:ext uri="{FF2B5EF4-FFF2-40B4-BE49-F238E27FC236}">
                  <a16:creationId xmlns:a16="http://schemas.microsoft.com/office/drawing/2014/main" id="{C090C802-2A92-4807-9B19-60241F8A6D21}"/>
                </a:ext>
              </a:extLst>
            </p:cNvPr>
            <p:cNvSpPr txBox="1"/>
            <p:nvPr/>
          </p:nvSpPr>
          <p:spPr>
            <a:xfrm>
              <a:off x="107324" y="5225322"/>
              <a:ext cx="1800410" cy="872980"/>
            </a:xfrm>
            <a:prstGeom prst="rect">
              <a:avLst/>
            </a:prstGeom>
            <a:noFill/>
          </p:spPr>
          <p:txBody>
            <a:bodyPr wrap="none" rtlCol="0">
              <a:spAutoFit/>
            </a:bodyPr>
            <a:lstStyle/>
            <a:p>
              <a:r>
                <a:rPr lang="es-ES" sz="400" dirty="0"/>
                <a:t>Envasador</a:t>
              </a:r>
            </a:p>
          </p:txBody>
        </p:sp>
        <p:sp>
          <p:nvSpPr>
            <p:cNvPr id="135" name="CuadroTexto 134">
              <a:extLst>
                <a:ext uri="{FF2B5EF4-FFF2-40B4-BE49-F238E27FC236}">
                  <a16:creationId xmlns:a16="http://schemas.microsoft.com/office/drawing/2014/main" id="{F37BAE5A-6878-4E2A-9D60-072714409D49}"/>
                </a:ext>
              </a:extLst>
            </p:cNvPr>
            <p:cNvSpPr txBox="1"/>
            <p:nvPr/>
          </p:nvSpPr>
          <p:spPr>
            <a:xfrm>
              <a:off x="6477455" y="1690690"/>
              <a:ext cx="1685277" cy="872980"/>
            </a:xfrm>
            <a:prstGeom prst="rect">
              <a:avLst/>
            </a:prstGeom>
            <a:noFill/>
          </p:spPr>
          <p:txBody>
            <a:bodyPr wrap="none" rtlCol="0">
              <a:spAutoFit/>
            </a:bodyPr>
            <a:lstStyle/>
            <a:p>
              <a:r>
                <a:rPr lang="es-ES" sz="400" dirty="0"/>
                <a:t>Olivarero</a:t>
              </a:r>
            </a:p>
          </p:txBody>
        </p:sp>
        <p:sp>
          <p:nvSpPr>
            <p:cNvPr id="136" name="CuadroTexto 135">
              <a:extLst>
                <a:ext uri="{FF2B5EF4-FFF2-40B4-BE49-F238E27FC236}">
                  <a16:creationId xmlns:a16="http://schemas.microsoft.com/office/drawing/2014/main" id="{30387670-45BF-406A-A68E-E054A8943AD9}"/>
                </a:ext>
              </a:extLst>
            </p:cNvPr>
            <p:cNvSpPr txBox="1"/>
            <p:nvPr/>
          </p:nvSpPr>
          <p:spPr>
            <a:xfrm>
              <a:off x="8080381" y="2404638"/>
              <a:ext cx="1843585" cy="872980"/>
            </a:xfrm>
            <a:prstGeom prst="rect">
              <a:avLst/>
            </a:prstGeom>
            <a:noFill/>
          </p:spPr>
          <p:txBody>
            <a:bodyPr wrap="none" rtlCol="0">
              <a:spAutoFit/>
            </a:bodyPr>
            <a:lstStyle/>
            <a:p>
              <a:r>
                <a:rPr lang="es-ES" sz="400" dirty="0"/>
                <a:t>Tractorista</a:t>
              </a:r>
            </a:p>
          </p:txBody>
        </p:sp>
        <p:sp>
          <p:nvSpPr>
            <p:cNvPr id="137" name="CuadroTexto 136">
              <a:extLst>
                <a:ext uri="{FF2B5EF4-FFF2-40B4-BE49-F238E27FC236}">
                  <a16:creationId xmlns:a16="http://schemas.microsoft.com/office/drawing/2014/main" id="{1CFC08F8-209F-4129-B64C-1DB965B952F3}"/>
                </a:ext>
              </a:extLst>
            </p:cNvPr>
            <p:cNvSpPr txBox="1"/>
            <p:nvPr/>
          </p:nvSpPr>
          <p:spPr>
            <a:xfrm>
              <a:off x="8446679" y="3571295"/>
              <a:ext cx="2095436" cy="872980"/>
            </a:xfrm>
            <a:prstGeom prst="rect">
              <a:avLst/>
            </a:prstGeom>
            <a:noFill/>
          </p:spPr>
          <p:txBody>
            <a:bodyPr wrap="none" rtlCol="0">
              <a:spAutoFit/>
            </a:bodyPr>
            <a:lstStyle/>
            <a:p>
              <a:r>
                <a:rPr lang="es-ES" sz="400" dirty="0"/>
                <a:t>Fitosanitarios</a:t>
              </a:r>
            </a:p>
          </p:txBody>
        </p:sp>
        <p:sp>
          <p:nvSpPr>
            <p:cNvPr id="138" name="CuadroTexto 137">
              <a:extLst>
                <a:ext uri="{FF2B5EF4-FFF2-40B4-BE49-F238E27FC236}">
                  <a16:creationId xmlns:a16="http://schemas.microsoft.com/office/drawing/2014/main" id="{ECD78D4D-3508-40B8-B549-525524D4A9AB}"/>
                </a:ext>
              </a:extLst>
            </p:cNvPr>
            <p:cNvSpPr txBox="1"/>
            <p:nvPr/>
          </p:nvSpPr>
          <p:spPr>
            <a:xfrm>
              <a:off x="8041731" y="5029870"/>
              <a:ext cx="2620738" cy="872980"/>
            </a:xfrm>
            <a:prstGeom prst="rect">
              <a:avLst/>
            </a:prstGeom>
            <a:noFill/>
          </p:spPr>
          <p:txBody>
            <a:bodyPr wrap="none" rtlCol="0">
              <a:spAutoFit/>
            </a:bodyPr>
            <a:lstStyle/>
            <a:p>
              <a:r>
                <a:rPr lang="es-ES" sz="400" dirty="0"/>
                <a:t>Dron / foto satélite</a:t>
              </a:r>
            </a:p>
          </p:txBody>
        </p:sp>
        <p:sp>
          <p:nvSpPr>
            <p:cNvPr id="139" name="CuadroTexto 138">
              <a:extLst>
                <a:ext uri="{FF2B5EF4-FFF2-40B4-BE49-F238E27FC236}">
                  <a16:creationId xmlns:a16="http://schemas.microsoft.com/office/drawing/2014/main" id="{08EE74A5-FD00-4731-AC9B-A6DBF3A85BCB}"/>
                </a:ext>
              </a:extLst>
            </p:cNvPr>
            <p:cNvSpPr txBox="1"/>
            <p:nvPr/>
          </p:nvSpPr>
          <p:spPr>
            <a:xfrm>
              <a:off x="4784933" y="5660768"/>
              <a:ext cx="1893952" cy="872980"/>
            </a:xfrm>
            <a:prstGeom prst="rect">
              <a:avLst/>
            </a:prstGeom>
            <a:noFill/>
          </p:spPr>
          <p:txBody>
            <a:bodyPr wrap="none" rtlCol="0">
              <a:spAutoFit/>
            </a:bodyPr>
            <a:lstStyle/>
            <a:p>
              <a:r>
                <a:rPr lang="es-ES" sz="400" dirty="0"/>
                <a:t>Cliente B2B</a:t>
              </a:r>
            </a:p>
          </p:txBody>
        </p:sp>
      </p:grpSp>
      <p:pic>
        <p:nvPicPr>
          <p:cNvPr id="141" name="Picture 2" descr="man smiling and using MacBook">
            <a:extLst>
              <a:ext uri="{FF2B5EF4-FFF2-40B4-BE49-F238E27FC236}">
                <a16:creationId xmlns:a16="http://schemas.microsoft.com/office/drawing/2014/main" id="{55CC1C8F-0BC3-47E8-ADE9-E7CE15F217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1301" y="5198955"/>
            <a:ext cx="1761921" cy="117520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nvGrpSpPr>
          <p:cNvPr id="142" name="Grupo 141">
            <a:extLst>
              <a:ext uri="{FF2B5EF4-FFF2-40B4-BE49-F238E27FC236}">
                <a16:creationId xmlns:a16="http://schemas.microsoft.com/office/drawing/2014/main" id="{7E312E9C-DF35-4884-B203-F02A3310E3AA}"/>
              </a:ext>
            </a:extLst>
          </p:cNvPr>
          <p:cNvGrpSpPr/>
          <p:nvPr/>
        </p:nvGrpSpPr>
        <p:grpSpPr>
          <a:xfrm>
            <a:off x="8061646" y="3142034"/>
            <a:ext cx="4118316" cy="1814034"/>
            <a:chOff x="8061646" y="3142034"/>
            <a:chExt cx="4118316" cy="1814034"/>
          </a:xfrm>
        </p:grpSpPr>
        <p:sp>
          <p:nvSpPr>
            <p:cNvPr id="140" name="Es igual a 139">
              <a:extLst>
                <a:ext uri="{FF2B5EF4-FFF2-40B4-BE49-F238E27FC236}">
                  <a16:creationId xmlns:a16="http://schemas.microsoft.com/office/drawing/2014/main" id="{AF81D729-0BE2-4A25-9694-C6BBD5AA6645}"/>
                </a:ext>
              </a:extLst>
            </p:cNvPr>
            <p:cNvSpPr/>
            <p:nvPr/>
          </p:nvSpPr>
          <p:spPr>
            <a:xfrm>
              <a:off x="8061646" y="3657598"/>
              <a:ext cx="933062" cy="774441"/>
            </a:xfrm>
            <a:prstGeom prst="mathEqual">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1"/>
                </a:solidFill>
              </a:endParaRPr>
            </a:p>
          </p:txBody>
        </p:sp>
        <p:pic>
          <p:nvPicPr>
            <p:cNvPr id="3076" name="Picture 4" descr="My Blockchain Primer - shadowandy - my life stories">
              <a:extLst>
                <a:ext uri="{FF2B5EF4-FFF2-40B4-BE49-F238E27FC236}">
                  <a16:creationId xmlns:a16="http://schemas.microsoft.com/office/drawing/2014/main" id="{D75532FE-84BD-44A6-8289-3EF8724D375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18777" y="3142034"/>
              <a:ext cx="3261185" cy="1814034"/>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ángulo 2">
            <a:extLst>
              <a:ext uri="{FF2B5EF4-FFF2-40B4-BE49-F238E27FC236}">
                <a16:creationId xmlns:a16="http://schemas.microsoft.com/office/drawing/2014/main" id="{E91578CA-91B4-537A-5A66-C3F7E34BD4BA}"/>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37489971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La barredora y Blockchain</a:t>
            </a:r>
            <a:br>
              <a:rPr lang="es-ES" noProof="0" dirty="0"/>
            </a:br>
            <a:r>
              <a:rPr lang="es-ES" noProof="0" dirty="0"/>
              <a:t>IoT – Big Data - Blockchain</a:t>
            </a:r>
          </a:p>
        </p:txBody>
      </p:sp>
      <p:pic>
        <p:nvPicPr>
          <p:cNvPr id="19" name="Picture 2" descr="Ny gadefejer i bybilledet | Dagens Byggeri">
            <a:extLst>
              <a:ext uri="{FF2B5EF4-FFF2-40B4-BE49-F238E27FC236}">
                <a16:creationId xmlns:a16="http://schemas.microsoft.com/office/drawing/2014/main" id="{8EC61222-D462-48D1-9445-6436D04BBF4B}"/>
              </a:ext>
            </a:extLst>
          </p:cNvPr>
          <p:cNvPicPr>
            <a:picLocks noGrp="1" noChangeAspect="1" noChangeArrowheads="1"/>
          </p:cNvPicPr>
          <p:nvPr>
            <p:ph sz="half" idx="1"/>
          </p:nvPr>
        </p:nvPicPr>
        <p:blipFill rotWithShape="1">
          <a:blip r:embed="rId3">
            <a:extLst>
              <a:ext uri="{28A0092B-C50C-407E-A947-70E740481C1C}">
                <a14:useLocalDpi xmlns:a14="http://schemas.microsoft.com/office/drawing/2010/main" val="0"/>
              </a:ext>
            </a:extLst>
          </a:blip>
          <a:stretch/>
        </p:blipFill>
        <p:spPr bwMode="auto">
          <a:xfrm>
            <a:off x="1008568" y="1825625"/>
            <a:ext cx="4840863" cy="4351338"/>
          </a:xfrm>
          <a:noFill/>
          <a:extLst>
            <a:ext uri="{909E8E84-426E-40DD-AFC4-6F175D3DCCD1}">
              <a14:hiddenFill xmlns:a14="http://schemas.microsoft.com/office/drawing/2010/main">
                <a:solidFill>
                  <a:srgbClr val="FFFFFF"/>
                </a:solidFill>
              </a14:hiddenFill>
            </a:ext>
          </a:extLst>
        </p:spPr>
      </p:pic>
      <p:graphicFrame>
        <p:nvGraphicFramePr>
          <p:cNvPr id="5" name="Marcador de contenido 4">
            <a:extLst>
              <a:ext uri="{FF2B5EF4-FFF2-40B4-BE49-F238E27FC236}">
                <a16:creationId xmlns:a16="http://schemas.microsoft.com/office/drawing/2014/main" id="{E39D7E6A-A421-4DAD-BFD9-FE883A8E4E6E}"/>
              </a:ext>
            </a:extLst>
          </p:cNvPr>
          <p:cNvGraphicFramePr>
            <a:graphicFrameLocks noGrp="1"/>
          </p:cNvGraphicFramePr>
          <p:nvPr>
            <p:ph sz="half" idx="2"/>
            <p:extLst>
              <p:ext uri="{D42A27DB-BD31-4B8C-83A1-F6EECF244321}">
                <p14:modId xmlns:p14="http://schemas.microsoft.com/office/powerpoint/2010/main" val="2196852152"/>
              </p:ext>
            </p:extLst>
          </p:nvPr>
        </p:nvGraphicFramePr>
        <p:xfrm>
          <a:off x="6172200" y="1825625"/>
          <a:ext cx="5181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Marcador de fecha 1">
            <a:extLst>
              <a:ext uri="{FF2B5EF4-FFF2-40B4-BE49-F238E27FC236}">
                <a16:creationId xmlns:a16="http://schemas.microsoft.com/office/drawing/2014/main" id="{E698FD8A-A1E3-4B78-BB0A-1B48CF3D1149}"/>
              </a:ext>
            </a:extLst>
          </p:cNvPr>
          <p:cNvSpPr>
            <a:spLocks noGrp="1"/>
          </p:cNvSpPr>
          <p:nvPr>
            <p:ph type="dt" sz="half" idx="10"/>
          </p:nvPr>
        </p:nvSpPr>
        <p:spPr>
          <a:xfrm>
            <a:off x="814650" y="6400379"/>
            <a:ext cx="3380278" cy="365125"/>
          </a:xfrm>
        </p:spPr>
        <p:txBody>
          <a:bodyPr/>
          <a:lstStyle/>
          <a:p>
            <a:fld id="{C495CCC9-E3C1-49CA-9A24-458E7A30780B}"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BDD7550F-A9A3-480C-A9EE-DEFC324A57E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6D77A206-46CF-4A21-AA8A-8202E3FF229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8</a:t>
            </a:fld>
            <a:endParaRPr lang="es-ES" dirty="0"/>
          </a:p>
        </p:txBody>
      </p:sp>
      <p:sp>
        <p:nvSpPr>
          <p:cNvPr id="6" name="Rectángulo 5">
            <a:extLst>
              <a:ext uri="{FF2B5EF4-FFF2-40B4-BE49-F238E27FC236}">
                <a16:creationId xmlns:a16="http://schemas.microsoft.com/office/drawing/2014/main" id="{482111D0-441A-5745-BDA7-31D5E952532E}"/>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122498038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DB5B5E-A76F-E365-3872-3124864435ED}"/>
              </a:ext>
            </a:extLst>
          </p:cNvPr>
          <p:cNvSpPr>
            <a:spLocks noGrp="1"/>
          </p:cNvSpPr>
          <p:nvPr>
            <p:ph type="title"/>
          </p:nvPr>
        </p:nvSpPr>
        <p:spPr>
          <a:xfrm>
            <a:off x="838200" y="365126"/>
            <a:ext cx="9840124" cy="1092200"/>
          </a:xfrm>
        </p:spPr>
        <p:txBody>
          <a:bodyPr/>
          <a:lstStyle/>
          <a:p>
            <a:r>
              <a:rPr lang="es-ES" noProof="0" dirty="0"/>
              <a:t>Áreas de crecimiento Blockchain</a:t>
            </a:r>
          </a:p>
        </p:txBody>
      </p:sp>
      <p:graphicFrame>
        <p:nvGraphicFramePr>
          <p:cNvPr id="3" name="Marcador de contenido 2">
            <a:extLst>
              <a:ext uri="{FF2B5EF4-FFF2-40B4-BE49-F238E27FC236}">
                <a16:creationId xmlns:a16="http://schemas.microsoft.com/office/drawing/2014/main" id="{6C2311DD-70E5-2E66-7791-43018A8E1A0F}"/>
              </a:ext>
            </a:extLst>
          </p:cNvPr>
          <p:cNvGraphicFramePr>
            <a:graphicFrameLocks noGrp="1"/>
          </p:cNvGraphicFramePr>
          <p:nvPr>
            <p:ph sz="half" idx="1"/>
            <p:extLst>
              <p:ext uri="{D42A27DB-BD31-4B8C-83A1-F6EECF244321}">
                <p14:modId xmlns:p14="http://schemas.microsoft.com/office/powerpoint/2010/main" val="2256943799"/>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Marcador de contenido 9">
            <a:extLst>
              <a:ext uri="{FF2B5EF4-FFF2-40B4-BE49-F238E27FC236}">
                <a16:creationId xmlns:a16="http://schemas.microsoft.com/office/drawing/2014/main" id="{83AFAD36-1B4D-008E-F86A-A63C0790B66E}"/>
              </a:ext>
            </a:extLst>
          </p:cNvPr>
          <p:cNvGraphicFramePr>
            <a:graphicFrameLocks noGrp="1"/>
          </p:cNvGraphicFramePr>
          <p:nvPr>
            <p:ph sz="half" idx="2"/>
            <p:extLst>
              <p:ext uri="{D42A27DB-BD31-4B8C-83A1-F6EECF244321}">
                <p14:modId xmlns:p14="http://schemas.microsoft.com/office/powerpoint/2010/main" val="2822573116"/>
              </p:ext>
            </p:extLst>
          </p:nvPr>
        </p:nvGraphicFramePr>
        <p:xfrm>
          <a:off x="6172200" y="1825625"/>
          <a:ext cx="5181600" cy="43513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Marcador de fecha 4">
            <a:extLst>
              <a:ext uri="{FF2B5EF4-FFF2-40B4-BE49-F238E27FC236}">
                <a16:creationId xmlns:a16="http://schemas.microsoft.com/office/drawing/2014/main" id="{3B501AC2-F841-465B-FB79-7CB0163DD6D0}"/>
              </a:ext>
            </a:extLst>
          </p:cNvPr>
          <p:cNvSpPr>
            <a:spLocks noGrp="1"/>
          </p:cNvSpPr>
          <p:nvPr>
            <p:ph type="dt" sz="half" idx="10"/>
          </p:nvPr>
        </p:nvSpPr>
        <p:spPr>
          <a:xfrm>
            <a:off x="814650" y="6400379"/>
            <a:ext cx="3380278" cy="365125"/>
          </a:xfrm>
        </p:spPr>
        <p:txBody>
          <a:bodyPr/>
          <a:lstStyle/>
          <a:p>
            <a:fld id="{36067C84-A748-4362-B505-567DBE211DBD}"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8F4FE48B-E514-9F2F-0DD7-4485952786F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C0DEA432-32AE-FCD8-D204-C4AD21D2BD1D}"/>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29</a:t>
            </a:fld>
            <a:endParaRPr lang="es-ES" dirty="0"/>
          </a:p>
        </p:txBody>
      </p:sp>
      <p:sp>
        <p:nvSpPr>
          <p:cNvPr id="25" name="Rectángulo 24">
            <a:extLst>
              <a:ext uri="{FF2B5EF4-FFF2-40B4-BE49-F238E27FC236}">
                <a16:creationId xmlns:a16="http://schemas.microsoft.com/office/drawing/2014/main" id="{B7763700-F818-CAB0-64C9-F055000964C7}"/>
              </a:ext>
            </a:extLst>
          </p:cNvPr>
          <p:cNvSpPr/>
          <p:nvPr/>
        </p:nvSpPr>
        <p:spPr>
          <a:xfrm>
            <a:off x="7801699" y="1593214"/>
            <a:ext cx="1688924" cy="523220"/>
          </a:xfrm>
          <a:prstGeom prst="rect">
            <a:avLst/>
          </a:prstGeom>
          <a:noFill/>
        </p:spPr>
        <p:txBody>
          <a:bodyPr wrap="none" lIns="91440" tIns="45720" rIns="91440" bIns="45720">
            <a:spAutoFit/>
          </a:bodyPr>
          <a:lstStyle/>
          <a:p>
            <a:pPr algn="ctr"/>
            <a:r>
              <a:rPr lang="es-ES" sz="28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 resolver</a:t>
            </a:r>
          </a:p>
        </p:txBody>
      </p:sp>
      <p:sp>
        <p:nvSpPr>
          <p:cNvPr id="4" name="Rectángulo 3">
            <a:extLst>
              <a:ext uri="{FF2B5EF4-FFF2-40B4-BE49-F238E27FC236}">
                <a16:creationId xmlns:a16="http://schemas.microsoft.com/office/drawing/2014/main" id="{31099781-7677-95B1-526B-0D3369627401}"/>
              </a:ext>
            </a:extLst>
          </p:cNvPr>
          <p:cNvSpPr/>
          <p:nvPr/>
        </p:nvSpPr>
        <p:spPr>
          <a:xfrm>
            <a:off x="-10162" y="7758"/>
            <a:ext cx="1784591" cy="523220"/>
          </a:xfrm>
          <a:prstGeom prst="rect">
            <a:avLst/>
          </a:prstGeom>
          <a:noFill/>
        </p:spPr>
        <p:txBody>
          <a:bodyPr wrap="none" lIns="91440" tIns="45720" rIns="91440" bIns="45720">
            <a:spAutoFit/>
          </a:bodyPr>
          <a:lstStyle/>
          <a:p>
            <a:pPr algn="ctr"/>
            <a:r>
              <a:rPr lang="es-ES" sz="2800" b="1" cap="none" spc="0" dirty="0">
                <a:ln w="12700">
                  <a:solidFill>
                    <a:schemeClr val="accent4"/>
                  </a:solidFill>
                  <a:prstDash val="solid"/>
                </a:ln>
                <a:solidFill>
                  <a:schemeClr val="accent2"/>
                </a:solidFill>
              </a:rPr>
              <a:t>Blockchain</a:t>
            </a:r>
          </a:p>
        </p:txBody>
      </p:sp>
    </p:spTree>
    <p:extLst>
      <p:ext uri="{BB962C8B-B14F-4D97-AF65-F5344CB8AC3E}">
        <p14:creationId xmlns:p14="http://schemas.microsoft.com/office/powerpoint/2010/main" val="1870649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0CBE0-DD2B-B8C2-0D63-D822561CBD6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4597ACB-E9CE-746D-4332-1DE69E2F8856}"/>
              </a:ext>
            </a:extLst>
          </p:cNvPr>
          <p:cNvSpPr>
            <a:spLocks noGrp="1"/>
          </p:cNvSpPr>
          <p:nvPr>
            <p:ph type="title"/>
          </p:nvPr>
        </p:nvSpPr>
        <p:spPr>
          <a:xfrm>
            <a:off x="838200" y="365126"/>
            <a:ext cx="9840124" cy="1092200"/>
          </a:xfrm>
        </p:spPr>
        <p:txBody>
          <a:bodyPr>
            <a:normAutofit fontScale="90000"/>
          </a:bodyPr>
          <a:lstStyle/>
          <a:p>
            <a:r>
              <a:rPr lang="es-ES" noProof="0" dirty="0"/>
              <a:t>Premisa 1- Las organizaciones estarán donde están las personas con sus requerimientos conocidos o no</a:t>
            </a:r>
          </a:p>
        </p:txBody>
      </p:sp>
      <p:graphicFrame>
        <p:nvGraphicFramePr>
          <p:cNvPr id="8" name="Marcador de contenido 7">
            <a:extLst>
              <a:ext uri="{FF2B5EF4-FFF2-40B4-BE49-F238E27FC236}">
                <a16:creationId xmlns:a16="http://schemas.microsoft.com/office/drawing/2014/main" id="{CACB117D-979C-0948-43E2-7DEE0B15A4FF}"/>
              </a:ext>
            </a:extLst>
          </p:cNvPr>
          <p:cNvGraphicFramePr>
            <a:graphicFrameLocks noGrp="1"/>
          </p:cNvGraphicFramePr>
          <p:nvPr>
            <p:ph sz="half" idx="1"/>
            <p:extLst>
              <p:ext uri="{D42A27DB-BD31-4B8C-83A1-F6EECF244321}">
                <p14:modId xmlns:p14="http://schemas.microsoft.com/office/powerpoint/2010/main" val="2322062506"/>
              </p:ext>
            </p:extLst>
          </p:nvPr>
        </p:nvGraphicFramePr>
        <p:xfrm>
          <a:off x="2927350" y="2868780"/>
          <a:ext cx="8821738" cy="2926080"/>
        </p:xfrm>
        <a:graphic>
          <a:graphicData uri="http://schemas.openxmlformats.org/drawingml/2006/table">
            <a:tbl>
              <a:tblPr firstRow="1" bandRow="1">
                <a:tableStyleId>{5C22544A-7EE6-4342-B048-85BDC9FD1C3A}</a:tableStyleId>
              </a:tblPr>
              <a:tblGrid>
                <a:gridCol w="4410869">
                  <a:extLst>
                    <a:ext uri="{9D8B030D-6E8A-4147-A177-3AD203B41FA5}">
                      <a16:colId xmlns:a16="http://schemas.microsoft.com/office/drawing/2014/main" val="686195175"/>
                    </a:ext>
                  </a:extLst>
                </a:gridCol>
                <a:gridCol w="4410869">
                  <a:extLst>
                    <a:ext uri="{9D8B030D-6E8A-4147-A177-3AD203B41FA5}">
                      <a16:colId xmlns:a16="http://schemas.microsoft.com/office/drawing/2014/main" val="185501390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cap="small" baseline="0" dirty="0"/>
                        <a:t>Mundo pasado</a:t>
                      </a:r>
                      <a:endParaRPr lang="es-ES" sz="2400" cap="small" baseline="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cap="small" baseline="0" dirty="0"/>
                        <a:t>Mundo presente virtual</a:t>
                      </a:r>
                      <a:endParaRPr lang="es-ES" sz="2400" cap="small" baseline="0" dirty="0"/>
                    </a:p>
                  </a:txBody>
                  <a:tcPr anchor="ctr"/>
                </a:tc>
                <a:extLst>
                  <a:ext uri="{0D108BD9-81ED-4DB2-BD59-A6C34878D82A}">
                    <a16:rowId xmlns:a16="http://schemas.microsoft.com/office/drawing/2014/main" val="151938757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Relación persona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Sin relación personal pero como si lo fuera</a:t>
                      </a:r>
                    </a:p>
                  </a:txBody>
                  <a:tcPr anchor="ctr"/>
                </a:tc>
                <a:extLst>
                  <a:ext uri="{0D108BD9-81ED-4DB2-BD59-A6C34878D82A}">
                    <a16:rowId xmlns:a16="http://schemas.microsoft.com/office/drawing/2014/main" val="12149560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Nos conocíamos todo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No existe el contacto físico, pero hay que conocer al cliente / ciudadano.</a:t>
                      </a:r>
                    </a:p>
                  </a:txBody>
                  <a:tcPr anchor="ctr"/>
                </a:tc>
                <a:extLst>
                  <a:ext uri="{0D108BD9-81ED-4DB2-BD59-A6C34878D82A}">
                    <a16:rowId xmlns:a16="http://schemas.microsoft.com/office/drawing/2014/main" val="392010956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El mundo era pequeño.</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2400" dirty="0"/>
                        <a:t>Ahora es todo el mundo.</a:t>
                      </a:r>
                    </a:p>
                  </a:txBody>
                  <a:tcPr anchor="ctr"/>
                </a:tc>
                <a:extLst>
                  <a:ext uri="{0D108BD9-81ED-4DB2-BD59-A6C34878D82A}">
                    <a16:rowId xmlns:a16="http://schemas.microsoft.com/office/drawing/2014/main" val="2789113501"/>
                  </a:ext>
                </a:extLst>
              </a:tr>
            </a:tbl>
          </a:graphicData>
        </a:graphic>
      </p:graphicFrame>
      <p:sp>
        <p:nvSpPr>
          <p:cNvPr id="19" name="Marcador de contenido 18">
            <a:extLst>
              <a:ext uri="{FF2B5EF4-FFF2-40B4-BE49-F238E27FC236}">
                <a16:creationId xmlns:a16="http://schemas.microsoft.com/office/drawing/2014/main" id="{CB801CC6-2692-E3B6-1073-B91274176FBA}"/>
              </a:ext>
            </a:extLst>
          </p:cNvPr>
          <p:cNvSpPr>
            <a:spLocks noGrp="1"/>
          </p:cNvSpPr>
          <p:nvPr>
            <p:ph sz="quarter" idx="13"/>
          </p:nvPr>
        </p:nvSpPr>
        <p:spPr>
          <a:xfrm>
            <a:off x="666750" y="2828925"/>
            <a:ext cx="2160000" cy="2160000"/>
          </a:xfrm>
          <a:noFill/>
        </p:spPr>
        <p:txBody>
          <a:bodyPr wrap="none" lIns="91440" tIns="45720" rIns="91440" bIns="45720" anchor="ctr">
            <a:spAutoFit/>
          </a:bodyPr>
          <a:lstStyle/>
          <a:p>
            <a:r>
              <a:rPr lang="es-ES" noProof="0" dirty="0"/>
              <a:t>1</a:t>
            </a:r>
          </a:p>
        </p:txBody>
      </p:sp>
      <p:sp>
        <p:nvSpPr>
          <p:cNvPr id="4" name="Marcador de fecha 3">
            <a:extLst>
              <a:ext uri="{FF2B5EF4-FFF2-40B4-BE49-F238E27FC236}">
                <a16:creationId xmlns:a16="http://schemas.microsoft.com/office/drawing/2014/main" id="{2A476A54-AD37-BA4D-0687-8691CA2C9C36}"/>
              </a:ext>
            </a:extLst>
          </p:cNvPr>
          <p:cNvSpPr>
            <a:spLocks noGrp="1"/>
          </p:cNvSpPr>
          <p:nvPr>
            <p:ph type="dt" sz="half" idx="14"/>
          </p:nvPr>
        </p:nvSpPr>
        <p:spPr>
          <a:xfrm>
            <a:off x="814650" y="6400379"/>
            <a:ext cx="3380278" cy="365125"/>
          </a:xfrm>
        </p:spPr>
        <p:txBody>
          <a:bodyPr/>
          <a:lstStyle/>
          <a:p>
            <a:fld id="{0EB69AB7-A7D6-4BB0-9661-47BA1DF3839C}"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B28AC2A2-19DD-344D-79A7-3E6AA37840AE}"/>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B9D322D-1BA8-3980-BDAF-9079B3D23F26}"/>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3</a:t>
            </a:fld>
            <a:endParaRPr lang="es-ES" dirty="0"/>
          </a:p>
        </p:txBody>
      </p:sp>
      <p:sp>
        <p:nvSpPr>
          <p:cNvPr id="9" name="Elipse 8">
            <a:extLst>
              <a:ext uri="{FF2B5EF4-FFF2-40B4-BE49-F238E27FC236}">
                <a16:creationId xmlns:a16="http://schemas.microsoft.com/office/drawing/2014/main" id="{F498A187-C805-2BE6-4C6C-37DA1929A4A7}"/>
              </a:ext>
            </a:extLst>
          </p:cNvPr>
          <p:cNvSpPr/>
          <p:nvPr/>
        </p:nvSpPr>
        <p:spPr>
          <a:xfrm>
            <a:off x="4443448" y="1579910"/>
            <a:ext cx="1314814" cy="1314814"/>
          </a:xfrm>
          <a:prstGeom prst="ellipse">
            <a:avLst/>
          </a:prstGeom>
          <a:blipFill rotWithShape="1">
            <a:blip r:embed="rId2">
              <a:extLst>
                <a:ext uri="{28A0092B-C50C-407E-A947-70E740481C1C}">
                  <a14:useLocalDpi xmlns:a14="http://schemas.microsoft.com/office/drawing/2010/main" val="0"/>
                </a:ext>
              </a:extLst>
            </a:blip>
            <a:srcRect/>
            <a:stretch>
              <a:fillRect l="-1000" r="-1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s-ES" dirty="0"/>
          </a:p>
        </p:txBody>
      </p:sp>
      <p:sp>
        <p:nvSpPr>
          <p:cNvPr id="10" name="Elipse 9">
            <a:extLst>
              <a:ext uri="{FF2B5EF4-FFF2-40B4-BE49-F238E27FC236}">
                <a16:creationId xmlns:a16="http://schemas.microsoft.com/office/drawing/2014/main" id="{2167DB51-7DB9-291B-1E90-D99D3D383C5C}"/>
              </a:ext>
            </a:extLst>
          </p:cNvPr>
          <p:cNvSpPr/>
          <p:nvPr/>
        </p:nvSpPr>
        <p:spPr>
          <a:xfrm>
            <a:off x="8654489" y="1605854"/>
            <a:ext cx="1314814" cy="1314814"/>
          </a:xfrm>
          <a:prstGeom prst="ellipse">
            <a:avLst/>
          </a:prstGeom>
          <a:blipFill dpi="0" rotWithShape="1">
            <a:blip r:embed="rId3">
              <a:extLst>
                <a:ext uri="{28A0092B-C50C-407E-A947-70E740481C1C}">
                  <a14:useLocalDpi xmlns:a14="http://schemas.microsoft.com/office/drawing/2010/main" val="0"/>
                </a:ext>
              </a:extLst>
            </a:blip>
            <a:srcRect/>
            <a:stretch>
              <a:fillRect t="3750" b="375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s-ES" dirty="0"/>
          </a:p>
        </p:txBody>
      </p:sp>
    </p:spTree>
    <p:extLst>
      <p:ext uri="{BB962C8B-B14F-4D97-AF65-F5344CB8AC3E}">
        <p14:creationId xmlns:p14="http://schemas.microsoft.com/office/powerpoint/2010/main" val="91437901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C70B8E-32E6-9C69-C83D-4FB8F6FA848E}"/>
              </a:ext>
            </a:extLst>
          </p:cNvPr>
          <p:cNvSpPr>
            <a:spLocks noGrp="1"/>
          </p:cNvSpPr>
          <p:nvPr>
            <p:ph type="title"/>
          </p:nvPr>
        </p:nvSpPr>
        <p:spPr>
          <a:xfrm>
            <a:off x="838200" y="365126"/>
            <a:ext cx="9840124" cy="1092200"/>
          </a:xfrm>
        </p:spPr>
        <p:txBody>
          <a:bodyPr>
            <a:normAutofit/>
          </a:bodyPr>
          <a:lstStyle/>
          <a:p>
            <a:r>
              <a:rPr lang="es-ES" noProof="0" dirty="0"/>
              <a:t>Metaverso es una forma (novedosa) de comunicación</a:t>
            </a:r>
          </a:p>
        </p:txBody>
      </p:sp>
      <p:sp>
        <p:nvSpPr>
          <p:cNvPr id="3" name="Marcador de contenido 2">
            <a:extLst>
              <a:ext uri="{FF2B5EF4-FFF2-40B4-BE49-F238E27FC236}">
                <a16:creationId xmlns:a16="http://schemas.microsoft.com/office/drawing/2014/main" id="{B607938A-2038-A25A-11D6-E6C4018CFFB9}"/>
              </a:ext>
            </a:extLst>
          </p:cNvPr>
          <p:cNvSpPr>
            <a:spLocks noGrp="1"/>
          </p:cNvSpPr>
          <p:nvPr>
            <p:ph sz="half" idx="1"/>
          </p:nvPr>
        </p:nvSpPr>
        <p:spPr>
          <a:xfrm>
            <a:off x="838200" y="1825625"/>
            <a:ext cx="5181600" cy="4351338"/>
          </a:xfrm>
          <a:solidFill>
            <a:srgbClr val="0000FF"/>
          </a:solidFill>
          <a:ln>
            <a:solidFill>
              <a:schemeClr val="accent1"/>
            </a:solidFill>
          </a:ln>
          <a:effectLst>
            <a:outerShdw blurRad="50800" dist="38100" dir="8100000" algn="tr" rotWithShape="0">
              <a:prstClr val="black">
                <a:alpha val="40000"/>
              </a:prstClr>
            </a:outerShdw>
          </a:effectLst>
        </p:spPr>
        <p:txBody>
          <a:bodyPr anchor="ctr">
            <a:noAutofit/>
          </a:bodyPr>
          <a:lstStyle/>
          <a:p>
            <a:r>
              <a:rPr lang="es-ES" noProof="0" dirty="0">
                <a:solidFill>
                  <a:schemeClr val="bg1"/>
                </a:solidFill>
              </a:rPr>
              <a:t>Agrupa y hace converger:</a:t>
            </a:r>
          </a:p>
          <a:p>
            <a:pPr lvl="1"/>
            <a:r>
              <a:rPr lang="es-ES" noProof="0" dirty="0">
                <a:solidFill>
                  <a:schemeClr val="bg1"/>
                </a:solidFill>
              </a:rPr>
              <a:t>Reuniones OL: </a:t>
            </a:r>
            <a:r>
              <a:rPr lang="es-ES" noProof="0" dirty="0" err="1">
                <a:solidFill>
                  <a:schemeClr val="bg1"/>
                </a:solidFill>
              </a:rPr>
              <a:t>Meets</a:t>
            </a:r>
            <a:r>
              <a:rPr lang="es-ES" noProof="0" dirty="0">
                <a:solidFill>
                  <a:schemeClr val="bg1"/>
                </a:solidFill>
              </a:rPr>
              <a:t>, </a:t>
            </a:r>
            <a:r>
              <a:rPr lang="es-ES" noProof="0" dirty="0" err="1">
                <a:solidFill>
                  <a:schemeClr val="bg1"/>
                </a:solidFill>
              </a:rPr>
              <a:t>Teams</a:t>
            </a:r>
            <a:r>
              <a:rPr lang="es-ES" noProof="0" dirty="0">
                <a:solidFill>
                  <a:schemeClr val="bg1"/>
                </a:solidFill>
              </a:rPr>
              <a:t> y otros.</a:t>
            </a:r>
          </a:p>
          <a:p>
            <a:pPr lvl="1"/>
            <a:r>
              <a:rPr lang="es-ES" noProof="0" dirty="0">
                <a:solidFill>
                  <a:schemeClr val="bg1"/>
                </a:solidFill>
              </a:rPr>
              <a:t>Juegos: </a:t>
            </a:r>
            <a:r>
              <a:rPr lang="es-ES" noProof="0" dirty="0" err="1">
                <a:solidFill>
                  <a:schemeClr val="bg1"/>
                </a:solidFill>
              </a:rPr>
              <a:t>Roblox</a:t>
            </a:r>
            <a:r>
              <a:rPr lang="es-ES" noProof="0" dirty="0">
                <a:solidFill>
                  <a:schemeClr val="bg1"/>
                </a:solidFill>
              </a:rPr>
              <a:t>.</a:t>
            </a:r>
          </a:p>
          <a:p>
            <a:pPr lvl="1"/>
            <a:r>
              <a:rPr lang="es-ES" noProof="0" dirty="0">
                <a:solidFill>
                  <a:schemeClr val="bg1"/>
                </a:solidFill>
              </a:rPr>
              <a:t>Redes sociales.</a:t>
            </a:r>
          </a:p>
          <a:p>
            <a:r>
              <a:rPr lang="es-ES" noProof="0" dirty="0">
                <a:solidFill>
                  <a:schemeClr val="bg1"/>
                </a:solidFill>
              </a:rPr>
              <a:t>Realidad extendida.</a:t>
            </a:r>
          </a:p>
          <a:p>
            <a:r>
              <a:rPr lang="es-ES" noProof="0" dirty="0">
                <a:solidFill>
                  <a:schemeClr val="bg1"/>
                </a:solidFill>
              </a:rPr>
              <a:t>En un entorno inmersivo y muy amigable.</a:t>
            </a:r>
          </a:p>
        </p:txBody>
      </p:sp>
      <p:sp>
        <p:nvSpPr>
          <p:cNvPr id="18" name="Marcador de contenido 17">
            <a:extLst>
              <a:ext uri="{FF2B5EF4-FFF2-40B4-BE49-F238E27FC236}">
                <a16:creationId xmlns:a16="http://schemas.microsoft.com/office/drawing/2014/main" id="{F5573AE4-5417-2631-73A5-D832732A04CD}"/>
              </a:ext>
            </a:extLst>
          </p:cNvPr>
          <p:cNvSpPr>
            <a:spLocks noGrp="1"/>
          </p:cNvSpPr>
          <p:nvPr>
            <p:ph sz="half" idx="2"/>
          </p:nvPr>
        </p:nvSpPr>
        <p:spPr/>
        <p:txBody>
          <a:bodyPr/>
          <a:lstStyle/>
          <a:p>
            <a:endParaRPr lang="es-ES" dirty="0"/>
          </a:p>
        </p:txBody>
      </p:sp>
      <p:sp>
        <p:nvSpPr>
          <p:cNvPr id="9" name="Marcador de fecha 8">
            <a:extLst>
              <a:ext uri="{FF2B5EF4-FFF2-40B4-BE49-F238E27FC236}">
                <a16:creationId xmlns:a16="http://schemas.microsoft.com/office/drawing/2014/main" id="{A81A3511-3B90-E774-E076-3CD35C6F3F72}"/>
              </a:ext>
            </a:extLst>
          </p:cNvPr>
          <p:cNvSpPr>
            <a:spLocks noGrp="1"/>
          </p:cNvSpPr>
          <p:nvPr>
            <p:ph type="dt" sz="half" idx="10"/>
          </p:nvPr>
        </p:nvSpPr>
        <p:spPr>
          <a:xfrm>
            <a:off x="814650" y="6400379"/>
            <a:ext cx="3380278" cy="365125"/>
          </a:xfrm>
        </p:spPr>
        <p:txBody>
          <a:bodyPr/>
          <a:lstStyle/>
          <a:p>
            <a:fld id="{4CB65569-E9E9-4733-905B-5ED7C70D831B}" type="datetime2">
              <a:rPr lang="es-ES" smtClean="0"/>
              <a:pPr/>
              <a:t>jueves, 19 de septiembre de 2024</a:t>
            </a:fld>
            <a:endParaRPr lang="es-ES" dirty="0"/>
          </a:p>
        </p:txBody>
      </p:sp>
      <p:sp>
        <p:nvSpPr>
          <p:cNvPr id="10" name="Marcador de pie de página 9">
            <a:extLst>
              <a:ext uri="{FF2B5EF4-FFF2-40B4-BE49-F238E27FC236}">
                <a16:creationId xmlns:a16="http://schemas.microsoft.com/office/drawing/2014/main" id="{72225B4C-2A21-89ED-D2E3-4790B7AC3ED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1" name="Marcador de número de diapositiva 10">
            <a:extLst>
              <a:ext uri="{FF2B5EF4-FFF2-40B4-BE49-F238E27FC236}">
                <a16:creationId xmlns:a16="http://schemas.microsoft.com/office/drawing/2014/main" id="{8C5BBC61-0F64-C70D-CCDB-8F109A030D20}"/>
              </a:ext>
            </a:extLst>
          </p:cNvPr>
          <p:cNvSpPr>
            <a:spLocks noGrp="1"/>
          </p:cNvSpPr>
          <p:nvPr>
            <p:ph type="sldNum" sz="quarter" idx="12"/>
          </p:nvPr>
        </p:nvSpPr>
        <p:spPr>
          <a:xfrm>
            <a:off x="10801350" y="6421474"/>
            <a:ext cx="576000" cy="365125"/>
          </a:xfrm>
        </p:spPr>
        <p:txBody>
          <a:bodyPr/>
          <a:lstStyle/>
          <a:p>
            <a:fld id="{8BFA4586-CFD5-4769-AD5F-3AEEFF608C71}" type="slidenum">
              <a:rPr lang="es-ES" smtClean="0"/>
              <a:pPr/>
              <a:t>130</a:t>
            </a:fld>
            <a:endParaRPr lang="es-ES" dirty="0"/>
          </a:p>
        </p:txBody>
      </p:sp>
      <p:grpSp>
        <p:nvGrpSpPr>
          <p:cNvPr id="6" name="Grupo 5">
            <a:extLst>
              <a:ext uri="{FF2B5EF4-FFF2-40B4-BE49-F238E27FC236}">
                <a16:creationId xmlns:a16="http://schemas.microsoft.com/office/drawing/2014/main" id="{E7C97126-72D2-6C5D-F43F-8B7068CA6185}"/>
              </a:ext>
            </a:extLst>
          </p:cNvPr>
          <p:cNvGrpSpPr/>
          <p:nvPr/>
        </p:nvGrpSpPr>
        <p:grpSpPr>
          <a:xfrm>
            <a:off x="6177104" y="1363183"/>
            <a:ext cx="5180400" cy="5385279"/>
            <a:chOff x="6177104" y="1363183"/>
            <a:chExt cx="5180400" cy="5385279"/>
          </a:xfrm>
        </p:grpSpPr>
        <p:pic>
          <p:nvPicPr>
            <p:cNvPr id="7" name="Picture 2" descr="Qué es el metaverso (y qué podría llegar a ser)">
              <a:extLst>
                <a:ext uri="{FF2B5EF4-FFF2-40B4-BE49-F238E27FC236}">
                  <a16:creationId xmlns:a16="http://schemas.microsoft.com/office/drawing/2014/main" id="{193D2B6D-0C39-EDC7-4112-2E0F5DBB1E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7104" y="1363183"/>
              <a:ext cx="5180400" cy="318385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El primer plan de Zuckerberg para rentabilizar el metaverso de Facebook es  imitar el negocio de Fortnite: vender atuendos digitales">
              <a:extLst>
                <a:ext uri="{FF2B5EF4-FFF2-40B4-BE49-F238E27FC236}">
                  <a16:creationId xmlns:a16="http://schemas.microsoft.com/office/drawing/2014/main" id="{305967E8-821C-DCA9-8EA9-E7CE3880D5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7104" y="3832304"/>
              <a:ext cx="5180400" cy="2916158"/>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ángulo 4">
            <a:extLst>
              <a:ext uri="{FF2B5EF4-FFF2-40B4-BE49-F238E27FC236}">
                <a16:creationId xmlns:a16="http://schemas.microsoft.com/office/drawing/2014/main" id="{E5D38486-23BF-0CA5-D4A4-DF49ED76D868}"/>
              </a:ext>
            </a:extLst>
          </p:cNvPr>
          <p:cNvSpPr/>
          <p:nvPr/>
        </p:nvSpPr>
        <p:spPr>
          <a:xfrm>
            <a:off x="5410310" y="3630454"/>
            <a:ext cx="5872480" cy="741680"/>
          </a:xfrm>
          <a:prstGeom prst="rect">
            <a:avLst/>
          </a:prstGeom>
          <a:solidFill>
            <a:schemeClr val="bg1"/>
          </a:solidFill>
          <a:ln>
            <a:solidFill>
              <a:schemeClr val="accent1"/>
            </a:solidFill>
          </a:ln>
          <a:effectLst>
            <a:outerShdw blurRad="50800" dist="38100" dir="8100000" algn="tr" rotWithShape="0">
              <a:prstClr val="black">
                <a:alpha val="40000"/>
              </a:prstClr>
            </a:outerShdw>
          </a:effectLst>
        </p:spPr>
        <p:txBody>
          <a:bodyPr vert="horz" lIns="91440" tIns="45720" rIns="91440" bIns="45720" rtlCol="0" anchor="ctr">
            <a:normAutofit lnSpcReduction="10000"/>
          </a:bodyPr>
          <a:lstStyle/>
          <a:p>
            <a:pPr marL="228600" indent="-228600">
              <a:spcBef>
                <a:spcPts val="600"/>
              </a:spcBef>
              <a:buFont typeface="Arial" panose="020B0604020202020204" pitchFamily="34" charset="0"/>
              <a:buChar char="•"/>
            </a:pPr>
            <a:r>
              <a:rPr lang="es-ES" sz="1900" b="1" dirty="0"/>
              <a:t>Los juegos son sólo juegos o son SSMM?</a:t>
            </a:r>
          </a:p>
          <a:p>
            <a:pPr marL="228600" indent="-228600">
              <a:spcBef>
                <a:spcPts val="600"/>
              </a:spcBef>
              <a:buFont typeface="Arial" panose="020B0604020202020204" pitchFamily="34" charset="0"/>
              <a:buChar char="•"/>
            </a:pPr>
            <a:r>
              <a:rPr lang="es-ES" sz="1900" b="1" dirty="0"/>
              <a:t>Las redes sociales están en fase de estancamiento?</a:t>
            </a:r>
          </a:p>
        </p:txBody>
      </p:sp>
      <p:sp>
        <p:nvSpPr>
          <p:cNvPr id="12" name="Rectángulo 11">
            <a:extLst>
              <a:ext uri="{FF2B5EF4-FFF2-40B4-BE49-F238E27FC236}">
                <a16:creationId xmlns:a16="http://schemas.microsoft.com/office/drawing/2014/main" id="{30329A6D-6EE7-4E4E-E8A1-00501BF863C0}"/>
              </a:ext>
            </a:extLst>
          </p:cNvPr>
          <p:cNvSpPr/>
          <p:nvPr/>
        </p:nvSpPr>
        <p:spPr>
          <a:xfrm>
            <a:off x="-7147" y="7758"/>
            <a:ext cx="1778565" cy="523220"/>
          </a:xfrm>
          <a:prstGeom prst="rect">
            <a:avLst/>
          </a:prstGeom>
          <a:noFill/>
        </p:spPr>
        <p:txBody>
          <a:bodyPr wrap="none" lIns="91440" tIns="45720" rIns="91440" bIns="45720">
            <a:spAutoFit/>
          </a:bodyPr>
          <a:lstStyle/>
          <a:p>
            <a:pPr algn="ctr"/>
            <a:r>
              <a:rPr lang="es-ES" sz="2800" b="1" cap="none" spc="0" dirty="0">
                <a:ln w="12700">
                  <a:solidFill>
                    <a:srgbClr val="00FF00"/>
                  </a:solidFill>
                  <a:prstDash val="solid"/>
                </a:ln>
                <a:solidFill>
                  <a:srgbClr val="00B050"/>
                </a:solidFill>
              </a:rPr>
              <a:t>Metaverso</a:t>
            </a:r>
          </a:p>
        </p:txBody>
      </p:sp>
    </p:spTree>
    <p:extLst>
      <p:ext uri="{BB962C8B-B14F-4D97-AF65-F5344CB8AC3E}">
        <p14:creationId xmlns:p14="http://schemas.microsoft.com/office/powerpoint/2010/main" val="1888233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3047C2-3783-90A0-06F5-7970CE2C8582}"/>
              </a:ext>
            </a:extLst>
          </p:cNvPr>
          <p:cNvSpPr>
            <a:spLocks noGrp="1"/>
          </p:cNvSpPr>
          <p:nvPr>
            <p:ph type="title"/>
          </p:nvPr>
        </p:nvSpPr>
        <p:spPr>
          <a:xfrm>
            <a:off x="838200" y="365126"/>
            <a:ext cx="9840124" cy="1092200"/>
          </a:xfrm>
        </p:spPr>
        <p:txBody>
          <a:bodyPr/>
          <a:lstStyle/>
          <a:p>
            <a:r>
              <a:rPr lang="es-ES" noProof="0" dirty="0">
                <a:sym typeface="Symbol" panose="05050102010706020507" pitchFamily="18" charset="2"/>
              </a:rPr>
              <a:t>Ejemplo: Mary Poppins – te metes en el cuadro </a:t>
            </a:r>
            <a:endParaRPr lang="es-ES" noProof="0" dirty="0"/>
          </a:p>
        </p:txBody>
      </p:sp>
      <p:pic>
        <p:nvPicPr>
          <p:cNvPr id="11" name="Picture 2" descr="Mary Poppins jumping into the chalk drawing of the English countryside -  YouTube">
            <a:extLst>
              <a:ext uri="{FF2B5EF4-FFF2-40B4-BE49-F238E27FC236}">
                <a16:creationId xmlns:a16="http://schemas.microsoft.com/office/drawing/2014/main" id="{D863C518-6EF2-5F9C-4BD1-CCCA421E0BE4}"/>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a:stretch/>
        </p:blipFill>
        <p:spPr bwMode="auto">
          <a:xfrm>
            <a:off x="838200" y="1859645"/>
            <a:ext cx="5181600" cy="4283297"/>
          </a:xfrm>
          <a:noFill/>
          <a:extLst>
            <a:ext uri="{909E8E84-426E-40DD-AFC4-6F175D3DCCD1}">
              <a14:hiddenFill xmlns:a14="http://schemas.microsoft.com/office/drawing/2010/main">
                <a:solidFill>
                  <a:srgbClr val="FFFFFF"/>
                </a:solidFill>
              </a14:hiddenFill>
            </a:ext>
          </a:extLst>
        </p:spPr>
      </p:pic>
      <p:pic>
        <p:nvPicPr>
          <p:cNvPr id="12" name="Picture 4" descr="Mary Poppins (1964) – My Live Action Disney Project">
            <a:extLst>
              <a:ext uri="{FF2B5EF4-FFF2-40B4-BE49-F238E27FC236}">
                <a16:creationId xmlns:a16="http://schemas.microsoft.com/office/drawing/2014/main" id="{C8C31849-1862-13F8-E332-B2A3D009BD0B}"/>
              </a:ext>
            </a:extLst>
          </p:cNvPr>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tretch/>
        </p:blipFill>
        <p:spPr bwMode="auto">
          <a:xfrm>
            <a:off x="6172200" y="2537565"/>
            <a:ext cx="5181600" cy="2927457"/>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92EACA18-2890-D212-BA20-C706A949C481}"/>
              </a:ext>
            </a:extLst>
          </p:cNvPr>
          <p:cNvSpPr>
            <a:spLocks noGrp="1"/>
          </p:cNvSpPr>
          <p:nvPr>
            <p:ph type="dt" sz="half" idx="10"/>
          </p:nvPr>
        </p:nvSpPr>
        <p:spPr>
          <a:xfrm>
            <a:off x="814650" y="6400379"/>
            <a:ext cx="3380278" cy="365125"/>
          </a:xfrm>
        </p:spPr>
        <p:txBody>
          <a:bodyPr/>
          <a:lstStyle/>
          <a:p>
            <a:fld id="{207865F4-E38E-4E7D-85D4-53783F185C75}"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5539163-4E1D-41DA-E499-814352CFDE4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F127979-A7BB-7B26-538E-4DD1217620D8}"/>
              </a:ext>
            </a:extLst>
          </p:cNvPr>
          <p:cNvSpPr>
            <a:spLocks noGrp="1"/>
          </p:cNvSpPr>
          <p:nvPr>
            <p:ph type="sldNum" sz="quarter" idx="12"/>
          </p:nvPr>
        </p:nvSpPr>
        <p:spPr>
          <a:xfrm>
            <a:off x="10801350" y="6421474"/>
            <a:ext cx="576000" cy="365125"/>
          </a:xfrm>
        </p:spPr>
        <p:txBody>
          <a:bodyPr/>
          <a:lstStyle/>
          <a:p>
            <a:fld id="{8BFA4586-CFD5-4769-AD5F-3AEEFF608C71}" type="slidenum">
              <a:rPr lang="es-ES" smtClean="0"/>
              <a:pPr/>
              <a:t>131</a:t>
            </a:fld>
            <a:endParaRPr lang="es-ES" dirty="0"/>
          </a:p>
        </p:txBody>
      </p:sp>
      <p:sp>
        <p:nvSpPr>
          <p:cNvPr id="6" name="Rectángulo 5">
            <a:extLst>
              <a:ext uri="{FF2B5EF4-FFF2-40B4-BE49-F238E27FC236}">
                <a16:creationId xmlns:a16="http://schemas.microsoft.com/office/drawing/2014/main" id="{E2A38B31-1D49-D4CB-59DF-D6518C119640}"/>
              </a:ext>
            </a:extLst>
          </p:cNvPr>
          <p:cNvSpPr/>
          <p:nvPr/>
        </p:nvSpPr>
        <p:spPr>
          <a:xfrm>
            <a:off x="-7147" y="7758"/>
            <a:ext cx="1778565" cy="523220"/>
          </a:xfrm>
          <a:prstGeom prst="rect">
            <a:avLst/>
          </a:prstGeom>
          <a:noFill/>
        </p:spPr>
        <p:txBody>
          <a:bodyPr wrap="none" lIns="91440" tIns="45720" rIns="91440" bIns="45720">
            <a:spAutoFit/>
          </a:bodyPr>
          <a:lstStyle/>
          <a:p>
            <a:pPr algn="ctr"/>
            <a:r>
              <a:rPr lang="es-ES" sz="2800" b="1" cap="none" spc="0" dirty="0">
                <a:ln w="12700">
                  <a:solidFill>
                    <a:srgbClr val="00FF00"/>
                  </a:solidFill>
                  <a:prstDash val="solid"/>
                </a:ln>
                <a:solidFill>
                  <a:srgbClr val="00B050"/>
                </a:solidFill>
              </a:rPr>
              <a:t>Metaverso</a:t>
            </a:r>
          </a:p>
        </p:txBody>
      </p:sp>
    </p:spTree>
    <p:extLst>
      <p:ext uri="{BB962C8B-B14F-4D97-AF65-F5344CB8AC3E}">
        <p14:creationId xmlns:p14="http://schemas.microsoft.com/office/powerpoint/2010/main" val="4095110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CD90C6-657A-F336-9BC4-6B5C23988BAC}"/>
              </a:ext>
            </a:extLst>
          </p:cNvPr>
          <p:cNvSpPr>
            <a:spLocks noGrp="1"/>
          </p:cNvSpPr>
          <p:nvPr>
            <p:ph type="title"/>
          </p:nvPr>
        </p:nvSpPr>
        <p:spPr>
          <a:xfrm>
            <a:off x="838200" y="365126"/>
            <a:ext cx="9840124" cy="1092200"/>
          </a:xfrm>
        </p:spPr>
        <p:txBody>
          <a:bodyPr>
            <a:normAutofit fontScale="90000"/>
          </a:bodyPr>
          <a:lstStyle/>
          <a:p>
            <a:r>
              <a:rPr lang="es-ES" noProof="0" dirty="0"/>
              <a:t>Lo que se puede hacer en Metaverso: extender el mundo real en una experiencia inmersiva </a:t>
            </a:r>
          </a:p>
        </p:txBody>
      </p:sp>
      <p:sp>
        <p:nvSpPr>
          <p:cNvPr id="4" name="Marcador de fecha 3">
            <a:extLst>
              <a:ext uri="{FF2B5EF4-FFF2-40B4-BE49-F238E27FC236}">
                <a16:creationId xmlns:a16="http://schemas.microsoft.com/office/drawing/2014/main" id="{D63F0A7D-CE73-F927-E347-781B280D5563}"/>
              </a:ext>
            </a:extLst>
          </p:cNvPr>
          <p:cNvSpPr>
            <a:spLocks noGrp="1"/>
          </p:cNvSpPr>
          <p:nvPr>
            <p:ph type="dt" sz="half" idx="10"/>
          </p:nvPr>
        </p:nvSpPr>
        <p:spPr>
          <a:xfrm>
            <a:off x="814650" y="6400379"/>
            <a:ext cx="3380278" cy="365125"/>
          </a:xfrm>
        </p:spPr>
        <p:txBody>
          <a:bodyPr/>
          <a:lstStyle/>
          <a:p>
            <a:fld id="{D8AC1A54-E488-45AC-8BF3-306CB4B84E6A}"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33DED40D-89D1-D72C-76F8-049FEC6646D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6F6CAA1C-D5DB-9B3F-0D71-B37E0B96360A}"/>
              </a:ext>
            </a:extLst>
          </p:cNvPr>
          <p:cNvSpPr>
            <a:spLocks noGrp="1"/>
          </p:cNvSpPr>
          <p:nvPr>
            <p:ph type="sldNum" sz="quarter" idx="12"/>
          </p:nvPr>
        </p:nvSpPr>
        <p:spPr>
          <a:xfrm>
            <a:off x="10801350" y="6421474"/>
            <a:ext cx="576000" cy="365125"/>
          </a:xfrm>
        </p:spPr>
        <p:txBody>
          <a:bodyPr/>
          <a:lstStyle/>
          <a:p>
            <a:fld id="{8BFA4586-CFD5-4769-AD5F-3AEEFF608C71}" type="slidenum">
              <a:rPr lang="es-ES" smtClean="0"/>
              <a:pPr/>
              <a:t>132</a:t>
            </a:fld>
            <a:endParaRPr lang="es-ES" dirty="0"/>
          </a:p>
        </p:txBody>
      </p:sp>
      <p:graphicFrame>
        <p:nvGraphicFramePr>
          <p:cNvPr id="3" name="Diagrama 2">
            <a:extLst>
              <a:ext uri="{FF2B5EF4-FFF2-40B4-BE49-F238E27FC236}">
                <a16:creationId xmlns:a16="http://schemas.microsoft.com/office/drawing/2014/main" id="{B7353948-1798-5C9B-F0F0-BE94F23841D7}"/>
              </a:ext>
            </a:extLst>
          </p:cNvPr>
          <p:cNvGraphicFramePr/>
          <p:nvPr/>
        </p:nvGraphicFramePr>
        <p:xfrm>
          <a:off x="838200" y="1808481"/>
          <a:ext cx="10515600" cy="431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CuadroTexto 10">
            <a:extLst>
              <a:ext uri="{FF2B5EF4-FFF2-40B4-BE49-F238E27FC236}">
                <a16:creationId xmlns:a16="http://schemas.microsoft.com/office/drawing/2014/main" id="{FB2AAB39-53B5-66BE-32C8-FC81D5FF1630}"/>
              </a:ext>
            </a:extLst>
          </p:cNvPr>
          <p:cNvSpPr txBox="1"/>
          <p:nvPr/>
        </p:nvSpPr>
        <p:spPr>
          <a:xfrm>
            <a:off x="9062720" y="4213275"/>
            <a:ext cx="2903080" cy="1431161"/>
          </a:xfrm>
          <a:prstGeom prst="rect">
            <a:avLst/>
          </a:prstGeom>
          <a:noFill/>
        </p:spPr>
        <p:txBody>
          <a:bodyPr wrap="square">
            <a:spAutoFit/>
          </a:bodyPr>
          <a:lstStyle/>
          <a:p>
            <a:pPr>
              <a:spcAft>
                <a:spcPts val="600"/>
              </a:spcAft>
            </a:pPr>
            <a:r>
              <a:rPr lang="es-ES" dirty="0">
                <a:solidFill>
                  <a:schemeClr val="bg1"/>
                </a:solidFill>
                <a:highlight>
                  <a:srgbClr val="0000FF"/>
                </a:highlight>
              </a:rPr>
              <a:t>Resumen, sirve para</a:t>
            </a:r>
            <a:r>
              <a:rPr lang="es-ES" dirty="0">
                <a:highlight>
                  <a:srgbClr val="0000FF"/>
                </a:highlight>
              </a:rPr>
              <a:t>:</a:t>
            </a:r>
          </a:p>
          <a:p>
            <a:pPr marL="285750" indent="-285750">
              <a:spcAft>
                <a:spcPts val="600"/>
              </a:spcAft>
              <a:buFont typeface="Arial" panose="020B0604020202020204" pitchFamily="34" charset="0"/>
              <a:buChar char="•"/>
            </a:pPr>
            <a:r>
              <a:rPr lang="es-ES" dirty="0"/>
              <a:t>Relacionar personas</a:t>
            </a:r>
          </a:p>
          <a:p>
            <a:pPr marL="285750" indent="-285750">
              <a:spcAft>
                <a:spcPts val="600"/>
              </a:spcAft>
              <a:buFont typeface="Arial" panose="020B0604020202020204" pitchFamily="34" charset="0"/>
              <a:buChar char="•"/>
            </a:pPr>
            <a:r>
              <a:rPr lang="es-ES" dirty="0"/>
              <a:t>Trabajo, ocio y Formación</a:t>
            </a:r>
          </a:p>
          <a:p>
            <a:pPr marL="285750" indent="-285750">
              <a:spcAft>
                <a:spcPts val="600"/>
              </a:spcAft>
              <a:buFont typeface="Arial" panose="020B0604020202020204" pitchFamily="34" charset="0"/>
              <a:buChar char="•"/>
            </a:pPr>
            <a:r>
              <a:rPr lang="es-ES" dirty="0"/>
              <a:t>Vivir experiencias.</a:t>
            </a:r>
          </a:p>
        </p:txBody>
      </p:sp>
      <p:sp>
        <p:nvSpPr>
          <p:cNvPr id="7" name="Rectángulo 6">
            <a:extLst>
              <a:ext uri="{FF2B5EF4-FFF2-40B4-BE49-F238E27FC236}">
                <a16:creationId xmlns:a16="http://schemas.microsoft.com/office/drawing/2014/main" id="{EA5984B5-0D4A-509B-7B1D-BF256209522F}"/>
              </a:ext>
            </a:extLst>
          </p:cNvPr>
          <p:cNvSpPr/>
          <p:nvPr/>
        </p:nvSpPr>
        <p:spPr>
          <a:xfrm>
            <a:off x="-7147" y="7758"/>
            <a:ext cx="1778565" cy="523220"/>
          </a:xfrm>
          <a:prstGeom prst="rect">
            <a:avLst/>
          </a:prstGeom>
          <a:noFill/>
        </p:spPr>
        <p:txBody>
          <a:bodyPr wrap="none" lIns="91440" tIns="45720" rIns="91440" bIns="45720">
            <a:spAutoFit/>
          </a:bodyPr>
          <a:lstStyle/>
          <a:p>
            <a:pPr algn="ctr"/>
            <a:r>
              <a:rPr lang="es-ES" sz="2800" b="1" cap="none" spc="0" dirty="0">
                <a:ln w="12700">
                  <a:solidFill>
                    <a:srgbClr val="00FF00"/>
                  </a:solidFill>
                  <a:prstDash val="solid"/>
                </a:ln>
                <a:solidFill>
                  <a:srgbClr val="00B050"/>
                </a:solidFill>
              </a:rPr>
              <a:t>Metaverso</a:t>
            </a:r>
          </a:p>
        </p:txBody>
      </p:sp>
    </p:spTree>
    <p:extLst>
      <p:ext uri="{BB962C8B-B14F-4D97-AF65-F5344CB8AC3E}">
        <p14:creationId xmlns:p14="http://schemas.microsoft.com/office/powerpoint/2010/main" val="30777262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E75B5FC9-6E97-85A2-93DF-A512083D8290}"/>
              </a:ext>
            </a:extLst>
          </p:cNvPr>
          <p:cNvSpPr>
            <a:spLocks noGrp="1"/>
          </p:cNvSpPr>
          <p:nvPr>
            <p:ph type="title"/>
          </p:nvPr>
        </p:nvSpPr>
        <p:spPr>
          <a:xfrm>
            <a:off x="838200" y="365126"/>
            <a:ext cx="9840124" cy="1092200"/>
          </a:xfrm>
        </p:spPr>
        <p:txBody>
          <a:bodyPr/>
          <a:lstStyle/>
          <a:p>
            <a:r>
              <a:rPr lang="es-ES" noProof="0" dirty="0"/>
              <a:t>Definición e introducción a metaverso</a:t>
            </a:r>
            <a:br>
              <a:rPr lang="es-ES" noProof="0" dirty="0"/>
            </a:br>
            <a:r>
              <a:rPr lang="es-ES" noProof="0" dirty="0"/>
              <a:t>(</a:t>
            </a:r>
            <a:r>
              <a:rPr lang="es-ES" noProof="0" dirty="0" err="1"/>
              <a:t>Letslaw</a:t>
            </a:r>
            <a:r>
              <a:rPr lang="es-ES" noProof="0" dirty="0"/>
              <a:t> </a:t>
            </a:r>
            <a:r>
              <a:rPr lang="es-ES" noProof="0" dirty="0" err="1"/>
              <a:t>by</a:t>
            </a:r>
            <a:r>
              <a:rPr lang="es-ES" noProof="0" dirty="0"/>
              <a:t> José Morato) </a:t>
            </a:r>
          </a:p>
        </p:txBody>
      </p:sp>
      <p:sp>
        <p:nvSpPr>
          <p:cNvPr id="2" name="Marcador de fecha 1">
            <a:extLst>
              <a:ext uri="{FF2B5EF4-FFF2-40B4-BE49-F238E27FC236}">
                <a16:creationId xmlns:a16="http://schemas.microsoft.com/office/drawing/2014/main" id="{7A1B4613-2CAA-F67B-33E5-5C45B1CBBBC5}"/>
              </a:ext>
            </a:extLst>
          </p:cNvPr>
          <p:cNvSpPr>
            <a:spLocks noGrp="1"/>
          </p:cNvSpPr>
          <p:nvPr>
            <p:ph type="dt" sz="half" idx="14"/>
          </p:nvPr>
        </p:nvSpPr>
        <p:spPr>
          <a:xfrm>
            <a:off x="814650" y="6400379"/>
            <a:ext cx="3380278" cy="365125"/>
          </a:xfrm>
        </p:spPr>
        <p:txBody>
          <a:bodyPr/>
          <a:lstStyle/>
          <a:p>
            <a:fld id="{164D5398-29B9-451A-BF80-66DBF14F096B}"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27AFD5F4-1BCD-0559-C4DA-449671D2F898}"/>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66EBF8DF-AC89-E187-2B88-2DA3A86C4000}"/>
              </a:ext>
            </a:extLst>
          </p:cNvPr>
          <p:cNvSpPr>
            <a:spLocks noGrp="1"/>
          </p:cNvSpPr>
          <p:nvPr>
            <p:ph type="sldNum" sz="quarter" idx="16"/>
          </p:nvPr>
        </p:nvSpPr>
        <p:spPr>
          <a:xfrm>
            <a:off x="10801350" y="6421474"/>
            <a:ext cx="576000" cy="365125"/>
          </a:xfrm>
        </p:spPr>
        <p:txBody>
          <a:bodyPr/>
          <a:lstStyle/>
          <a:p>
            <a:fld id="{8BFA4586-CFD5-4769-AD5F-3AEEFF608C71}" type="slidenum">
              <a:rPr lang="es-ES" smtClean="0"/>
              <a:pPr/>
              <a:t>133</a:t>
            </a:fld>
            <a:endParaRPr lang="es-ES" dirty="0"/>
          </a:p>
        </p:txBody>
      </p:sp>
      <p:pic>
        <p:nvPicPr>
          <p:cNvPr id="6" name="Picture 2" descr="Snow Crash (Libro)">
            <a:extLst>
              <a:ext uri="{FF2B5EF4-FFF2-40B4-BE49-F238E27FC236}">
                <a16:creationId xmlns:a16="http://schemas.microsoft.com/office/drawing/2014/main" id="{0CC0662C-A2AA-6BA9-5397-02E1BEEDE32D}"/>
              </a:ext>
            </a:extLst>
          </p:cNvPr>
          <p:cNvPicPr>
            <a:picLocks noGrp="1" noChangeAspect="1" noChangeArrowheads="1"/>
          </p:cNvPicPr>
          <p:nvPr>
            <p:ph type="pic" sz="quarter" idx="17"/>
          </p:nvPr>
        </p:nvPicPr>
        <p:blipFill>
          <a:blip r:embed="rId2">
            <a:extLst>
              <a:ext uri="{28A0092B-C50C-407E-A947-70E740481C1C}">
                <a14:useLocalDpi xmlns:a14="http://schemas.microsoft.com/office/drawing/2010/main" val="0"/>
              </a:ext>
            </a:extLst>
          </a:blip>
          <a:srcRect l="139" r="139"/>
          <a:stretch/>
        </p:blipFill>
        <p:spPr bwMode="auto">
          <a:xfrm>
            <a:off x="832485" y="2539365"/>
            <a:ext cx="1800000" cy="1800000"/>
          </a:xfrm>
          <a:noFill/>
          <a:extLst>
            <a:ext uri="{909E8E84-426E-40DD-AFC4-6F175D3DCCD1}">
              <a14:hiddenFill xmlns:a14="http://schemas.microsoft.com/office/drawing/2010/main">
                <a:solidFill>
                  <a:srgbClr val="FFFFFF"/>
                </a:solidFill>
              </a14:hiddenFill>
            </a:ext>
          </a:extLst>
        </p:spPr>
      </p:pic>
      <p:graphicFrame>
        <p:nvGraphicFramePr>
          <p:cNvPr id="5" name="Marcador de contenido 4">
            <a:extLst>
              <a:ext uri="{FF2B5EF4-FFF2-40B4-BE49-F238E27FC236}">
                <a16:creationId xmlns:a16="http://schemas.microsoft.com/office/drawing/2014/main" id="{9716D0AF-9987-AFB4-C61F-89FA1E6224C5}"/>
              </a:ext>
            </a:extLst>
          </p:cNvPr>
          <p:cNvGraphicFramePr>
            <a:graphicFrameLocks noGrp="1"/>
          </p:cNvGraphicFramePr>
          <p:nvPr>
            <p:ph sz="quarter" idx="18"/>
            <p:extLst>
              <p:ext uri="{D42A27DB-BD31-4B8C-83A1-F6EECF244321}">
                <p14:modId xmlns:p14="http://schemas.microsoft.com/office/powerpoint/2010/main" val="1187220137"/>
              </p:ext>
            </p:extLst>
          </p:nvPr>
        </p:nvGraphicFramePr>
        <p:xfrm>
          <a:off x="2865438" y="1800225"/>
          <a:ext cx="8666162" cy="3867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ángulo 7">
            <a:extLst>
              <a:ext uri="{FF2B5EF4-FFF2-40B4-BE49-F238E27FC236}">
                <a16:creationId xmlns:a16="http://schemas.microsoft.com/office/drawing/2014/main" id="{1C73AB57-7616-86B7-DB69-50FC68559D84}"/>
              </a:ext>
            </a:extLst>
          </p:cNvPr>
          <p:cNvSpPr/>
          <p:nvPr/>
        </p:nvSpPr>
        <p:spPr>
          <a:xfrm>
            <a:off x="-7147" y="7758"/>
            <a:ext cx="1778565" cy="523220"/>
          </a:xfrm>
          <a:prstGeom prst="rect">
            <a:avLst/>
          </a:prstGeom>
          <a:noFill/>
        </p:spPr>
        <p:txBody>
          <a:bodyPr wrap="none" lIns="91440" tIns="45720" rIns="91440" bIns="45720">
            <a:spAutoFit/>
          </a:bodyPr>
          <a:lstStyle/>
          <a:p>
            <a:pPr algn="ctr"/>
            <a:r>
              <a:rPr lang="es-ES" sz="2800" b="1" cap="none" spc="0" dirty="0">
                <a:ln w="12700">
                  <a:solidFill>
                    <a:srgbClr val="00FF00"/>
                  </a:solidFill>
                  <a:prstDash val="solid"/>
                </a:ln>
                <a:solidFill>
                  <a:srgbClr val="00B050"/>
                </a:solidFill>
              </a:rPr>
              <a:t>Metaverso</a:t>
            </a:r>
          </a:p>
        </p:txBody>
      </p:sp>
    </p:spTree>
    <p:extLst>
      <p:ext uri="{BB962C8B-B14F-4D97-AF65-F5344CB8AC3E}">
        <p14:creationId xmlns:p14="http://schemas.microsoft.com/office/powerpoint/2010/main" val="18961721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E38E3-FF2C-580F-009D-432D5BECFFEE}"/>
            </a:ext>
          </a:extLst>
        </p:cNvPr>
        <p:cNvGrpSpPr/>
        <p:nvPr/>
      </p:nvGrpSpPr>
      <p:grpSpPr>
        <a:xfrm>
          <a:off x="0" y="0"/>
          <a:ext cx="0" cy="0"/>
          <a:chOff x="0" y="0"/>
          <a:chExt cx="0" cy="0"/>
        </a:xfrm>
      </p:grpSpPr>
      <p:sp>
        <p:nvSpPr>
          <p:cNvPr id="4" name="Título 3">
            <a:extLst>
              <a:ext uri="{FF2B5EF4-FFF2-40B4-BE49-F238E27FC236}">
                <a16:creationId xmlns:a16="http://schemas.microsoft.com/office/drawing/2014/main" id="{26FBC0F1-1118-85FF-736E-56730FB8597B}"/>
              </a:ext>
            </a:extLst>
          </p:cNvPr>
          <p:cNvSpPr txBox="1">
            <a:spLocks noGrp="1"/>
          </p:cNvSpPr>
          <p:nvPr>
            <p:ph type="title"/>
          </p:nvPr>
        </p:nvSpPr>
        <p:spPr>
          <a:xfrm>
            <a:off x="838200" y="365126"/>
            <a:ext cx="9840124" cy="1092200"/>
          </a:xfrm>
        </p:spPr>
        <p:txBody>
          <a:bodyPr/>
          <a:lstStyle/>
          <a:p>
            <a:r>
              <a:rPr lang="es-ES" noProof="0" dirty="0"/>
              <a:t>Ejemplo de trabajo: fabrica BMW </a:t>
            </a:r>
            <a:r>
              <a:rPr lang="es-ES" noProof="0" dirty="0" err="1"/>
              <a:t>regensburg</a:t>
            </a:r>
            <a:r>
              <a:rPr lang="es-ES" noProof="0" dirty="0"/>
              <a:t> y NVIDIA</a:t>
            </a:r>
          </a:p>
        </p:txBody>
      </p:sp>
      <p:pic>
        <p:nvPicPr>
          <p:cNvPr id="3074" name="Picture 2" descr="NVIDIA y BMW Fusionan la Realidad y los Mundos Virtuales para Mostrar la  Fábrica del Futuro | Blog de NVIDIA">
            <a:extLst>
              <a:ext uri="{FF2B5EF4-FFF2-40B4-BE49-F238E27FC236}">
                <a16:creationId xmlns:a16="http://schemas.microsoft.com/office/drawing/2014/main" id="{6FE26870-E5E6-6C6C-56E0-BA8C60DE49BB}"/>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tretch/>
        </p:blipFill>
        <p:spPr>
          <a:xfrm>
            <a:off x="838200" y="1832451"/>
            <a:ext cx="10515600" cy="4337685"/>
          </a:xfrm>
        </p:spPr>
      </p:pic>
      <p:sp>
        <p:nvSpPr>
          <p:cNvPr id="2" name="Marcador de fecha 1">
            <a:extLst>
              <a:ext uri="{FF2B5EF4-FFF2-40B4-BE49-F238E27FC236}">
                <a16:creationId xmlns:a16="http://schemas.microsoft.com/office/drawing/2014/main" id="{7C47D1CA-A956-A700-6854-396F04AC90A4}"/>
              </a:ext>
            </a:extLst>
          </p:cNvPr>
          <p:cNvSpPr>
            <a:spLocks noGrp="1"/>
          </p:cNvSpPr>
          <p:nvPr>
            <p:ph type="dt" sz="half" idx="10"/>
          </p:nvPr>
        </p:nvSpPr>
        <p:spPr>
          <a:xfrm>
            <a:off x="814650" y="6400379"/>
            <a:ext cx="3380278" cy="365125"/>
          </a:xfrm>
        </p:spPr>
        <p:txBody>
          <a:bodyPr/>
          <a:lstStyle/>
          <a:p>
            <a:fld id="{DE651F68-C387-4771-87F0-13D3E0FE5135}"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C5D9D9A8-6F81-4C96-22B7-03FD02610C8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2562C0C-B4C9-AFA8-7403-C29153A6C94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34</a:t>
            </a:fld>
            <a:endParaRPr lang="es-ES" dirty="0"/>
          </a:p>
        </p:txBody>
      </p:sp>
      <p:sp>
        <p:nvSpPr>
          <p:cNvPr id="6" name="CuadroTexto 5">
            <a:extLst>
              <a:ext uri="{FF2B5EF4-FFF2-40B4-BE49-F238E27FC236}">
                <a16:creationId xmlns:a16="http://schemas.microsoft.com/office/drawing/2014/main" id="{4D32590A-C1BD-DA1D-5679-574F095850F2}"/>
              </a:ext>
            </a:extLst>
          </p:cNvPr>
          <p:cNvSpPr txBox="1"/>
          <p:nvPr/>
        </p:nvSpPr>
        <p:spPr>
          <a:xfrm>
            <a:off x="9071060" y="2504693"/>
            <a:ext cx="2885440" cy="2816156"/>
          </a:xfrm>
          <a:prstGeom prst="rect">
            <a:avLst/>
          </a:prstGeom>
          <a:gradFill flip="none" rotWithShape="1">
            <a:gsLst>
              <a:gs pos="0">
                <a:srgbClr val="0000FF">
                  <a:shade val="30000"/>
                  <a:satMod val="115000"/>
                </a:srgbClr>
              </a:gs>
              <a:gs pos="50000">
                <a:srgbClr val="0000FF">
                  <a:shade val="67500"/>
                  <a:satMod val="115000"/>
                </a:srgbClr>
              </a:gs>
              <a:gs pos="100000">
                <a:srgbClr val="0000FF">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spAutoFit/>
          </a:bodyPr>
          <a:lstStyle>
            <a:defPPr>
              <a:defRPr lang="en-US"/>
            </a:defPPr>
            <a:lvl1pPr>
              <a:spcAft>
                <a:spcPts val="600"/>
              </a:spcAft>
              <a:defRPr b="1">
                <a:solidFill>
                  <a:srgbClr val="CCCC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ES" dirty="0"/>
              <a:t>La fabrica al completo es un conjunto de gemelos digitales.</a:t>
            </a:r>
          </a:p>
          <a:p>
            <a:r>
              <a:rPr lang="es-ES" dirty="0"/>
              <a:t>Lugar de encuentro para prueba y error.</a:t>
            </a:r>
          </a:p>
          <a:p>
            <a:r>
              <a:rPr lang="es-ES" dirty="0"/>
              <a:t>Reuniones.</a:t>
            </a:r>
          </a:p>
          <a:p>
            <a:r>
              <a:rPr lang="es-ES" dirty="0"/>
              <a:t>Trabajo en común de personas que están en diferentes lugares físicos.</a:t>
            </a:r>
          </a:p>
        </p:txBody>
      </p:sp>
      <p:sp>
        <p:nvSpPr>
          <p:cNvPr id="7" name="Rectángulo 6">
            <a:extLst>
              <a:ext uri="{FF2B5EF4-FFF2-40B4-BE49-F238E27FC236}">
                <a16:creationId xmlns:a16="http://schemas.microsoft.com/office/drawing/2014/main" id="{EF246E49-053B-DB8F-AC3B-40E334EC55AA}"/>
              </a:ext>
            </a:extLst>
          </p:cNvPr>
          <p:cNvSpPr/>
          <p:nvPr/>
        </p:nvSpPr>
        <p:spPr>
          <a:xfrm>
            <a:off x="-7147" y="7758"/>
            <a:ext cx="1778565" cy="523220"/>
          </a:xfrm>
          <a:prstGeom prst="rect">
            <a:avLst/>
          </a:prstGeom>
          <a:noFill/>
        </p:spPr>
        <p:txBody>
          <a:bodyPr wrap="none" lIns="91440" tIns="45720" rIns="91440" bIns="45720">
            <a:spAutoFit/>
          </a:bodyPr>
          <a:lstStyle/>
          <a:p>
            <a:pPr algn="ctr"/>
            <a:r>
              <a:rPr lang="es-ES" sz="2800" b="1" cap="none" spc="0" dirty="0">
                <a:ln w="12700">
                  <a:solidFill>
                    <a:srgbClr val="00FF00"/>
                  </a:solidFill>
                  <a:prstDash val="solid"/>
                </a:ln>
                <a:solidFill>
                  <a:srgbClr val="00B050"/>
                </a:solidFill>
              </a:rPr>
              <a:t>Metaverso</a:t>
            </a:r>
          </a:p>
        </p:txBody>
      </p:sp>
    </p:spTree>
    <p:extLst>
      <p:ext uri="{BB962C8B-B14F-4D97-AF65-F5344CB8AC3E}">
        <p14:creationId xmlns:p14="http://schemas.microsoft.com/office/powerpoint/2010/main" val="415993102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6A50CE-20FB-40EC-AD76-D9A4423F1BD6}"/>
              </a:ext>
            </a:extLst>
          </p:cNvPr>
          <p:cNvSpPr>
            <a:spLocks noGrp="1"/>
          </p:cNvSpPr>
          <p:nvPr>
            <p:ph type="title"/>
          </p:nvPr>
        </p:nvSpPr>
        <p:spPr>
          <a:xfrm>
            <a:off x="341194" y="3814618"/>
            <a:ext cx="4932769" cy="1876594"/>
          </a:xfrm>
        </p:spPr>
        <p:txBody>
          <a:bodyPr/>
          <a:lstStyle/>
          <a:p>
            <a:r>
              <a:rPr lang="es-ES" noProof="0" dirty="0"/>
              <a:t>Gobierno del dato</a:t>
            </a:r>
          </a:p>
        </p:txBody>
      </p:sp>
      <p:sp>
        <p:nvSpPr>
          <p:cNvPr id="3" name="Marcador de fecha 2">
            <a:extLst>
              <a:ext uri="{FF2B5EF4-FFF2-40B4-BE49-F238E27FC236}">
                <a16:creationId xmlns:a16="http://schemas.microsoft.com/office/drawing/2014/main" id="{69041993-B6B5-4807-9E53-AA11617C3438}"/>
              </a:ext>
            </a:extLst>
          </p:cNvPr>
          <p:cNvSpPr>
            <a:spLocks noGrp="1"/>
          </p:cNvSpPr>
          <p:nvPr>
            <p:ph type="dt" sz="half" idx="10"/>
          </p:nvPr>
        </p:nvSpPr>
        <p:spPr>
          <a:xfrm>
            <a:off x="814650" y="6400379"/>
            <a:ext cx="3380278" cy="365125"/>
          </a:xfrm>
        </p:spPr>
        <p:txBody>
          <a:bodyPr/>
          <a:lstStyle/>
          <a:p>
            <a:fld id="{222CDCBC-E929-49D7-91A2-EBAB497680D7}"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11AB772-D5B6-4561-BCDA-010C28023E2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31AF5BB-6EA8-48EF-968F-4BF70AF784B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35</a:t>
            </a:fld>
            <a:endParaRPr lang="es-ES" dirty="0"/>
          </a:p>
        </p:txBody>
      </p:sp>
    </p:spTree>
    <p:extLst>
      <p:ext uri="{BB962C8B-B14F-4D97-AF65-F5344CB8AC3E}">
        <p14:creationId xmlns:p14="http://schemas.microsoft.com/office/powerpoint/2010/main" val="34711489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CDF0E9-1CC0-45B5-A47C-C071104B8FA3}"/>
              </a:ext>
            </a:extLst>
          </p:cNvPr>
          <p:cNvSpPr>
            <a:spLocks noGrp="1"/>
          </p:cNvSpPr>
          <p:nvPr>
            <p:ph type="title"/>
          </p:nvPr>
        </p:nvSpPr>
        <p:spPr>
          <a:xfrm>
            <a:off x="838200" y="365126"/>
            <a:ext cx="9840124" cy="1092200"/>
          </a:xfrm>
        </p:spPr>
        <p:txBody>
          <a:bodyPr/>
          <a:lstStyle/>
          <a:p>
            <a:r>
              <a:rPr lang="es-ES" noProof="0" dirty="0"/>
              <a:t>Gobierno del dato, definición</a:t>
            </a:r>
          </a:p>
        </p:txBody>
      </p:sp>
      <p:sp>
        <p:nvSpPr>
          <p:cNvPr id="4" name="Marcador de fecha 3">
            <a:extLst>
              <a:ext uri="{FF2B5EF4-FFF2-40B4-BE49-F238E27FC236}">
                <a16:creationId xmlns:a16="http://schemas.microsoft.com/office/drawing/2014/main" id="{24E381A0-2D52-4A6E-B7EC-EB7DF7239D08}"/>
              </a:ext>
            </a:extLst>
          </p:cNvPr>
          <p:cNvSpPr>
            <a:spLocks noGrp="1"/>
          </p:cNvSpPr>
          <p:nvPr>
            <p:ph type="dt" sz="half" idx="10"/>
          </p:nvPr>
        </p:nvSpPr>
        <p:spPr>
          <a:xfrm>
            <a:off x="814650" y="6400379"/>
            <a:ext cx="3380278" cy="365125"/>
          </a:xfrm>
        </p:spPr>
        <p:txBody>
          <a:bodyPr/>
          <a:lstStyle/>
          <a:p>
            <a:fld id="{25A76541-D44B-41F9-83AD-2E6582DC106A}"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BFD1462B-4B91-424B-A3B1-A3F076F1B66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EDBCEEF0-9B9B-4E4F-9F80-9C5763AF76B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36</a:t>
            </a:fld>
            <a:endParaRPr lang="es-ES" dirty="0"/>
          </a:p>
        </p:txBody>
      </p:sp>
      <p:graphicFrame>
        <p:nvGraphicFramePr>
          <p:cNvPr id="7" name="Diagrama 6"/>
          <p:cNvGraphicFramePr/>
          <p:nvPr/>
        </p:nvGraphicFramePr>
        <p:xfrm>
          <a:off x="394855" y="1690689"/>
          <a:ext cx="11689772" cy="46656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Elipse 12">
            <a:extLst>
              <a:ext uri="{FF2B5EF4-FFF2-40B4-BE49-F238E27FC236}">
                <a16:creationId xmlns:a16="http://schemas.microsoft.com/office/drawing/2014/main" id="{257791F0-6B35-4C50-BB1A-5C763C4389B9}"/>
              </a:ext>
            </a:extLst>
          </p:cNvPr>
          <p:cNvSpPr/>
          <p:nvPr/>
        </p:nvSpPr>
        <p:spPr>
          <a:xfrm>
            <a:off x="838199" y="61509"/>
            <a:ext cx="468000" cy="468000"/>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s-ES" sz="2800" b="1" dirty="0">
                <a:latin typeface="Arial Narrow" panose="020B0606020202030204" pitchFamily="34" charset="0"/>
              </a:rPr>
              <a:t>4</a:t>
            </a:r>
          </a:p>
        </p:txBody>
      </p:sp>
    </p:spTree>
    <p:extLst>
      <p:ext uri="{BB962C8B-B14F-4D97-AF65-F5344CB8AC3E}">
        <p14:creationId xmlns:p14="http://schemas.microsoft.com/office/powerpoint/2010/main" val="9854958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ADA680-AF6B-0BE2-D71A-0F2D94013675}"/>
              </a:ext>
            </a:extLst>
          </p:cNvPr>
          <p:cNvSpPr>
            <a:spLocks noGrp="1"/>
          </p:cNvSpPr>
          <p:nvPr>
            <p:ph type="title"/>
          </p:nvPr>
        </p:nvSpPr>
        <p:spPr>
          <a:xfrm>
            <a:off x="838200" y="365126"/>
            <a:ext cx="9840124" cy="1092200"/>
          </a:xfrm>
        </p:spPr>
        <p:txBody>
          <a:bodyPr/>
          <a:lstStyle/>
          <a:p>
            <a:r>
              <a:rPr lang="es-ES" noProof="0" dirty="0"/>
              <a:t>Gobierno del Dato: Una de las Claves para desbloquear el Valor de los Datos</a:t>
            </a:r>
          </a:p>
        </p:txBody>
      </p:sp>
      <p:pic>
        <p:nvPicPr>
          <p:cNvPr id="8" name="Picture 4" descr="Cuida la caja de cambios automática de tu coche | Actualidad Motor">
            <a:extLst>
              <a:ext uri="{FF2B5EF4-FFF2-40B4-BE49-F238E27FC236}">
                <a16:creationId xmlns:a16="http://schemas.microsoft.com/office/drawing/2014/main" id="{28416E78-05C5-700D-7163-59C225EC147E}"/>
              </a:ext>
            </a:extLst>
          </p:cNvPr>
          <p:cNvPicPr>
            <a:picLocks noGrp="1" noChangeAspect="1" noChangeArrowheads="1"/>
          </p:cNvPicPr>
          <p:nvPr>
            <p:ph type="pic" sz="quarter" idx="13"/>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l="17105" r="17105"/>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graphicFrame>
        <p:nvGraphicFramePr>
          <p:cNvPr id="4" name="Marcador de contenido 3">
            <a:extLst>
              <a:ext uri="{FF2B5EF4-FFF2-40B4-BE49-F238E27FC236}">
                <a16:creationId xmlns:a16="http://schemas.microsoft.com/office/drawing/2014/main" id="{F55943C7-5A73-26E5-8627-929139676073}"/>
              </a:ext>
            </a:extLst>
          </p:cNvPr>
          <p:cNvGraphicFramePr>
            <a:graphicFrameLocks noGrp="1"/>
          </p:cNvGraphicFramePr>
          <p:nvPr>
            <p:ph sz="quarter" idx="14"/>
            <p:extLst>
              <p:ext uri="{D42A27DB-BD31-4B8C-83A1-F6EECF244321}">
                <p14:modId xmlns:p14="http://schemas.microsoft.com/office/powerpoint/2010/main" val="2227643787"/>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Marcador de fecha 8">
            <a:extLst>
              <a:ext uri="{FF2B5EF4-FFF2-40B4-BE49-F238E27FC236}">
                <a16:creationId xmlns:a16="http://schemas.microsoft.com/office/drawing/2014/main" id="{D88AD4C0-F583-7CF2-50C2-4055F164198F}"/>
              </a:ext>
            </a:extLst>
          </p:cNvPr>
          <p:cNvSpPr>
            <a:spLocks noGrp="1"/>
          </p:cNvSpPr>
          <p:nvPr>
            <p:ph type="dt" sz="half" idx="15"/>
          </p:nvPr>
        </p:nvSpPr>
        <p:spPr>
          <a:xfrm>
            <a:off x="814650" y="6400379"/>
            <a:ext cx="3380278" cy="365125"/>
          </a:xfrm>
        </p:spPr>
        <p:txBody>
          <a:bodyPr/>
          <a:lstStyle/>
          <a:p>
            <a:fld id="{CD293A86-F7DB-4FBF-83C8-8B6AE4911696}" type="datetime2">
              <a:rPr lang="es-ES" smtClean="0"/>
              <a:pPr/>
              <a:t>jueves, 19 de septiembre de 2024</a:t>
            </a:fld>
            <a:endParaRPr lang="es-ES" dirty="0"/>
          </a:p>
        </p:txBody>
      </p:sp>
      <p:sp>
        <p:nvSpPr>
          <p:cNvPr id="10" name="Marcador de pie de página 9">
            <a:extLst>
              <a:ext uri="{FF2B5EF4-FFF2-40B4-BE49-F238E27FC236}">
                <a16:creationId xmlns:a16="http://schemas.microsoft.com/office/drawing/2014/main" id="{56793643-57B3-CC4A-DD0F-467EEDBC7E0A}"/>
              </a:ext>
            </a:extLst>
          </p:cNvPr>
          <p:cNvSpPr>
            <a:spLocks noGrp="1"/>
          </p:cNvSpPr>
          <p:nvPr>
            <p:ph type="ftr" sz="quarter" idx="16"/>
          </p:nvPr>
        </p:nvSpPr>
        <p:spPr>
          <a:xfrm>
            <a:off x="4622986" y="6421474"/>
            <a:ext cx="5989596" cy="365125"/>
          </a:xfrm>
        </p:spPr>
        <p:txBody>
          <a:bodyPr/>
          <a:lstStyle/>
          <a:p>
            <a:r>
              <a:rPr lang="it-IT"/>
              <a:t>Gobierno del Dato - Master IA - V1</a:t>
            </a:r>
            <a:endParaRPr lang="es-ES" dirty="0"/>
          </a:p>
        </p:txBody>
      </p:sp>
      <p:sp>
        <p:nvSpPr>
          <p:cNvPr id="11" name="Marcador de número de diapositiva 10">
            <a:extLst>
              <a:ext uri="{FF2B5EF4-FFF2-40B4-BE49-F238E27FC236}">
                <a16:creationId xmlns:a16="http://schemas.microsoft.com/office/drawing/2014/main" id="{387B3875-65CB-14F4-27BA-4E7A80EA9D3D}"/>
              </a:ext>
            </a:extLst>
          </p:cNvPr>
          <p:cNvSpPr>
            <a:spLocks noGrp="1"/>
          </p:cNvSpPr>
          <p:nvPr>
            <p:ph type="sldNum" sz="quarter" idx="17"/>
          </p:nvPr>
        </p:nvSpPr>
        <p:spPr>
          <a:xfrm>
            <a:off x="10801350" y="6421474"/>
            <a:ext cx="576000" cy="365125"/>
          </a:xfrm>
        </p:spPr>
        <p:txBody>
          <a:bodyPr/>
          <a:lstStyle/>
          <a:p>
            <a:fld id="{005C7ADB-1470-41F2-A985-C92636EE6340}" type="slidenum">
              <a:rPr lang="es-ES" smtClean="0"/>
              <a:pPr/>
              <a:t>137</a:t>
            </a:fld>
            <a:endParaRPr lang="es-ES" dirty="0"/>
          </a:p>
        </p:txBody>
      </p:sp>
    </p:spTree>
    <p:extLst>
      <p:ext uri="{BB962C8B-B14F-4D97-AF65-F5344CB8AC3E}">
        <p14:creationId xmlns:p14="http://schemas.microsoft.com/office/powerpoint/2010/main" val="9408675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835B1D-FBA7-D8BD-9431-0C4F20B5528E}"/>
              </a:ext>
            </a:extLst>
          </p:cNvPr>
          <p:cNvSpPr>
            <a:spLocks noGrp="1"/>
          </p:cNvSpPr>
          <p:nvPr>
            <p:ph type="title"/>
          </p:nvPr>
        </p:nvSpPr>
        <p:spPr>
          <a:xfrm>
            <a:off x="838200" y="365126"/>
            <a:ext cx="9840124" cy="1092200"/>
          </a:xfrm>
        </p:spPr>
        <p:txBody>
          <a:bodyPr/>
          <a:lstStyle/>
          <a:p>
            <a:r>
              <a:rPr lang="es-ES" noProof="0" dirty="0"/>
              <a:t>Así se Implementa el Gobierno del Dato en una organización</a:t>
            </a:r>
          </a:p>
        </p:txBody>
      </p:sp>
      <p:pic>
        <p:nvPicPr>
          <p:cNvPr id="8" name="Picture 2" descr="sitio de construcción de edificios con trabajadores 6591384 Vector en  Vecteezy">
            <a:extLst>
              <a:ext uri="{FF2B5EF4-FFF2-40B4-BE49-F238E27FC236}">
                <a16:creationId xmlns:a16="http://schemas.microsoft.com/office/drawing/2014/main" id="{D3C353DD-69D2-9745-8E71-DDB947B8A783}"/>
              </a:ext>
            </a:extLst>
          </p:cNvPr>
          <p:cNvPicPr>
            <a:picLocks noGrp="1" noChangeAspect="1" noChangeArrowheads="1"/>
          </p:cNvPicPr>
          <p:nvPr>
            <p:ph type="pic" sz="quarter" idx="13"/>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l="12963" r="12963"/>
          <a:stretch/>
        </p:blipFill>
        <p:spPr bwMode="auto">
          <a:xfrm>
            <a:off x="1113059" y="1759510"/>
            <a:ext cx="2253330" cy="2253330"/>
          </a:xfrm>
          <a:noFill/>
          <a:extLst>
            <a:ext uri="{909E8E84-426E-40DD-AFC4-6F175D3DCCD1}">
              <a14:hiddenFill xmlns:a14="http://schemas.microsoft.com/office/drawing/2010/main">
                <a:solidFill>
                  <a:srgbClr val="FFFFFF"/>
                </a:solidFill>
              </a14:hiddenFill>
            </a:ext>
          </a:extLst>
        </p:spPr>
      </p:pic>
      <p:sp>
        <p:nvSpPr>
          <p:cNvPr id="3" name="Marcador de contenido 2">
            <a:extLst>
              <a:ext uri="{FF2B5EF4-FFF2-40B4-BE49-F238E27FC236}">
                <a16:creationId xmlns:a16="http://schemas.microsoft.com/office/drawing/2014/main" id="{723D6021-B400-0320-1042-EA45F677753F}"/>
              </a:ext>
            </a:extLst>
          </p:cNvPr>
          <p:cNvSpPr>
            <a:spLocks noGrp="1"/>
          </p:cNvSpPr>
          <p:nvPr>
            <p:ph sz="quarter" idx="14"/>
          </p:nvPr>
        </p:nvSpPr>
        <p:spPr>
          <a:xfrm>
            <a:off x="3533775" y="1657350"/>
            <a:ext cx="7843838" cy="2466977"/>
          </a:xfrm>
        </p:spPr>
        <p:txBody>
          <a:bodyPr>
            <a:normAutofit lnSpcReduction="10000"/>
          </a:bodyPr>
          <a:lstStyle/>
          <a:p>
            <a:pPr lvl="0"/>
            <a:r>
              <a:rPr lang="es-ES" noProof="0" dirty="0"/>
              <a:t>La implementación del gobierno del dato es un proceso gradual.</a:t>
            </a:r>
          </a:p>
          <a:p>
            <a:pPr lvl="0"/>
            <a:r>
              <a:rPr lang="es-ES" noProof="0" dirty="0"/>
              <a:t>Es importante comenzar con un proyecto piloto y luego escalarlo a toda la organización.</a:t>
            </a:r>
          </a:p>
          <a:p>
            <a:pPr lvl="0"/>
            <a:r>
              <a:rPr lang="es-ES" noProof="0" dirty="0"/>
              <a:t>Es importante contar con el apoyo de los empleados para que el gobierno del dato tenga éxito.</a:t>
            </a:r>
          </a:p>
        </p:txBody>
      </p:sp>
      <p:sp>
        <p:nvSpPr>
          <p:cNvPr id="9" name="Marcador de fecha 8">
            <a:extLst>
              <a:ext uri="{FF2B5EF4-FFF2-40B4-BE49-F238E27FC236}">
                <a16:creationId xmlns:a16="http://schemas.microsoft.com/office/drawing/2014/main" id="{762F1FD5-50EA-57DA-232D-E7B9C22DE4F8}"/>
              </a:ext>
            </a:extLst>
          </p:cNvPr>
          <p:cNvSpPr>
            <a:spLocks noGrp="1"/>
          </p:cNvSpPr>
          <p:nvPr>
            <p:ph type="dt" sz="half" idx="15"/>
          </p:nvPr>
        </p:nvSpPr>
        <p:spPr>
          <a:xfrm>
            <a:off x="814650" y="6400379"/>
            <a:ext cx="3380278" cy="365125"/>
          </a:xfrm>
        </p:spPr>
        <p:txBody>
          <a:bodyPr/>
          <a:lstStyle/>
          <a:p>
            <a:fld id="{7FF61CF3-0062-4B42-BD1D-608AE295EF87}" type="datetime2">
              <a:rPr lang="es-ES" smtClean="0"/>
              <a:pPr/>
              <a:t>jueves, 19 de septiembre de 2024</a:t>
            </a:fld>
            <a:endParaRPr lang="es-ES" dirty="0"/>
          </a:p>
        </p:txBody>
      </p:sp>
      <p:sp>
        <p:nvSpPr>
          <p:cNvPr id="10" name="Marcador de pie de página 9">
            <a:extLst>
              <a:ext uri="{FF2B5EF4-FFF2-40B4-BE49-F238E27FC236}">
                <a16:creationId xmlns:a16="http://schemas.microsoft.com/office/drawing/2014/main" id="{9F518A05-7679-346A-8073-5B3DA01F05CA}"/>
              </a:ext>
            </a:extLst>
          </p:cNvPr>
          <p:cNvSpPr>
            <a:spLocks noGrp="1"/>
          </p:cNvSpPr>
          <p:nvPr>
            <p:ph type="ftr" sz="quarter" idx="16"/>
          </p:nvPr>
        </p:nvSpPr>
        <p:spPr>
          <a:xfrm>
            <a:off x="4622986" y="6421474"/>
            <a:ext cx="5989596" cy="365125"/>
          </a:xfrm>
        </p:spPr>
        <p:txBody>
          <a:bodyPr/>
          <a:lstStyle/>
          <a:p>
            <a:r>
              <a:rPr lang="it-IT"/>
              <a:t>Gobierno del Dato - Master IA - V1</a:t>
            </a:r>
            <a:endParaRPr lang="es-ES" dirty="0"/>
          </a:p>
        </p:txBody>
      </p:sp>
      <p:sp>
        <p:nvSpPr>
          <p:cNvPr id="11" name="Marcador de número de diapositiva 10">
            <a:extLst>
              <a:ext uri="{FF2B5EF4-FFF2-40B4-BE49-F238E27FC236}">
                <a16:creationId xmlns:a16="http://schemas.microsoft.com/office/drawing/2014/main" id="{D099B4A0-F9C6-E767-7A39-5D352BD9B822}"/>
              </a:ext>
            </a:extLst>
          </p:cNvPr>
          <p:cNvSpPr>
            <a:spLocks noGrp="1"/>
          </p:cNvSpPr>
          <p:nvPr>
            <p:ph type="sldNum" sz="quarter" idx="17"/>
          </p:nvPr>
        </p:nvSpPr>
        <p:spPr>
          <a:xfrm>
            <a:off x="10801350" y="6421474"/>
            <a:ext cx="576000" cy="365125"/>
          </a:xfrm>
        </p:spPr>
        <p:txBody>
          <a:bodyPr/>
          <a:lstStyle/>
          <a:p>
            <a:fld id="{005C7ADB-1470-41F2-A985-C92636EE6340}" type="slidenum">
              <a:rPr lang="es-ES" smtClean="0"/>
              <a:pPr/>
              <a:t>138</a:t>
            </a:fld>
            <a:endParaRPr lang="es-ES" dirty="0"/>
          </a:p>
        </p:txBody>
      </p:sp>
      <p:graphicFrame>
        <p:nvGraphicFramePr>
          <p:cNvPr id="4" name="Diagrama 3">
            <a:extLst>
              <a:ext uri="{FF2B5EF4-FFF2-40B4-BE49-F238E27FC236}">
                <a16:creationId xmlns:a16="http://schemas.microsoft.com/office/drawing/2014/main" id="{0EF9C03E-ACA8-8CE8-582A-4B04A5A33183}"/>
              </a:ext>
            </a:extLst>
          </p:cNvPr>
          <p:cNvGraphicFramePr/>
          <p:nvPr>
            <p:extLst>
              <p:ext uri="{D42A27DB-BD31-4B8C-83A1-F6EECF244321}">
                <p14:modId xmlns:p14="http://schemas.microsoft.com/office/powerpoint/2010/main" val="4289919911"/>
              </p:ext>
            </p:extLst>
          </p:nvPr>
        </p:nvGraphicFramePr>
        <p:xfrm>
          <a:off x="296823" y="4426511"/>
          <a:ext cx="11491365" cy="17879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439329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71859D-6924-451E-9691-C14F7024591F}"/>
              </a:ext>
            </a:extLst>
          </p:cNvPr>
          <p:cNvSpPr>
            <a:spLocks noGrp="1"/>
          </p:cNvSpPr>
          <p:nvPr>
            <p:ph type="title"/>
          </p:nvPr>
        </p:nvSpPr>
        <p:spPr>
          <a:xfrm>
            <a:off x="341194" y="3814618"/>
            <a:ext cx="4932769" cy="1876594"/>
          </a:xfrm>
        </p:spPr>
        <p:txBody>
          <a:bodyPr/>
          <a:lstStyle/>
          <a:p>
            <a:r>
              <a:rPr lang="es-ES" noProof="0" dirty="0"/>
              <a:t>Visualización del dato</a:t>
            </a:r>
          </a:p>
        </p:txBody>
      </p:sp>
      <p:sp>
        <p:nvSpPr>
          <p:cNvPr id="3" name="Marcador de fecha 2">
            <a:extLst>
              <a:ext uri="{FF2B5EF4-FFF2-40B4-BE49-F238E27FC236}">
                <a16:creationId xmlns:a16="http://schemas.microsoft.com/office/drawing/2014/main" id="{D3D51F77-A8FA-442B-917D-53B43A4303BA}"/>
              </a:ext>
            </a:extLst>
          </p:cNvPr>
          <p:cNvSpPr>
            <a:spLocks noGrp="1"/>
          </p:cNvSpPr>
          <p:nvPr>
            <p:ph type="dt" sz="half" idx="10"/>
          </p:nvPr>
        </p:nvSpPr>
        <p:spPr>
          <a:xfrm>
            <a:off x="814650" y="6400379"/>
            <a:ext cx="3380278" cy="365125"/>
          </a:xfrm>
        </p:spPr>
        <p:txBody>
          <a:bodyPr/>
          <a:lstStyle/>
          <a:p>
            <a:fld id="{F7D2AD06-E82D-45AE-87D1-9C4311C12F51}"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20B10D2D-33FD-4AAC-9453-33D8BEBA6D1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A171D2F-4EED-49AB-B9BC-6189CEC787E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39</a:t>
            </a:fld>
            <a:endParaRPr lang="es-ES" dirty="0"/>
          </a:p>
        </p:txBody>
      </p:sp>
    </p:spTree>
    <p:extLst>
      <p:ext uri="{BB962C8B-B14F-4D97-AF65-F5344CB8AC3E}">
        <p14:creationId xmlns:p14="http://schemas.microsoft.com/office/powerpoint/2010/main" val="807100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0B9908-F346-5E89-4C42-B62433FA9F57}"/>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E928035-5417-9755-B4B1-E5CFC79874C5}"/>
              </a:ext>
            </a:extLst>
          </p:cNvPr>
          <p:cNvSpPr>
            <a:spLocks noGrp="1"/>
          </p:cNvSpPr>
          <p:nvPr>
            <p:ph type="title"/>
          </p:nvPr>
        </p:nvSpPr>
        <p:spPr>
          <a:xfrm>
            <a:off x="838200" y="365126"/>
            <a:ext cx="9840124" cy="1092200"/>
          </a:xfrm>
        </p:spPr>
        <p:txBody>
          <a:bodyPr>
            <a:normAutofit/>
          </a:bodyPr>
          <a:lstStyle/>
          <a:p>
            <a:r>
              <a:rPr lang="es-ES" noProof="0" dirty="0"/>
              <a:t>Premisa 2 - Hay muchos canales de contacto</a:t>
            </a:r>
          </a:p>
        </p:txBody>
      </p:sp>
      <p:pic>
        <p:nvPicPr>
          <p:cNvPr id="3074" name="Picture 2" descr="Diferencia entre los conceptos de multicanalidad y omnicanalidad | Download  Scientific Diagram">
            <a:extLst>
              <a:ext uri="{FF2B5EF4-FFF2-40B4-BE49-F238E27FC236}">
                <a16:creationId xmlns:a16="http://schemas.microsoft.com/office/drawing/2014/main" id="{693D5965-A850-CAEB-93D0-CD4495A255B4}"/>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tretch>
            <a:fillRect/>
          </a:stretch>
        </p:blipFill>
        <p:spPr bwMode="auto">
          <a:xfrm>
            <a:off x="3497133" y="1863725"/>
            <a:ext cx="7682172" cy="4211638"/>
          </a:xfrm>
          <a:noFill/>
          <a:extLst>
            <a:ext uri="{909E8E84-426E-40DD-AFC4-6F175D3DCCD1}">
              <a14:hiddenFill xmlns:a14="http://schemas.microsoft.com/office/drawing/2010/main">
                <a:solidFill>
                  <a:srgbClr val="FFFFFF"/>
                </a:solidFill>
              </a14:hiddenFill>
            </a:ext>
          </a:extLst>
        </p:spPr>
      </p:pic>
      <p:sp>
        <p:nvSpPr>
          <p:cNvPr id="3" name="Marcador de contenido 18">
            <a:extLst>
              <a:ext uri="{FF2B5EF4-FFF2-40B4-BE49-F238E27FC236}">
                <a16:creationId xmlns:a16="http://schemas.microsoft.com/office/drawing/2014/main" id="{4483E4EC-4CAB-F98B-7D92-5A6534B1E102}"/>
              </a:ext>
            </a:extLst>
          </p:cNvPr>
          <p:cNvSpPr>
            <a:spLocks noGrp="1"/>
          </p:cNvSpPr>
          <p:nvPr>
            <p:ph sz="quarter" idx="13"/>
          </p:nvPr>
        </p:nvSpPr>
        <p:spPr>
          <a:xfrm>
            <a:off x="666750" y="2828925"/>
            <a:ext cx="2160000" cy="2160000"/>
          </a:xfrm>
          <a:noFill/>
        </p:spPr>
        <p:txBody>
          <a:bodyPr wrap="none" lIns="91440" tIns="45720" rIns="91440" bIns="45720" anchor="ctr">
            <a:spAutoFit/>
          </a:bodyPr>
          <a:lstStyle/>
          <a:p>
            <a:r>
              <a:rPr lang="es-ES" noProof="0" dirty="0"/>
              <a:t>2</a:t>
            </a:r>
          </a:p>
        </p:txBody>
      </p:sp>
      <p:sp>
        <p:nvSpPr>
          <p:cNvPr id="19" name="Date Placeholder 4">
            <a:extLst>
              <a:ext uri="{FF2B5EF4-FFF2-40B4-BE49-F238E27FC236}">
                <a16:creationId xmlns:a16="http://schemas.microsoft.com/office/drawing/2014/main" id="{E65210CF-C18C-8DA4-702B-27E6FFD4A7F3}"/>
              </a:ext>
            </a:extLst>
          </p:cNvPr>
          <p:cNvSpPr>
            <a:spLocks noGrp="1"/>
          </p:cNvSpPr>
          <p:nvPr>
            <p:ph type="dt" sz="half" idx="14"/>
          </p:nvPr>
        </p:nvSpPr>
        <p:spPr>
          <a:xfrm>
            <a:off x="814650" y="6400379"/>
            <a:ext cx="3380278" cy="365125"/>
          </a:xfrm>
        </p:spPr>
        <p:txBody>
          <a:bodyPr/>
          <a:lstStyle/>
          <a:p>
            <a:fld id="{34F3E6D4-552A-4D52-9ABC-048CA46F4C57}" type="datetime2">
              <a:rPr lang="es-ES" smtClean="0"/>
              <a:pPr/>
              <a:t>jueves, 19 de septiembre de 2024</a:t>
            </a:fld>
            <a:endParaRPr lang="es-ES" dirty="0"/>
          </a:p>
        </p:txBody>
      </p:sp>
      <p:sp>
        <p:nvSpPr>
          <p:cNvPr id="21" name="Footer Placeholder 5">
            <a:extLst>
              <a:ext uri="{FF2B5EF4-FFF2-40B4-BE49-F238E27FC236}">
                <a16:creationId xmlns:a16="http://schemas.microsoft.com/office/drawing/2014/main" id="{FBE9A9F0-5D82-5971-8FD2-1FCA27402730}"/>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23" name="Slide Number Placeholder 6">
            <a:extLst>
              <a:ext uri="{FF2B5EF4-FFF2-40B4-BE49-F238E27FC236}">
                <a16:creationId xmlns:a16="http://schemas.microsoft.com/office/drawing/2014/main" id="{9962FCB5-3DAB-3C93-623D-390F5A1EE1B5}"/>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4</a:t>
            </a:fld>
            <a:endParaRPr lang="es-ES" dirty="0"/>
          </a:p>
        </p:txBody>
      </p:sp>
    </p:spTree>
    <p:extLst>
      <p:ext uri="{BB962C8B-B14F-4D97-AF65-F5344CB8AC3E}">
        <p14:creationId xmlns:p14="http://schemas.microsoft.com/office/powerpoint/2010/main" val="20163702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ustomShape 8">
            <a:extLst>
              <a:ext uri="{FF2B5EF4-FFF2-40B4-BE49-F238E27FC236}">
                <a16:creationId xmlns:a16="http://schemas.microsoft.com/office/drawing/2014/main" id="{99F0C534-3F21-4A8D-BDD7-EC456CF92BE0}"/>
              </a:ext>
            </a:extLst>
          </p:cNvPr>
          <p:cNvSpPr/>
          <p:nvPr/>
        </p:nvSpPr>
        <p:spPr>
          <a:xfrm rot="16200000">
            <a:off x="-1512743" y="3723101"/>
            <a:ext cx="4521474" cy="575640"/>
          </a:xfrm>
          <a:prstGeom prst="rect">
            <a:avLst/>
          </a:prstGeom>
          <a:solidFill>
            <a:schemeClr val="bg1">
              <a:lumMod val="95000"/>
            </a:schemeClr>
          </a:solidFill>
          <a:ln w="12600">
            <a:solidFill>
              <a:srgbClr val="604A7B"/>
            </a:solidFill>
            <a:round/>
          </a:ln>
        </p:spPr>
        <p:txBody>
          <a:bodyPr lIns="53640" tIns="107640" rIns="53640" bIns="107640" anchor="ctr"/>
          <a:lstStyle/>
          <a:p>
            <a:pPr algn="ctr"/>
            <a:r>
              <a:rPr lang="es-ES" sz="2000" b="1" cap="small" dirty="0">
                <a:solidFill>
                  <a:srgbClr val="000000"/>
                </a:solidFill>
                <a:latin typeface="Arial Narrow"/>
              </a:rPr>
              <a:t>Información lista para consumo.</a:t>
            </a:r>
          </a:p>
          <a:p>
            <a:pPr algn="ctr"/>
            <a:r>
              <a:rPr lang="es-ES" sz="2000" b="1" cap="small" dirty="0">
                <a:solidFill>
                  <a:srgbClr val="000000"/>
                </a:solidFill>
                <a:latin typeface="Arial Narrow"/>
              </a:rPr>
              <a:t>Sandbox</a:t>
            </a:r>
          </a:p>
        </p:txBody>
      </p:sp>
      <p:pic>
        <p:nvPicPr>
          <p:cNvPr id="22" name="Imagen 21">
            <a:extLst>
              <a:ext uri="{FF2B5EF4-FFF2-40B4-BE49-F238E27FC236}">
                <a16:creationId xmlns:a16="http://schemas.microsoft.com/office/drawing/2014/main" id="{1C3C8E6B-B07F-4534-97EF-3373C8F2C398}"/>
              </a:ext>
            </a:extLst>
          </p:cNvPr>
          <p:cNvPicPr>
            <a:picLocks noChangeAspect="1"/>
          </p:cNvPicPr>
          <p:nvPr/>
        </p:nvPicPr>
        <p:blipFill rotWithShape="1">
          <a:blip r:embed="rId2">
            <a:clrChange>
              <a:clrFrom>
                <a:srgbClr val="F4F4F6"/>
              </a:clrFrom>
              <a:clrTo>
                <a:srgbClr val="F4F4F6">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1752213" y="2753249"/>
            <a:ext cx="1708220" cy="1927287"/>
          </a:xfrm>
          <a:prstGeom prst="rect">
            <a:avLst/>
          </a:prstGeom>
        </p:spPr>
      </p:pic>
      <p:cxnSp>
        <p:nvCxnSpPr>
          <p:cNvPr id="23" name="Conector: curvado 22">
            <a:extLst>
              <a:ext uri="{FF2B5EF4-FFF2-40B4-BE49-F238E27FC236}">
                <a16:creationId xmlns:a16="http://schemas.microsoft.com/office/drawing/2014/main" id="{9E7E0CB4-1FD5-466C-92CB-7E886F7BF1ED}"/>
              </a:ext>
            </a:extLst>
          </p:cNvPr>
          <p:cNvCxnSpPr>
            <a:cxnSpLocks/>
            <a:stCxn id="21" idx="2"/>
            <a:endCxn id="22" idx="1"/>
          </p:cNvCxnSpPr>
          <p:nvPr/>
        </p:nvCxnSpPr>
        <p:spPr>
          <a:xfrm flipV="1">
            <a:off x="1035814" y="3716893"/>
            <a:ext cx="716399" cy="294028"/>
          </a:xfrm>
          <a:prstGeom prst="curvedConnector5">
            <a:avLst>
              <a:gd name="adj1" fmla="val 31910"/>
              <a:gd name="adj2" fmla="val 95244"/>
              <a:gd name="adj3" fmla="val 6809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 name="Título 2">
            <a:extLst>
              <a:ext uri="{FF2B5EF4-FFF2-40B4-BE49-F238E27FC236}">
                <a16:creationId xmlns:a16="http://schemas.microsoft.com/office/drawing/2014/main" id="{E5F78ACA-F3D8-4F2A-A9E9-29E9B1141A3B}"/>
              </a:ext>
            </a:extLst>
          </p:cNvPr>
          <p:cNvSpPr>
            <a:spLocks noGrp="1"/>
          </p:cNvSpPr>
          <p:nvPr>
            <p:ph type="title"/>
          </p:nvPr>
        </p:nvSpPr>
        <p:spPr/>
        <p:txBody>
          <a:bodyPr/>
          <a:lstStyle/>
          <a:p>
            <a:r>
              <a:rPr lang="es-ES" noProof="0" dirty="0"/>
              <a:t>Visualización (BI), descubrimiento de los datos</a:t>
            </a:r>
          </a:p>
        </p:txBody>
      </p:sp>
      <p:sp>
        <p:nvSpPr>
          <p:cNvPr id="2" name="Marcador de fecha 1">
            <a:extLst>
              <a:ext uri="{FF2B5EF4-FFF2-40B4-BE49-F238E27FC236}">
                <a16:creationId xmlns:a16="http://schemas.microsoft.com/office/drawing/2014/main" id="{F442513C-2B39-4643-BEA4-11588D25713A}"/>
              </a:ext>
            </a:extLst>
          </p:cNvPr>
          <p:cNvSpPr>
            <a:spLocks noGrp="1"/>
          </p:cNvSpPr>
          <p:nvPr>
            <p:ph type="dt" sz="half" idx="15"/>
          </p:nvPr>
        </p:nvSpPr>
        <p:spPr/>
        <p:txBody>
          <a:bodyPr/>
          <a:lstStyle/>
          <a:p>
            <a:fld id="{529BDD83-30B1-4E02-AD19-2E7D08669214}"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2F7A903-A1A1-4190-911D-FC1E95DA0E72}"/>
              </a:ext>
            </a:extLst>
          </p:cNvPr>
          <p:cNvSpPr>
            <a:spLocks noGrp="1"/>
          </p:cNvSpPr>
          <p:nvPr>
            <p:ph type="ftr" sz="quarter" idx="16"/>
          </p:nvPr>
        </p:nvSpPr>
        <p:spPr/>
        <p:txBody>
          <a:bodyPr/>
          <a:lstStyle/>
          <a:p>
            <a:r>
              <a:rPr lang="es-ES" dirty="0"/>
              <a:t>Transformación Digital - 2024 2025 Master IA Tajamar Tech - José Antonio Ureta</a:t>
            </a:r>
          </a:p>
        </p:txBody>
      </p:sp>
      <p:sp>
        <p:nvSpPr>
          <p:cNvPr id="25" name="Marcador de número de diapositiva 24">
            <a:extLst>
              <a:ext uri="{FF2B5EF4-FFF2-40B4-BE49-F238E27FC236}">
                <a16:creationId xmlns:a16="http://schemas.microsoft.com/office/drawing/2014/main" id="{E2815178-0BD5-4C8D-92DB-742E56B566F3}"/>
              </a:ext>
            </a:extLst>
          </p:cNvPr>
          <p:cNvSpPr>
            <a:spLocks noGrp="1"/>
          </p:cNvSpPr>
          <p:nvPr>
            <p:ph type="sldNum" sz="quarter" idx="17"/>
          </p:nvPr>
        </p:nvSpPr>
        <p:spPr/>
        <p:txBody>
          <a:bodyPr/>
          <a:lstStyle/>
          <a:p>
            <a:fld id="{55440F6C-613C-488D-819E-DA6065366E0E}" type="slidenum">
              <a:rPr lang="es-ES" smtClean="0"/>
              <a:pPr/>
              <a:t>140</a:t>
            </a:fld>
            <a:endParaRPr lang="es-ES" dirty="0"/>
          </a:p>
        </p:txBody>
      </p:sp>
      <p:graphicFrame>
        <p:nvGraphicFramePr>
          <p:cNvPr id="40" name="Marcador de contenido 25">
            <a:extLst>
              <a:ext uri="{FF2B5EF4-FFF2-40B4-BE49-F238E27FC236}">
                <a16:creationId xmlns:a16="http://schemas.microsoft.com/office/drawing/2014/main" id="{ABB7EEAA-E5FE-4C99-AB26-75E37A9F7F7B}"/>
              </a:ext>
            </a:extLst>
          </p:cNvPr>
          <p:cNvGraphicFramePr>
            <a:graphicFrameLocks noGrp="1"/>
          </p:cNvGraphicFramePr>
          <p:nvPr>
            <p:ph sz="quarter" idx="14"/>
            <p:extLst>
              <p:ext uri="{D42A27DB-BD31-4B8C-83A1-F6EECF244321}">
                <p14:modId xmlns:p14="http://schemas.microsoft.com/office/powerpoint/2010/main" val="3549898238"/>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1638486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2877F976-AA91-43E3-AAE5-077E4C6B22F5}"/>
              </a:ext>
            </a:extLst>
          </p:cNvPr>
          <p:cNvSpPr>
            <a:spLocks noGrp="1"/>
          </p:cNvSpPr>
          <p:nvPr>
            <p:ph type="title"/>
          </p:nvPr>
        </p:nvSpPr>
        <p:spPr>
          <a:xfrm>
            <a:off x="838200" y="365126"/>
            <a:ext cx="9840124" cy="1092200"/>
          </a:xfrm>
        </p:spPr>
        <p:txBody>
          <a:bodyPr>
            <a:normAutofit/>
          </a:bodyPr>
          <a:lstStyle/>
          <a:p>
            <a:r>
              <a:rPr lang="es-ES" noProof="0" dirty="0"/>
              <a:t>BI “vs” Big Data… son complementarios (no contrarios)</a:t>
            </a:r>
          </a:p>
        </p:txBody>
      </p:sp>
      <p:sp>
        <p:nvSpPr>
          <p:cNvPr id="5" name="Marcador de fecha 4">
            <a:extLst>
              <a:ext uri="{FF2B5EF4-FFF2-40B4-BE49-F238E27FC236}">
                <a16:creationId xmlns:a16="http://schemas.microsoft.com/office/drawing/2014/main" id="{73662AFA-226B-478D-B23C-2F1154E53F05}"/>
              </a:ext>
            </a:extLst>
          </p:cNvPr>
          <p:cNvSpPr>
            <a:spLocks noGrp="1"/>
          </p:cNvSpPr>
          <p:nvPr>
            <p:ph type="dt" sz="half" idx="10"/>
          </p:nvPr>
        </p:nvSpPr>
        <p:spPr>
          <a:xfrm>
            <a:off x="814650" y="6400379"/>
            <a:ext cx="3380278" cy="365125"/>
          </a:xfrm>
        </p:spPr>
        <p:txBody>
          <a:bodyPr/>
          <a:lstStyle/>
          <a:p>
            <a:fld id="{43C2B217-3A51-4A85-8101-C6759C006578}"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C123CCF4-76BA-41D3-AB60-16FE7A755F3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3ADB1FDA-AC7C-41A1-BD49-F4855AADC0C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1</a:t>
            </a:fld>
            <a:endParaRPr lang="es-ES" dirty="0"/>
          </a:p>
        </p:txBody>
      </p:sp>
      <p:graphicFrame>
        <p:nvGraphicFramePr>
          <p:cNvPr id="8" name="Marcador de contenido 7">
            <a:extLst>
              <a:ext uri="{FF2B5EF4-FFF2-40B4-BE49-F238E27FC236}">
                <a16:creationId xmlns:a16="http://schemas.microsoft.com/office/drawing/2014/main" id="{DBA94582-1D68-401C-ACF0-3829A0668943}"/>
              </a:ext>
            </a:extLst>
          </p:cNvPr>
          <p:cNvGraphicFramePr>
            <a:graphicFrameLocks noGrp="1"/>
          </p:cNvGraphicFramePr>
          <p:nvPr>
            <p:ph sz="half" idx="4294967295"/>
            <p:extLst>
              <p:ext uri="{D42A27DB-BD31-4B8C-83A1-F6EECF244321}">
                <p14:modId xmlns:p14="http://schemas.microsoft.com/office/powerpoint/2010/main" val="747664533"/>
              </p:ext>
            </p:extLst>
          </p:nvPr>
        </p:nvGraphicFramePr>
        <p:xfrm>
          <a:off x="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Tabla 9">
            <a:extLst>
              <a:ext uri="{FF2B5EF4-FFF2-40B4-BE49-F238E27FC236}">
                <a16:creationId xmlns:a16="http://schemas.microsoft.com/office/drawing/2014/main" id="{54B243EA-ED0C-4937-861A-5F6813F8464E}"/>
              </a:ext>
            </a:extLst>
          </p:cNvPr>
          <p:cNvGraphicFramePr>
            <a:graphicFrameLocks noGrp="1"/>
          </p:cNvGraphicFramePr>
          <p:nvPr/>
        </p:nvGraphicFramePr>
        <p:xfrm>
          <a:off x="838199" y="1741725"/>
          <a:ext cx="10529212" cy="4941357"/>
        </p:xfrm>
        <a:graphic>
          <a:graphicData uri="http://schemas.openxmlformats.org/drawingml/2006/table">
            <a:tbl>
              <a:tblPr firstRow="1" bandRow="1">
                <a:tableStyleId>{BC89EF96-8CEA-46FF-86C4-4CE0E7609802}</a:tableStyleId>
              </a:tblPr>
              <a:tblGrid>
                <a:gridCol w="5264606">
                  <a:extLst>
                    <a:ext uri="{9D8B030D-6E8A-4147-A177-3AD203B41FA5}">
                      <a16:colId xmlns:a16="http://schemas.microsoft.com/office/drawing/2014/main" val="3127524996"/>
                    </a:ext>
                  </a:extLst>
                </a:gridCol>
                <a:gridCol w="5264606">
                  <a:extLst>
                    <a:ext uri="{9D8B030D-6E8A-4147-A177-3AD203B41FA5}">
                      <a16:colId xmlns:a16="http://schemas.microsoft.com/office/drawing/2014/main" val="3059605108"/>
                    </a:ext>
                  </a:extLst>
                </a:gridCol>
              </a:tblGrid>
              <a:tr h="5641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Business Intelligence (BI)</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Big Data</a:t>
                      </a:r>
                    </a:p>
                  </a:txBody>
                  <a:tcPr anchor="ctr"/>
                </a:tc>
                <a:extLst>
                  <a:ext uri="{0D108BD9-81ED-4DB2-BD59-A6C34878D82A}">
                    <a16:rowId xmlns:a16="http://schemas.microsoft.com/office/drawing/2014/main" val="2643651268"/>
                  </a:ext>
                </a:extLst>
              </a:tr>
              <a:tr h="1002506">
                <a:tc>
                  <a:txBody>
                    <a:bodyPr/>
                    <a:lstStyle/>
                    <a:p>
                      <a:pPr lvl="0" algn="ctr"/>
                      <a:r>
                        <a:rPr lang="es-ES" dirty="0">
                          <a:latin typeface="Avenir LT Std 35 Light" panose="020B0402020203020204" pitchFamily="34" charset="0"/>
                        </a:rPr>
                        <a:t>Cubre la necesidad de entender el negocio a través de reporting </a:t>
                      </a:r>
                    </a:p>
                  </a:txBody>
                  <a:tcPr anchor="ctr"/>
                </a:tc>
                <a:tc>
                  <a:txBody>
                    <a:bodyPr/>
                    <a:lstStyle/>
                    <a:p>
                      <a:pPr lvl="0" algn="ctr"/>
                      <a:r>
                        <a:rPr lang="es-ES" dirty="0">
                          <a:latin typeface="Avenir LT Std 35 Light" panose="020B0402020203020204" pitchFamily="34" charset="0"/>
                        </a:rPr>
                        <a:t>Cubre la necesidad de entender el negocio y lo que le rodea y de prepararse para lo que podría ocurrir en un futuro</a:t>
                      </a:r>
                    </a:p>
                  </a:txBody>
                  <a:tcPr anchor="ctr"/>
                </a:tc>
                <a:extLst>
                  <a:ext uri="{0D108BD9-81ED-4DB2-BD59-A6C34878D82A}">
                    <a16:rowId xmlns:a16="http://schemas.microsoft.com/office/drawing/2014/main" val="3650074001"/>
                  </a:ext>
                </a:extLst>
              </a:tr>
              <a:tr h="406572">
                <a:tc>
                  <a:txBody>
                    <a:bodyPr/>
                    <a:lstStyle/>
                    <a:p>
                      <a:pPr lvl="0" algn="ctr"/>
                      <a:r>
                        <a:rPr lang="es-ES" dirty="0">
                          <a:latin typeface="Avenir LT Std 35 Light" panose="020B0402020203020204" pitchFamily="34" charset="0"/>
                        </a:rPr>
                        <a:t>Únicamente datos corporativos (dificultad externo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Datos corporativos y externos</a:t>
                      </a:r>
                    </a:p>
                  </a:txBody>
                  <a:tcPr anchor="ctr"/>
                </a:tc>
                <a:extLst>
                  <a:ext uri="{0D108BD9-81ED-4DB2-BD59-A6C34878D82A}">
                    <a16:rowId xmlns:a16="http://schemas.microsoft.com/office/drawing/2014/main" val="188536812"/>
                  </a:ext>
                </a:extLst>
              </a:tr>
              <a:tr h="701754">
                <a:tc>
                  <a:txBody>
                    <a:bodyPr/>
                    <a:lstStyle/>
                    <a:p>
                      <a:pPr lvl="0" algn="ctr"/>
                      <a:r>
                        <a:rPr lang="es-ES" dirty="0">
                          <a:latin typeface="Avenir LT Std 35 Light" panose="020B0402020203020204" pitchFamily="34" charset="0"/>
                        </a:rPr>
                        <a:t>Datos estructurados o semiestructurado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Datos estructurados, semiestructurados y/o desestructurados</a:t>
                      </a:r>
                    </a:p>
                  </a:txBody>
                  <a:tcPr anchor="ctr"/>
                </a:tc>
                <a:extLst>
                  <a:ext uri="{0D108BD9-81ED-4DB2-BD59-A6C34878D82A}">
                    <a16:rowId xmlns:a16="http://schemas.microsoft.com/office/drawing/2014/main" val="306289260"/>
                  </a:ext>
                </a:extLst>
              </a:tr>
              <a:tr h="406572">
                <a:tc>
                  <a:txBody>
                    <a:bodyPr/>
                    <a:lstStyle/>
                    <a:p>
                      <a:pPr lvl="0" algn="ctr"/>
                      <a:r>
                        <a:rPr lang="es-ES" dirty="0">
                          <a:latin typeface="Avenir LT Std 35 Light" panose="020B0402020203020204" pitchFamily="34" charset="0"/>
                        </a:rPr>
                        <a:t>Mayor coste</a:t>
                      </a:r>
                    </a:p>
                  </a:txBody>
                  <a:tcPr anchor="ctr"/>
                </a:tc>
                <a:tc>
                  <a:txBody>
                    <a:bodyPr/>
                    <a:lstStyle/>
                    <a:p>
                      <a:pPr lvl="0" algn="ctr"/>
                      <a:r>
                        <a:rPr lang="es-ES" dirty="0">
                          <a:latin typeface="Avenir LT Std 35 Light" panose="020B0402020203020204" pitchFamily="34" charset="0"/>
                        </a:rPr>
                        <a:t>Menor coste</a:t>
                      </a:r>
                    </a:p>
                  </a:txBody>
                  <a:tcPr anchor="ctr"/>
                </a:tc>
                <a:extLst>
                  <a:ext uri="{0D108BD9-81ED-4DB2-BD59-A6C34878D82A}">
                    <a16:rowId xmlns:a16="http://schemas.microsoft.com/office/drawing/2014/main" val="3308068746"/>
                  </a:ext>
                </a:extLst>
              </a:tr>
              <a:tr h="406572">
                <a:tc>
                  <a:txBody>
                    <a:bodyPr/>
                    <a:lstStyle/>
                    <a:p>
                      <a:pPr lvl="0" algn="ctr"/>
                      <a:r>
                        <a:rPr lang="es-ES" dirty="0">
                          <a:latin typeface="Avenir LT Std 35 Light" panose="020B0402020203020204" pitchFamily="34" charset="0"/>
                        </a:rPr>
                        <a:t>Menor flujo | Origen de Dato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Mayor flujo | Origen de datos </a:t>
                      </a:r>
                    </a:p>
                  </a:txBody>
                  <a:tcPr anchor="ctr"/>
                </a:tc>
                <a:extLst>
                  <a:ext uri="{0D108BD9-81ED-4DB2-BD59-A6C34878D82A}">
                    <a16:rowId xmlns:a16="http://schemas.microsoft.com/office/drawing/2014/main" val="1460256302"/>
                  </a:ext>
                </a:extLst>
              </a:tr>
              <a:tr h="406572">
                <a:tc>
                  <a:txBody>
                    <a:bodyPr/>
                    <a:lstStyle/>
                    <a:p>
                      <a:pPr lvl="0" algn="ctr"/>
                      <a:r>
                        <a:rPr lang="es-ES" dirty="0">
                          <a:latin typeface="Avenir LT Std 35 Light" panose="020B0402020203020204" pitchFamily="34" charset="0"/>
                        </a:rPr>
                        <a:t>Datawarehous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Datalake</a:t>
                      </a:r>
                    </a:p>
                  </a:txBody>
                  <a:tcPr anchor="ctr"/>
                </a:tc>
                <a:extLst>
                  <a:ext uri="{0D108BD9-81ED-4DB2-BD59-A6C34878D82A}">
                    <a16:rowId xmlns:a16="http://schemas.microsoft.com/office/drawing/2014/main" val="2458392751"/>
                  </a:ext>
                </a:extLst>
              </a:tr>
              <a:tr h="406572">
                <a:tc>
                  <a:txBody>
                    <a:bodyPr/>
                    <a:lstStyle/>
                    <a:p>
                      <a:pPr lvl="0" algn="ctr"/>
                      <a:r>
                        <a:rPr lang="es-ES" dirty="0">
                          <a:latin typeface="Avenir LT Std 35 Light" panose="020B0402020203020204" pitchFamily="34" charset="0"/>
                        </a:rPr>
                        <a:t>Diferido (D+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Tiempo Real (D+0)</a:t>
                      </a:r>
                    </a:p>
                  </a:txBody>
                  <a:tcPr anchor="ctr"/>
                </a:tc>
                <a:extLst>
                  <a:ext uri="{0D108BD9-81ED-4DB2-BD59-A6C34878D82A}">
                    <a16:rowId xmlns:a16="http://schemas.microsoft.com/office/drawing/2014/main" val="3327286388"/>
                  </a:ext>
                </a:extLst>
              </a:tr>
              <a:tr h="406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Menos escalabilida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latin typeface="Avenir LT Std 35 Light" panose="020B0402020203020204" pitchFamily="34" charset="0"/>
                        </a:rPr>
                        <a:t>Mayor escalabilidad</a:t>
                      </a:r>
                    </a:p>
                  </a:txBody>
                  <a:tcPr anchor="ctr"/>
                </a:tc>
                <a:extLst>
                  <a:ext uri="{0D108BD9-81ED-4DB2-BD59-A6C34878D82A}">
                    <a16:rowId xmlns:a16="http://schemas.microsoft.com/office/drawing/2014/main" val="3820948261"/>
                  </a:ext>
                </a:extLst>
              </a:tr>
            </a:tbl>
          </a:graphicData>
        </a:graphic>
      </p:graphicFrame>
      <p:pic>
        <p:nvPicPr>
          <p:cNvPr id="14" name="Imagen 7">
            <a:extLst>
              <a:ext uri="{FF2B5EF4-FFF2-40B4-BE49-F238E27FC236}">
                <a16:creationId xmlns:a16="http://schemas.microsoft.com/office/drawing/2014/main" id="{FEC8A1A9-8DBC-4DE4-B9C7-6CCD3A61F660}"/>
              </a:ext>
            </a:extLst>
          </p:cNvPr>
          <p:cNvPicPr/>
          <p:nvPr/>
        </p:nvPicPr>
        <p:blipFill>
          <a:blip r:embed="rId7">
            <a:extLst>
              <a:ext uri="{28A0092B-C50C-407E-A947-70E740481C1C}">
                <a14:useLocalDpi xmlns:a14="http://schemas.microsoft.com/office/drawing/2010/main" val="0"/>
              </a:ext>
            </a:extLst>
          </a:blip>
          <a:stretch>
            <a:fillRect/>
          </a:stretch>
        </p:blipFill>
        <p:spPr>
          <a:xfrm>
            <a:off x="13252" y="4267202"/>
            <a:ext cx="1948070" cy="1229485"/>
          </a:xfrm>
          <a:prstGeom prst="rect">
            <a:avLst/>
          </a:prstGeom>
          <a:ln>
            <a:noFill/>
          </a:ln>
        </p:spPr>
      </p:pic>
      <p:pic>
        <p:nvPicPr>
          <p:cNvPr id="15" name="Imagen 14">
            <a:extLst>
              <a:ext uri="{FF2B5EF4-FFF2-40B4-BE49-F238E27FC236}">
                <a16:creationId xmlns:a16="http://schemas.microsoft.com/office/drawing/2014/main" id="{A305EC92-7CD4-4C9F-A2B8-851A32DE8399}"/>
              </a:ext>
            </a:extLst>
          </p:cNvPr>
          <p:cNvPicPr/>
          <p:nvPr/>
        </p:nvPicPr>
        <p:blipFill>
          <a:blip r:embed="rId8">
            <a:extLst>
              <a:ext uri="{28A0092B-C50C-407E-A947-70E740481C1C}">
                <a14:useLocalDpi xmlns:a14="http://schemas.microsoft.com/office/drawing/2010/main" val="0"/>
              </a:ext>
            </a:extLst>
          </a:blip>
          <a:stretch>
            <a:fillRect/>
          </a:stretch>
        </p:blipFill>
        <p:spPr>
          <a:xfrm>
            <a:off x="10177669" y="4267202"/>
            <a:ext cx="1998481" cy="1229485"/>
          </a:xfrm>
          <a:prstGeom prst="rect">
            <a:avLst/>
          </a:prstGeom>
          <a:ln>
            <a:noFill/>
          </a:ln>
        </p:spPr>
      </p:pic>
    </p:spTree>
    <p:extLst>
      <p:ext uri="{BB962C8B-B14F-4D97-AF65-F5344CB8AC3E}">
        <p14:creationId xmlns:p14="http://schemas.microsoft.com/office/powerpoint/2010/main" val="33243877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628AD-5650-7FDB-D83E-64F467F33F38}"/>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12FCEE1-F48F-9A16-8756-2B80745CF114}"/>
              </a:ext>
            </a:extLst>
          </p:cNvPr>
          <p:cNvSpPr>
            <a:spLocks noGrp="1"/>
          </p:cNvSpPr>
          <p:nvPr>
            <p:ph type="title"/>
          </p:nvPr>
        </p:nvSpPr>
        <p:spPr>
          <a:xfrm>
            <a:off x="341194" y="3814618"/>
            <a:ext cx="4932769" cy="1876594"/>
          </a:xfrm>
        </p:spPr>
        <p:txBody>
          <a:bodyPr/>
          <a:lstStyle/>
          <a:p>
            <a:r>
              <a:rPr lang="es-ES" noProof="0" dirty="0"/>
              <a:t>Profundizando en la Inteligencia Artificial</a:t>
            </a:r>
          </a:p>
        </p:txBody>
      </p:sp>
      <p:pic>
        <p:nvPicPr>
          <p:cNvPr id="7" name="Marcador de posición de imagen 6">
            <a:extLst>
              <a:ext uri="{FF2B5EF4-FFF2-40B4-BE49-F238E27FC236}">
                <a16:creationId xmlns:a16="http://schemas.microsoft.com/office/drawing/2014/main" id="{38E57C9E-BAC4-4C9C-4162-40D2E8980A66}"/>
              </a:ext>
            </a:extLst>
          </p:cNvPr>
          <p:cNvPicPr>
            <a:picLocks noGrp="1" noChangeAspect="1"/>
          </p:cNvPicPr>
          <p:nvPr>
            <p:ph type="pic" sz="quarter" idx="13"/>
          </p:nvPr>
        </p:nvPicPr>
        <p:blipFill>
          <a:blip r:embed="rId2"/>
          <a:srcRect t="8046" b="8046"/>
          <a:stretch/>
        </p:blipFill>
        <p:spPr>
          <a:xfrm>
            <a:off x="340906" y="903288"/>
            <a:ext cx="4932769" cy="2759075"/>
          </a:xfrm>
        </p:spPr>
      </p:pic>
      <p:sp>
        <p:nvSpPr>
          <p:cNvPr id="3" name="Marcador de fecha 2">
            <a:extLst>
              <a:ext uri="{FF2B5EF4-FFF2-40B4-BE49-F238E27FC236}">
                <a16:creationId xmlns:a16="http://schemas.microsoft.com/office/drawing/2014/main" id="{B597FD88-C4B6-BC4C-361B-E352A2944232}"/>
              </a:ext>
            </a:extLst>
          </p:cNvPr>
          <p:cNvSpPr>
            <a:spLocks noGrp="1"/>
          </p:cNvSpPr>
          <p:nvPr>
            <p:ph type="dt" sz="half" idx="14"/>
          </p:nvPr>
        </p:nvSpPr>
        <p:spPr>
          <a:xfrm>
            <a:off x="814650" y="6400379"/>
            <a:ext cx="3380278" cy="365125"/>
          </a:xfrm>
        </p:spPr>
        <p:txBody>
          <a:bodyPr/>
          <a:lstStyle/>
          <a:p>
            <a:fld id="{DF9F1D78-B39A-418D-9E9C-C2EADE54FA74}"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E62D121-B238-0860-084C-9871C41B406E}"/>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4E224A4-4FC7-DD91-FF6D-C2F8D7F49FA9}"/>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42</a:t>
            </a:fld>
            <a:endParaRPr lang="es-ES" dirty="0"/>
          </a:p>
        </p:txBody>
      </p:sp>
    </p:spTree>
    <p:extLst>
      <p:ext uri="{BB962C8B-B14F-4D97-AF65-F5344CB8AC3E}">
        <p14:creationId xmlns:p14="http://schemas.microsoft.com/office/powerpoint/2010/main" val="202186545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9614A5-1C97-648E-C00A-211D356DE1D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613BCA9-BC2D-FF0F-76BF-5F19E4670909}"/>
              </a:ext>
            </a:extLst>
          </p:cNvPr>
          <p:cNvSpPr>
            <a:spLocks noGrp="1"/>
          </p:cNvSpPr>
          <p:nvPr>
            <p:ph type="title"/>
          </p:nvPr>
        </p:nvSpPr>
        <p:spPr>
          <a:xfrm>
            <a:off x="838200" y="365126"/>
            <a:ext cx="9840124" cy="1092200"/>
          </a:xfrm>
        </p:spPr>
        <p:txBody>
          <a:bodyPr/>
          <a:lstStyle/>
          <a:p>
            <a:r>
              <a:rPr lang="es-ES" noProof="0" dirty="0"/>
              <a:t>Historia = 1941 - 1966</a:t>
            </a:r>
          </a:p>
        </p:txBody>
      </p:sp>
      <p:graphicFrame>
        <p:nvGraphicFramePr>
          <p:cNvPr id="4" name="Marcador de contenido 3">
            <a:extLst>
              <a:ext uri="{FF2B5EF4-FFF2-40B4-BE49-F238E27FC236}">
                <a16:creationId xmlns:a16="http://schemas.microsoft.com/office/drawing/2014/main" id="{28622E48-EE8F-B995-6CA5-728703A082DA}"/>
              </a:ext>
            </a:extLst>
          </p:cNvPr>
          <p:cNvGraphicFramePr>
            <a:graphicFrameLocks noGrp="1"/>
          </p:cNvGraphicFramePr>
          <p:nvPr>
            <p:ph idx="1"/>
            <p:extLst>
              <p:ext uri="{D42A27DB-BD31-4B8C-83A1-F6EECF244321}">
                <p14:modId xmlns:p14="http://schemas.microsoft.com/office/powerpoint/2010/main" val="3250577134"/>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fecha 4">
            <a:extLst>
              <a:ext uri="{FF2B5EF4-FFF2-40B4-BE49-F238E27FC236}">
                <a16:creationId xmlns:a16="http://schemas.microsoft.com/office/drawing/2014/main" id="{BDD96D99-1E69-435F-831F-A3FA7AA54349}"/>
              </a:ext>
            </a:extLst>
          </p:cNvPr>
          <p:cNvSpPr>
            <a:spLocks noGrp="1"/>
          </p:cNvSpPr>
          <p:nvPr>
            <p:ph type="dt" sz="half" idx="10"/>
          </p:nvPr>
        </p:nvSpPr>
        <p:spPr>
          <a:xfrm>
            <a:off x="814650" y="6400379"/>
            <a:ext cx="3380278" cy="365125"/>
          </a:xfrm>
        </p:spPr>
        <p:txBody>
          <a:bodyPr/>
          <a:lstStyle/>
          <a:p>
            <a:fld id="{8CB261A5-BB8A-4F4C-A27D-52FDCCFD57DB}"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17D1EE0B-83B2-8BED-0BC0-3859190B8D3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64FAB62B-085E-F2BA-34CD-63EE3969FDA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3</a:t>
            </a:fld>
            <a:endParaRPr lang="es-ES" dirty="0"/>
          </a:p>
        </p:txBody>
      </p:sp>
    </p:spTree>
    <p:extLst>
      <p:ext uri="{BB962C8B-B14F-4D97-AF65-F5344CB8AC3E}">
        <p14:creationId xmlns:p14="http://schemas.microsoft.com/office/powerpoint/2010/main" val="163571896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36111E-5588-4508-660C-AE106233FECC}"/>
              </a:ext>
            </a:extLst>
          </p:cNvPr>
          <p:cNvSpPr>
            <a:spLocks noGrp="1"/>
          </p:cNvSpPr>
          <p:nvPr>
            <p:ph type="title"/>
          </p:nvPr>
        </p:nvSpPr>
        <p:spPr>
          <a:xfrm>
            <a:off x="838200" y="365126"/>
            <a:ext cx="9840124" cy="1092200"/>
          </a:xfrm>
        </p:spPr>
        <p:txBody>
          <a:bodyPr/>
          <a:lstStyle/>
          <a:p>
            <a:r>
              <a:rPr lang="es-ES" noProof="0" dirty="0"/>
              <a:t>Test de Touring</a:t>
            </a:r>
          </a:p>
        </p:txBody>
      </p:sp>
      <p:sp>
        <p:nvSpPr>
          <p:cNvPr id="3" name="Marcador de fecha 2">
            <a:extLst>
              <a:ext uri="{FF2B5EF4-FFF2-40B4-BE49-F238E27FC236}">
                <a16:creationId xmlns:a16="http://schemas.microsoft.com/office/drawing/2014/main" id="{90743261-81A9-FE74-C5B0-F21B13569EE8}"/>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7E382EB-CA6C-926A-85C2-E2D297E2418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008053B-1025-A0BF-1E89-B03C6F27093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4</a:t>
            </a:fld>
            <a:endParaRPr lang="es-ES" dirty="0"/>
          </a:p>
        </p:txBody>
      </p:sp>
      <p:sp>
        <p:nvSpPr>
          <p:cNvPr id="9" name="CuadroTexto 8">
            <a:extLst>
              <a:ext uri="{FF2B5EF4-FFF2-40B4-BE49-F238E27FC236}">
                <a16:creationId xmlns:a16="http://schemas.microsoft.com/office/drawing/2014/main" id="{F7E55063-65F6-EEB1-C7BE-B65D17768778}"/>
              </a:ext>
            </a:extLst>
          </p:cNvPr>
          <p:cNvSpPr txBox="1"/>
          <p:nvPr/>
        </p:nvSpPr>
        <p:spPr>
          <a:xfrm>
            <a:off x="2278909" y="2381837"/>
            <a:ext cx="7826245" cy="369332"/>
          </a:xfrm>
          <a:prstGeom prst="rect">
            <a:avLst/>
          </a:prstGeom>
          <a:noFill/>
        </p:spPr>
        <p:txBody>
          <a:bodyPr wrap="none">
            <a:spAutoFit/>
          </a:bodyPr>
          <a:lstStyle/>
          <a:p>
            <a:pPr lvl="0"/>
            <a:r>
              <a:rPr lang="es-ES" b="1" dirty="0"/>
              <a:t>Intervienen dos personas un interrogador y un contestador y una computadora. </a:t>
            </a:r>
          </a:p>
        </p:txBody>
      </p:sp>
      <p:pic>
        <p:nvPicPr>
          <p:cNvPr id="2058" name="Picture 10" descr="How the Turing Test Propelled AI Forward: A Look at Its Significance in the  Field. | by Shruti Gaikwad | Medium">
            <a:extLst>
              <a:ext uri="{FF2B5EF4-FFF2-40B4-BE49-F238E27FC236}">
                <a16:creationId xmlns:a16="http://schemas.microsoft.com/office/drawing/2014/main" id="{C550BCC2-C751-CEBF-0291-2AE752F440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2952" y="2974610"/>
            <a:ext cx="4899400" cy="3404441"/>
          </a:xfrm>
          <a:prstGeom prst="rect">
            <a:avLst/>
          </a:prstGeom>
          <a:noFill/>
          <a:extLst>
            <a:ext uri="{909E8E84-426E-40DD-AFC4-6F175D3DCCD1}">
              <a14:hiddenFill xmlns:a14="http://schemas.microsoft.com/office/drawing/2010/main">
                <a:solidFill>
                  <a:srgbClr val="FFFFFF"/>
                </a:solidFill>
              </a14:hiddenFill>
            </a:ext>
          </a:extLst>
        </p:spPr>
      </p:pic>
      <p:sp>
        <p:nvSpPr>
          <p:cNvPr id="20" name="CuadroTexto 19">
            <a:extLst>
              <a:ext uri="{FF2B5EF4-FFF2-40B4-BE49-F238E27FC236}">
                <a16:creationId xmlns:a16="http://schemas.microsoft.com/office/drawing/2014/main" id="{57DBD6AF-BF92-7425-2ADD-71A8C7CF4A9F}"/>
              </a:ext>
            </a:extLst>
          </p:cNvPr>
          <p:cNvSpPr txBox="1"/>
          <p:nvPr/>
        </p:nvSpPr>
        <p:spPr>
          <a:xfrm>
            <a:off x="7363553" y="3512235"/>
            <a:ext cx="4634307" cy="2616101"/>
          </a:xfrm>
          <a:prstGeom prst="rect">
            <a:avLst/>
          </a:prstGeom>
          <a:solidFill>
            <a:schemeClr val="bg1"/>
          </a:solidFill>
        </p:spPr>
        <p:txBody>
          <a:bodyPr wrap="square">
            <a:spAutoFit/>
          </a:bodyPr>
          <a:lstStyle/>
          <a:p>
            <a:pPr lvl="0">
              <a:spcAft>
                <a:spcPts val="800"/>
              </a:spcAft>
            </a:pPr>
            <a:r>
              <a:rPr lang="es-ES" dirty="0"/>
              <a:t>2 - Desde la otra sala contestan aleatoriamente la máquina o la otra persona.</a:t>
            </a:r>
          </a:p>
          <a:p>
            <a:pPr lvl="0">
              <a:spcAft>
                <a:spcPts val="800"/>
              </a:spcAft>
            </a:pPr>
            <a:r>
              <a:rPr lang="es-ES" dirty="0"/>
              <a:t>5 - Turing, señaló que una máquina podría fracasar y aún ser inteligente. </a:t>
            </a:r>
          </a:p>
          <a:p>
            <a:pPr lvl="0">
              <a:spcAft>
                <a:spcPts val="800"/>
              </a:spcAft>
            </a:pPr>
            <a:r>
              <a:rPr lang="es-ES" dirty="0"/>
              <a:t>6 - Predijo que las máquinas podrían superar la prueba a finales del siglo XX.</a:t>
            </a:r>
          </a:p>
          <a:p>
            <a:pPr lvl="0">
              <a:spcAft>
                <a:spcPts val="800"/>
              </a:spcAft>
            </a:pPr>
            <a:endParaRPr lang="es-ES" dirty="0"/>
          </a:p>
        </p:txBody>
      </p:sp>
      <p:sp>
        <p:nvSpPr>
          <p:cNvPr id="15" name="CuadroTexto 14">
            <a:extLst>
              <a:ext uri="{FF2B5EF4-FFF2-40B4-BE49-F238E27FC236}">
                <a16:creationId xmlns:a16="http://schemas.microsoft.com/office/drawing/2014/main" id="{F7E3D3F9-7D19-E2DD-9565-FA450E8B6E1D}"/>
              </a:ext>
            </a:extLst>
          </p:cNvPr>
          <p:cNvSpPr txBox="1"/>
          <p:nvPr/>
        </p:nvSpPr>
        <p:spPr>
          <a:xfrm>
            <a:off x="58816" y="2953281"/>
            <a:ext cx="3632151" cy="3447098"/>
          </a:xfrm>
          <a:prstGeom prst="rect">
            <a:avLst/>
          </a:prstGeom>
          <a:noFill/>
        </p:spPr>
        <p:txBody>
          <a:bodyPr wrap="square">
            <a:spAutoFit/>
          </a:bodyPr>
          <a:lstStyle/>
          <a:p>
            <a:pPr lvl="0">
              <a:spcAft>
                <a:spcPts val="800"/>
              </a:spcAft>
            </a:pPr>
            <a:r>
              <a:rPr lang="es-ES" dirty="0"/>
              <a:t>1 - El interrogador, se sienta en una sala y teclea preguntas</a:t>
            </a:r>
          </a:p>
          <a:p>
            <a:pPr lvl="0">
              <a:spcAft>
                <a:spcPts val="800"/>
              </a:spcAft>
            </a:pPr>
            <a:r>
              <a:rPr lang="es-ES" dirty="0"/>
              <a:t>3 - Cuando aparecen las respuestas, el interrogador intenta determinar si fueron hechas por la persona o por la computadora. </a:t>
            </a:r>
          </a:p>
          <a:p>
            <a:pPr lvl="0">
              <a:spcAft>
                <a:spcPts val="800"/>
              </a:spcAft>
            </a:pPr>
            <a:r>
              <a:rPr lang="es-ES" dirty="0"/>
              <a:t>4 - Si el interrogador es incapaz de determinar si habla con una máquina o con una persona, según Turing es inteligente. </a:t>
            </a:r>
          </a:p>
          <a:p>
            <a:pPr lvl="0">
              <a:spcAft>
                <a:spcPts val="800"/>
              </a:spcAft>
            </a:pPr>
            <a:endParaRPr lang="es-ES" dirty="0"/>
          </a:p>
        </p:txBody>
      </p:sp>
      <p:pic>
        <p:nvPicPr>
          <p:cNvPr id="2060" name="Picture 12" descr="Alan Turing at the Ratio Club | The Father of Computer Scien… | Flickr">
            <a:extLst>
              <a:ext uri="{FF2B5EF4-FFF2-40B4-BE49-F238E27FC236}">
                <a16:creationId xmlns:a16="http://schemas.microsoft.com/office/drawing/2014/main" id="{7EFA0FBF-B9C0-CC8F-F469-72D6D99AAC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7015" y="71401"/>
            <a:ext cx="1754505" cy="2355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89446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D3FEA-C7E5-1B9B-6F55-AF6DCB665E1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A3CDBAC-F7AE-541F-E98B-5E3306339273}"/>
              </a:ext>
            </a:extLst>
          </p:cNvPr>
          <p:cNvSpPr>
            <a:spLocks noGrp="1"/>
          </p:cNvSpPr>
          <p:nvPr>
            <p:ph type="title"/>
          </p:nvPr>
        </p:nvSpPr>
        <p:spPr>
          <a:xfrm>
            <a:off x="838200" y="365126"/>
            <a:ext cx="9840124" cy="1092200"/>
          </a:xfrm>
        </p:spPr>
        <p:txBody>
          <a:bodyPr/>
          <a:lstStyle/>
          <a:p>
            <a:r>
              <a:rPr lang="es-ES" noProof="0" dirty="0"/>
              <a:t>9 Junio 2014, Se consideró la primera prueba válida del Test de Turing</a:t>
            </a:r>
          </a:p>
        </p:txBody>
      </p:sp>
      <p:pic>
        <p:nvPicPr>
          <p:cNvPr id="19" name="Picture 4" descr="Inteligencia artificial supera tras 65 años Test de Turing">
            <a:extLst>
              <a:ext uri="{FF2B5EF4-FFF2-40B4-BE49-F238E27FC236}">
                <a16:creationId xmlns:a16="http://schemas.microsoft.com/office/drawing/2014/main" id="{6E9F70FA-A2FC-7643-34AF-90FFF4FFE449}"/>
              </a:ext>
            </a:extLst>
          </p:cNvPr>
          <p:cNvPicPr>
            <a:picLocks noGrp="1" noChangeAspect="1" noChangeArrowheads="1"/>
          </p:cNvPicPr>
          <p:nvPr>
            <p:ph type="pic" sz="quarter" idx="13"/>
          </p:nvPr>
        </p:nvPicPr>
        <p:blipFill rotWithShape="1">
          <a:blip r:embed="rId2">
            <a:extLst>
              <a:ext uri="{28A0092B-C50C-407E-A947-70E740481C1C}">
                <a14:useLocalDpi xmlns:a14="http://schemas.microsoft.com/office/drawing/2010/main" val="0"/>
              </a:ext>
            </a:extLst>
          </a:blip>
          <a:srcRect l="21797" r="21797"/>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sp>
        <p:nvSpPr>
          <p:cNvPr id="13" name="Marcador de contenido 12">
            <a:extLst>
              <a:ext uri="{FF2B5EF4-FFF2-40B4-BE49-F238E27FC236}">
                <a16:creationId xmlns:a16="http://schemas.microsoft.com/office/drawing/2014/main" id="{AA79FC2E-1ADD-5FEF-8568-A2AB3F32AA96}"/>
              </a:ext>
            </a:extLst>
          </p:cNvPr>
          <p:cNvSpPr>
            <a:spLocks noGrp="1"/>
          </p:cNvSpPr>
          <p:nvPr>
            <p:ph sz="quarter" idx="14"/>
          </p:nvPr>
        </p:nvSpPr>
        <p:spPr>
          <a:xfrm>
            <a:off x="3533775" y="1657350"/>
            <a:ext cx="7843838" cy="4457700"/>
          </a:xfrm>
        </p:spPr>
        <p:txBody>
          <a:bodyPr>
            <a:normAutofit/>
          </a:bodyPr>
          <a:lstStyle/>
          <a:p>
            <a:r>
              <a:rPr lang="es-ES" noProof="0" dirty="0"/>
              <a:t>Un programa, el chatbot Eugene Goostman AI, haciendose pasar por un niño ucraniano de 13 años, fue capaz de convencer al 33% de los jueces que participaron en la prueba en la Royal Society de Londres que chateaban con el niño.</a:t>
            </a:r>
          </a:p>
          <a:p>
            <a:r>
              <a:rPr lang="es-ES" noProof="0" dirty="0"/>
              <a:t>Éste respondía a preguntas sobre su infancia en Odessa, revelando su desdén por La guerra de las Galaxias o su pasión por las canciones de Eminem (en especial Stan y The Real Slim Shady).</a:t>
            </a:r>
          </a:p>
          <a:p>
            <a:endParaRPr lang="es-ES" noProof="0" dirty="0"/>
          </a:p>
        </p:txBody>
      </p:sp>
      <p:sp>
        <p:nvSpPr>
          <p:cNvPr id="3" name="Marcador de fecha 2">
            <a:extLst>
              <a:ext uri="{FF2B5EF4-FFF2-40B4-BE49-F238E27FC236}">
                <a16:creationId xmlns:a16="http://schemas.microsoft.com/office/drawing/2014/main" id="{2DDA1D66-593C-B198-92F9-B129A37323B4}"/>
              </a:ext>
            </a:extLst>
          </p:cNvPr>
          <p:cNvSpPr>
            <a:spLocks noGrp="1"/>
          </p:cNvSpPr>
          <p:nvPr>
            <p:ph type="dt" sz="half" idx="15"/>
          </p:nvPr>
        </p:nvSpPr>
        <p:spPr>
          <a:xfrm>
            <a:off x="814650" y="6400379"/>
            <a:ext cx="3380278" cy="365125"/>
          </a:xfrm>
        </p:spPr>
        <p:txBody>
          <a:bodyPr/>
          <a:lstStyle/>
          <a:p>
            <a:fld id="{560E125A-BA9B-4277-92C7-2B9B2360AF7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3BC7A88-7835-CE56-EA3F-3F274240699D}"/>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B75AE4C6-A1C6-71B7-69CD-7E8C3B3CCA24}"/>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45</a:t>
            </a:fld>
            <a:endParaRPr lang="es-ES" dirty="0"/>
          </a:p>
        </p:txBody>
      </p:sp>
    </p:spTree>
    <p:extLst>
      <p:ext uri="{BB962C8B-B14F-4D97-AF65-F5344CB8AC3E}">
        <p14:creationId xmlns:p14="http://schemas.microsoft.com/office/powerpoint/2010/main" val="74792910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44F5E-FAF6-5106-A18D-F73292807F1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B7BAF4E-7939-6697-4B74-44E52C36B8E7}"/>
              </a:ext>
            </a:extLst>
          </p:cNvPr>
          <p:cNvSpPr>
            <a:spLocks noGrp="1"/>
          </p:cNvSpPr>
          <p:nvPr>
            <p:ph type="title"/>
          </p:nvPr>
        </p:nvSpPr>
        <p:spPr>
          <a:xfrm>
            <a:off x="838200" y="365126"/>
            <a:ext cx="9840124" cy="1092200"/>
          </a:xfrm>
        </p:spPr>
        <p:txBody>
          <a:bodyPr>
            <a:normAutofit/>
          </a:bodyPr>
          <a:lstStyle/>
          <a:p>
            <a:r>
              <a:rPr lang="es-ES" noProof="0" dirty="0"/>
              <a:t>AI = Técnicas que permiten a una máquina imitar el razonamiento humano.</a:t>
            </a:r>
          </a:p>
        </p:txBody>
      </p:sp>
      <p:sp>
        <p:nvSpPr>
          <p:cNvPr id="4" name="Marcador de fecha 3">
            <a:extLst>
              <a:ext uri="{FF2B5EF4-FFF2-40B4-BE49-F238E27FC236}">
                <a16:creationId xmlns:a16="http://schemas.microsoft.com/office/drawing/2014/main" id="{FD29C529-4AA5-6123-7E2B-8A4017F6FC15}"/>
              </a:ext>
            </a:extLst>
          </p:cNvPr>
          <p:cNvSpPr>
            <a:spLocks noGrp="1"/>
          </p:cNvSpPr>
          <p:nvPr>
            <p:ph type="dt" sz="half" idx="10"/>
          </p:nvPr>
        </p:nvSpPr>
        <p:spPr>
          <a:xfrm>
            <a:off x="814650" y="6400379"/>
            <a:ext cx="3380278" cy="365125"/>
          </a:xfrm>
        </p:spPr>
        <p:txBody>
          <a:bodyPr/>
          <a:lstStyle/>
          <a:p>
            <a:fld id="{03C4F657-F0D6-4C33-B766-8B0BC75BA4E5}" type="datetime2">
              <a:rPr lang="es-ES" smtClean="0"/>
              <a:pPr/>
              <a:t>jueves, 19 de septiembre de 2024</a:t>
            </a:fld>
            <a:endParaRPr lang="es-ES" dirty="0"/>
          </a:p>
        </p:txBody>
      </p:sp>
      <p:sp>
        <p:nvSpPr>
          <p:cNvPr id="9" name="Marcador de pie de página 8">
            <a:extLst>
              <a:ext uri="{FF2B5EF4-FFF2-40B4-BE49-F238E27FC236}">
                <a16:creationId xmlns:a16="http://schemas.microsoft.com/office/drawing/2014/main" id="{42C1D181-4B76-4429-F999-88F710C787F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236CC488-4093-B07E-1135-AD9AB350F95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6</a:t>
            </a:fld>
            <a:endParaRPr lang="es-ES" dirty="0"/>
          </a:p>
        </p:txBody>
      </p:sp>
      <p:graphicFrame>
        <p:nvGraphicFramePr>
          <p:cNvPr id="3" name="Diagrama 2">
            <a:extLst>
              <a:ext uri="{FF2B5EF4-FFF2-40B4-BE49-F238E27FC236}">
                <a16:creationId xmlns:a16="http://schemas.microsoft.com/office/drawing/2014/main" id="{7B9404D2-FF0F-A253-1C98-D189CF2ED58F}"/>
              </a:ext>
            </a:extLst>
          </p:cNvPr>
          <p:cNvGraphicFramePr/>
          <p:nvPr/>
        </p:nvGraphicFramePr>
        <p:xfrm>
          <a:off x="543230" y="2261419"/>
          <a:ext cx="3832123" cy="38149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a 5">
            <a:extLst>
              <a:ext uri="{FF2B5EF4-FFF2-40B4-BE49-F238E27FC236}">
                <a16:creationId xmlns:a16="http://schemas.microsoft.com/office/drawing/2014/main" id="{06827540-6028-DDB2-FFC7-EA607D1C3769}"/>
              </a:ext>
            </a:extLst>
          </p:cNvPr>
          <p:cNvGraphicFramePr>
            <a:graphicFrameLocks noGrp="1"/>
          </p:cNvGraphicFramePr>
          <p:nvPr/>
        </p:nvGraphicFramePr>
        <p:xfrm>
          <a:off x="4670323" y="2153264"/>
          <a:ext cx="6885858" cy="4186080"/>
        </p:xfrm>
        <a:graphic>
          <a:graphicData uri="http://schemas.openxmlformats.org/drawingml/2006/table">
            <a:tbl>
              <a:tblPr firstCol="1" bandRow="1">
                <a:tableStyleId>{616DA210-FB5B-4158-B5E0-FEB733F419BA}</a:tableStyleId>
              </a:tblPr>
              <a:tblGrid>
                <a:gridCol w="3442929">
                  <a:extLst>
                    <a:ext uri="{9D8B030D-6E8A-4147-A177-3AD203B41FA5}">
                      <a16:colId xmlns:a16="http://schemas.microsoft.com/office/drawing/2014/main" val="3318249280"/>
                    </a:ext>
                  </a:extLst>
                </a:gridCol>
                <a:gridCol w="3442929">
                  <a:extLst>
                    <a:ext uri="{9D8B030D-6E8A-4147-A177-3AD203B41FA5}">
                      <a16:colId xmlns:a16="http://schemas.microsoft.com/office/drawing/2014/main" val="701032314"/>
                    </a:ext>
                  </a:extLst>
                </a:gridCol>
              </a:tblGrid>
              <a:tr h="12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noProof="0" dirty="0"/>
                        <a:t>Usa largas series de: Si esto, entonces aquello</a:t>
                      </a:r>
                    </a:p>
                  </a:txBody>
                  <a:tcPr anchor="ctr"/>
                </a:tc>
                <a:tc>
                  <a:txBody>
                    <a:bodyPr/>
                    <a:lstStyle/>
                    <a:p>
                      <a:r>
                        <a:rPr lang="es-ES" dirty="0"/>
                        <a:t>El Data Scientist programa… tediosamente</a:t>
                      </a:r>
                    </a:p>
                  </a:txBody>
                  <a:tcPr anchor="ctr"/>
                </a:tc>
                <a:extLst>
                  <a:ext uri="{0D108BD9-81ED-4DB2-BD59-A6C34878D82A}">
                    <a16:rowId xmlns:a16="http://schemas.microsoft.com/office/drawing/2014/main" val="4169563700"/>
                  </a:ext>
                </a:extLst>
              </a:tr>
              <a:tr h="12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noProof="0" dirty="0"/>
                        <a:t>Usa algoritmo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noProof="0" dirty="0"/>
                        <a:t>El Data Scientist «entrena» a las máquinas para reconocer patrones basados en datos y en base a ellos, hacer sus predicciones.</a:t>
                      </a:r>
                    </a:p>
                  </a:txBody>
                  <a:tcPr anchor="ctr"/>
                </a:tc>
                <a:extLst>
                  <a:ext uri="{0D108BD9-81ED-4DB2-BD59-A6C34878D82A}">
                    <a16:rowId xmlns:a16="http://schemas.microsoft.com/office/drawing/2014/main" val="3632432586"/>
                  </a:ext>
                </a:extLst>
              </a:tr>
              <a:tr h="12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noProof="0" dirty="0"/>
                        <a:t>Usa redes neuronales profundas para capturar patrones en datos no estructurados y de alta dimensionalidad</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noProof="0" dirty="0"/>
                        <a:t>La máquina es capaz de razonar y sacar sus propias conclusio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noProof="0" dirty="0"/>
                        <a:t>La máquina se entrena a sí misma.</a:t>
                      </a:r>
                    </a:p>
                  </a:txBody>
                  <a:tcPr anchor="ctr"/>
                </a:tc>
                <a:extLst>
                  <a:ext uri="{0D108BD9-81ED-4DB2-BD59-A6C34878D82A}">
                    <a16:rowId xmlns:a16="http://schemas.microsoft.com/office/drawing/2014/main" val="971767188"/>
                  </a:ext>
                </a:extLst>
              </a:tr>
            </a:tbl>
          </a:graphicData>
        </a:graphic>
      </p:graphicFrame>
      <p:sp>
        <p:nvSpPr>
          <p:cNvPr id="6" name="Rectángulo 5" descr="Head with Gears">
            <a:extLst>
              <a:ext uri="{FF2B5EF4-FFF2-40B4-BE49-F238E27FC236}">
                <a16:creationId xmlns:a16="http://schemas.microsoft.com/office/drawing/2014/main" id="{AFCF37C6-3920-5F94-0608-AD65449393D4}"/>
              </a:ext>
            </a:extLst>
          </p:cNvPr>
          <p:cNvSpPr/>
          <p:nvPr/>
        </p:nvSpPr>
        <p:spPr>
          <a:xfrm>
            <a:off x="3546989" y="2153264"/>
            <a:ext cx="1097489" cy="1097489"/>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s-ES" dirty="0"/>
          </a:p>
        </p:txBody>
      </p:sp>
      <p:sp>
        <p:nvSpPr>
          <p:cNvPr id="7" name="Rectángulo 6" descr="Robot">
            <a:extLst>
              <a:ext uri="{FF2B5EF4-FFF2-40B4-BE49-F238E27FC236}">
                <a16:creationId xmlns:a16="http://schemas.microsoft.com/office/drawing/2014/main" id="{3A7A3E2C-AAE0-F3E2-1FB8-896F26CACF26}"/>
              </a:ext>
            </a:extLst>
          </p:cNvPr>
          <p:cNvSpPr/>
          <p:nvPr/>
        </p:nvSpPr>
        <p:spPr>
          <a:xfrm>
            <a:off x="3546989" y="3429000"/>
            <a:ext cx="1097489" cy="1097489"/>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s-ES" dirty="0"/>
          </a:p>
        </p:txBody>
      </p:sp>
      <p:sp>
        <p:nvSpPr>
          <p:cNvPr id="8" name="Rectángulo 7" descr="Procesador">
            <a:extLst>
              <a:ext uri="{FF2B5EF4-FFF2-40B4-BE49-F238E27FC236}">
                <a16:creationId xmlns:a16="http://schemas.microsoft.com/office/drawing/2014/main" id="{D78B06C3-FEE6-EA19-344C-997FA6C58D44}"/>
              </a:ext>
            </a:extLst>
          </p:cNvPr>
          <p:cNvSpPr/>
          <p:nvPr/>
        </p:nvSpPr>
        <p:spPr>
          <a:xfrm>
            <a:off x="3546989" y="4836875"/>
            <a:ext cx="1097489" cy="1097489"/>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s-ES" dirty="0"/>
          </a:p>
        </p:txBody>
      </p:sp>
    </p:spTree>
    <p:extLst>
      <p:ext uri="{BB962C8B-B14F-4D97-AF65-F5344CB8AC3E}">
        <p14:creationId xmlns:p14="http://schemas.microsoft.com/office/powerpoint/2010/main" val="259767683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27200-C912-5D6C-BDAE-5172E675271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4821783-DAC9-AA6A-B399-EE346F068A4E}"/>
              </a:ext>
            </a:extLst>
          </p:cNvPr>
          <p:cNvSpPr>
            <a:spLocks noGrp="1"/>
          </p:cNvSpPr>
          <p:nvPr>
            <p:ph type="title"/>
          </p:nvPr>
        </p:nvSpPr>
        <p:spPr>
          <a:xfrm>
            <a:off x="838200" y="365126"/>
            <a:ext cx="9840124" cy="1092200"/>
          </a:xfrm>
        </p:spPr>
        <p:txBody>
          <a:bodyPr>
            <a:normAutofit/>
          </a:bodyPr>
          <a:lstStyle/>
          <a:p>
            <a:r>
              <a:rPr lang="es-ES" noProof="0" dirty="0"/>
              <a:t>AI (Inteligencia Artificial) “vs”ML (Machine Learning) “vs” Deep Learning</a:t>
            </a:r>
          </a:p>
        </p:txBody>
      </p:sp>
      <p:sp>
        <p:nvSpPr>
          <p:cNvPr id="3" name="Marcador de fecha 2">
            <a:extLst>
              <a:ext uri="{FF2B5EF4-FFF2-40B4-BE49-F238E27FC236}">
                <a16:creationId xmlns:a16="http://schemas.microsoft.com/office/drawing/2014/main" id="{DBE2C884-0009-3533-9791-0CC5C80BD735}"/>
              </a:ext>
            </a:extLst>
          </p:cNvPr>
          <p:cNvSpPr>
            <a:spLocks noGrp="1"/>
          </p:cNvSpPr>
          <p:nvPr>
            <p:ph type="dt" sz="half" idx="10"/>
          </p:nvPr>
        </p:nvSpPr>
        <p:spPr>
          <a:xfrm>
            <a:off x="814650" y="6400379"/>
            <a:ext cx="3380278" cy="365125"/>
          </a:xfrm>
        </p:spPr>
        <p:txBody>
          <a:bodyPr/>
          <a:lstStyle/>
          <a:p>
            <a:fld id="{8F9A3998-EBF3-4735-8CDD-DEB2926B4571}"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F223BC60-759C-EB60-4B8C-16F516E2622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1E6C8BB-FBCE-8E50-EECA-7B0BC392A91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7</a:t>
            </a:fld>
            <a:endParaRPr lang="es-ES" dirty="0"/>
          </a:p>
        </p:txBody>
      </p:sp>
      <p:graphicFrame>
        <p:nvGraphicFramePr>
          <p:cNvPr id="7" name="Diagrama 6">
            <a:extLst>
              <a:ext uri="{FF2B5EF4-FFF2-40B4-BE49-F238E27FC236}">
                <a16:creationId xmlns:a16="http://schemas.microsoft.com/office/drawing/2014/main" id="{996E7791-D0D1-4943-E7C0-053348AE0475}"/>
              </a:ext>
            </a:extLst>
          </p:cNvPr>
          <p:cNvGraphicFramePr/>
          <p:nvPr/>
        </p:nvGraphicFramePr>
        <p:xfrm>
          <a:off x="838199" y="1337186"/>
          <a:ext cx="10842523" cy="514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1284927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283B5-C2EE-76C4-C1E1-0CE896B04F9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521A5B7-6C16-4DA6-4AC4-AAFB4F6CF1AE}"/>
              </a:ext>
            </a:extLst>
          </p:cNvPr>
          <p:cNvSpPr>
            <a:spLocks noGrp="1"/>
          </p:cNvSpPr>
          <p:nvPr>
            <p:ph type="title"/>
          </p:nvPr>
        </p:nvSpPr>
        <p:spPr>
          <a:xfrm>
            <a:off x="838200" y="365126"/>
            <a:ext cx="9840124" cy="1092200"/>
          </a:xfrm>
        </p:spPr>
        <p:txBody>
          <a:bodyPr>
            <a:noAutofit/>
          </a:bodyPr>
          <a:lstStyle/>
          <a:p>
            <a:r>
              <a:rPr lang="es-ES" noProof="0" dirty="0"/>
              <a:t>Redes neuronales artificiales (RNA): Sistemas cuyo funcionamiento imita a las redes neuronales biológicas, responsables del aprendizaje</a:t>
            </a:r>
          </a:p>
        </p:txBody>
      </p:sp>
      <p:sp>
        <p:nvSpPr>
          <p:cNvPr id="3" name="Marcador de fecha 2">
            <a:extLst>
              <a:ext uri="{FF2B5EF4-FFF2-40B4-BE49-F238E27FC236}">
                <a16:creationId xmlns:a16="http://schemas.microsoft.com/office/drawing/2014/main" id="{FD8CF1C1-F91B-B76E-2E57-8D860CBBCC95}"/>
              </a:ext>
            </a:extLst>
          </p:cNvPr>
          <p:cNvSpPr>
            <a:spLocks noGrp="1"/>
          </p:cNvSpPr>
          <p:nvPr>
            <p:ph type="dt" sz="half" idx="10"/>
          </p:nvPr>
        </p:nvSpPr>
        <p:spPr>
          <a:xfrm>
            <a:off x="814650" y="6400379"/>
            <a:ext cx="3380278" cy="365125"/>
          </a:xfrm>
        </p:spPr>
        <p:txBody>
          <a:bodyPr/>
          <a:lstStyle/>
          <a:p>
            <a:fld id="{CD30280F-E6C5-4B91-9592-535BAD1ECCCB}"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E8782501-611B-4AFC-86ED-42F502CE1C2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3" name="Marcador de número de diapositiva 12">
            <a:extLst>
              <a:ext uri="{FF2B5EF4-FFF2-40B4-BE49-F238E27FC236}">
                <a16:creationId xmlns:a16="http://schemas.microsoft.com/office/drawing/2014/main" id="{5D583E83-7E6C-0D6D-AD5C-E11AC3E4814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8</a:t>
            </a:fld>
            <a:endParaRPr lang="es-ES" dirty="0"/>
          </a:p>
        </p:txBody>
      </p:sp>
      <p:pic>
        <p:nvPicPr>
          <p:cNvPr id="4" name="Imagen 3">
            <a:hlinkClick r:id="rId2" action="ppaction://hlinksldjump"/>
            <a:extLst>
              <a:ext uri="{FF2B5EF4-FFF2-40B4-BE49-F238E27FC236}">
                <a16:creationId xmlns:a16="http://schemas.microsoft.com/office/drawing/2014/main" id="{3E747E7C-860B-5BF5-06BB-75CBD0C3E8E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42265" y="2353727"/>
            <a:ext cx="4740551" cy="3807984"/>
          </a:xfrm>
          <a:prstGeom prst="rect">
            <a:avLst/>
          </a:prstGeom>
        </p:spPr>
      </p:pic>
      <p:sp>
        <p:nvSpPr>
          <p:cNvPr id="6" name="Globo: línea 5">
            <a:extLst>
              <a:ext uri="{FF2B5EF4-FFF2-40B4-BE49-F238E27FC236}">
                <a16:creationId xmlns:a16="http://schemas.microsoft.com/office/drawing/2014/main" id="{411D3E41-4DC0-7E14-B896-4139F46C9998}"/>
              </a:ext>
            </a:extLst>
          </p:cNvPr>
          <p:cNvSpPr/>
          <p:nvPr/>
        </p:nvSpPr>
        <p:spPr>
          <a:xfrm>
            <a:off x="668593" y="2353727"/>
            <a:ext cx="1376516" cy="772935"/>
          </a:xfrm>
          <a:prstGeom prst="borderCallout1">
            <a:avLst>
              <a:gd name="adj1" fmla="val 44191"/>
              <a:gd name="adj2" fmla="val 98096"/>
              <a:gd name="adj3" fmla="val 83243"/>
              <a:gd name="adj4" fmla="val 204524"/>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rgbClr val="002060"/>
                </a:solidFill>
              </a:rPr>
              <a:t>Capa de entrada o Sensorial</a:t>
            </a:r>
          </a:p>
        </p:txBody>
      </p:sp>
      <p:sp>
        <p:nvSpPr>
          <p:cNvPr id="7" name="Globo: línea 6">
            <a:extLst>
              <a:ext uri="{FF2B5EF4-FFF2-40B4-BE49-F238E27FC236}">
                <a16:creationId xmlns:a16="http://schemas.microsoft.com/office/drawing/2014/main" id="{0BFEA7DB-A4CB-6E61-F268-C27DE838ACD9}"/>
              </a:ext>
            </a:extLst>
          </p:cNvPr>
          <p:cNvSpPr/>
          <p:nvPr/>
        </p:nvSpPr>
        <p:spPr>
          <a:xfrm>
            <a:off x="4560540" y="1740179"/>
            <a:ext cx="2304000" cy="468000"/>
          </a:xfrm>
          <a:prstGeom prst="borderCallout1">
            <a:avLst>
              <a:gd name="adj1" fmla="val 167352"/>
              <a:gd name="adj2" fmla="val 42383"/>
              <a:gd name="adj3" fmla="val 99780"/>
              <a:gd name="adj4" fmla="val 50953"/>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rgbClr val="002060"/>
                </a:solidFill>
              </a:rPr>
              <a:t>“n” Capas ciegas</a:t>
            </a:r>
          </a:p>
        </p:txBody>
      </p:sp>
      <p:sp>
        <p:nvSpPr>
          <p:cNvPr id="8" name="Rectángulo 7">
            <a:extLst>
              <a:ext uri="{FF2B5EF4-FFF2-40B4-BE49-F238E27FC236}">
                <a16:creationId xmlns:a16="http://schemas.microsoft.com/office/drawing/2014/main" id="{6B9C6B95-D15A-8D3D-7082-E0D58CAA0478}"/>
              </a:ext>
            </a:extLst>
          </p:cNvPr>
          <p:cNvSpPr/>
          <p:nvPr/>
        </p:nvSpPr>
        <p:spPr>
          <a:xfrm>
            <a:off x="4632540" y="1743997"/>
            <a:ext cx="2160000" cy="46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n” Capas de refino</a:t>
            </a:r>
          </a:p>
        </p:txBody>
      </p:sp>
      <p:sp>
        <p:nvSpPr>
          <p:cNvPr id="9" name="Globo: línea 8">
            <a:extLst>
              <a:ext uri="{FF2B5EF4-FFF2-40B4-BE49-F238E27FC236}">
                <a16:creationId xmlns:a16="http://schemas.microsoft.com/office/drawing/2014/main" id="{8B3BC767-3B78-5521-74AF-E54C8D8BD879}"/>
              </a:ext>
            </a:extLst>
          </p:cNvPr>
          <p:cNvSpPr/>
          <p:nvPr/>
        </p:nvSpPr>
        <p:spPr>
          <a:xfrm>
            <a:off x="8165691" y="2353727"/>
            <a:ext cx="1376516" cy="772935"/>
          </a:xfrm>
          <a:prstGeom prst="borderCallout1">
            <a:avLst>
              <a:gd name="adj1" fmla="val 198112"/>
              <a:gd name="adj2" fmla="val -25475"/>
              <a:gd name="adj3" fmla="val 53985"/>
              <a:gd name="adj4" fmla="val 953"/>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rgbClr val="002060"/>
                </a:solidFill>
              </a:rPr>
              <a:t>Capa de Salida o resultado</a:t>
            </a:r>
          </a:p>
        </p:txBody>
      </p:sp>
      <p:sp>
        <p:nvSpPr>
          <p:cNvPr id="10" name="Elipse 9">
            <a:hlinkClick r:id="rId4" action="ppaction://hlinksldjump"/>
            <a:extLst>
              <a:ext uri="{FF2B5EF4-FFF2-40B4-BE49-F238E27FC236}">
                <a16:creationId xmlns:a16="http://schemas.microsoft.com/office/drawing/2014/main" id="{357057D2-13B7-C0C5-A344-BEBBFF475034}"/>
              </a:ext>
            </a:extLst>
          </p:cNvPr>
          <p:cNvSpPr/>
          <p:nvPr/>
        </p:nvSpPr>
        <p:spPr>
          <a:xfrm>
            <a:off x="103238" y="3884094"/>
            <a:ext cx="265471" cy="285135"/>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3816C1A0-E683-0B01-3AE1-05171DA068A9}"/>
              </a:ext>
            </a:extLst>
          </p:cNvPr>
          <p:cNvSpPr txBox="1"/>
          <p:nvPr/>
        </p:nvSpPr>
        <p:spPr>
          <a:xfrm>
            <a:off x="0" y="4119720"/>
            <a:ext cx="3421628" cy="1754326"/>
          </a:xfrm>
          <a:prstGeom prst="rect">
            <a:avLst/>
          </a:prstGeom>
          <a:noFill/>
        </p:spPr>
        <p:txBody>
          <a:bodyPr wrap="square" rtlCol="0">
            <a:spAutoFit/>
          </a:bodyPr>
          <a:lstStyle/>
          <a:p>
            <a:r>
              <a:rPr lang="es-ES" b="1" dirty="0"/>
              <a:t>Neurona</a:t>
            </a:r>
          </a:p>
          <a:p>
            <a:pPr marL="285750" indent="-285750">
              <a:buFont typeface="Arial" panose="020B0604020202020204" pitchFamily="34" charset="0"/>
              <a:buChar char="•"/>
            </a:pPr>
            <a:r>
              <a:rPr lang="es-ES" dirty="0"/>
              <a:t>Puede adoptar infinitos valores [-∞, +∞]</a:t>
            </a:r>
          </a:p>
          <a:p>
            <a:pPr marL="285750" indent="-285750">
              <a:buFont typeface="Arial" panose="020B0604020202020204" pitchFamily="34" charset="0"/>
              <a:buChar char="•"/>
            </a:pPr>
            <a:r>
              <a:rPr lang="es-ES" dirty="0"/>
              <a:t>Para hacerlos tratables aplicamos algoritmos de aplanamiento</a:t>
            </a:r>
          </a:p>
        </p:txBody>
      </p:sp>
      <p:sp>
        <p:nvSpPr>
          <p:cNvPr id="12" name="Flecha: a la derecha con bandas 11">
            <a:hlinkClick r:id="rId5" action="ppaction://hlinksldjump"/>
            <a:extLst>
              <a:ext uri="{FF2B5EF4-FFF2-40B4-BE49-F238E27FC236}">
                <a16:creationId xmlns:a16="http://schemas.microsoft.com/office/drawing/2014/main" id="{46527867-EB22-3A08-C69F-18695C10934E}"/>
              </a:ext>
            </a:extLst>
          </p:cNvPr>
          <p:cNvSpPr/>
          <p:nvPr/>
        </p:nvSpPr>
        <p:spPr>
          <a:xfrm>
            <a:off x="3411792" y="5942872"/>
            <a:ext cx="4671024" cy="631795"/>
          </a:xfrm>
          <a:prstGeom prst="striped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rgbClr val="002060"/>
                </a:solidFill>
              </a:rPr>
              <a:t>Algoritmo</a:t>
            </a:r>
          </a:p>
        </p:txBody>
      </p:sp>
      <p:sp>
        <p:nvSpPr>
          <p:cNvPr id="14" name="Marcador de contenido 4">
            <a:extLst>
              <a:ext uri="{FF2B5EF4-FFF2-40B4-BE49-F238E27FC236}">
                <a16:creationId xmlns:a16="http://schemas.microsoft.com/office/drawing/2014/main" id="{18CBF352-2905-6D4C-C672-82020C40D4E0}"/>
              </a:ext>
            </a:extLst>
          </p:cNvPr>
          <p:cNvSpPr txBox="1">
            <a:spLocks/>
          </p:cNvSpPr>
          <p:nvPr/>
        </p:nvSpPr>
        <p:spPr>
          <a:xfrm>
            <a:off x="7924800" y="3700478"/>
            <a:ext cx="4163962" cy="227442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1200"/>
              </a:spcAft>
              <a:buClr>
                <a:schemeClr val="accent1">
                  <a:lumMod val="75000"/>
                </a:schemeClr>
              </a:buClr>
              <a:buFont typeface="Arial" panose="020B0604020202020204" pitchFamily="34" charset="0"/>
              <a:buNone/>
              <a:defRPr sz="2400" kern="1200">
                <a:solidFill>
                  <a:srgbClr val="0070C0"/>
                </a:solidFill>
                <a:latin typeface="+mn-lt"/>
                <a:ea typeface="+mn-ea"/>
                <a:cs typeface="+mn-cs"/>
              </a:defRPr>
            </a:lvl1pPr>
            <a:lvl2pPr marL="541338" indent="-228600" algn="l" defTabSz="914400" rtl="0" eaLnBrk="1" latinLnBrk="0" hangingPunct="1">
              <a:lnSpc>
                <a:spcPct val="90000"/>
              </a:lnSpc>
              <a:spcBef>
                <a:spcPts val="500"/>
              </a:spcBef>
              <a:buClr>
                <a:schemeClr val="accent1">
                  <a:lumMod val="75000"/>
                </a:schemeClr>
              </a:buClr>
              <a:buFont typeface="Arial" panose="020B0604020202020204" pitchFamily="34" charset="0"/>
              <a:buChar char="•"/>
              <a:defRPr sz="2000" kern="1200">
                <a:solidFill>
                  <a:schemeClr val="tx1"/>
                </a:solidFill>
                <a:latin typeface="+mn-lt"/>
                <a:ea typeface="+mn-ea"/>
                <a:cs typeface="+mn-cs"/>
              </a:defRPr>
            </a:lvl2pPr>
            <a:lvl3pPr marL="801688" indent="-268288" algn="l" defTabSz="914400" rtl="0" eaLnBrk="1" latinLnBrk="0" hangingPunct="1">
              <a:lnSpc>
                <a:spcPct val="90000"/>
              </a:lnSpc>
              <a:spcBef>
                <a:spcPts val="500"/>
              </a:spcBef>
              <a:buClr>
                <a:schemeClr val="accent1">
                  <a:lumMod val="75000"/>
                </a:schemeClr>
              </a:buClr>
              <a:buSzPct val="50000"/>
              <a:buFont typeface="Courier New" panose="02070309020205020404" pitchFamily="49" charset="0"/>
              <a:buChar char="o"/>
              <a:defRPr sz="1800" kern="1200">
                <a:solidFill>
                  <a:schemeClr val="tx1"/>
                </a:solidFill>
                <a:latin typeface="+mn-lt"/>
                <a:ea typeface="+mn-ea"/>
                <a:cs typeface="+mn-cs"/>
              </a:defRPr>
            </a:lvl3pPr>
            <a:lvl4pPr marL="1073150" indent="-228600" algn="l" defTabSz="914400" rtl="0" eaLnBrk="1" latinLnBrk="0" hangingPunct="1">
              <a:lnSpc>
                <a:spcPct val="90000"/>
              </a:lnSpc>
              <a:spcBef>
                <a:spcPts val="500"/>
              </a:spcBef>
              <a:buClr>
                <a:schemeClr val="accent1">
                  <a:lumMod val="75000"/>
                </a:schemeClr>
              </a:buClr>
              <a:buFont typeface="Arial" panose="020B0604020202020204" pitchFamily="34" charset="0"/>
              <a:buChar char="•"/>
              <a:defRPr sz="1600" kern="1200">
                <a:solidFill>
                  <a:schemeClr val="tx1"/>
                </a:solidFill>
                <a:latin typeface="+mn-lt"/>
                <a:ea typeface="+mn-ea"/>
                <a:cs typeface="+mn-cs"/>
              </a:defRPr>
            </a:lvl4pPr>
            <a:lvl5pPr marL="1343025" indent="-228600" algn="l" defTabSz="914400" rtl="0" eaLnBrk="1" latinLnBrk="0" hangingPunct="1">
              <a:lnSpc>
                <a:spcPct val="90000"/>
              </a:lnSpc>
              <a:spcBef>
                <a:spcPts val="500"/>
              </a:spcBef>
              <a:buClr>
                <a:schemeClr val="accent1">
                  <a:lumMod val="75000"/>
                </a:schemeClr>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rgbClr val="C00000"/>
              </a:buClr>
              <a:buFont typeface="Arial" panose="020B0604020202020204" pitchFamily="34" charset="0"/>
              <a:buChar char="•"/>
            </a:pPr>
            <a:r>
              <a:rPr lang="es-ES" sz="1600" dirty="0">
                <a:solidFill>
                  <a:srgbClr val="002060"/>
                </a:solidFill>
              </a:rPr>
              <a:t>Las redes neuronales artificiales funcionan a través de capas de neuronas. </a:t>
            </a:r>
          </a:p>
          <a:p>
            <a:pPr marL="285750" indent="-285750">
              <a:buClr>
                <a:srgbClr val="C00000"/>
              </a:buClr>
              <a:buFont typeface="Arial" panose="020B0604020202020204" pitchFamily="34" charset="0"/>
              <a:buChar char="•"/>
            </a:pPr>
            <a:r>
              <a:rPr lang="es-ES" sz="1600" dirty="0">
                <a:solidFill>
                  <a:srgbClr val="002060"/>
                </a:solidFill>
              </a:rPr>
              <a:t>Cuanto más capas existan, más profunda es una red y más capacidad de aprendizaje y de procesamiento desarrolla. </a:t>
            </a:r>
          </a:p>
          <a:p>
            <a:pPr marL="285750" indent="-285750">
              <a:buClr>
                <a:srgbClr val="C00000"/>
              </a:buClr>
              <a:buFont typeface="Arial" panose="020B0604020202020204" pitchFamily="34" charset="0"/>
              <a:buChar char="•"/>
            </a:pPr>
            <a:r>
              <a:rPr lang="es-ES" sz="1600" dirty="0">
                <a:solidFill>
                  <a:srgbClr val="002060"/>
                </a:solidFill>
              </a:rPr>
              <a:t>A mayor cantidad de capas, mayor es la complejidad de los conceptos que una Red Neuronal puede aprender.</a:t>
            </a:r>
          </a:p>
        </p:txBody>
      </p:sp>
    </p:spTree>
    <p:extLst>
      <p:ext uri="{BB962C8B-B14F-4D97-AF65-F5344CB8AC3E}">
        <p14:creationId xmlns:p14="http://schemas.microsoft.com/office/powerpoint/2010/main" val="395405056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83D88-1237-0378-D9F4-93057EA1E8D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391E574-536E-13E4-1C7F-33CF8AEBB02E}"/>
              </a:ext>
            </a:extLst>
          </p:cNvPr>
          <p:cNvSpPr>
            <a:spLocks noGrp="1"/>
          </p:cNvSpPr>
          <p:nvPr>
            <p:ph type="title"/>
          </p:nvPr>
        </p:nvSpPr>
        <p:spPr>
          <a:xfrm>
            <a:off x="838200" y="365126"/>
            <a:ext cx="9840124" cy="1092200"/>
          </a:xfrm>
        </p:spPr>
        <p:txBody>
          <a:bodyPr/>
          <a:lstStyle/>
          <a:p>
            <a:r>
              <a:rPr lang="es-ES" noProof="0" dirty="0"/>
              <a:t>Métodos de aprendizaje de Machine Learning y Deep Learning</a:t>
            </a:r>
          </a:p>
        </p:txBody>
      </p:sp>
      <p:sp>
        <p:nvSpPr>
          <p:cNvPr id="5" name="Marcador de fecha 4">
            <a:extLst>
              <a:ext uri="{FF2B5EF4-FFF2-40B4-BE49-F238E27FC236}">
                <a16:creationId xmlns:a16="http://schemas.microsoft.com/office/drawing/2014/main" id="{8BE8090F-DE59-CA76-DF2A-D539E947AA9E}"/>
              </a:ext>
            </a:extLst>
          </p:cNvPr>
          <p:cNvSpPr>
            <a:spLocks noGrp="1"/>
          </p:cNvSpPr>
          <p:nvPr>
            <p:ph type="dt" sz="half" idx="10"/>
          </p:nvPr>
        </p:nvSpPr>
        <p:spPr>
          <a:xfrm>
            <a:off x="814650" y="6400379"/>
            <a:ext cx="3380278" cy="365125"/>
          </a:xfrm>
        </p:spPr>
        <p:txBody>
          <a:bodyPr/>
          <a:lstStyle/>
          <a:p>
            <a:fld id="{58E125A6-0E22-424F-B181-8AD1BD297539}"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0373733A-231E-537F-5F84-C40D8138438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D7235C15-A2AC-F9F5-E21A-CD247946C38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49</a:t>
            </a:fld>
            <a:endParaRPr lang="es-ES" dirty="0"/>
          </a:p>
        </p:txBody>
      </p:sp>
      <p:graphicFrame>
        <p:nvGraphicFramePr>
          <p:cNvPr id="3" name="Diagrama 2">
            <a:extLst>
              <a:ext uri="{FF2B5EF4-FFF2-40B4-BE49-F238E27FC236}">
                <a16:creationId xmlns:a16="http://schemas.microsoft.com/office/drawing/2014/main" id="{B7F255F8-DAF9-D615-8345-B8C4A416172E}"/>
              </a:ext>
            </a:extLst>
          </p:cNvPr>
          <p:cNvGraphicFramePr/>
          <p:nvPr>
            <p:extLst>
              <p:ext uri="{D42A27DB-BD31-4B8C-83A1-F6EECF244321}">
                <p14:modId xmlns:p14="http://schemas.microsoft.com/office/powerpoint/2010/main" val="1046449278"/>
              </p:ext>
            </p:extLst>
          </p:nvPr>
        </p:nvGraphicFramePr>
        <p:xfrm>
          <a:off x="838199" y="2438399"/>
          <a:ext cx="9780639" cy="37559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Tabla 4">
            <a:extLst>
              <a:ext uri="{FF2B5EF4-FFF2-40B4-BE49-F238E27FC236}">
                <a16:creationId xmlns:a16="http://schemas.microsoft.com/office/drawing/2014/main" id="{069EB552-01C5-ED04-473F-D6711BAAB308}"/>
              </a:ext>
            </a:extLst>
          </p:cNvPr>
          <p:cNvGraphicFramePr>
            <a:graphicFrameLocks noGrp="1"/>
          </p:cNvGraphicFramePr>
          <p:nvPr>
            <p:extLst>
              <p:ext uri="{D42A27DB-BD31-4B8C-83A1-F6EECF244321}">
                <p14:modId xmlns:p14="http://schemas.microsoft.com/office/powerpoint/2010/main" val="1507981363"/>
              </p:ext>
            </p:extLst>
          </p:nvPr>
        </p:nvGraphicFramePr>
        <p:xfrm>
          <a:off x="838199" y="2077391"/>
          <a:ext cx="9780639" cy="370840"/>
        </p:xfrm>
        <a:graphic>
          <a:graphicData uri="http://schemas.openxmlformats.org/drawingml/2006/table">
            <a:tbl>
              <a:tblPr lastCol="1" bandRow="1">
                <a:tableStyleId>{5C22544A-7EE6-4342-B048-85BDC9FD1C3A}</a:tableStyleId>
              </a:tblPr>
              <a:tblGrid>
                <a:gridCol w="3260213">
                  <a:extLst>
                    <a:ext uri="{9D8B030D-6E8A-4147-A177-3AD203B41FA5}">
                      <a16:colId xmlns:a16="http://schemas.microsoft.com/office/drawing/2014/main" val="2740961002"/>
                    </a:ext>
                  </a:extLst>
                </a:gridCol>
                <a:gridCol w="6520426">
                  <a:extLst>
                    <a:ext uri="{9D8B030D-6E8A-4147-A177-3AD203B41FA5}">
                      <a16:colId xmlns:a16="http://schemas.microsoft.com/office/drawing/2014/main" val="3704728770"/>
                    </a:ext>
                  </a:extLst>
                </a:gridCol>
              </a:tblGrid>
              <a:tr h="370840">
                <a:tc>
                  <a:txBody>
                    <a:bodyPr/>
                    <a:lstStyle/>
                    <a:p>
                      <a:pPr algn="ctr"/>
                      <a:r>
                        <a:rPr lang="es-ES" dirty="0"/>
                        <a:t>Machine learning</a:t>
                      </a:r>
                    </a:p>
                  </a:txBody>
                  <a:tcPr/>
                </a:tc>
                <a:tc>
                  <a:txBody>
                    <a:bodyPr/>
                    <a:lstStyle/>
                    <a:p>
                      <a:pPr algn="ctr"/>
                      <a:r>
                        <a:rPr lang="es-ES" dirty="0"/>
                        <a:t>Deep Learning</a:t>
                      </a:r>
                    </a:p>
                  </a:txBody>
                  <a:tcPr/>
                </a:tc>
                <a:extLst>
                  <a:ext uri="{0D108BD9-81ED-4DB2-BD59-A6C34878D82A}">
                    <a16:rowId xmlns:a16="http://schemas.microsoft.com/office/drawing/2014/main" val="1653695091"/>
                  </a:ext>
                </a:extLst>
              </a:tr>
            </a:tbl>
          </a:graphicData>
        </a:graphic>
      </p:graphicFrame>
    </p:spTree>
    <p:extLst>
      <p:ext uri="{BB962C8B-B14F-4D97-AF65-F5344CB8AC3E}">
        <p14:creationId xmlns:p14="http://schemas.microsoft.com/office/powerpoint/2010/main" val="2878506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C5BC5-B211-1E01-5677-5D03D06A120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69242178-44DB-B26A-CE37-2B8051119080}"/>
              </a:ext>
            </a:extLst>
          </p:cNvPr>
          <p:cNvSpPr>
            <a:spLocks noGrp="1"/>
          </p:cNvSpPr>
          <p:nvPr>
            <p:ph type="title"/>
          </p:nvPr>
        </p:nvSpPr>
        <p:spPr>
          <a:xfrm>
            <a:off x="838200" y="365126"/>
            <a:ext cx="9840124" cy="1092200"/>
          </a:xfrm>
        </p:spPr>
        <p:txBody>
          <a:bodyPr>
            <a:normAutofit/>
          </a:bodyPr>
          <a:lstStyle/>
          <a:p>
            <a:r>
              <a:rPr lang="es-ES" noProof="0" dirty="0"/>
              <a:t>Premisa 3 - más conocimiento (a veces) de las personas (Clientes, Ciudadanos…)</a:t>
            </a:r>
          </a:p>
        </p:txBody>
      </p:sp>
      <p:sp>
        <p:nvSpPr>
          <p:cNvPr id="3" name="Marcador de contenido 18">
            <a:extLst>
              <a:ext uri="{FF2B5EF4-FFF2-40B4-BE49-F238E27FC236}">
                <a16:creationId xmlns:a16="http://schemas.microsoft.com/office/drawing/2014/main" id="{4231153E-1B29-6B7D-F5AF-D062F912C2C6}"/>
              </a:ext>
            </a:extLst>
          </p:cNvPr>
          <p:cNvSpPr>
            <a:spLocks noGrp="1"/>
          </p:cNvSpPr>
          <p:nvPr>
            <p:ph sz="quarter" idx="13"/>
          </p:nvPr>
        </p:nvSpPr>
        <p:spPr>
          <a:xfrm>
            <a:off x="666750" y="2828925"/>
            <a:ext cx="2160000" cy="2160000"/>
          </a:xfrm>
          <a:noFill/>
        </p:spPr>
        <p:txBody>
          <a:bodyPr wrap="none" lIns="91440" tIns="45720" rIns="91440" bIns="45720" anchor="ctr">
            <a:spAutoFit/>
          </a:bodyPr>
          <a:lstStyle/>
          <a:p>
            <a:r>
              <a:rPr lang="es-ES" noProof="0" dirty="0"/>
              <a:t>3</a:t>
            </a:r>
          </a:p>
        </p:txBody>
      </p:sp>
      <p:sp>
        <p:nvSpPr>
          <p:cNvPr id="19" name="Date Placeholder 4">
            <a:extLst>
              <a:ext uri="{FF2B5EF4-FFF2-40B4-BE49-F238E27FC236}">
                <a16:creationId xmlns:a16="http://schemas.microsoft.com/office/drawing/2014/main" id="{3A9ED0CA-370D-62E5-6BBC-331BDF9C4E67}"/>
              </a:ext>
            </a:extLst>
          </p:cNvPr>
          <p:cNvSpPr>
            <a:spLocks noGrp="1"/>
          </p:cNvSpPr>
          <p:nvPr>
            <p:ph type="dt" sz="half" idx="14"/>
          </p:nvPr>
        </p:nvSpPr>
        <p:spPr>
          <a:xfrm>
            <a:off x="814650" y="6400379"/>
            <a:ext cx="3380278" cy="365125"/>
          </a:xfrm>
        </p:spPr>
        <p:txBody>
          <a:bodyPr/>
          <a:lstStyle/>
          <a:p>
            <a:fld id="{636A66D0-1DCA-48C0-A18A-79E2AF409608}" type="datetime2">
              <a:rPr lang="es-ES" smtClean="0"/>
              <a:pPr/>
              <a:t>jueves, 19 de septiembre de 2024</a:t>
            </a:fld>
            <a:endParaRPr lang="es-ES" dirty="0"/>
          </a:p>
        </p:txBody>
      </p:sp>
      <p:sp>
        <p:nvSpPr>
          <p:cNvPr id="21" name="Footer Placeholder 5">
            <a:extLst>
              <a:ext uri="{FF2B5EF4-FFF2-40B4-BE49-F238E27FC236}">
                <a16:creationId xmlns:a16="http://schemas.microsoft.com/office/drawing/2014/main" id="{5589372F-6495-9CF3-ECEF-6987CBAC1BC1}"/>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23" name="Slide Number Placeholder 6">
            <a:extLst>
              <a:ext uri="{FF2B5EF4-FFF2-40B4-BE49-F238E27FC236}">
                <a16:creationId xmlns:a16="http://schemas.microsoft.com/office/drawing/2014/main" id="{B647C031-2AEA-BE91-989C-B33F4017E54C}"/>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5</a:t>
            </a:fld>
            <a:endParaRPr lang="es-ES" dirty="0"/>
          </a:p>
        </p:txBody>
      </p:sp>
      <p:pic>
        <p:nvPicPr>
          <p:cNvPr id="2050" name="Picture 2" descr="5 consejos de Harvard para ser más inteligente">
            <a:extLst>
              <a:ext uri="{FF2B5EF4-FFF2-40B4-BE49-F238E27FC236}">
                <a16:creationId xmlns:a16="http://schemas.microsoft.com/office/drawing/2014/main" id="{FC3865DE-D55E-DAB6-DECC-F12AD104FDF9}"/>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3923377" y="1863725"/>
            <a:ext cx="6829683" cy="4211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75713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BA0197E-8AC4-AD33-A7F7-F6566509C317}"/>
              </a:ext>
            </a:extLst>
          </p:cNvPr>
          <p:cNvSpPr>
            <a:spLocks noGrp="1"/>
          </p:cNvSpPr>
          <p:nvPr>
            <p:ph type="title"/>
          </p:nvPr>
        </p:nvSpPr>
        <p:spPr>
          <a:xfrm>
            <a:off x="838200" y="365126"/>
            <a:ext cx="9840124" cy="1092200"/>
          </a:xfrm>
        </p:spPr>
        <p:txBody>
          <a:bodyPr/>
          <a:lstStyle/>
          <a:p>
            <a:r>
              <a:rPr lang="es-ES" noProof="0" dirty="0"/>
              <a:t>Tipos de Aprendizaje de la Inteligencia artificial</a:t>
            </a:r>
          </a:p>
        </p:txBody>
      </p:sp>
      <p:graphicFrame>
        <p:nvGraphicFramePr>
          <p:cNvPr id="7" name="Marcador de contenido 6">
            <a:extLst>
              <a:ext uri="{FF2B5EF4-FFF2-40B4-BE49-F238E27FC236}">
                <a16:creationId xmlns:a16="http://schemas.microsoft.com/office/drawing/2014/main" id="{9548C9FE-E0B9-2B8C-3514-982382B4EB75}"/>
              </a:ext>
            </a:extLst>
          </p:cNvPr>
          <p:cNvGraphicFramePr>
            <a:graphicFrameLocks noGrp="1"/>
          </p:cNvGraphicFramePr>
          <p:nvPr>
            <p:ph idx="1"/>
            <p:extLst>
              <p:ext uri="{D42A27DB-BD31-4B8C-83A1-F6EECF244321}">
                <p14:modId xmlns:p14="http://schemas.microsoft.com/office/powerpoint/2010/main" val="3309207820"/>
              </p:ext>
            </p:extLst>
          </p:nvPr>
        </p:nvGraphicFramePr>
        <p:xfrm>
          <a:off x="84000" y="1445678"/>
          <a:ext cx="12024000" cy="5074920"/>
        </p:xfrm>
        <a:graphic>
          <a:graphicData uri="http://schemas.openxmlformats.org/drawingml/2006/table">
            <a:tbl>
              <a:tblPr firstRow="1" bandRow="1">
                <a:tableStyleId>{7DF18680-E054-41AD-8BC1-D1AEF772440D}</a:tableStyleId>
              </a:tblPr>
              <a:tblGrid>
                <a:gridCol w="1208973">
                  <a:extLst>
                    <a:ext uri="{9D8B030D-6E8A-4147-A177-3AD203B41FA5}">
                      <a16:colId xmlns:a16="http://schemas.microsoft.com/office/drawing/2014/main" val="2640313995"/>
                    </a:ext>
                  </a:extLst>
                </a:gridCol>
                <a:gridCol w="2031027">
                  <a:extLst>
                    <a:ext uri="{9D8B030D-6E8A-4147-A177-3AD203B41FA5}">
                      <a16:colId xmlns:a16="http://schemas.microsoft.com/office/drawing/2014/main" val="332400858"/>
                    </a:ext>
                  </a:extLst>
                </a:gridCol>
                <a:gridCol w="2196000">
                  <a:extLst>
                    <a:ext uri="{9D8B030D-6E8A-4147-A177-3AD203B41FA5}">
                      <a16:colId xmlns:a16="http://schemas.microsoft.com/office/drawing/2014/main" val="13800355"/>
                    </a:ext>
                  </a:extLst>
                </a:gridCol>
                <a:gridCol w="2196000">
                  <a:extLst>
                    <a:ext uri="{9D8B030D-6E8A-4147-A177-3AD203B41FA5}">
                      <a16:colId xmlns:a16="http://schemas.microsoft.com/office/drawing/2014/main" val="156394020"/>
                    </a:ext>
                  </a:extLst>
                </a:gridCol>
                <a:gridCol w="2196000">
                  <a:extLst>
                    <a:ext uri="{9D8B030D-6E8A-4147-A177-3AD203B41FA5}">
                      <a16:colId xmlns:a16="http://schemas.microsoft.com/office/drawing/2014/main" val="720062968"/>
                    </a:ext>
                  </a:extLst>
                </a:gridCol>
                <a:gridCol w="2196000">
                  <a:extLst>
                    <a:ext uri="{9D8B030D-6E8A-4147-A177-3AD203B41FA5}">
                      <a16:colId xmlns:a16="http://schemas.microsoft.com/office/drawing/2014/main" val="24508014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sz="15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ltLang="es-ES" sz="1500" dirty="0"/>
                        <a:t>Aprendizaje Supervisado</a:t>
                      </a:r>
                      <a:endParaRPr lang="es-ES" sz="15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ltLang="es-ES" sz="1500" dirty="0"/>
                        <a:t>Aprendizaje No Supervisado</a:t>
                      </a:r>
                      <a:endParaRPr lang="es-ES" sz="15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ltLang="es-ES" sz="1500" dirty="0"/>
                        <a:t>Aprendizaje Semi-Supervisado</a:t>
                      </a:r>
                      <a:endParaRPr lang="es-ES" sz="15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ltLang="es-ES" sz="1500" dirty="0"/>
                        <a:t>Aprendizaje por Refuerzo</a:t>
                      </a:r>
                      <a:endParaRPr lang="es-ES" sz="15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ltLang="es-ES" sz="1500" dirty="0"/>
                        <a:t>Aprendizaje por Transferencia</a:t>
                      </a:r>
                      <a:endParaRPr lang="es-ES" sz="1500" dirty="0"/>
                    </a:p>
                  </a:txBody>
                  <a:tcPr/>
                </a:tc>
                <a:extLst>
                  <a:ext uri="{0D108BD9-81ED-4DB2-BD59-A6C34878D82A}">
                    <a16:rowId xmlns:a16="http://schemas.microsoft.com/office/drawing/2014/main" val="33372520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b="1" dirty="0"/>
                        <a:t>Definición</a:t>
                      </a:r>
                      <a:endParaRPr lang="es-ES" sz="1500" b="1" dirty="0"/>
                    </a:p>
                  </a:txBody>
                  <a:tcPr anchor="ct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dirty="0"/>
                        <a:t>El algoritmo se entrena con datos etiquetados, donde cada ejemplo incluye una entrada y su salida correspondiente.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dirty="0"/>
                        <a:t>El objetivo es aprender una función que mapee nuevas entradas a salidas correctas.</a:t>
                      </a:r>
                    </a:p>
                  </a:txBody>
                  <a:tcP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El algoritmo se entrena con un conjunto de datos sin etiquetas.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Su objetivo es encontrar patrones ocultos o estructuras en los datos.</a:t>
                      </a:r>
                      <a:endParaRPr lang="es-ES" altLang="es-ES" sz="1500" kern="1200" dirty="0">
                        <a:solidFill>
                          <a:schemeClr val="dk1"/>
                        </a:solidFill>
                        <a:latin typeface="+mn-lt"/>
                        <a:ea typeface="+mn-ea"/>
                        <a:cs typeface="+mn-cs"/>
                      </a:endParaRPr>
                    </a:p>
                  </a:txBody>
                  <a:tcP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Combina elementos del aprendizaje supervisado y no supervisado.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Utiliza un conjunto de datos con algunas etiquetas y un conjunto más grande sin etiquetas.</a:t>
                      </a:r>
                      <a:endParaRPr lang="es-ES" altLang="es-ES" sz="1500" kern="1200" dirty="0">
                        <a:solidFill>
                          <a:schemeClr val="dk1"/>
                        </a:solidFill>
                        <a:latin typeface="+mn-lt"/>
                        <a:ea typeface="+mn-ea"/>
                        <a:cs typeface="+mn-cs"/>
                      </a:endParaRPr>
                    </a:p>
                  </a:txBody>
                  <a:tcPr/>
                </a:tc>
                <a:tc>
                  <a:txBody>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Un algoritmo interactúa con un entorno, tomando acciones y recibiendo recompensas o penalizaciones. </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es-ES" sz="1500" kern="1200" dirty="0">
                          <a:solidFill>
                            <a:schemeClr val="dk1"/>
                          </a:solidFill>
                        </a:rPr>
                        <a:t>El objetivo es aprender una política que maximice la recompensa a largo plazo</a:t>
                      </a:r>
                      <a:r>
                        <a:rPr lang="es-ES" altLang="es-ES" sz="150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Se utiliza el conocimiento adquirido en una tarea para mejorar el rendimiento en otra tarea relacionada.</a:t>
                      </a:r>
                    </a:p>
                  </a:txBody>
                  <a:tcPr/>
                </a:tc>
                <a:extLst>
                  <a:ext uri="{0D108BD9-81ED-4DB2-BD59-A6C34878D82A}">
                    <a16:rowId xmlns:a16="http://schemas.microsoft.com/office/drawing/2014/main" val="2948427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b="1" dirty="0"/>
                        <a:t>Ejemplos:</a:t>
                      </a:r>
                      <a:endParaRPr lang="es-ES" sz="15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Clasificación (spam vs. no spam), regresión (predicción de precios), reconocimiento de imágenes.</a:t>
                      </a:r>
                      <a:endParaRPr lang="es-E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Clustering (agrupación de datos similares), reducción de dimensionalidad, detección de anomalías.</a:t>
                      </a:r>
                      <a:endParaRPr lang="es-E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Clasificación de imágenes con un número limitado de imágenes etiquetadas.</a:t>
                      </a:r>
                      <a:endParaRPr lang="es-E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Juegos, robótica, sistemas de recomendación.</a:t>
                      </a:r>
                      <a:endParaRPr lang="es-E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altLang="es-ES" sz="1500" dirty="0"/>
                        <a:t>Transferir el conocimiento aprendido reconociendo  imágenes a un sistema de detección de objetos.</a:t>
                      </a:r>
                      <a:endParaRPr lang="es-ES" sz="1500" dirty="0"/>
                    </a:p>
                  </a:txBody>
                  <a:tcPr/>
                </a:tc>
                <a:extLst>
                  <a:ext uri="{0D108BD9-81ED-4DB2-BD59-A6C34878D82A}">
                    <a16:rowId xmlns:a16="http://schemas.microsoft.com/office/drawing/2014/main" val="1918991706"/>
                  </a:ext>
                </a:extLst>
              </a:tr>
            </a:tbl>
          </a:graphicData>
        </a:graphic>
      </p:graphicFrame>
      <p:sp>
        <p:nvSpPr>
          <p:cNvPr id="4" name="Marcador de fecha 3">
            <a:extLst>
              <a:ext uri="{FF2B5EF4-FFF2-40B4-BE49-F238E27FC236}">
                <a16:creationId xmlns:a16="http://schemas.microsoft.com/office/drawing/2014/main" id="{5BBFE765-9A73-673F-85ED-5D2E3C860BF3}"/>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B0794F6-5A3D-6374-5273-BE2729D6A15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C04C37E8-C743-BE02-B9AD-B88D6B758B0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50</a:t>
            </a:fld>
            <a:endParaRPr lang="es-ES" dirty="0"/>
          </a:p>
        </p:txBody>
      </p:sp>
    </p:spTree>
    <p:extLst>
      <p:ext uri="{BB962C8B-B14F-4D97-AF65-F5344CB8AC3E}">
        <p14:creationId xmlns:p14="http://schemas.microsoft.com/office/powerpoint/2010/main" val="353054580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FD1932-2707-C392-7B94-17161A635E54}"/>
              </a:ext>
            </a:extLst>
          </p:cNvPr>
          <p:cNvSpPr>
            <a:spLocks noGrp="1"/>
          </p:cNvSpPr>
          <p:nvPr>
            <p:ph type="title"/>
          </p:nvPr>
        </p:nvSpPr>
        <p:spPr>
          <a:xfrm>
            <a:off x="838200" y="365126"/>
            <a:ext cx="9840124" cy="1092200"/>
          </a:xfrm>
        </p:spPr>
        <p:txBody>
          <a:bodyPr>
            <a:normAutofit fontScale="90000"/>
          </a:bodyPr>
          <a:lstStyle/>
          <a:p>
            <a:r>
              <a:rPr lang="es-ES" noProof="0" dirty="0"/>
              <a:t>Aprendizaje por refuerzo, (Reinforcement Learning, RL) es una rama del aprendizaje automático</a:t>
            </a:r>
          </a:p>
        </p:txBody>
      </p:sp>
      <p:graphicFrame>
        <p:nvGraphicFramePr>
          <p:cNvPr id="7" name="Marcador de contenido 6">
            <a:extLst>
              <a:ext uri="{FF2B5EF4-FFF2-40B4-BE49-F238E27FC236}">
                <a16:creationId xmlns:a16="http://schemas.microsoft.com/office/drawing/2014/main" id="{3821230A-B220-52CE-81ED-22839999A184}"/>
              </a:ext>
            </a:extLst>
          </p:cNvPr>
          <p:cNvGraphicFramePr>
            <a:graphicFrameLocks noGrp="1"/>
          </p:cNvGraphicFramePr>
          <p:nvPr>
            <p:ph idx="1"/>
            <p:extLst>
              <p:ext uri="{D42A27DB-BD31-4B8C-83A1-F6EECF244321}">
                <p14:modId xmlns:p14="http://schemas.microsoft.com/office/powerpoint/2010/main" val="565880202"/>
              </p:ext>
            </p:extLst>
          </p:nvPr>
        </p:nvGraphicFramePr>
        <p:xfrm>
          <a:off x="57509" y="2422869"/>
          <a:ext cx="11847164" cy="38730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BB1CC103-B793-9B2B-C59C-E4097F9A8CE4}"/>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176133E1-1E34-2BB6-283C-5091FA26B01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5B426B5E-9D2D-6A2D-090E-052F088275D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51</a:t>
            </a:fld>
            <a:endParaRPr lang="es-ES" dirty="0"/>
          </a:p>
        </p:txBody>
      </p:sp>
      <p:pic>
        <p:nvPicPr>
          <p:cNvPr id="8" name="Imagen 7">
            <a:extLst>
              <a:ext uri="{FF2B5EF4-FFF2-40B4-BE49-F238E27FC236}">
                <a16:creationId xmlns:a16="http://schemas.microsoft.com/office/drawing/2014/main" id="{491E38A0-FFFD-0105-335F-1CB6F13017ED}"/>
              </a:ext>
            </a:extLst>
          </p:cNvPr>
          <p:cNvPicPr>
            <a:picLocks noChangeAspect="1"/>
          </p:cNvPicPr>
          <p:nvPr/>
        </p:nvPicPr>
        <p:blipFill>
          <a:blip r:embed="rId7"/>
          <a:stretch>
            <a:fillRect/>
          </a:stretch>
        </p:blipFill>
        <p:spPr>
          <a:xfrm>
            <a:off x="57509" y="1544528"/>
            <a:ext cx="12010241" cy="616341"/>
          </a:xfrm>
          <a:prstGeom prst="rect">
            <a:avLst/>
          </a:prstGeom>
        </p:spPr>
      </p:pic>
      <p:pic>
        <p:nvPicPr>
          <p:cNvPr id="9" name="Picture 2" descr="Imágenes de Circulo Marcador - Descarga gratuita en Freepik">
            <a:extLst>
              <a:ext uri="{FF2B5EF4-FFF2-40B4-BE49-F238E27FC236}">
                <a16:creationId xmlns:a16="http://schemas.microsoft.com/office/drawing/2014/main" id="{CD998388-5269-8DDF-555C-463463B62F7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2755" y="1095950"/>
            <a:ext cx="4064000" cy="1410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14501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6502FF86-54CB-60D0-BEA4-7F41E14610F8}"/>
              </a:ext>
            </a:extLst>
          </p:cNvPr>
          <p:cNvSpPr>
            <a:spLocks noGrp="1"/>
          </p:cNvSpPr>
          <p:nvPr>
            <p:ph type="body" idx="1"/>
          </p:nvPr>
        </p:nvSpPr>
        <p:spPr>
          <a:xfrm>
            <a:off x="839788" y="1623758"/>
            <a:ext cx="5157787" cy="800356"/>
          </a:xfrm>
        </p:spPr>
        <p:txBody>
          <a:bodyPr/>
          <a:lstStyle/>
          <a:p>
            <a:r>
              <a:rPr lang="es-ES" noProof="0" dirty="0"/>
              <a:t>Tipos de Aprendizaje por Refuerzo</a:t>
            </a:r>
          </a:p>
        </p:txBody>
      </p:sp>
      <p:sp>
        <p:nvSpPr>
          <p:cNvPr id="3" name="Marcador de contenido 2">
            <a:extLst>
              <a:ext uri="{FF2B5EF4-FFF2-40B4-BE49-F238E27FC236}">
                <a16:creationId xmlns:a16="http://schemas.microsoft.com/office/drawing/2014/main" id="{35A69D87-2B16-CE4D-D8DC-F5663251F3ED}"/>
              </a:ext>
            </a:extLst>
          </p:cNvPr>
          <p:cNvSpPr>
            <a:spLocks noGrp="1"/>
          </p:cNvSpPr>
          <p:nvPr>
            <p:ph sz="half" idx="2"/>
          </p:nvPr>
        </p:nvSpPr>
        <p:spPr>
          <a:xfrm>
            <a:off x="839788" y="2500314"/>
            <a:ext cx="5157787" cy="3713956"/>
          </a:xfrm>
        </p:spPr>
        <p:txBody>
          <a:bodyPr>
            <a:normAutofit fontScale="85000" lnSpcReduction="20000"/>
          </a:bodyPr>
          <a:lstStyle/>
          <a:p>
            <a:r>
              <a:rPr lang="es-ES" noProof="0" dirty="0"/>
              <a:t>Aprendizaje por Valor: El algoritmo aprende a estimar el valor de cada estado en el entorno, es decir, qué tan bueno es estar en ese estado.</a:t>
            </a:r>
          </a:p>
          <a:p>
            <a:r>
              <a:rPr lang="es-ES" noProof="0" dirty="0"/>
              <a:t>Aprendizaje por Política: El algoritmo aprende directamente una política, que es una función que mapea los estados a acciones.</a:t>
            </a:r>
          </a:p>
          <a:p>
            <a:r>
              <a:rPr lang="es-ES" noProof="0" dirty="0"/>
              <a:t>Aprendizaje Basado en Modelos: El algoritmo crea un modelo interno del entorno para predecir las consecuencias de sus acciones y tomar decisiones más informadas.</a:t>
            </a:r>
          </a:p>
          <a:p>
            <a:r>
              <a:rPr lang="es-ES" noProof="0" dirty="0"/>
              <a:t>Aprendizaje por Diferencia Temporal: Se utiliza para estimar el valor de los estados de forma incremental, basándose en las recompensas obtenidas a lo largo del tiempo.</a:t>
            </a:r>
          </a:p>
          <a:p>
            <a:endParaRPr lang="es-ES" noProof="0" dirty="0"/>
          </a:p>
        </p:txBody>
      </p:sp>
      <p:sp>
        <p:nvSpPr>
          <p:cNvPr id="4" name="Marcador de texto 3">
            <a:extLst>
              <a:ext uri="{FF2B5EF4-FFF2-40B4-BE49-F238E27FC236}">
                <a16:creationId xmlns:a16="http://schemas.microsoft.com/office/drawing/2014/main" id="{BDBAFADB-9683-C758-1623-A8AD3362F6D0}"/>
              </a:ext>
            </a:extLst>
          </p:cNvPr>
          <p:cNvSpPr>
            <a:spLocks noGrp="1"/>
          </p:cNvSpPr>
          <p:nvPr>
            <p:ph type="body" sz="quarter" idx="3"/>
          </p:nvPr>
        </p:nvSpPr>
        <p:spPr>
          <a:xfrm>
            <a:off x="6172200" y="1623758"/>
            <a:ext cx="5183188" cy="800356"/>
          </a:xfrm>
        </p:spPr>
        <p:txBody>
          <a:bodyPr>
            <a:normAutofit lnSpcReduction="10000"/>
          </a:bodyPr>
          <a:lstStyle/>
          <a:p>
            <a:r>
              <a:rPr lang="es-ES" noProof="0" dirty="0"/>
              <a:t>Aplicaciones del Aprendizaje por Refuerzo</a:t>
            </a:r>
          </a:p>
        </p:txBody>
      </p:sp>
      <p:sp>
        <p:nvSpPr>
          <p:cNvPr id="5" name="Marcador de contenido 4">
            <a:extLst>
              <a:ext uri="{FF2B5EF4-FFF2-40B4-BE49-F238E27FC236}">
                <a16:creationId xmlns:a16="http://schemas.microsoft.com/office/drawing/2014/main" id="{764FEBDB-128B-EF0C-3563-F57059AD6226}"/>
              </a:ext>
            </a:extLst>
          </p:cNvPr>
          <p:cNvSpPr>
            <a:spLocks noGrp="1"/>
          </p:cNvSpPr>
          <p:nvPr>
            <p:ph sz="quarter" idx="4"/>
          </p:nvPr>
        </p:nvSpPr>
        <p:spPr>
          <a:xfrm>
            <a:off x="6172200" y="2500314"/>
            <a:ext cx="5183188" cy="3713956"/>
          </a:xfrm>
        </p:spPr>
        <p:txBody>
          <a:bodyPr>
            <a:normAutofit fontScale="85000" lnSpcReduction="20000"/>
          </a:bodyPr>
          <a:lstStyle/>
          <a:p>
            <a:r>
              <a:rPr lang="es-ES" noProof="0" dirty="0"/>
              <a:t>Robótica: Control de robots para realizar tareas complejas como manipular objetos o navegar en entornos desconocidos.</a:t>
            </a:r>
          </a:p>
          <a:p>
            <a:r>
              <a:rPr lang="es-ES" noProof="0" dirty="0"/>
              <a:t>Juegos: Desarrollo de algoritmos inteligentes para jugar videojuegos, como el famoso AlphaGo de DeepMind.</a:t>
            </a:r>
          </a:p>
          <a:p>
            <a:r>
              <a:rPr lang="es-ES" noProof="0" dirty="0"/>
              <a:t>Finanzas: Optimización de portafolios de inversión, negociación algorítmica.</a:t>
            </a:r>
          </a:p>
          <a:p>
            <a:r>
              <a:rPr lang="es-ES" noProof="0" dirty="0"/>
              <a:t>Control de sistemas: Control de sistemas físicos como drones, automóviles autónomos o sistemas de energía.</a:t>
            </a:r>
          </a:p>
          <a:p>
            <a:r>
              <a:rPr lang="es-ES" noProof="0" dirty="0"/>
              <a:t>Salud: Desarrollo de tratamientos personalizados para enfermedades.</a:t>
            </a:r>
          </a:p>
          <a:p>
            <a:endParaRPr lang="es-ES" noProof="0" dirty="0"/>
          </a:p>
        </p:txBody>
      </p:sp>
      <p:sp>
        <p:nvSpPr>
          <p:cNvPr id="6" name="Marcador de fecha 5">
            <a:extLst>
              <a:ext uri="{FF2B5EF4-FFF2-40B4-BE49-F238E27FC236}">
                <a16:creationId xmlns:a16="http://schemas.microsoft.com/office/drawing/2014/main" id="{B27D7093-1899-6187-6C07-F6B3CD368DDE}"/>
              </a:ext>
            </a:extLst>
          </p:cNvPr>
          <p:cNvSpPr>
            <a:spLocks noGrp="1"/>
          </p:cNvSpPr>
          <p:nvPr>
            <p:ph type="dt" sz="half" idx="10"/>
          </p:nvPr>
        </p:nvSpPr>
        <p:spPr>
          <a:xfrm>
            <a:off x="814650" y="6400379"/>
            <a:ext cx="3380278" cy="365125"/>
          </a:xfrm>
        </p:spPr>
        <p:txBody>
          <a:bodyPr/>
          <a:lstStyle/>
          <a:p>
            <a:fld id="{EDDE0A68-2960-41F3-A9AF-BEEDA5DD32E0}"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24D9A8E8-F9BE-E1CF-3E96-9602D26E1A9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3CF5446C-718A-8EAD-A502-2013D57D910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52</a:t>
            </a:fld>
            <a:endParaRPr lang="es-ES" dirty="0"/>
          </a:p>
        </p:txBody>
      </p:sp>
      <p:sp>
        <p:nvSpPr>
          <p:cNvPr id="9" name="Título 8">
            <a:extLst>
              <a:ext uri="{FF2B5EF4-FFF2-40B4-BE49-F238E27FC236}">
                <a16:creationId xmlns:a16="http://schemas.microsoft.com/office/drawing/2014/main" id="{096A2383-F2FB-479C-DE87-E272D91A5DAA}"/>
              </a:ext>
            </a:extLst>
          </p:cNvPr>
          <p:cNvSpPr>
            <a:spLocks noGrp="1"/>
          </p:cNvSpPr>
          <p:nvPr>
            <p:ph type="title"/>
          </p:nvPr>
        </p:nvSpPr>
        <p:spPr>
          <a:xfrm>
            <a:off x="838200" y="365126"/>
            <a:ext cx="9840124" cy="1092200"/>
          </a:xfrm>
        </p:spPr>
        <p:txBody>
          <a:bodyPr/>
          <a:lstStyle/>
          <a:p>
            <a:r>
              <a:rPr lang="es-ES" noProof="0" dirty="0"/>
              <a:t>Tipos y aplicaciones del aprendizaje por refuerzo</a:t>
            </a:r>
          </a:p>
        </p:txBody>
      </p:sp>
    </p:spTree>
    <p:extLst>
      <p:ext uri="{BB962C8B-B14F-4D97-AF65-F5344CB8AC3E}">
        <p14:creationId xmlns:p14="http://schemas.microsoft.com/office/powerpoint/2010/main" val="46756613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4B104E6-CE1B-8EA3-99A2-68B5124867A0}"/>
              </a:ext>
            </a:extLst>
          </p:cNvPr>
          <p:cNvSpPr>
            <a:spLocks noGrp="1"/>
          </p:cNvSpPr>
          <p:nvPr>
            <p:ph type="title"/>
          </p:nvPr>
        </p:nvSpPr>
        <p:spPr>
          <a:xfrm>
            <a:off x="838200" y="365126"/>
            <a:ext cx="9840124" cy="1092200"/>
          </a:xfrm>
        </p:spPr>
        <p:txBody>
          <a:bodyPr/>
          <a:lstStyle/>
          <a:p>
            <a:r>
              <a:rPr lang="es-ES" noProof="0" dirty="0"/>
              <a:t>Algoritmos Comunes en Aprendizaje por Refuerzo</a:t>
            </a:r>
          </a:p>
        </p:txBody>
      </p:sp>
      <p:sp>
        <p:nvSpPr>
          <p:cNvPr id="3" name="Marcador de fecha 2">
            <a:extLst>
              <a:ext uri="{FF2B5EF4-FFF2-40B4-BE49-F238E27FC236}">
                <a16:creationId xmlns:a16="http://schemas.microsoft.com/office/drawing/2014/main" id="{D8AB38B9-ADC0-7CB0-826D-D54A980CC4A6}"/>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1E6055D4-B01B-455B-F3B1-D1AC48FD08C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6538535-5E65-7AFB-5BB6-F612082ACA2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53</a:t>
            </a:fld>
            <a:endParaRPr lang="es-ES" dirty="0"/>
          </a:p>
        </p:txBody>
      </p:sp>
      <p:graphicFrame>
        <p:nvGraphicFramePr>
          <p:cNvPr id="6" name="Diagrama 5">
            <a:extLst>
              <a:ext uri="{FF2B5EF4-FFF2-40B4-BE49-F238E27FC236}">
                <a16:creationId xmlns:a16="http://schemas.microsoft.com/office/drawing/2014/main" id="{8653B3E0-F5BF-4026-B6B3-A4AE7A479293}"/>
              </a:ext>
            </a:extLst>
          </p:cNvPr>
          <p:cNvGraphicFramePr/>
          <p:nvPr>
            <p:extLst>
              <p:ext uri="{D42A27DB-BD31-4B8C-83A1-F6EECF244321}">
                <p14:modId xmlns:p14="http://schemas.microsoft.com/office/powerpoint/2010/main" val="4035740358"/>
              </p:ext>
            </p:extLst>
          </p:nvPr>
        </p:nvGraphicFramePr>
        <p:xfrm>
          <a:off x="152400" y="1554480"/>
          <a:ext cx="11846560" cy="4683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05015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B31CE0-8430-D5E9-DA66-F2AB7C6F4543}"/>
              </a:ext>
            </a:extLst>
          </p:cNvPr>
          <p:cNvSpPr>
            <a:spLocks noGrp="1"/>
          </p:cNvSpPr>
          <p:nvPr>
            <p:ph type="title"/>
          </p:nvPr>
        </p:nvSpPr>
        <p:spPr>
          <a:xfrm>
            <a:off x="341194" y="3814618"/>
            <a:ext cx="4932769" cy="1876594"/>
          </a:xfrm>
        </p:spPr>
        <p:txBody>
          <a:bodyPr/>
          <a:lstStyle/>
          <a:p>
            <a:r>
              <a:rPr lang="es-ES" noProof="0" dirty="0"/>
              <a:t>La IA generativa</a:t>
            </a:r>
          </a:p>
        </p:txBody>
      </p:sp>
      <p:sp>
        <p:nvSpPr>
          <p:cNvPr id="10" name="Marcador de posición de imagen 9">
            <a:extLst>
              <a:ext uri="{FF2B5EF4-FFF2-40B4-BE49-F238E27FC236}">
                <a16:creationId xmlns:a16="http://schemas.microsoft.com/office/drawing/2014/main" id="{9B358BF4-C877-B1E3-1BD6-936305FDA940}"/>
              </a:ext>
            </a:extLst>
          </p:cNvPr>
          <p:cNvSpPr>
            <a:spLocks noGrp="1"/>
          </p:cNvSpPr>
          <p:nvPr>
            <p:ph type="pic" sz="quarter" idx="13"/>
          </p:nvPr>
        </p:nvSpPr>
        <p:spPr/>
        <p:txBody>
          <a:bodyPr/>
          <a:lstStyle/>
          <a:p>
            <a:endParaRPr lang="es-ES" dirty="0"/>
          </a:p>
        </p:txBody>
      </p:sp>
      <p:sp>
        <p:nvSpPr>
          <p:cNvPr id="3" name="Marcador de fecha 2">
            <a:extLst>
              <a:ext uri="{FF2B5EF4-FFF2-40B4-BE49-F238E27FC236}">
                <a16:creationId xmlns:a16="http://schemas.microsoft.com/office/drawing/2014/main" id="{A2368848-4208-4AEE-B5A1-C395ACE45134}"/>
              </a:ext>
            </a:extLst>
          </p:cNvPr>
          <p:cNvSpPr>
            <a:spLocks noGrp="1"/>
          </p:cNvSpPr>
          <p:nvPr>
            <p:ph type="dt" sz="half" idx="14"/>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B9A962BA-908F-4E68-21D3-CE2A65EE1F12}"/>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B3127AD6-78B8-0076-C75B-0530E2754212}"/>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54</a:t>
            </a:fld>
            <a:endParaRPr lang="es-ES" dirty="0"/>
          </a:p>
        </p:txBody>
      </p:sp>
      <p:pic>
        <p:nvPicPr>
          <p:cNvPr id="13" name="Imagen 12">
            <a:extLst>
              <a:ext uri="{FF2B5EF4-FFF2-40B4-BE49-F238E27FC236}">
                <a16:creationId xmlns:a16="http://schemas.microsoft.com/office/drawing/2014/main" id="{08828259-3860-1259-E0B9-FEBE8389CD94}"/>
              </a:ext>
            </a:extLst>
          </p:cNvPr>
          <p:cNvPicPr>
            <a:picLocks noChangeAspect="1"/>
          </p:cNvPicPr>
          <p:nvPr/>
        </p:nvPicPr>
        <p:blipFill>
          <a:blip r:embed="rId2"/>
          <a:srcRect t="2233"/>
          <a:stretch/>
        </p:blipFill>
        <p:spPr>
          <a:xfrm>
            <a:off x="519187" y="40082"/>
            <a:ext cx="4599154" cy="4712833"/>
          </a:xfrm>
          <a:prstGeom prst="rect">
            <a:avLst/>
          </a:prstGeom>
        </p:spPr>
      </p:pic>
    </p:spTree>
    <p:extLst>
      <p:ext uri="{BB962C8B-B14F-4D97-AF65-F5344CB8AC3E}">
        <p14:creationId xmlns:p14="http://schemas.microsoft.com/office/powerpoint/2010/main" val="10678931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66ECDB5-8063-0B6F-7DBB-23362F3EA7C1}"/>
              </a:ext>
            </a:extLst>
          </p:cNvPr>
          <p:cNvSpPr>
            <a:spLocks noGrp="1"/>
          </p:cNvSpPr>
          <p:nvPr>
            <p:ph type="title"/>
          </p:nvPr>
        </p:nvSpPr>
        <p:spPr>
          <a:xfrm>
            <a:off x="838200" y="365126"/>
            <a:ext cx="9840124" cy="1092200"/>
          </a:xfrm>
        </p:spPr>
        <p:txBody>
          <a:bodyPr/>
          <a:lstStyle/>
          <a:p>
            <a:r>
              <a:rPr lang="es-ES" noProof="0" dirty="0"/>
              <a:t>La inteligencia artificial generativa</a:t>
            </a:r>
          </a:p>
        </p:txBody>
      </p:sp>
      <p:sp>
        <p:nvSpPr>
          <p:cNvPr id="3" name="Marcador de contenido 2">
            <a:extLst>
              <a:ext uri="{FF2B5EF4-FFF2-40B4-BE49-F238E27FC236}">
                <a16:creationId xmlns:a16="http://schemas.microsoft.com/office/drawing/2014/main" id="{949B61F4-61D3-5164-7605-F60F74E5E368}"/>
              </a:ext>
            </a:extLst>
          </p:cNvPr>
          <p:cNvSpPr>
            <a:spLocks noGrp="1"/>
          </p:cNvSpPr>
          <p:nvPr>
            <p:ph sz="half" idx="1"/>
          </p:nvPr>
        </p:nvSpPr>
        <p:spPr>
          <a:xfrm>
            <a:off x="838200" y="1825625"/>
            <a:ext cx="5181600" cy="4351338"/>
          </a:xfrm>
        </p:spPr>
        <p:txBody>
          <a:bodyPr>
            <a:normAutofit fontScale="92500" lnSpcReduction="20000"/>
          </a:bodyPr>
          <a:lstStyle/>
          <a:p>
            <a:r>
              <a:rPr lang="es-ES" noProof="0" dirty="0"/>
              <a:t>(IAG) es una rama de la IA que se enfoca en crear nuevos contenidos, como texto, imágenes, música o código, a partir de datos existentes.</a:t>
            </a:r>
          </a:p>
          <a:p>
            <a:r>
              <a:rPr lang="es-ES" noProof="0" dirty="0"/>
              <a:t>En lugar de simplemente analizar datos, la IAG aprende los patrones y las estructuras subyacentes en esos datos para generar nuevos ejemplos que son similares pero distintos a los originales.</a:t>
            </a:r>
          </a:p>
          <a:p>
            <a:r>
              <a:rPr lang="es-ES" noProof="0" dirty="0"/>
              <a:t>Diferencias</a:t>
            </a:r>
          </a:p>
          <a:p>
            <a:pPr lvl="1"/>
            <a:r>
              <a:rPr lang="es-ES" noProof="0" dirty="0"/>
              <a:t>La IA generativa viene entrenada (a diferencia de la tradicional)</a:t>
            </a:r>
          </a:p>
          <a:p>
            <a:pPr lvl="1"/>
            <a:r>
              <a:rPr lang="es-ES" noProof="0" dirty="0"/>
              <a:t>Se la puede dar instrucciones de como actual mediante Fine Tuning / </a:t>
            </a:r>
            <a:r>
              <a:rPr lang="es-ES" noProof="0" dirty="0" err="1"/>
              <a:t>grounding</a:t>
            </a:r>
            <a:r>
              <a:rPr lang="es-ES" noProof="0" dirty="0"/>
              <a:t>.</a:t>
            </a:r>
          </a:p>
          <a:p>
            <a:endParaRPr lang="es-ES" noProof="0" dirty="0"/>
          </a:p>
        </p:txBody>
      </p:sp>
      <p:sp>
        <p:nvSpPr>
          <p:cNvPr id="4" name="Marcador de fecha 3">
            <a:extLst>
              <a:ext uri="{FF2B5EF4-FFF2-40B4-BE49-F238E27FC236}">
                <a16:creationId xmlns:a16="http://schemas.microsoft.com/office/drawing/2014/main" id="{2F278346-AAD6-57A2-B39F-3B8B61A287E6}"/>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597CDD69-11BF-D1D3-1023-B981F02BCD7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91F95E13-5081-0776-3C34-C5923896E6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55</a:t>
            </a:fld>
            <a:endParaRPr lang="es-ES" dirty="0"/>
          </a:p>
        </p:txBody>
      </p:sp>
      <p:pic>
        <p:nvPicPr>
          <p:cNvPr id="8" name="Picture 4" descr="Diferencias entre Inteligencia Artificial, Aprendizaje Automático,  Aprendizaje Profundo e Inteligencia Artificial Generativa | Universo Abierto">
            <a:extLst>
              <a:ext uri="{FF2B5EF4-FFF2-40B4-BE49-F238E27FC236}">
                <a16:creationId xmlns:a16="http://schemas.microsoft.com/office/drawing/2014/main" id="{C5211B47-4BC5-4BF9-F291-22A5BA01EFAD}"/>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172200" y="2922873"/>
            <a:ext cx="5181600" cy="2156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28820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B1FF1F-606C-5F44-22C8-7EE63D1344C2}"/>
              </a:ext>
            </a:extLst>
          </p:cNvPr>
          <p:cNvSpPr>
            <a:spLocks noGrp="1"/>
          </p:cNvSpPr>
          <p:nvPr>
            <p:ph type="title"/>
          </p:nvPr>
        </p:nvSpPr>
        <p:spPr>
          <a:xfrm>
            <a:off x="838200" y="365126"/>
            <a:ext cx="9840124" cy="1092200"/>
          </a:xfrm>
        </p:spPr>
        <p:txBody>
          <a:bodyPr/>
          <a:lstStyle/>
          <a:p>
            <a:r>
              <a:rPr lang="es-ES" noProof="0" dirty="0"/>
              <a:t>El PROMPT es la forma de comunicar con la IA Generativa</a:t>
            </a:r>
          </a:p>
        </p:txBody>
      </p:sp>
      <p:pic>
        <p:nvPicPr>
          <p:cNvPr id="8" name="Marcador de posición de imagen 7">
            <a:extLst>
              <a:ext uri="{FF2B5EF4-FFF2-40B4-BE49-F238E27FC236}">
                <a16:creationId xmlns:a16="http://schemas.microsoft.com/office/drawing/2014/main" id="{6ADB4943-8921-F4A7-AEA9-228F09183F34}"/>
              </a:ext>
            </a:extLst>
          </p:cNvPr>
          <p:cNvPicPr>
            <a:picLocks noGrp="1" noChangeAspect="1"/>
          </p:cNvPicPr>
          <p:nvPr>
            <p:ph type="pic" sz="quarter" idx="13"/>
          </p:nvPr>
        </p:nvPicPr>
        <p:blipFill>
          <a:blip r:embed="rId2"/>
          <a:srcRect l="23833" r="23833"/>
          <a:stretch/>
        </p:blipFill>
        <p:spPr>
          <a:xfrm>
            <a:off x="728662" y="2533649"/>
            <a:ext cx="2736000" cy="2736000"/>
          </a:xfrm>
        </p:spPr>
      </p:pic>
      <p:sp>
        <p:nvSpPr>
          <p:cNvPr id="7" name="Marcador de contenido 6">
            <a:extLst>
              <a:ext uri="{FF2B5EF4-FFF2-40B4-BE49-F238E27FC236}">
                <a16:creationId xmlns:a16="http://schemas.microsoft.com/office/drawing/2014/main" id="{BCCC0D54-C5C2-6E35-17FE-3EBB6A02A1D3}"/>
              </a:ext>
            </a:extLst>
          </p:cNvPr>
          <p:cNvSpPr>
            <a:spLocks noGrp="1"/>
          </p:cNvSpPr>
          <p:nvPr>
            <p:ph sz="quarter" idx="14"/>
          </p:nvPr>
        </p:nvSpPr>
        <p:spPr>
          <a:xfrm>
            <a:off x="3533775" y="1657350"/>
            <a:ext cx="7843838" cy="4457700"/>
          </a:xfrm>
        </p:spPr>
        <p:txBody>
          <a:bodyPr/>
          <a:lstStyle/>
          <a:p>
            <a:r>
              <a:rPr lang="es-ES" noProof="0" dirty="0"/>
              <a:t>Instrucción que se le da a una IAG para que haga algo.</a:t>
            </a:r>
          </a:p>
          <a:p>
            <a:r>
              <a:rPr lang="es-ES" noProof="0" dirty="0"/>
              <a:t>Es importante saber preguntar (la experiencia requiere tiempo)</a:t>
            </a:r>
          </a:p>
          <a:p>
            <a:r>
              <a:rPr lang="es-ES" noProof="0" dirty="0"/>
              <a:t>Ǝ bibliotecas de prompts</a:t>
            </a:r>
          </a:p>
          <a:p>
            <a:r>
              <a:rPr lang="es-ES" noProof="0" dirty="0"/>
              <a:t>Ǝ generadores de prompts.</a:t>
            </a:r>
          </a:p>
          <a:p>
            <a:endParaRPr lang="es-ES" noProof="0" dirty="0"/>
          </a:p>
        </p:txBody>
      </p:sp>
      <p:sp>
        <p:nvSpPr>
          <p:cNvPr id="3" name="Marcador de fecha 2">
            <a:extLst>
              <a:ext uri="{FF2B5EF4-FFF2-40B4-BE49-F238E27FC236}">
                <a16:creationId xmlns:a16="http://schemas.microsoft.com/office/drawing/2014/main" id="{99065DCB-7CE3-2BA5-AE7D-B5A5A83BCC2E}"/>
              </a:ext>
            </a:extLst>
          </p:cNvPr>
          <p:cNvSpPr>
            <a:spLocks noGrp="1"/>
          </p:cNvSpPr>
          <p:nvPr>
            <p:ph type="dt" sz="half" idx="15"/>
          </p:nvPr>
        </p:nvSpPr>
        <p:spPr>
          <a:xfrm>
            <a:off x="814650" y="6400379"/>
            <a:ext cx="3380278" cy="365125"/>
          </a:xfrm>
        </p:spPr>
        <p:txBody>
          <a:bodyPr/>
          <a:lstStyle/>
          <a:p>
            <a:fld id="{685F5149-EA5B-482B-9590-8275652DCC4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DE288A7-E99A-6F90-C073-E538B0896EA6}"/>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BDDC7C8-284C-F232-A890-E8F502243F89}"/>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56</a:t>
            </a:fld>
            <a:endParaRPr lang="es-ES" dirty="0"/>
          </a:p>
        </p:txBody>
      </p:sp>
    </p:spTree>
    <p:extLst>
      <p:ext uri="{BB962C8B-B14F-4D97-AF65-F5344CB8AC3E}">
        <p14:creationId xmlns:p14="http://schemas.microsoft.com/office/powerpoint/2010/main" val="10158407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ECB1AF-26C2-B951-3440-EF30A913B472}"/>
              </a:ext>
            </a:extLst>
          </p:cNvPr>
          <p:cNvSpPr>
            <a:spLocks noGrp="1"/>
          </p:cNvSpPr>
          <p:nvPr>
            <p:ph type="title"/>
          </p:nvPr>
        </p:nvSpPr>
        <p:spPr>
          <a:xfrm>
            <a:off x="838200" y="365126"/>
            <a:ext cx="9840124" cy="1092200"/>
          </a:xfrm>
        </p:spPr>
        <p:txBody>
          <a:bodyPr/>
          <a:lstStyle/>
          <a:p>
            <a:r>
              <a:rPr lang="es-ES" noProof="0" dirty="0"/>
              <a:t>Composición del prompt</a:t>
            </a:r>
          </a:p>
        </p:txBody>
      </p:sp>
      <p:pic>
        <p:nvPicPr>
          <p:cNvPr id="9" name="Marcador de posición de imagen 8">
            <a:extLst>
              <a:ext uri="{FF2B5EF4-FFF2-40B4-BE49-F238E27FC236}">
                <a16:creationId xmlns:a16="http://schemas.microsoft.com/office/drawing/2014/main" id="{4674A58B-0D51-616A-A96C-19F87982A3A0}"/>
              </a:ext>
            </a:extLst>
          </p:cNvPr>
          <p:cNvPicPr>
            <a:picLocks noGrp="1" noChangeAspect="1"/>
          </p:cNvPicPr>
          <p:nvPr>
            <p:ph type="pic" sz="quarter" idx="13"/>
          </p:nvPr>
        </p:nvPicPr>
        <p:blipFill rotWithShape="1">
          <a:blip r:embed="rId2"/>
          <a:srcRect l="12500" r="12500"/>
          <a:stretch/>
        </p:blipFill>
        <p:spPr>
          <a:xfrm>
            <a:off x="728662" y="2533649"/>
            <a:ext cx="2736000" cy="2736000"/>
          </a:xfrm>
        </p:spPr>
      </p:pic>
      <p:sp>
        <p:nvSpPr>
          <p:cNvPr id="16" name="Marcador de contenido 15">
            <a:extLst>
              <a:ext uri="{FF2B5EF4-FFF2-40B4-BE49-F238E27FC236}">
                <a16:creationId xmlns:a16="http://schemas.microsoft.com/office/drawing/2014/main" id="{0BAE3085-0B4E-7AD0-5982-233A5994002F}"/>
              </a:ext>
            </a:extLst>
          </p:cNvPr>
          <p:cNvSpPr>
            <a:spLocks noGrp="1"/>
          </p:cNvSpPr>
          <p:nvPr>
            <p:ph sz="quarter" idx="14"/>
          </p:nvPr>
        </p:nvSpPr>
        <p:spPr>
          <a:xfrm>
            <a:off x="3533775" y="1657350"/>
            <a:ext cx="7843838" cy="4457700"/>
          </a:xfrm>
        </p:spPr>
        <p:txBody>
          <a:bodyPr>
            <a:normAutofit fontScale="92500" lnSpcReduction="20000"/>
          </a:bodyPr>
          <a:lstStyle/>
          <a:p>
            <a:r>
              <a:rPr lang="es-ES" noProof="0" dirty="0"/>
              <a:t>Tema a tratar</a:t>
            </a:r>
          </a:p>
          <a:p>
            <a:r>
              <a:rPr lang="es-ES" noProof="0" dirty="0"/>
              <a:t>Formato: Ensayo, diálogo, académico, Narrativo.</a:t>
            </a:r>
          </a:p>
          <a:p>
            <a:r>
              <a:rPr lang="es-ES" noProof="0" dirty="0"/>
              <a:t>Tono: Desenfadado, formal, humorístico, persuasivo etc.</a:t>
            </a:r>
          </a:p>
          <a:p>
            <a:r>
              <a:rPr lang="es-ES" noProof="0" dirty="0"/>
              <a:t>Verbos: Describe, analiza, resume, escribir de forma simple.</a:t>
            </a:r>
          </a:p>
          <a:p>
            <a:r>
              <a:rPr lang="es-ES" noProof="0" dirty="0"/>
              <a:t>Estilo o roles del que escribe: Se le pide “exprésate como… (bombero, torero, albañil, futbolista, profesor de economía, premio nobel…)</a:t>
            </a:r>
          </a:p>
          <a:p>
            <a:r>
              <a:rPr lang="es-ES" noProof="0" dirty="0"/>
              <a:t>Audiencia pensando en quién es el receptor</a:t>
            </a:r>
          </a:p>
          <a:p>
            <a:r>
              <a:rPr lang="es-ES" noProof="0" dirty="0"/>
              <a:t>Otras consideraciones.</a:t>
            </a:r>
          </a:p>
          <a:p>
            <a:r>
              <a:rPr lang="es-ES" noProof="0" dirty="0"/>
              <a:t>[] entre corchetes poner lo que incorpore más precisión.</a:t>
            </a:r>
          </a:p>
          <a:p>
            <a:r>
              <a:rPr lang="es-ES" noProof="0" dirty="0"/>
              <a:t>Ɇ límite en el tamaño de un PROMPT</a:t>
            </a:r>
          </a:p>
          <a:p>
            <a:endParaRPr lang="es-ES" noProof="0" dirty="0"/>
          </a:p>
        </p:txBody>
      </p:sp>
      <p:sp>
        <p:nvSpPr>
          <p:cNvPr id="4" name="Marcador de fecha 3">
            <a:extLst>
              <a:ext uri="{FF2B5EF4-FFF2-40B4-BE49-F238E27FC236}">
                <a16:creationId xmlns:a16="http://schemas.microsoft.com/office/drawing/2014/main" id="{F6AC56AB-BFA7-FAA2-1FAF-124163FCEEED}"/>
              </a:ext>
            </a:extLst>
          </p:cNvPr>
          <p:cNvSpPr>
            <a:spLocks noGrp="1"/>
          </p:cNvSpPr>
          <p:nvPr>
            <p:ph type="dt" sz="half" idx="15"/>
          </p:nvPr>
        </p:nvSpPr>
        <p:spPr>
          <a:xfrm>
            <a:off x="814650" y="6400379"/>
            <a:ext cx="3380278" cy="365125"/>
          </a:xfrm>
        </p:spPr>
        <p:txBody>
          <a:bodyPr/>
          <a:lstStyle/>
          <a:p>
            <a:fld id="{943357FF-0D0C-4394-A5B6-0C461D62C0BD}" type="datetime9">
              <a:rPr lang="es-ES" smtClean="0"/>
              <a:pPr/>
              <a:t>19/09/2024 11:20:41</a:t>
            </a:fld>
            <a:endParaRPr lang="es-ES" dirty="0"/>
          </a:p>
        </p:txBody>
      </p:sp>
      <p:sp>
        <p:nvSpPr>
          <p:cNvPr id="5" name="Marcador de pie de página 4">
            <a:extLst>
              <a:ext uri="{FF2B5EF4-FFF2-40B4-BE49-F238E27FC236}">
                <a16:creationId xmlns:a16="http://schemas.microsoft.com/office/drawing/2014/main" id="{74E0D70D-CF93-D2D9-C2B2-23EFCAA82035}"/>
              </a:ext>
            </a:extLst>
          </p:cNvPr>
          <p:cNvSpPr>
            <a:spLocks noGrp="1"/>
          </p:cNvSpPr>
          <p:nvPr>
            <p:ph type="ftr" sz="quarter" idx="16"/>
          </p:nvPr>
        </p:nvSpPr>
        <p:spPr>
          <a:xfrm>
            <a:off x="4622986" y="6421474"/>
            <a:ext cx="5989596" cy="365125"/>
          </a:xfrm>
        </p:spPr>
        <p:txBody>
          <a:bodyPr/>
          <a:lstStyle/>
          <a:p>
            <a:r>
              <a:rPr lang="es-ES" dirty="0"/>
              <a:t>Biblioteca de PROMPTS </a:t>
            </a:r>
          </a:p>
        </p:txBody>
      </p:sp>
      <p:sp>
        <p:nvSpPr>
          <p:cNvPr id="6" name="Marcador de número de diapositiva 5">
            <a:extLst>
              <a:ext uri="{FF2B5EF4-FFF2-40B4-BE49-F238E27FC236}">
                <a16:creationId xmlns:a16="http://schemas.microsoft.com/office/drawing/2014/main" id="{CF497432-A4FA-0B3A-FBA2-53F57E9B10F3}"/>
              </a:ext>
            </a:extLst>
          </p:cNvPr>
          <p:cNvSpPr>
            <a:spLocks noGrp="1"/>
          </p:cNvSpPr>
          <p:nvPr>
            <p:ph type="sldNum" sz="quarter" idx="17"/>
          </p:nvPr>
        </p:nvSpPr>
        <p:spPr>
          <a:xfrm>
            <a:off x="10801350" y="6421474"/>
            <a:ext cx="576000" cy="365125"/>
          </a:xfrm>
        </p:spPr>
        <p:txBody>
          <a:bodyPr/>
          <a:lstStyle/>
          <a:p>
            <a:fld id="{B18D323D-4CA2-470B-8319-DC044FD2451A}" type="slidenum">
              <a:rPr lang="es-ES" smtClean="0"/>
              <a:pPr/>
              <a:t>157</a:t>
            </a:fld>
            <a:endParaRPr lang="es-ES" dirty="0"/>
          </a:p>
        </p:txBody>
      </p:sp>
    </p:spTree>
    <p:extLst>
      <p:ext uri="{BB962C8B-B14F-4D97-AF65-F5344CB8AC3E}">
        <p14:creationId xmlns:p14="http://schemas.microsoft.com/office/powerpoint/2010/main" val="323318929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9897C8-D0C8-B602-5F55-2B9BCA7CCD3E}"/>
              </a:ext>
            </a:extLst>
          </p:cNvPr>
          <p:cNvSpPr>
            <a:spLocks noGrp="1"/>
          </p:cNvSpPr>
          <p:nvPr>
            <p:ph type="title"/>
          </p:nvPr>
        </p:nvSpPr>
        <p:spPr>
          <a:xfrm>
            <a:off x="838200" y="365126"/>
            <a:ext cx="9840124" cy="1092200"/>
          </a:xfrm>
        </p:spPr>
        <p:txBody>
          <a:bodyPr/>
          <a:lstStyle/>
          <a:p>
            <a:r>
              <a:rPr lang="es-ES" noProof="0" dirty="0"/>
              <a:t>Capacidades de la IA Generativa y su Interacción a través de una API</a:t>
            </a:r>
          </a:p>
        </p:txBody>
      </p:sp>
      <p:pic>
        <p:nvPicPr>
          <p:cNvPr id="16" name="Marcador de posición de imagen 15">
            <a:extLst>
              <a:ext uri="{FF2B5EF4-FFF2-40B4-BE49-F238E27FC236}">
                <a16:creationId xmlns:a16="http://schemas.microsoft.com/office/drawing/2014/main" id="{18F71C71-1799-6E02-E2F6-10627C516AFE}"/>
              </a:ext>
            </a:extLst>
          </p:cNvPr>
          <p:cNvPicPr>
            <a:picLocks noGrp="1" noChangeAspect="1"/>
          </p:cNvPicPr>
          <p:nvPr>
            <p:ph type="pic" sz="quarter" idx="13"/>
          </p:nvPr>
        </p:nvPicPr>
        <p:blipFill>
          <a:blip r:embed="rId2"/>
          <a:srcRect t="870" b="870"/>
          <a:stretch/>
        </p:blipFill>
        <p:spPr>
          <a:xfrm>
            <a:off x="728662" y="2533649"/>
            <a:ext cx="2736000" cy="2736000"/>
          </a:xfrm>
        </p:spPr>
      </p:pic>
      <p:sp>
        <p:nvSpPr>
          <p:cNvPr id="3" name="Marcador de contenido 2">
            <a:extLst>
              <a:ext uri="{FF2B5EF4-FFF2-40B4-BE49-F238E27FC236}">
                <a16:creationId xmlns:a16="http://schemas.microsoft.com/office/drawing/2014/main" id="{C357AC47-E953-EE9C-3F70-CBAA9D068738}"/>
              </a:ext>
            </a:extLst>
          </p:cNvPr>
          <p:cNvSpPr>
            <a:spLocks noGrp="1"/>
          </p:cNvSpPr>
          <p:nvPr>
            <p:ph sz="quarter" idx="14"/>
          </p:nvPr>
        </p:nvSpPr>
        <p:spPr>
          <a:xfrm>
            <a:off x="3533775" y="1657350"/>
            <a:ext cx="7843838" cy="4457700"/>
          </a:xfrm>
        </p:spPr>
        <p:txBody>
          <a:bodyPr>
            <a:normAutofit fontScale="70000" lnSpcReduction="20000"/>
          </a:bodyPr>
          <a:lstStyle/>
          <a:p>
            <a:r>
              <a:rPr lang="es-ES" noProof="0" dirty="0"/>
              <a:t>Una API (Interfaz de Programación de Aplicaciones) </a:t>
            </a:r>
          </a:p>
          <a:p>
            <a:pPr lvl="1"/>
            <a:r>
              <a:rPr lang="es-ES" noProof="0" dirty="0"/>
              <a:t>Es como una puerta de entrada que permite a diferentes sistemas comunicarse entre sí. </a:t>
            </a:r>
          </a:p>
          <a:p>
            <a:pPr lvl="1"/>
            <a:r>
              <a:rPr lang="es-ES" noProof="0" dirty="0"/>
              <a:t>En el caso de la IAG, una API actúa como un puente entre una aplicación y el modelo de IA generativa.</a:t>
            </a:r>
          </a:p>
          <a:p>
            <a:r>
              <a:rPr lang="es-ES" noProof="0" dirty="0"/>
              <a:t>A través de una API, se puede:</a:t>
            </a:r>
          </a:p>
          <a:p>
            <a:pPr lvl="1"/>
            <a:r>
              <a:rPr lang="es-ES" noProof="0" dirty="0"/>
              <a:t>Proporcionar indicaciones: Le dices a la IA qué tipo de contenido quieres generar. Por ejemplo, puedes pedirle que escriba un poema sobre un gato, que cree una imagen de un paisaje futurista o que genere un código para una aplicación simple.</a:t>
            </a:r>
          </a:p>
          <a:p>
            <a:pPr lvl="1"/>
            <a:r>
              <a:rPr lang="es-ES" noProof="0" dirty="0"/>
              <a:t>Obtener resultados: La IA procesa tu solicitud y te devuelve el contenido generado. Este contenido puede ser un texto, una imagen, un archivo de audio, etc.</a:t>
            </a:r>
          </a:p>
          <a:p>
            <a:pPr lvl="1"/>
            <a:r>
              <a:rPr lang="es-ES" noProof="0" dirty="0"/>
              <a:t>Personalizar los resultados: Muchas APIs ofrecen opciones para personalizar los resultados. Por ejemplo, puedes especificar el estilo, el tono o la longitud del texto generado.</a:t>
            </a:r>
          </a:p>
          <a:p>
            <a:r>
              <a:rPr lang="es-ES" noProof="0" dirty="0"/>
              <a:t>En resumen, una API de IA Generativa te permite aprovechar el poder de esta tecnología para crear contenido nuevo y original de forma rápida y eficiente. Es como tener un equipo creativo a tu disposición, las 24 horas del día, los 7 días de la semana.</a:t>
            </a:r>
          </a:p>
        </p:txBody>
      </p:sp>
      <p:sp>
        <p:nvSpPr>
          <p:cNvPr id="4" name="Marcador de fecha 3">
            <a:extLst>
              <a:ext uri="{FF2B5EF4-FFF2-40B4-BE49-F238E27FC236}">
                <a16:creationId xmlns:a16="http://schemas.microsoft.com/office/drawing/2014/main" id="{99DD37D0-DE9F-A718-E6CB-DCDDB9B793FD}"/>
              </a:ext>
            </a:extLst>
          </p:cNvPr>
          <p:cNvSpPr>
            <a:spLocks noGrp="1"/>
          </p:cNvSpPr>
          <p:nvPr>
            <p:ph type="dt" sz="half" idx="15"/>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FE598CE2-03EA-3737-E628-274BEC85ED5B}"/>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1FD5D848-569F-5599-EE65-80188A1C6C09}"/>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58</a:t>
            </a:fld>
            <a:endParaRPr lang="es-ES" dirty="0"/>
          </a:p>
        </p:txBody>
      </p:sp>
    </p:spTree>
    <p:extLst>
      <p:ext uri="{BB962C8B-B14F-4D97-AF65-F5344CB8AC3E}">
        <p14:creationId xmlns:p14="http://schemas.microsoft.com/office/powerpoint/2010/main" val="47466833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00483C-5D35-63FA-8F26-4BF4CEDC2F97}"/>
              </a:ext>
            </a:extLst>
          </p:cNvPr>
          <p:cNvSpPr>
            <a:spLocks noGrp="1"/>
          </p:cNvSpPr>
          <p:nvPr>
            <p:ph type="title"/>
          </p:nvPr>
        </p:nvSpPr>
        <p:spPr/>
        <p:txBody>
          <a:bodyPr/>
          <a:lstStyle/>
          <a:p>
            <a:r>
              <a:rPr lang="es-ES" noProof="0" dirty="0"/>
              <a:t>Ejemplos de lo que se puede hacer con una API de IA Generativa</a:t>
            </a:r>
          </a:p>
        </p:txBody>
      </p:sp>
      <p:pic>
        <p:nvPicPr>
          <p:cNvPr id="1026" name="Picture 2" descr="Qué es un conector Molex y para qué sirve? - Definición">
            <a:extLst>
              <a:ext uri="{FF2B5EF4-FFF2-40B4-BE49-F238E27FC236}">
                <a16:creationId xmlns:a16="http://schemas.microsoft.com/office/drawing/2014/main" id="{BB8B7116-E507-97F6-08C5-0EB15D432511}"/>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l="16707" r="16707"/>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3" name="Marcador de contenido 2">
            <a:extLst>
              <a:ext uri="{FF2B5EF4-FFF2-40B4-BE49-F238E27FC236}">
                <a16:creationId xmlns:a16="http://schemas.microsoft.com/office/drawing/2014/main" id="{DAC0F95C-2409-8385-7DCA-7F64620386AA}"/>
              </a:ext>
            </a:extLst>
          </p:cNvPr>
          <p:cNvSpPr>
            <a:spLocks noGrp="1"/>
          </p:cNvSpPr>
          <p:nvPr>
            <p:ph sz="quarter" idx="14"/>
          </p:nvPr>
        </p:nvSpPr>
        <p:spPr/>
        <p:txBody>
          <a:bodyPr>
            <a:normAutofit fontScale="85000" lnSpcReduction="10000"/>
          </a:bodyPr>
          <a:lstStyle/>
          <a:p>
            <a:r>
              <a:rPr lang="es-ES" noProof="0" dirty="0"/>
              <a:t>Crear contenido para marketing: Generar ideas para publicaciones en redes sociales, slogans publicitarios o guiones para videos.</a:t>
            </a:r>
          </a:p>
          <a:p>
            <a:r>
              <a:rPr lang="es-ES" noProof="0" dirty="0"/>
              <a:t>Desarrollar chatbots más inteligentes: Crear chatbots capaces de mantener conversaciones más naturales y personalizadas.</a:t>
            </a:r>
          </a:p>
          <a:p>
            <a:r>
              <a:rPr lang="es-ES" noProof="0" dirty="0"/>
              <a:t>Generar código de programación: Automatizar la creación de código repetitivo o generar nuevas ideas para soluciones de software.</a:t>
            </a:r>
          </a:p>
          <a:p>
            <a:r>
              <a:rPr lang="es-ES" noProof="0" dirty="0"/>
              <a:t>Crear contenido artístico: Generar imágenes, música o diseños únicos.</a:t>
            </a:r>
          </a:p>
          <a:p>
            <a:r>
              <a:rPr lang="es-ES" noProof="0" dirty="0"/>
              <a:t>En resumen</a:t>
            </a:r>
          </a:p>
          <a:p>
            <a:pPr lvl="1"/>
            <a:r>
              <a:rPr lang="es-ES" noProof="0" dirty="0"/>
              <a:t>Una API de IA Generativa permite aprovechar el poder de esta tecnología para crear contenido nuevo y original de forma rápida y eficiente. </a:t>
            </a:r>
          </a:p>
          <a:p>
            <a:pPr lvl="1"/>
            <a:r>
              <a:rPr lang="es-ES" noProof="0" dirty="0"/>
              <a:t>Es como tener un equipo creativo a tu disposición, las 24 horas del día, los 7 días de la semana.</a:t>
            </a:r>
          </a:p>
        </p:txBody>
      </p:sp>
      <p:sp>
        <p:nvSpPr>
          <p:cNvPr id="5" name="Marcador de fecha 4">
            <a:extLst>
              <a:ext uri="{FF2B5EF4-FFF2-40B4-BE49-F238E27FC236}">
                <a16:creationId xmlns:a16="http://schemas.microsoft.com/office/drawing/2014/main" id="{5CE5D39E-3634-97FF-52F3-306910B0261F}"/>
              </a:ext>
            </a:extLst>
          </p:cNvPr>
          <p:cNvSpPr>
            <a:spLocks noGrp="1"/>
          </p:cNvSpPr>
          <p:nvPr>
            <p:ph type="dt" sz="half" idx="15"/>
          </p:nvPr>
        </p:nvSpPr>
        <p:spPr/>
        <p:txBody>
          <a:bodyPr/>
          <a:lstStyle/>
          <a:p>
            <a:fld id="{EAA3DC4B-46F0-4C0E-AB18-FE7B2E1FE0BF}" type="datetime2">
              <a:rPr lang="es-ES" smtClean="0"/>
              <a:t>jueves, 19 de septiembre de 2024</a:t>
            </a:fld>
            <a:endParaRPr lang="es-ES" dirty="0"/>
          </a:p>
        </p:txBody>
      </p:sp>
      <p:sp>
        <p:nvSpPr>
          <p:cNvPr id="6" name="Marcador de pie de página 5">
            <a:extLst>
              <a:ext uri="{FF2B5EF4-FFF2-40B4-BE49-F238E27FC236}">
                <a16:creationId xmlns:a16="http://schemas.microsoft.com/office/drawing/2014/main" id="{25DD927C-32FF-E3E9-027F-5C8E2C959544}"/>
              </a:ext>
            </a:extLst>
          </p:cNvPr>
          <p:cNvSpPr>
            <a:spLocks noGrp="1"/>
          </p:cNvSpPr>
          <p:nvPr>
            <p:ph type="ftr" sz="quarter" idx="16"/>
          </p:nvPr>
        </p:nvSpPr>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2D005A48-B103-3A19-0EF7-18A8EBC94220}"/>
              </a:ext>
            </a:extLst>
          </p:cNvPr>
          <p:cNvSpPr>
            <a:spLocks noGrp="1"/>
          </p:cNvSpPr>
          <p:nvPr>
            <p:ph type="sldNum" sz="quarter" idx="17"/>
          </p:nvPr>
        </p:nvSpPr>
        <p:spPr/>
        <p:txBody>
          <a:bodyPr/>
          <a:lstStyle/>
          <a:p>
            <a:fld id="{55440F6C-613C-488D-819E-DA6065366E0E}" type="slidenum">
              <a:rPr lang="es-ES" smtClean="0"/>
              <a:pPr/>
              <a:t>159</a:t>
            </a:fld>
            <a:endParaRPr lang="es-ES" dirty="0"/>
          </a:p>
        </p:txBody>
      </p:sp>
    </p:spTree>
    <p:extLst>
      <p:ext uri="{BB962C8B-B14F-4D97-AF65-F5344CB8AC3E}">
        <p14:creationId xmlns:p14="http://schemas.microsoft.com/office/powerpoint/2010/main" val="2907903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5A9E75-722E-44BC-BA57-FFBD26A8D07A}"/>
              </a:ext>
            </a:extLst>
          </p:cNvPr>
          <p:cNvSpPr>
            <a:spLocks noGrp="1"/>
          </p:cNvSpPr>
          <p:nvPr>
            <p:ph type="title"/>
          </p:nvPr>
        </p:nvSpPr>
        <p:spPr>
          <a:xfrm>
            <a:off x="838200" y="365126"/>
            <a:ext cx="9840124" cy="1092200"/>
          </a:xfrm>
        </p:spPr>
        <p:txBody>
          <a:bodyPr anchor="b">
            <a:normAutofit/>
          </a:bodyPr>
          <a:lstStyle/>
          <a:p>
            <a:r>
              <a:rPr lang="es-ES" noProof="0" dirty="0"/>
              <a:t>El ejemplo de transformación digital: AMAZON (*) (1 / 2)</a:t>
            </a:r>
          </a:p>
        </p:txBody>
      </p:sp>
      <p:sp>
        <p:nvSpPr>
          <p:cNvPr id="3" name="Marcador de fecha 2">
            <a:extLst>
              <a:ext uri="{FF2B5EF4-FFF2-40B4-BE49-F238E27FC236}">
                <a16:creationId xmlns:a16="http://schemas.microsoft.com/office/drawing/2014/main" id="{F47D1B97-FA02-470B-94C4-FBDAF1E75682}"/>
              </a:ext>
            </a:extLst>
          </p:cNvPr>
          <p:cNvSpPr>
            <a:spLocks noGrp="1"/>
          </p:cNvSpPr>
          <p:nvPr>
            <p:ph type="dt" sz="half" idx="10"/>
          </p:nvPr>
        </p:nvSpPr>
        <p:spPr>
          <a:xfrm>
            <a:off x="814650" y="6400379"/>
            <a:ext cx="3380278" cy="365125"/>
          </a:xfrm>
        </p:spPr>
        <p:txBody>
          <a:bodyPr anchor="ctr">
            <a:normAutofit/>
          </a:bodyPr>
          <a:lstStyle/>
          <a:p>
            <a:fld id="{BDE43B72-3917-41F7-B609-80098D2F998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5EAE511-E3FE-4E7B-A3B1-851DFEF5D58D}"/>
              </a:ext>
            </a:extLst>
          </p:cNvPr>
          <p:cNvSpPr>
            <a:spLocks noGrp="1"/>
          </p:cNvSpPr>
          <p:nvPr>
            <p:ph type="ftr" sz="quarter" idx="11"/>
          </p:nvPr>
        </p:nvSpPr>
        <p:spPr>
          <a:xfrm>
            <a:off x="4622986" y="6421474"/>
            <a:ext cx="5989596" cy="365125"/>
          </a:xfrm>
        </p:spPr>
        <p:txBody>
          <a:bodyPr anchor="ctr">
            <a:normAutofit/>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EFDA8DE-A9D5-4BCB-A495-56FBA2450FD3}"/>
              </a:ext>
            </a:extLst>
          </p:cNvPr>
          <p:cNvSpPr>
            <a:spLocks noGrp="1"/>
          </p:cNvSpPr>
          <p:nvPr>
            <p:ph type="sldNum" sz="quarter" idx="12"/>
          </p:nvPr>
        </p:nvSpPr>
        <p:spPr>
          <a:xfrm>
            <a:off x="10801350" y="6421474"/>
            <a:ext cx="576000" cy="365125"/>
          </a:xfrm>
        </p:spPr>
        <p:txBody>
          <a:bodyPr anchor="ctr">
            <a:normAutofit/>
          </a:bodyPr>
          <a:lstStyle/>
          <a:p>
            <a:fld id="{55440F6C-613C-488D-819E-DA6065366E0E}" type="slidenum">
              <a:rPr lang="es-ES" smtClean="0"/>
              <a:pPr/>
              <a:t>16</a:t>
            </a:fld>
            <a:endParaRPr lang="es-ES" dirty="0"/>
          </a:p>
        </p:txBody>
      </p:sp>
      <p:graphicFrame>
        <p:nvGraphicFramePr>
          <p:cNvPr id="20" name="Diagrama 17">
            <a:extLst>
              <a:ext uri="{FF2B5EF4-FFF2-40B4-BE49-F238E27FC236}">
                <a16:creationId xmlns:a16="http://schemas.microsoft.com/office/drawing/2014/main" id="{4AAEF326-0914-4557-A833-755A3F07934E}"/>
              </a:ext>
            </a:extLst>
          </p:cNvPr>
          <p:cNvGraphicFramePr/>
          <p:nvPr>
            <p:extLst>
              <p:ext uri="{D42A27DB-BD31-4B8C-83A1-F6EECF244321}">
                <p14:modId xmlns:p14="http://schemas.microsoft.com/office/powerpoint/2010/main" val="734234414"/>
              </p:ext>
            </p:extLst>
          </p:nvPr>
        </p:nvGraphicFramePr>
        <p:xfrm>
          <a:off x="361741" y="1664850"/>
          <a:ext cx="11394829" cy="43943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uadroTexto 6">
            <a:extLst>
              <a:ext uri="{FF2B5EF4-FFF2-40B4-BE49-F238E27FC236}">
                <a16:creationId xmlns:a16="http://schemas.microsoft.com/office/drawing/2014/main" id="{094B414E-09AE-56EC-638F-678B479A1184}"/>
              </a:ext>
            </a:extLst>
          </p:cNvPr>
          <p:cNvSpPr txBox="1"/>
          <p:nvPr/>
        </p:nvSpPr>
        <p:spPr>
          <a:xfrm>
            <a:off x="4387085" y="1592998"/>
            <a:ext cx="7153305" cy="369332"/>
          </a:xfrm>
          <a:prstGeom prst="rect">
            <a:avLst/>
          </a:prstGeom>
          <a:noFill/>
        </p:spPr>
        <p:txBody>
          <a:bodyPr wrap="none">
            <a:spAutoFit/>
          </a:bodyPr>
          <a:lstStyle/>
          <a:p>
            <a:r>
              <a:rPr lang="es-ES" noProof="0" dirty="0">
                <a:latin typeface="+mj-lt"/>
              </a:rPr>
              <a:t>* (nombre inspirado en el rio Amazonas, el más largo del mundo) </a:t>
            </a:r>
            <a:endParaRPr lang="es-ES" dirty="0">
              <a:latin typeface="+mj-lt"/>
            </a:endParaRPr>
          </a:p>
        </p:txBody>
      </p:sp>
    </p:spTree>
    <p:extLst>
      <p:ext uri="{BB962C8B-B14F-4D97-AF65-F5344CB8AC3E}">
        <p14:creationId xmlns:p14="http://schemas.microsoft.com/office/powerpoint/2010/main" val="199041093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34931-2118-4206-017C-B72DDFEFD8C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D4A67F1-B69B-3929-CDB3-FEB8D0191B18}"/>
              </a:ext>
            </a:extLst>
          </p:cNvPr>
          <p:cNvSpPr>
            <a:spLocks noGrp="1"/>
          </p:cNvSpPr>
          <p:nvPr>
            <p:ph type="title"/>
          </p:nvPr>
        </p:nvSpPr>
        <p:spPr>
          <a:xfrm>
            <a:off x="838200" y="365126"/>
            <a:ext cx="9840124" cy="1092200"/>
          </a:xfrm>
        </p:spPr>
        <p:txBody>
          <a:bodyPr>
            <a:normAutofit/>
          </a:bodyPr>
          <a:lstStyle/>
          <a:p>
            <a:r>
              <a:rPr lang="es-ES" noProof="0" dirty="0"/>
              <a:t>La IG Generativa más común</a:t>
            </a:r>
          </a:p>
        </p:txBody>
      </p:sp>
      <p:sp>
        <p:nvSpPr>
          <p:cNvPr id="3" name="Marcador de fecha 2">
            <a:extLst>
              <a:ext uri="{FF2B5EF4-FFF2-40B4-BE49-F238E27FC236}">
                <a16:creationId xmlns:a16="http://schemas.microsoft.com/office/drawing/2014/main" id="{245DEE50-8F60-84A0-0A0B-A8BFC4E4B1EF}"/>
              </a:ext>
            </a:extLst>
          </p:cNvPr>
          <p:cNvSpPr>
            <a:spLocks noGrp="1"/>
          </p:cNvSpPr>
          <p:nvPr>
            <p:ph type="dt" sz="half" idx="10"/>
          </p:nvPr>
        </p:nvSpPr>
        <p:spPr>
          <a:xfrm>
            <a:off x="814650" y="6400379"/>
            <a:ext cx="3380278" cy="365125"/>
          </a:xfrm>
        </p:spPr>
        <p:txBody>
          <a:bodyPr/>
          <a:lstStyle/>
          <a:p>
            <a:fld id="{E3FC7F6C-E975-4F1D-9A2C-B2FA05AE14FE}"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E10FE98-F04B-6CCC-CC37-2C3417EC887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A7C1A06-1092-FB73-A1F0-88722F41A39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0</a:t>
            </a:fld>
            <a:endParaRPr lang="es-ES" dirty="0"/>
          </a:p>
        </p:txBody>
      </p:sp>
      <p:graphicFrame>
        <p:nvGraphicFramePr>
          <p:cNvPr id="6" name="Diagrama 5">
            <a:extLst>
              <a:ext uri="{FF2B5EF4-FFF2-40B4-BE49-F238E27FC236}">
                <a16:creationId xmlns:a16="http://schemas.microsoft.com/office/drawing/2014/main" id="{1887FF3F-9220-DDC3-024D-0374285639CC}"/>
              </a:ext>
            </a:extLst>
          </p:cNvPr>
          <p:cNvGraphicFramePr/>
          <p:nvPr>
            <p:extLst>
              <p:ext uri="{D42A27DB-BD31-4B8C-83A1-F6EECF244321}">
                <p14:modId xmlns:p14="http://schemas.microsoft.com/office/powerpoint/2010/main" val="3100189744"/>
              </p:ext>
            </p:extLst>
          </p:nvPr>
        </p:nvGraphicFramePr>
        <p:xfrm>
          <a:off x="838199" y="1971040"/>
          <a:ext cx="9725026" cy="42570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El nuevo logo de Microsoft.">
            <a:extLst>
              <a:ext uri="{FF2B5EF4-FFF2-40B4-BE49-F238E27FC236}">
                <a16:creationId xmlns:a16="http://schemas.microsoft.com/office/drawing/2014/main" id="{AECE1914-5411-010A-89E7-C7D5D1C4480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934" t="31293" r="9909" b="34159"/>
          <a:stretch/>
        </p:blipFill>
        <p:spPr bwMode="auto">
          <a:xfrm>
            <a:off x="1086085" y="2108835"/>
            <a:ext cx="2232000" cy="5304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ogo de Google - Wikipedia, la enciclopedia libre">
            <a:extLst>
              <a:ext uri="{FF2B5EF4-FFF2-40B4-BE49-F238E27FC236}">
                <a16:creationId xmlns:a16="http://schemas.microsoft.com/office/drawing/2014/main" id="{D1C2E17B-2343-4D93-6988-BB6880F9EC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4484" y="1971040"/>
            <a:ext cx="2232000" cy="755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87314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1F7E3-2AEB-3607-85B6-3498C8E67A4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61DF8BA-5282-68F4-7078-C5AEBBD1B410}"/>
              </a:ext>
            </a:extLst>
          </p:cNvPr>
          <p:cNvSpPr>
            <a:spLocks noGrp="1"/>
          </p:cNvSpPr>
          <p:nvPr>
            <p:ph type="title"/>
          </p:nvPr>
        </p:nvSpPr>
        <p:spPr>
          <a:xfrm>
            <a:off x="838200" y="365126"/>
            <a:ext cx="4641785" cy="1092200"/>
          </a:xfrm>
        </p:spPr>
        <p:txBody>
          <a:bodyPr>
            <a:normAutofit/>
          </a:bodyPr>
          <a:lstStyle/>
          <a:p>
            <a:r>
              <a:rPr lang="es-ES" dirty="0" err="1"/>
              <a:t>Landscape</a:t>
            </a:r>
            <a:r>
              <a:rPr lang="es-ES" dirty="0"/>
              <a:t> de IA Generativa 2024</a:t>
            </a:r>
            <a:endParaRPr lang="es-ES" noProof="0" dirty="0"/>
          </a:p>
        </p:txBody>
      </p:sp>
      <p:sp>
        <p:nvSpPr>
          <p:cNvPr id="4" name="Marcador de fecha 3">
            <a:extLst>
              <a:ext uri="{FF2B5EF4-FFF2-40B4-BE49-F238E27FC236}">
                <a16:creationId xmlns:a16="http://schemas.microsoft.com/office/drawing/2014/main" id="{4017E09F-366D-E23D-A249-9D1EF4ECFA37}"/>
              </a:ext>
            </a:extLst>
          </p:cNvPr>
          <p:cNvSpPr>
            <a:spLocks noGrp="1"/>
          </p:cNvSpPr>
          <p:nvPr>
            <p:ph type="dt" sz="half" idx="10"/>
          </p:nvPr>
        </p:nvSpPr>
        <p:spPr>
          <a:xfrm>
            <a:off x="814650" y="6400379"/>
            <a:ext cx="3380278" cy="365125"/>
          </a:xfrm>
        </p:spPr>
        <p:txBody>
          <a:bodyPr/>
          <a:lstStyle/>
          <a:p>
            <a:fld id="{33CFD4F5-9912-42F8-B876-0DDE990D13BF}"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1E2A9CDD-C13F-741B-E7A9-9FB9A1BDD33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6BF3D0E4-73A4-9D32-D71C-B2B6BAD3071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1</a:t>
            </a:fld>
            <a:endParaRPr lang="es-ES" dirty="0"/>
          </a:p>
        </p:txBody>
      </p:sp>
      <p:pic>
        <p:nvPicPr>
          <p:cNvPr id="9" name="Marcador de contenido 8" descr="Imagen de la pantalla de un celular con letras&#10;&#10;Descripción generada automáticamente con confianza media">
            <a:extLst>
              <a:ext uri="{FF2B5EF4-FFF2-40B4-BE49-F238E27FC236}">
                <a16:creationId xmlns:a16="http://schemas.microsoft.com/office/drawing/2014/main" id="{9A093CF0-389D-B559-9F93-D3D9D999515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11456" y="0"/>
            <a:ext cx="4869655" cy="6492874"/>
          </a:xfrm>
        </p:spPr>
      </p:pic>
    </p:spTree>
    <p:extLst>
      <p:ext uri="{BB962C8B-B14F-4D97-AF65-F5344CB8AC3E}">
        <p14:creationId xmlns:p14="http://schemas.microsoft.com/office/powerpoint/2010/main" val="29380659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86F7E-2362-501B-C7B7-C75F264836B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BEB4C3E-AFBF-DB8F-13C2-A566BE48A698}"/>
              </a:ext>
            </a:extLst>
          </p:cNvPr>
          <p:cNvSpPr>
            <a:spLocks noGrp="1"/>
          </p:cNvSpPr>
          <p:nvPr>
            <p:ph type="title"/>
          </p:nvPr>
        </p:nvSpPr>
        <p:spPr>
          <a:xfrm>
            <a:off x="341194" y="3814618"/>
            <a:ext cx="4932769" cy="1876594"/>
          </a:xfrm>
        </p:spPr>
        <p:txBody>
          <a:bodyPr>
            <a:normAutofit fontScale="90000"/>
          </a:bodyPr>
          <a:lstStyle/>
          <a:p>
            <a:r>
              <a:rPr lang="es-ES" noProof="0" dirty="0"/>
              <a:t>Spin-off de Artificial Intelligence</a:t>
            </a:r>
            <a:br>
              <a:rPr lang="es-ES" noProof="0" dirty="0"/>
            </a:br>
            <a:r>
              <a:rPr lang="es-ES" noProof="0" dirty="0"/>
              <a:t>“Los gemelos digitales”</a:t>
            </a:r>
          </a:p>
        </p:txBody>
      </p:sp>
      <p:sp>
        <p:nvSpPr>
          <p:cNvPr id="3" name="Marcador de fecha 2">
            <a:extLst>
              <a:ext uri="{FF2B5EF4-FFF2-40B4-BE49-F238E27FC236}">
                <a16:creationId xmlns:a16="http://schemas.microsoft.com/office/drawing/2014/main" id="{63DD1CA0-105E-6F65-1058-FC14E6E2F9FC}"/>
              </a:ext>
            </a:extLst>
          </p:cNvPr>
          <p:cNvSpPr>
            <a:spLocks noGrp="1"/>
          </p:cNvSpPr>
          <p:nvPr>
            <p:ph type="dt" sz="half" idx="10"/>
          </p:nvPr>
        </p:nvSpPr>
        <p:spPr>
          <a:xfrm>
            <a:off x="814650" y="6400379"/>
            <a:ext cx="3380278" cy="365125"/>
          </a:xfrm>
        </p:spPr>
        <p:txBody>
          <a:bodyPr/>
          <a:lstStyle/>
          <a:p>
            <a:fld id="{8230BC2E-FCBF-45F4-BA52-10B97450F4D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F5FFFC9-1A26-37C5-D12B-F536DFFF518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DD6249F-0420-AAA7-8CCD-5A35A6601F2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2</a:t>
            </a:fld>
            <a:endParaRPr lang="es-ES" dirty="0"/>
          </a:p>
        </p:txBody>
      </p:sp>
    </p:spTree>
    <p:extLst>
      <p:ext uri="{BB962C8B-B14F-4D97-AF65-F5344CB8AC3E}">
        <p14:creationId xmlns:p14="http://schemas.microsoft.com/office/powerpoint/2010/main" val="354526499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F31A4-317A-9D0A-097D-C3A99BAFD826}"/>
            </a:ext>
          </a:extLst>
        </p:cNvPr>
        <p:cNvGrpSpPr/>
        <p:nvPr/>
      </p:nvGrpSpPr>
      <p:grpSpPr>
        <a:xfrm>
          <a:off x="0" y="0"/>
          <a:ext cx="0" cy="0"/>
          <a:chOff x="0" y="0"/>
          <a:chExt cx="0" cy="0"/>
        </a:xfrm>
      </p:grpSpPr>
      <p:sp>
        <p:nvSpPr>
          <p:cNvPr id="7" name="Título 6">
            <a:extLst>
              <a:ext uri="{FF2B5EF4-FFF2-40B4-BE49-F238E27FC236}">
                <a16:creationId xmlns:a16="http://schemas.microsoft.com/office/drawing/2014/main" id="{3518F39D-D090-638F-B929-F3A41F1B7650}"/>
              </a:ext>
            </a:extLst>
          </p:cNvPr>
          <p:cNvSpPr>
            <a:spLocks noGrp="1"/>
          </p:cNvSpPr>
          <p:nvPr>
            <p:ph type="title"/>
          </p:nvPr>
        </p:nvSpPr>
        <p:spPr>
          <a:xfrm>
            <a:off x="838200" y="365126"/>
            <a:ext cx="9840124" cy="1092200"/>
          </a:xfrm>
        </p:spPr>
        <p:txBody>
          <a:bodyPr>
            <a:normAutofit/>
          </a:bodyPr>
          <a:lstStyle/>
          <a:p>
            <a:r>
              <a:rPr lang="es-ES" noProof="0" dirty="0"/>
              <a:t>Definición y uso de los gemelos digitales (“digital twin”)</a:t>
            </a:r>
          </a:p>
        </p:txBody>
      </p:sp>
      <p:graphicFrame>
        <p:nvGraphicFramePr>
          <p:cNvPr id="9" name="Marcador de contenido 7">
            <a:extLst>
              <a:ext uri="{FF2B5EF4-FFF2-40B4-BE49-F238E27FC236}">
                <a16:creationId xmlns:a16="http://schemas.microsoft.com/office/drawing/2014/main" id="{1F4F68EB-89E0-5960-4F6D-E929F5E36895}"/>
              </a:ext>
            </a:extLst>
          </p:cNvPr>
          <p:cNvGraphicFramePr>
            <a:graphicFrameLocks noGrp="1"/>
          </p:cNvGraphicFramePr>
          <p:nvPr>
            <p:ph idx="1"/>
            <p:extLst>
              <p:ext uri="{D42A27DB-BD31-4B8C-83A1-F6EECF244321}">
                <p14:modId xmlns:p14="http://schemas.microsoft.com/office/powerpoint/2010/main" val="263897128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Marcador de fecha 1">
            <a:extLst>
              <a:ext uri="{FF2B5EF4-FFF2-40B4-BE49-F238E27FC236}">
                <a16:creationId xmlns:a16="http://schemas.microsoft.com/office/drawing/2014/main" id="{33CD5C6B-2E3D-1D35-2B49-D4FA7E430DB9}"/>
              </a:ext>
            </a:extLst>
          </p:cNvPr>
          <p:cNvSpPr>
            <a:spLocks noGrp="1"/>
          </p:cNvSpPr>
          <p:nvPr>
            <p:ph type="dt" sz="half" idx="10"/>
          </p:nvPr>
        </p:nvSpPr>
        <p:spPr>
          <a:xfrm>
            <a:off x="814650" y="6400379"/>
            <a:ext cx="3380278" cy="365125"/>
          </a:xfrm>
        </p:spPr>
        <p:txBody>
          <a:bodyPr/>
          <a:lstStyle/>
          <a:p>
            <a:fld id="{25F6756D-376D-4318-BE5C-604FF73869DD}"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AF6F2395-D8D8-680B-1413-8148EC834C7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A616C1F2-4886-52B4-FADE-386EE8DB1FD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3</a:t>
            </a:fld>
            <a:endParaRPr lang="es-ES" dirty="0"/>
          </a:p>
        </p:txBody>
      </p:sp>
    </p:spTree>
    <p:extLst>
      <p:ext uri="{BB962C8B-B14F-4D97-AF65-F5344CB8AC3E}">
        <p14:creationId xmlns:p14="http://schemas.microsoft.com/office/powerpoint/2010/main" val="429273003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1417A-E6ED-B854-BE46-F4ED86C56D4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3AF0EE4-E769-5EFC-A195-C67E3AB8E248}"/>
              </a:ext>
            </a:extLst>
          </p:cNvPr>
          <p:cNvSpPr>
            <a:spLocks noGrp="1"/>
          </p:cNvSpPr>
          <p:nvPr>
            <p:ph type="title"/>
          </p:nvPr>
        </p:nvSpPr>
        <p:spPr>
          <a:xfrm>
            <a:off x="838200" y="365126"/>
            <a:ext cx="9840124" cy="1092200"/>
          </a:xfrm>
        </p:spPr>
        <p:txBody>
          <a:bodyPr/>
          <a:lstStyle/>
          <a:p>
            <a:r>
              <a:rPr lang="es-ES" noProof="0" dirty="0"/>
              <a:t>Historia de los gemelos digitales</a:t>
            </a:r>
          </a:p>
        </p:txBody>
      </p:sp>
      <p:graphicFrame>
        <p:nvGraphicFramePr>
          <p:cNvPr id="4" name="Marcador de contenido 3">
            <a:extLst>
              <a:ext uri="{FF2B5EF4-FFF2-40B4-BE49-F238E27FC236}">
                <a16:creationId xmlns:a16="http://schemas.microsoft.com/office/drawing/2014/main" id="{158B46C3-977D-E791-74ED-2480EC8A7200}"/>
              </a:ext>
            </a:extLst>
          </p:cNvPr>
          <p:cNvGraphicFramePr>
            <a:graphicFrameLocks noGrp="1"/>
          </p:cNvGraphicFramePr>
          <p:nvPr>
            <p:ph idx="1"/>
            <p:extLst>
              <p:ext uri="{D42A27DB-BD31-4B8C-83A1-F6EECF244321}">
                <p14:modId xmlns:p14="http://schemas.microsoft.com/office/powerpoint/2010/main" val="131460417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E70C4B06-7EBB-6430-75A5-D2D93EB4E3CA}"/>
              </a:ext>
            </a:extLst>
          </p:cNvPr>
          <p:cNvSpPr>
            <a:spLocks noGrp="1"/>
          </p:cNvSpPr>
          <p:nvPr>
            <p:ph type="dt" sz="half" idx="10"/>
          </p:nvPr>
        </p:nvSpPr>
        <p:spPr>
          <a:xfrm>
            <a:off x="814650" y="6400379"/>
            <a:ext cx="3380278" cy="365125"/>
          </a:xfrm>
        </p:spPr>
        <p:txBody>
          <a:bodyPr/>
          <a:lstStyle/>
          <a:p>
            <a:fld id="{D68B53FE-98AF-47DF-84A8-A5DC1829185A}"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B3C0EA4C-9003-988A-F226-695524DA4AB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ED78D5CB-869D-1F98-90EA-D73DBA4B074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4</a:t>
            </a:fld>
            <a:endParaRPr lang="es-ES" dirty="0"/>
          </a:p>
        </p:txBody>
      </p:sp>
      <p:pic>
        <p:nvPicPr>
          <p:cNvPr id="3074" name="Picture 2" descr="David Gelernter: &quot;Los informáticos están corrompidos por fantasías de poder&quot;">
            <a:extLst>
              <a:ext uri="{FF2B5EF4-FFF2-40B4-BE49-F238E27FC236}">
                <a16:creationId xmlns:a16="http://schemas.microsoft.com/office/drawing/2014/main" id="{55F39A3A-4A82-DF7F-032A-3D662BBF957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955" y="1817535"/>
            <a:ext cx="1161833" cy="1188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NASA - Wikipedia, la enciclopedia libre">
            <a:extLst>
              <a:ext uri="{FF2B5EF4-FFF2-40B4-BE49-F238E27FC236}">
                <a16:creationId xmlns:a16="http://schemas.microsoft.com/office/drawing/2014/main" id="{2FA08FF4-C820-EF0D-0C94-ADA73A7242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5015" y="3429000"/>
            <a:ext cx="1419825" cy="11880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nstituto de tecnología de Florida - Copro">
            <a:extLst>
              <a:ext uri="{FF2B5EF4-FFF2-40B4-BE49-F238E27FC236}">
                <a16:creationId xmlns:a16="http://schemas.microsoft.com/office/drawing/2014/main" id="{E643659B-8F1A-A588-7EE4-511E35E21E4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6789" y="3514957"/>
            <a:ext cx="1188000" cy="11880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modelo 3d Planeta Tierra - TurboSquid 1254373">
            <a:extLst>
              <a:ext uri="{FF2B5EF4-FFF2-40B4-BE49-F238E27FC236}">
                <a16:creationId xmlns:a16="http://schemas.microsoft.com/office/drawing/2014/main" id="{E082037C-5397-590C-33B5-DD1138BE063A}"/>
              </a:ext>
            </a:extLst>
          </p:cNvPr>
          <p:cNvPicPr>
            <a:picLocks noChangeAspect="1" noChangeArrowheads="1"/>
          </p:cNvPicPr>
          <p:nvPr/>
        </p:nvPicPr>
        <p:blipFill rotWithShape="1">
          <a:blip r:embed="rId10">
            <a:clrChange>
              <a:clrFrom>
                <a:srgbClr val="E1EBF7"/>
              </a:clrFrom>
              <a:clrTo>
                <a:srgbClr val="E1EBF7">
                  <a:alpha val="0"/>
                </a:srgbClr>
              </a:clrTo>
            </a:clrChange>
            <a:extLst>
              <a:ext uri="{28A0092B-C50C-407E-A947-70E740481C1C}">
                <a14:useLocalDpi xmlns:a14="http://schemas.microsoft.com/office/drawing/2010/main" val="0"/>
              </a:ext>
            </a:extLst>
          </a:blip>
          <a:srcRect/>
          <a:stretch/>
        </p:blipFill>
        <p:spPr bwMode="auto">
          <a:xfrm>
            <a:off x="5626351" y="5304874"/>
            <a:ext cx="1183248" cy="1188000"/>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a:extLst>
              <a:ext uri="{FF2B5EF4-FFF2-40B4-BE49-F238E27FC236}">
                <a16:creationId xmlns:a16="http://schemas.microsoft.com/office/drawing/2014/main" id="{E91DFE48-EB75-9CAE-9089-E354733BB122}"/>
              </a:ext>
            </a:extLst>
          </p:cNvPr>
          <p:cNvPicPr>
            <a:picLocks noChangeAspect="1"/>
          </p:cNvPicPr>
          <p:nvPr/>
        </p:nvPicPr>
        <p:blipFill>
          <a:blip r:embed="rId11"/>
          <a:stretch>
            <a:fillRect/>
          </a:stretch>
        </p:blipFill>
        <p:spPr>
          <a:xfrm>
            <a:off x="8974380" y="629535"/>
            <a:ext cx="2683420" cy="1188000"/>
          </a:xfrm>
          <a:prstGeom prst="rect">
            <a:avLst/>
          </a:prstGeom>
        </p:spPr>
      </p:pic>
    </p:spTree>
    <p:extLst>
      <p:ext uri="{BB962C8B-B14F-4D97-AF65-F5344CB8AC3E}">
        <p14:creationId xmlns:p14="http://schemas.microsoft.com/office/powerpoint/2010/main" val="156566746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1D2E9-DF62-9DF6-D2F5-16AC95F13C9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B8419DC-8036-4401-03D2-EBBF429366C2}"/>
              </a:ext>
            </a:extLst>
          </p:cNvPr>
          <p:cNvSpPr>
            <a:spLocks noGrp="1"/>
          </p:cNvSpPr>
          <p:nvPr>
            <p:ph type="title"/>
          </p:nvPr>
        </p:nvSpPr>
        <p:spPr>
          <a:xfrm>
            <a:off x="838200" y="365126"/>
            <a:ext cx="9840124" cy="1092200"/>
          </a:xfrm>
        </p:spPr>
        <p:txBody>
          <a:bodyPr/>
          <a:lstStyle/>
          <a:p>
            <a:r>
              <a:rPr lang="es-ES" noProof="0" dirty="0"/>
              <a:t>Construir un gemelo digital es complejo: premisas</a:t>
            </a:r>
          </a:p>
        </p:txBody>
      </p:sp>
      <p:graphicFrame>
        <p:nvGraphicFramePr>
          <p:cNvPr id="7" name="Marcador de contenido 6">
            <a:extLst>
              <a:ext uri="{FF2B5EF4-FFF2-40B4-BE49-F238E27FC236}">
                <a16:creationId xmlns:a16="http://schemas.microsoft.com/office/drawing/2014/main" id="{697ABEAC-0446-E4EA-FBAE-03E6EEB0914F}"/>
              </a:ext>
            </a:extLst>
          </p:cNvPr>
          <p:cNvGraphicFramePr>
            <a:graphicFrameLocks noGrp="1"/>
          </p:cNvGraphicFramePr>
          <p:nvPr>
            <p:ph sz="half" idx="1"/>
            <p:extLst>
              <p:ext uri="{D42A27DB-BD31-4B8C-83A1-F6EECF244321}">
                <p14:modId xmlns:p14="http://schemas.microsoft.com/office/powerpoint/2010/main" val="2430742953"/>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Marcador de posición de imagen 8">
            <a:extLst>
              <a:ext uri="{FF2B5EF4-FFF2-40B4-BE49-F238E27FC236}">
                <a16:creationId xmlns:a16="http://schemas.microsoft.com/office/drawing/2014/main" id="{6E4303BC-90AC-5B5D-0BE7-69CC690A897F}"/>
              </a:ext>
            </a:extLst>
          </p:cNvPr>
          <p:cNvPicPr>
            <a:picLocks noGrp="1" noChangeAspect="1"/>
          </p:cNvPicPr>
          <p:nvPr>
            <p:ph sz="quarter" idx="13"/>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a:xfrm>
            <a:off x="1160253" y="3318618"/>
            <a:ext cx="1173582" cy="1181202"/>
          </a:xfrm>
        </p:spPr>
      </p:pic>
      <p:sp>
        <p:nvSpPr>
          <p:cNvPr id="4" name="Marcador de fecha 3">
            <a:extLst>
              <a:ext uri="{FF2B5EF4-FFF2-40B4-BE49-F238E27FC236}">
                <a16:creationId xmlns:a16="http://schemas.microsoft.com/office/drawing/2014/main" id="{B69CAF81-5F3F-152C-A3BA-1C14AB46E4A5}"/>
              </a:ext>
            </a:extLst>
          </p:cNvPr>
          <p:cNvSpPr>
            <a:spLocks noGrp="1"/>
          </p:cNvSpPr>
          <p:nvPr>
            <p:ph type="dt" sz="half" idx="14"/>
          </p:nvPr>
        </p:nvSpPr>
        <p:spPr>
          <a:xfrm>
            <a:off x="814650" y="6400379"/>
            <a:ext cx="3380278" cy="365125"/>
          </a:xfrm>
        </p:spPr>
        <p:txBody>
          <a:bodyPr/>
          <a:lstStyle/>
          <a:p>
            <a:fld id="{BBF8A90F-AAA2-4721-88EC-9F7E94B343C7}"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51D4C0E-56D3-A164-44E1-F82CB51E5EE1}"/>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5395EC2B-711C-C642-36B0-487BD9B8674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65</a:t>
            </a:fld>
            <a:endParaRPr lang="es-ES" dirty="0"/>
          </a:p>
        </p:txBody>
      </p:sp>
    </p:spTree>
    <p:extLst>
      <p:ext uri="{BB962C8B-B14F-4D97-AF65-F5344CB8AC3E}">
        <p14:creationId xmlns:p14="http://schemas.microsoft.com/office/powerpoint/2010/main" val="29063909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D45B8-8C88-AAA6-80FC-98223855E52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FF119FA-0417-336E-3C2C-C4F338D92464}"/>
              </a:ext>
            </a:extLst>
          </p:cNvPr>
          <p:cNvSpPr>
            <a:spLocks noGrp="1"/>
          </p:cNvSpPr>
          <p:nvPr>
            <p:ph type="title"/>
          </p:nvPr>
        </p:nvSpPr>
        <p:spPr>
          <a:xfrm>
            <a:off x="838200" y="365126"/>
            <a:ext cx="9840124" cy="1092200"/>
          </a:xfrm>
        </p:spPr>
        <p:txBody>
          <a:bodyPr/>
          <a:lstStyle/>
          <a:p>
            <a:r>
              <a:rPr lang="es-ES" noProof="0" dirty="0"/>
              <a:t>Empresas que crean Modelos Digitales</a:t>
            </a:r>
          </a:p>
        </p:txBody>
      </p:sp>
      <p:graphicFrame>
        <p:nvGraphicFramePr>
          <p:cNvPr id="8" name="Marcador de contenido 2">
            <a:extLst>
              <a:ext uri="{FF2B5EF4-FFF2-40B4-BE49-F238E27FC236}">
                <a16:creationId xmlns:a16="http://schemas.microsoft.com/office/drawing/2014/main" id="{1534E7A7-32CD-621F-5BCA-71AC42F3A665}"/>
              </a:ext>
            </a:extLst>
          </p:cNvPr>
          <p:cNvGraphicFramePr>
            <a:graphicFrameLocks noGrp="1"/>
          </p:cNvGraphicFramePr>
          <p:nvPr>
            <p:ph idx="1"/>
            <p:extLst>
              <p:ext uri="{D42A27DB-BD31-4B8C-83A1-F6EECF244321}">
                <p14:modId xmlns:p14="http://schemas.microsoft.com/office/powerpoint/2010/main" val="377790763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AA75FBA9-CB2D-25F4-E011-B874EEB57E92}"/>
              </a:ext>
            </a:extLst>
          </p:cNvPr>
          <p:cNvSpPr>
            <a:spLocks noGrp="1"/>
          </p:cNvSpPr>
          <p:nvPr>
            <p:ph type="dt" sz="half" idx="10"/>
          </p:nvPr>
        </p:nvSpPr>
        <p:spPr>
          <a:xfrm>
            <a:off x="814650" y="6400379"/>
            <a:ext cx="3380278" cy="365125"/>
          </a:xfrm>
        </p:spPr>
        <p:txBody>
          <a:bodyPr/>
          <a:lstStyle/>
          <a:p>
            <a:fld id="{FA51B551-AFAF-457B-A51B-1D6BB56A06E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0DDD8B56-001A-C37B-2467-001FB2B542C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A6E6C191-2A11-061B-0AD7-2EE8F410B30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66</a:t>
            </a:fld>
            <a:endParaRPr lang="es-ES" dirty="0"/>
          </a:p>
        </p:txBody>
      </p:sp>
    </p:spTree>
    <p:extLst>
      <p:ext uri="{BB962C8B-B14F-4D97-AF65-F5344CB8AC3E}">
        <p14:creationId xmlns:p14="http://schemas.microsoft.com/office/powerpoint/2010/main" val="213263580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5073C-8A85-E477-29CA-1F988A75A9A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BB83775-0B57-AD6B-7B1C-9E8CB8B28D61}"/>
              </a:ext>
            </a:extLst>
          </p:cNvPr>
          <p:cNvSpPr>
            <a:spLocks noGrp="1"/>
          </p:cNvSpPr>
          <p:nvPr>
            <p:ph type="title"/>
          </p:nvPr>
        </p:nvSpPr>
        <p:spPr>
          <a:xfrm>
            <a:off x="838200" y="365126"/>
            <a:ext cx="9840124" cy="1092200"/>
          </a:xfrm>
        </p:spPr>
        <p:txBody>
          <a:bodyPr/>
          <a:lstStyle/>
          <a:p>
            <a:r>
              <a:rPr lang="es-ES" noProof="0" dirty="0"/>
              <a:t>Creando un Modelo Digital: Los datos</a:t>
            </a:r>
          </a:p>
        </p:txBody>
      </p:sp>
      <p:graphicFrame>
        <p:nvGraphicFramePr>
          <p:cNvPr id="7" name="Marcador de contenido 6">
            <a:extLst>
              <a:ext uri="{FF2B5EF4-FFF2-40B4-BE49-F238E27FC236}">
                <a16:creationId xmlns:a16="http://schemas.microsoft.com/office/drawing/2014/main" id="{3235D71D-3A98-29FC-EACB-6605772A975F}"/>
              </a:ext>
            </a:extLst>
          </p:cNvPr>
          <p:cNvGraphicFramePr>
            <a:graphicFrameLocks noGrp="1"/>
          </p:cNvGraphicFramePr>
          <p:nvPr>
            <p:ph sz="half" idx="1"/>
            <p:extLst>
              <p:ext uri="{D42A27DB-BD31-4B8C-83A1-F6EECF244321}">
                <p14:modId xmlns:p14="http://schemas.microsoft.com/office/powerpoint/2010/main" val="3229585910"/>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Marcador de contenido 7">
            <a:extLst>
              <a:ext uri="{FF2B5EF4-FFF2-40B4-BE49-F238E27FC236}">
                <a16:creationId xmlns:a16="http://schemas.microsoft.com/office/drawing/2014/main" id="{5D50018C-A5F5-D720-CD87-35FCC46456A8}"/>
              </a:ext>
            </a:extLst>
          </p:cNvPr>
          <p:cNvPicPr>
            <a:picLocks noGrp="1" noChangeAspect="1"/>
          </p:cNvPicPr>
          <p:nvPr>
            <p:ph sz="quarter" idx="13"/>
          </p:nvPr>
        </p:nvPicPr>
        <p:blipFill>
          <a:blip r:embed="rId7"/>
          <a:stretch>
            <a:fillRect/>
          </a:stretch>
        </p:blipFill>
        <p:spPr>
          <a:xfrm>
            <a:off x="709131" y="2828925"/>
            <a:ext cx="2075825" cy="2160588"/>
          </a:xfrm>
        </p:spPr>
      </p:pic>
      <p:sp>
        <p:nvSpPr>
          <p:cNvPr id="4" name="Marcador de fecha 3">
            <a:extLst>
              <a:ext uri="{FF2B5EF4-FFF2-40B4-BE49-F238E27FC236}">
                <a16:creationId xmlns:a16="http://schemas.microsoft.com/office/drawing/2014/main" id="{972B85D5-9188-C650-8E01-A0F950DB0B1B}"/>
              </a:ext>
            </a:extLst>
          </p:cNvPr>
          <p:cNvSpPr>
            <a:spLocks noGrp="1"/>
          </p:cNvSpPr>
          <p:nvPr>
            <p:ph type="dt" sz="half" idx="14"/>
          </p:nvPr>
        </p:nvSpPr>
        <p:spPr>
          <a:xfrm>
            <a:off x="814650" y="6400379"/>
            <a:ext cx="3380278" cy="365125"/>
          </a:xfrm>
        </p:spPr>
        <p:txBody>
          <a:bodyPr/>
          <a:lstStyle/>
          <a:p>
            <a:fld id="{6628C711-84BF-48D2-80C3-98CEF709C076}"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77CFDA77-4349-06B9-30F5-2A93B089E09B}"/>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E89DDBA1-E07E-854B-B282-BC47BE88695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67</a:t>
            </a:fld>
            <a:endParaRPr lang="es-ES" dirty="0"/>
          </a:p>
        </p:txBody>
      </p:sp>
    </p:spTree>
    <p:extLst>
      <p:ext uri="{BB962C8B-B14F-4D97-AF65-F5344CB8AC3E}">
        <p14:creationId xmlns:p14="http://schemas.microsoft.com/office/powerpoint/2010/main" val="371041305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35DF1-751A-1664-3535-74DB4FEBE6B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3DC13FB-5723-DEB6-A56E-D149B876128D}"/>
              </a:ext>
            </a:extLst>
          </p:cNvPr>
          <p:cNvSpPr>
            <a:spLocks noGrp="1"/>
          </p:cNvSpPr>
          <p:nvPr>
            <p:ph type="title"/>
          </p:nvPr>
        </p:nvSpPr>
        <p:spPr>
          <a:xfrm>
            <a:off x="838200" y="365126"/>
            <a:ext cx="9840124" cy="1092200"/>
          </a:xfrm>
        </p:spPr>
        <p:txBody>
          <a:bodyPr/>
          <a:lstStyle/>
          <a:p>
            <a:r>
              <a:rPr lang="es-ES" noProof="0" dirty="0"/>
              <a:t>Creando un Gemelo (Modelo Digital): Tecnología, elementos y componentes</a:t>
            </a:r>
          </a:p>
        </p:txBody>
      </p:sp>
      <p:pic>
        <p:nvPicPr>
          <p:cNvPr id="4098" name="Picture 2" descr="Logo Puzzle Ilustraciones Stock, Vectores, Y Clipart – (30,793  Ilustraciones Stock)">
            <a:extLst>
              <a:ext uri="{FF2B5EF4-FFF2-40B4-BE49-F238E27FC236}">
                <a16:creationId xmlns:a16="http://schemas.microsoft.com/office/drawing/2014/main" id="{89D87DAC-D0BE-7AE6-3C58-01A1FBD8ED44}"/>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l="8500" r="8500"/>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graphicFrame>
        <p:nvGraphicFramePr>
          <p:cNvPr id="8" name="Marcador de contenido 7">
            <a:extLst>
              <a:ext uri="{FF2B5EF4-FFF2-40B4-BE49-F238E27FC236}">
                <a16:creationId xmlns:a16="http://schemas.microsoft.com/office/drawing/2014/main" id="{C89C612F-7FE2-97B7-1EF7-9C8974780620}"/>
              </a:ext>
            </a:extLst>
          </p:cNvPr>
          <p:cNvGraphicFramePr>
            <a:graphicFrameLocks noGrp="1"/>
          </p:cNvGraphicFramePr>
          <p:nvPr>
            <p:ph sz="quarter" idx="14"/>
            <p:extLst>
              <p:ext uri="{D42A27DB-BD31-4B8C-83A1-F6EECF244321}">
                <p14:modId xmlns:p14="http://schemas.microsoft.com/office/powerpoint/2010/main" val="2819302328"/>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Marcador de fecha 2">
            <a:extLst>
              <a:ext uri="{FF2B5EF4-FFF2-40B4-BE49-F238E27FC236}">
                <a16:creationId xmlns:a16="http://schemas.microsoft.com/office/drawing/2014/main" id="{1AC34247-4067-E04E-2A79-966CA45B15E7}"/>
              </a:ext>
            </a:extLst>
          </p:cNvPr>
          <p:cNvSpPr>
            <a:spLocks noGrp="1"/>
          </p:cNvSpPr>
          <p:nvPr>
            <p:ph type="dt" sz="half" idx="15"/>
          </p:nvPr>
        </p:nvSpPr>
        <p:spPr>
          <a:xfrm>
            <a:off x="814650" y="6400379"/>
            <a:ext cx="3380278" cy="365125"/>
          </a:xfrm>
        </p:spPr>
        <p:txBody>
          <a:bodyPr/>
          <a:lstStyle/>
          <a:p>
            <a:fld id="{D3FF8D0F-A659-4B22-8748-25D47732193F}"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618C719-0E22-8C4F-9FA2-F03D96F89121}"/>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6B61F87-2F14-E2D5-8C0E-2BD2D5FB0E79}"/>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68</a:t>
            </a:fld>
            <a:endParaRPr lang="es-ES" dirty="0"/>
          </a:p>
        </p:txBody>
      </p:sp>
    </p:spTree>
    <p:extLst>
      <p:ext uri="{BB962C8B-B14F-4D97-AF65-F5344CB8AC3E}">
        <p14:creationId xmlns:p14="http://schemas.microsoft.com/office/powerpoint/2010/main" val="114798067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40137-F3F1-A440-5D59-21A9865516D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9981A69-9C9D-D0F3-E9BC-95FB4BB91E64}"/>
              </a:ext>
            </a:extLst>
          </p:cNvPr>
          <p:cNvSpPr>
            <a:spLocks noGrp="1"/>
          </p:cNvSpPr>
          <p:nvPr>
            <p:ph type="title"/>
          </p:nvPr>
        </p:nvSpPr>
        <p:spPr>
          <a:xfrm>
            <a:off x="838200" y="365126"/>
            <a:ext cx="9840124" cy="1092200"/>
          </a:xfrm>
        </p:spPr>
        <p:txBody>
          <a:bodyPr/>
          <a:lstStyle/>
          <a:p>
            <a:r>
              <a:rPr lang="es-ES" noProof="0" dirty="0"/>
              <a:t>Ejemplos de uso de los gemelos digitales en la Industria 4.0 (1 / 2)</a:t>
            </a:r>
          </a:p>
        </p:txBody>
      </p:sp>
      <p:pic>
        <p:nvPicPr>
          <p:cNvPr id="2050" name="Picture 2" descr="Gemelos digitales: definición, tipos, aplicaciones y ejemplos">
            <a:extLst>
              <a:ext uri="{FF2B5EF4-FFF2-40B4-BE49-F238E27FC236}">
                <a16:creationId xmlns:a16="http://schemas.microsoft.com/office/drawing/2014/main" id="{A26860DA-B265-C99E-8C7D-8875E229D1A9}"/>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l="23281" r="23281"/>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graphicFrame>
        <p:nvGraphicFramePr>
          <p:cNvPr id="17" name="Marcador de contenido 9">
            <a:extLst>
              <a:ext uri="{FF2B5EF4-FFF2-40B4-BE49-F238E27FC236}">
                <a16:creationId xmlns:a16="http://schemas.microsoft.com/office/drawing/2014/main" id="{1623549F-920E-BD5F-071B-00841022DE3E}"/>
              </a:ext>
            </a:extLst>
          </p:cNvPr>
          <p:cNvGraphicFramePr>
            <a:graphicFrameLocks noGrp="1"/>
          </p:cNvGraphicFramePr>
          <p:nvPr>
            <p:ph sz="quarter" idx="14"/>
            <p:extLst>
              <p:ext uri="{D42A27DB-BD31-4B8C-83A1-F6EECF244321}">
                <p14:modId xmlns:p14="http://schemas.microsoft.com/office/powerpoint/2010/main" val="920717570"/>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Marcador de fecha 2">
            <a:extLst>
              <a:ext uri="{FF2B5EF4-FFF2-40B4-BE49-F238E27FC236}">
                <a16:creationId xmlns:a16="http://schemas.microsoft.com/office/drawing/2014/main" id="{CF1CDBD7-598D-E71C-1029-66CDF3B5F78B}"/>
              </a:ext>
            </a:extLst>
          </p:cNvPr>
          <p:cNvSpPr>
            <a:spLocks noGrp="1"/>
          </p:cNvSpPr>
          <p:nvPr>
            <p:ph type="dt" sz="half" idx="15"/>
          </p:nvPr>
        </p:nvSpPr>
        <p:spPr>
          <a:xfrm>
            <a:off x="814650" y="6400379"/>
            <a:ext cx="3380278" cy="365125"/>
          </a:xfrm>
        </p:spPr>
        <p:txBody>
          <a:bodyPr/>
          <a:lstStyle/>
          <a:p>
            <a:fld id="{8A02E392-4AD6-4AC9-8605-AFEDB493CAB7}"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F3EA98ED-51D3-5C21-6840-459AA7262318}"/>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3E22E23-A547-6450-4F4A-D27656991983}"/>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69</a:t>
            </a:fld>
            <a:endParaRPr lang="es-ES" dirty="0"/>
          </a:p>
        </p:txBody>
      </p:sp>
    </p:spTree>
    <p:extLst>
      <p:ext uri="{BB962C8B-B14F-4D97-AF65-F5344CB8AC3E}">
        <p14:creationId xmlns:p14="http://schemas.microsoft.com/office/powerpoint/2010/main" val="35609417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5A9E75-722E-44BC-BA57-FFBD26A8D07A}"/>
              </a:ext>
            </a:extLst>
          </p:cNvPr>
          <p:cNvSpPr>
            <a:spLocks noGrp="1"/>
          </p:cNvSpPr>
          <p:nvPr>
            <p:ph type="title"/>
          </p:nvPr>
        </p:nvSpPr>
        <p:spPr>
          <a:xfrm>
            <a:off x="838200" y="365126"/>
            <a:ext cx="9840124" cy="1092200"/>
          </a:xfrm>
        </p:spPr>
        <p:txBody>
          <a:bodyPr anchor="b">
            <a:normAutofit/>
          </a:bodyPr>
          <a:lstStyle/>
          <a:p>
            <a:r>
              <a:rPr lang="es-ES" noProof="0" dirty="0"/>
              <a:t>.. Sigue AMAZON (2 / 2)</a:t>
            </a:r>
          </a:p>
        </p:txBody>
      </p:sp>
      <p:sp>
        <p:nvSpPr>
          <p:cNvPr id="3" name="Marcador de fecha 2">
            <a:extLst>
              <a:ext uri="{FF2B5EF4-FFF2-40B4-BE49-F238E27FC236}">
                <a16:creationId xmlns:a16="http://schemas.microsoft.com/office/drawing/2014/main" id="{F47D1B97-FA02-470B-94C4-FBDAF1E75682}"/>
              </a:ext>
            </a:extLst>
          </p:cNvPr>
          <p:cNvSpPr>
            <a:spLocks noGrp="1"/>
          </p:cNvSpPr>
          <p:nvPr>
            <p:ph type="dt" sz="half" idx="10"/>
          </p:nvPr>
        </p:nvSpPr>
        <p:spPr>
          <a:xfrm>
            <a:off x="814650" y="6400379"/>
            <a:ext cx="3380278" cy="365125"/>
          </a:xfrm>
        </p:spPr>
        <p:txBody>
          <a:bodyPr anchor="ctr">
            <a:normAutofit/>
          </a:bodyPr>
          <a:lstStyle/>
          <a:p>
            <a:fld id="{F5EA94C8-152B-492F-9BD6-9A97B93AC35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5EAE511-E3FE-4E7B-A3B1-851DFEF5D58D}"/>
              </a:ext>
            </a:extLst>
          </p:cNvPr>
          <p:cNvSpPr>
            <a:spLocks noGrp="1"/>
          </p:cNvSpPr>
          <p:nvPr>
            <p:ph type="ftr" sz="quarter" idx="11"/>
          </p:nvPr>
        </p:nvSpPr>
        <p:spPr>
          <a:xfrm>
            <a:off x="4622986" y="6421474"/>
            <a:ext cx="5989596" cy="365125"/>
          </a:xfrm>
        </p:spPr>
        <p:txBody>
          <a:bodyPr anchor="ctr">
            <a:normAutofit/>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EFDA8DE-A9D5-4BCB-A495-56FBA2450FD3}"/>
              </a:ext>
            </a:extLst>
          </p:cNvPr>
          <p:cNvSpPr>
            <a:spLocks noGrp="1"/>
          </p:cNvSpPr>
          <p:nvPr>
            <p:ph type="sldNum" sz="quarter" idx="12"/>
          </p:nvPr>
        </p:nvSpPr>
        <p:spPr>
          <a:xfrm>
            <a:off x="10801350" y="6421474"/>
            <a:ext cx="576000" cy="365125"/>
          </a:xfrm>
        </p:spPr>
        <p:txBody>
          <a:bodyPr anchor="ctr">
            <a:normAutofit/>
          </a:bodyPr>
          <a:lstStyle/>
          <a:p>
            <a:fld id="{55440F6C-613C-488D-819E-DA6065366E0E}" type="slidenum">
              <a:rPr lang="es-ES" smtClean="0"/>
              <a:pPr/>
              <a:t>17</a:t>
            </a:fld>
            <a:endParaRPr lang="es-ES" dirty="0"/>
          </a:p>
        </p:txBody>
      </p:sp>
      <p:graphicFrame>
        <p:nvGraphicFramePr>
          <p:cNvPr id="20" name="Diagrama 17">
            <a:extLst>
              <a:ext uri="{FF2B5EF4-FFF2-40B4-BE49-F238E27FC236}">
                <a16:creationId xmlns:a16="http://schemas.microsoft.com/office/drawing/2014/main" id="{4AAEF326-0914-4557-A833-755A3F07934E}"/>
              </a:ext>
            </a:extLst>
          </p:cNvPr>
          <p:cNvGraphicFramePr/>
          <p:nvPr>
            <p:extLst>
              <p:ext uri="{D42A27DB-BD31-4B8C-83A1-F6EECF244321}">
                <p14:modId xmlns:p14="http://schemas.microsoft.com/office/powerpoint/2010/main" val="3945915104"/>
              </p:ext>
            </p:extLst>
          </p:nvPr>
        </p:nvGraphicFramePr>
        <p:xfrm>
          <a:off x="331595" y="1825625"/>
          <a:ext cx="11364685" cy="4334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482479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E69B2-0A83-B223-4B93-2FA87126213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B3FEB5A-4314-EDB6-E8DF-183E89980F0C}"/>
              </a:ext>
            </a:extLst>
          </p:cNvPr>
          <p:cNvSpPr>
            <a:spLocks noGrp="1"/>
          </p:cNvSpPr>
          <p:nvPr>
            <p:ph type="title"/>
          </p:nvPr>
        </p:nvSpPr>
        <p:spPr/>
        <p:txBody>
          <a:bodyPr/>
          <a:lstStyle/>
          <a:p>
            <a:r>
              <a:rPr lang="es-ES" noProof="0" dirty="0"/>
              <a:t>Ejemplos de uso de los gemelos digitales en la Industria 4.0 (1 / 2)</a:t>
            </a:r>
          </a:p>
        </p:txBody>
      </p:sp>
      <p:pic>
        <p:nvPicPr>
          <p:cNvPr id="1026" name="Picture 2" descr="Texto Grande Del País De Singapur Con La Bandera Dentro Del Logotipo Del  Concepto Del Mapa Ilustración del Vector - Ilustración de singapur, logotipo:  138737280">
            <a:extLst>
              <a:ext uri="{FF2B5EF4-FFF2-40B4-BE49-F238E27FC236}">
                <a16:creationId xmlns:a16="http://schemas.microsoft.com/office/drawing/2014/main" id="{BA8F021B-615D-C1C2-0B0A-BADFDCC5F950}"/>
              </a:ext>
            </a:extLst>
          </p:cNvPr>
          <p:cNvPicPr>
            <a:picLocks noGrp="1" noChangeAspect="1" noChangeArrowheads="1"/>
          </p:cNvPicPr>
          <p:nvPr>
            <p:ph type="pic" sz="quarter" idx="13"/>
          </p:nvPr>
        </p:nvPicPr>
        <p:blipFill rotWithShape="1">
          <a:blip r:embed="rId2">
            <a:extLst>
              <a:ext uri="{28A0092B-C50C-407E-A947-70E740481C1C}">
                <a14:useLocalDpi xmlns:a14="http://schemas.microsoft.com/office/drawing/2010/main" val="0"/>
              </a:ext>
            </a:extLst>
          </a:blip>
          <a:srcRect l="17875" r="17875"/>
          <a:stretch/>
        </p:blipFill>
        <p:spPr bwMode="auto">
          <a:noFill/>
          <a:extLst>
            <a:ext uri="{909E8E84-426E-40DD-AFC4-6F175D3DCCD1}">
              <a14:hiddenFill xmlns:a14="http://schemas.microsoft.com/office/drawing/2010/main">
                <a:solidFill>
                  <a:srgbClr val="FFFFFF"/>
                </a:solidFill>
              </a14:hiddenFill>
            </a:ext>
          </a:extLst>
        </p:spPr>
      </p:pic>
      <p:graphicFrame>
        <p:nvGraphicFramePr>
          <p:cNvPr id="17" name="Marcador de contenido 9">
            <a:extLst>
              <a:ext uri="{FF2B5EF4-FFF2-40B4-BE49-F238E27FC236}">
                <a16:creationId xmlns:a16="http://schemas.microsoft.com/office/drawing/2014/main" id="{DE534ECA-3178-7FE5-B52D-781C4E6C10F5}"/>
              </a:ext>
            </a:extLst>
          </p:cNvPr>
          <p:cNvGraphicFramePr>
            <a:graphicFrameLocks noGrp="1"/>
          </p:cNvGraphicFramePr>
          <p:nvPr>
            <p:ph sz="quarter" idx="14"/>
            <p:extLst>
              <p:ext uri="{D42A27DB-BD31-4B8C-83A1-F6EECF244321}">
                <p14:modId xmlns:p14="http://schemas.microsoft.com/office/powerpoint/2010/main" val="3929264580"/>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Marcador de fecha 2">
            <a:extLst>
              <a:ext uri="{FF2B5EF4-FFF2-40B4-BE49-F238E27FC236}">
                <a16:creationId xmlns:a16="http://schemas.microsoft.com/office/drawing/2014/main" id="{3A4A35F4-D67A-3DD9-1484-C84ECDDD3DAE}"/>
              </a:ext>
            </a:extLst>
          </p:cNvPr>
          <p:cNvSpPr>
            <a:spLocks noGrp="1"/>
          </p:cNvSpPr>
          <p:nvPr>
            <p:ph type="dt" sz="half" idx="15"/>
          </p:nvPr>
        </p:nvSpPr>
        <p:spPr/>
        <p:txBody>
          <a:bodyPr/>
          <a:lstStyle/>
          <a:p>
            <a:fld id="{8E17971B-69CD-456B-A765-BF511D4CAA2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909C7E39-952D-D831-F50E-D0AE75AD3DF9}"/>
              </a:ext>
            </a:extLst>
          </p:cNvPr>
          <p:cNvSpPr>
            <a:spLocks noGrp="1"/>
          </p:cNvSpPr>
          <p:nvPr>
            <p:ph type="ftr" sz="quarter" idx="16"/>
          </p:nvPr>
        </p:nvSpPr>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9F1B02C-E663-4F37-9811-1D425EE3E977}"/>
              </a:ext>
            </a:extLst>
          </p:cNvPr>
          <p:cNvSpPr>
            <a:spLocks noGrp="1"/>
          </p:cNvSpPr>
          <p:nvPr>
            <p:ph type="sldNum" sz="quarter" idx="17"/>
          </p:nvPr>
        </p:nvSpPr>
        <p:spPr/>
        <p:txBody>
          <a:bodyPr/>
          <a:lstStyle/>
          <a:p>
            <a:fld id="{55440F6C-613C-488D-819E-DA6065366E0E}" type="slidenum">
              <a:rPr lang="es-ES" smtClean="0"/>
              <a:pPr/>
              <a:t>170</a:t>
            </a:fld>
            <a:endParaRPr lang="es-ES" dirty="0"/>
          </a:p>
        </p:txBody>
      </p:sp>
    </p:spTree>
    <p:extLst>
      <p:ext uri="{BB962C8B-B14F-4D97-AF65-F5344CB8AC3E}">
        <p14:creationId xmlns:p14="http://schemas.microsoft.com/office/powerpoint/2010/main" val="54613368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B24C5D7-4297-4B1B-84F7-2A5CB725A813}"/>
              </a:ext>
            </a:extLst>
          </p:cNvPr>
          <p:cNvSpPr>
            <a:spLocks noGrp="1"/>
          </p:cNvSpPr>
          <p:nvPr>
            <p:ph type="title"/>
          </p:nvPr>
        </p:nvSpPr>
        <p:spPr>
          <a:xfrm>
            <a:off x="341194" y="3814618"/>
            <a:ext cx="4932769" cy="1876594"/>
          </a:xfrm>
        </p:spPr>
        <p:txBody>
          <a:bodyPr/>
          <a:lstStyle/>
          <a:p>
            <a:r>
              <a:rPr lang="es-ES" noProof="0" dirty="0"/>
              <a:t>Evolución de Big Data e inteligencia artificial</a:t>
            </a:r>
          </a:p>
        </p:txBody>
      </p:sp>
      <p:pic>
        <p:nvPicPr>
          <p:cNvPr id="7" name="Marcador de posición de imagen 6">
            <a:extLst>
              <a:ext uri="{FF2B5EF4-FFF2-40B4-BE49-F238E27FC236}">
                <a16:creationId xmlns:a16="http://schemas.microsoft.com/office/drawing/2014/main" id="{F744F4E7-55D9-EE71-43A2-3DF05A67017F}"/>
              </a:ext>
            </a:extLst>
          </p:cNvPr>
          <p:cNvPicPr>
            <a:picLocks noGrp="1" noChangeAspect="1"/>
          </p:cNvPicPr>
          <p:nvPr>
            <p:ph type="pic" sz="quarter" idx="13"/>
          </p:nvPr>
        </p:nvPicPr>
        <p:blipFill>
          <a:blip r:embed="rId2"/>
          <a:srcRect t="8046" b="8046"/>
          <a:stretch/>
        </p:blipFill>
        <p:spPr>
          <a:xfrm>
            <a:off x="340906" y="903288"/>
            <a:ext cx="4932769" cy="2759075"/>
          </a:xfrm>
        </p:spPr>
      </p:pic>
      <p:sp>
        <p:nvSpPr>
          <p:cNvPr id="3" name="Marcador de fecha 2">
            <a:extLst>
              <a:ext uri="{FF2B5EF4-FFF2-40B4-BE49-F238E27FC236}">
                <a16:creationId xmlns:a16="http://schemas.microsoft.com/office/drawing/2014/main" id="{4E431116-E38B-4C4D-A2DC-E2F00B012A94}"/>
              </a:ext>
            </a:extLst>
          </p:cNvPr>
          <p:cNvSpPr>
            <a:spLocks noGrp="1"/>
          </p:cNvSpPr>
          <p:nvPr>
            <p:ph type="dt" sz="half" idx="14"/>
          </p:nvPr>
        </p:nvSpPr>
        <p:spPr>
          <a:xfrm>
            <a:off x="814650" y="6400379"/>
            <a:ext cx="3380278" cy="365125"/>
          </a:xfrm>
        </p:spPr>
        <p:txBody>
          <a:bodyPr/>
          <a:lstStyle/>
          <a:p>
            <a:fld id="{F61BDDEC-8F3D-41A2-B03E-E5EFE75DB388}"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04A1A54B-B9D9-4C85-A692-9BE9977AFD05}"/>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2D5F6321-5D15-4B92-AC91-C46CE1C20E61}"/>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71</a:t>
            </a:fld>
            <a:endParaRPr lang="es-ES" dirty="0"/>
          </a:p>
        </p:txBody>
      </p:sp>
    </p:spTree>
    <p:extLst>
      <p:ext uri="{BB962C8B-B14F-4D97-AF65-F5344CB8AC3E}">
        <p14:creationId xmlns:p14="http://schemas.microsoft.com/office/powerpoint/2010/main" val="206879647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F67DEF-2146-468D-B79D-60AEEE386D1C}"/>
              </a:ext>
            </a:extLst>
          </p:cNvPr>
          <p:cNvSpPr>
            <a:spLocks noGrp="1"/>
          </p:cNvSpPr>
          <p:nvPr>
            <p:ph type="title"/>
          </p:nvPr>
        </p:nvSpPr>
        <p:spPr>
          <a:xfrm>
            <a:off x="838200" y="365126"/>
            <a:ext cx="9840124" cy="1092200"/>
          </a:xfrm>
        </p:spPr>
        <p:txBody>
          <a:bodyPr/>
          <a:lstStyle/>
          <a:p>
            <a:r>
              <a:rPr lang="es-ES" noProof="0" dirty="0"/>
              <a:t>Conclusiones Big Data Analytic</a:t>
            </a:r>
          </a:p>
        </p:txBody>
      </p:sp>
      <p:graphicFrame>
        <p:nvGraphicFramePr>
          <p:cNvPr id="4" name="Marcador de contenido 3">
            <a:extLst>
              <a:ext uri="{FF2B5EF4-FFF2-40B4-BE49-F238E27FC236}">
                <a16:creationId xmlns:a16="http://schemas.microsoft.com/office/drawing/2014/main" id="{0DEAC999-870C-4407-8349-6681465FB7A7}"/>
              </a:ext>
            </a:extLst>
          </p:cNvPr>
          <p:cNvGraphicFramePr>
            <a:graphicFrameLocks noGrp="1"/>
          </p:cNvGraphicFramePr>
          <p:nvPr>
            <p:ph idx="1"/>
            <p:extLst>
              <p:ext uri="{D42A27DB-BD31-4B8C-83A1-F6EECF244321}">
                <p14:modId xmlns:p14="http://schemas.microsoft.com/office/powerpoint/2010/main" val="341712297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2C38505D-0477-4ABF-93F0-CA77E3188475}"/>
              </a:ext>
            </a:extLst>
          </p:cNvPr>
          <p:cNvSpPr>
            <a:spLocks noGrp="1"/>
          </p:cNvSpPr>
          <p:nvPr>
            <p:ph type="dt" sz="half" idx="10"/>
          </p:nvPr>
        </p:nvSpPr>
        <p:spPr>
          <a:xfrm>
            <a:off x="814650" y="6400379"/>
            <a:ext cx="3380278" cy="365125"/>
          </a:xfrm>
        </p:spPr>
        <p:txBody>
          <a:bodyPr/>
          <a:lstStyle/>
          <a:p>
            <a:fld id="{2F082061-A6FE-4E30-B95F-1A90722E76B1}"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DCF0B7F0-BFFC-4265-97FC-BD810B52A1A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81B51664-ED5F-4B66-A8A4-444BF324D0E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2</a:t>
            </a:fld>
            <a:endParaRPr lang="es-ES" dirty="0"/>
          </a:p>
        </p:txBody>
      </p:sp>
      <p:pic>
        <p:nvPicPr>
          <p:cNvPr id="1026" name="Picture 2" descr="Gaia-X España | Gaia-X">
            <a:extLst>
              <a:ext uri="{FF2B5EF4-FFF2-40B4-BE49-F238E27FC236}">
                <a16:creationId xmlns:a16="http://schemas.microsoft.com/office/drawing/2014/main" id="{8FEA5D7C-EF67-9188-6359-A055DC5BE9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83610" y="5811520"/>
            <a:ext cx="562165" cy="406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66935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70559AF7-BCD6-5B09-27B5-C3E798CFCD57}"/>
              </a:ext>
            </a:extLst>
          </p:cNvPr>
          <p:cNvSpPr>
            <a:spLocks noGrp="1"/>
          </p:cNvSpPr>
          <p:nvPr>
            <p:ph type="body" idx="1"/>
          </p:nvPr>
        </p:nvSpPr>
        <p:spPr>
          <a:xfrm>
            <a:off x="839788" y="1623758"/>
            <a:ext cx="5157787" cy="800356"/>
          </a:xfrm>
        </p:spPr>
        <p:txBody>
          <a:bodyPr>
            <a:normAutofit lnSpcReduction="10000"/>
          </a:bodyPr>
          <a:lstStyle/>
          <a:p>
            <a:r>
              <a:rPr lang="es-ES" noProof="0" dirty="0"/>
              <a:t>Hoy = El Operacional vuelca datos al  Analítico</a:t>
            </a:r>
          </a:p>
        </p:txBody>
      </p:sp>
      <p:pic>
        <p:nvPicPr>
          <p:cNvPr id="8" name="Picture 2" descr="Beneficios de Data Warehouse|Gravitar Business Intelligence">
            <a:extLst>
              <a:ext uri="{FF2B5EF4-FFF2-40B4-BE49-F238E27FC236}">
                <a16:creationId xmlns:a16="http://schemas.microsoft.com/office/drawing/2014/main" id="{F0B74D6D-0BD8-5678-E15B-8127A6A2C4B2}"/>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839788" y="3270944"/>
            <a:ext cx="5157787" cy="2173487"/>
          </a:xfrm>
          <a:noFill/>
          <a:extLst>
            <a:ext uri="{909E8E84-426E-40DD-AFC4-6F175D3DCCD1}">
              <a14:hiddenFill xmlns:a14="http://schemas.microsoft.com/office/drawing/2010/main">
                <a:solidFill>
                  <a:srgbClr val="FFFFFF"/>
                </a:solidFill>
              </a14:hiddenFill>
            </a:ext>
          </a:extLst>
        </p:spPr>
      </p:pic>
      <p:sp>
        <p:nvSpPr>
          <p:cNvPr id="4" name="Marcador de texto 3">
            <a:extLst>
              <a:ext uri="{FF2B5EF4-FFF2-40B4-BE49-F238E27FC236}">
                <a16:creationId xmlns:a16="http://schemas.microsoft.com/office/drawing/2014/main" id="{D2704750-A7DC-B206-01FE-FEC9BE82EF5F}"/>
              </a:ext>
            </a:extLst>
          </p:cNvPr>
          <p:cNvSpPr>
            <a:spLocks noGrp="1"/>
          </p:cNvSpPr>
          <p:nvPr>
            <p:ph type="body" sz="quarter" idx="3"/>
          </p:nvPr>
        </p:nvSpPr>
        <p:spPr>
          <a:xfrm>
            <a:off x="6172200" y="1623758"/>
            <a:ext cx="5183188" cy="800356"/>
          </a:xfrm>
        </p:spPr>
        <p:txBody>
          <a:bodyPr>
            <a:normAutofit lnSpcReduction="10000"/>
          </a:bodyPr>
          <a:lstStyle/>
          <a:p>
            <a:r>
              <a:rPr lang="es-ES" noProof="0" dirty="0"/>
              <a:t>Mañana = Operacional y Analítico = Juntos</a:t>
            </a:r>
          </a:p>
        </p:txBody>
      </p:sp>
      <p:pic>
        <p:nvPicPr>
          <p:cNvPr id="9" name="Picture 2">
            <a:extLst>
              <a:ext uri="{FF2B5EF4-FFF2-40B4-BE49-F238E27FC236}">
                <a16:creationId xmlns:a16="http://schemas.microsoft.com/office/drawing/2014/main" id="{C90E6AEF-16E7-FEFC-E022-0361358CEDF2}"/>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tretch>
            <a:fillRect/>
          </a:stretch>
        </p:blipFill>
        <p:spPr>
          <a:xfrm>
            <a:off x="6526368" y="2681142"/>
            <a:ext cx="4474852" cy="3353091"/>
          </a:xfrm>
          <a:noFill/>
        </p:spPr>
      </p:pic>
      <p:sp>
        <p:nvSpPr>
          <p:cNvPr id="5" name="Marcador de fecha 4">
            <a:extLst>
              <a:ext uri="{FF2B5EF4-FFF2-40B4-BE49-F238E27FC236}">
                <a16:creationId xmlns:a16="http://schemas.microsoft.com/office/drawing/2014/main" id="{7B769C5D-5518-4995-64D9-A5AF8FF39733}"/>
              </a:ext>
            </a:extLst>
          </p:cNvPr>
          <p:cNvSpPr>
            <a:spLocks noGrp="1"/>
          </p:cNvSpPr>
          <p:nvPr>
            <p:ph type="dt" sz="half" idx="10"/>
          </p:nvPr>
        </p:nvSpPr>
        <p:spPr>
          <a:xfrm>
            <a:off x="814650" y="6400379"/>
            <a:ext cx="3380278" cy="365125"/>
          </a:xfrm>
        </p:spPr>
        <p:txBody>
          <a:bodyPr/>
          <a:lstStyle/>
          <a:p>
            <a:fld id="{6573AF9C-FDAD-40E6-9AFA-0DD4AD4D2CFE}"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A0D1E53E-58AE-C6DB-BAEE-A1C57E55DF7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EB8D70EC-BDBA-B544-823B-65447549355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3</a:t>
            </a:fld>
            <a:endParaRPr lang="es-ES" dirty="0"/>
          </a:p>
        </p:txBody>
      </p:sp>
      <p:sp>
        <p:nvSpPr>
          <p:cNvPr id="2" name="Título 1">
            <a:extLst>
              <a:ext uri="{FF2B5EF4-FFF2-40B4-BE49-F238E27FC236}">
                <a16:creationId xmlns:a16="http://schemas.microsoft.com/office/drawing/2014/main" id="{5528C364-1EE5-D4F1-FE69-8874C25CEB6B}"/>
              </a:ext>
            </a:extLst>
          </p:cNvPr>
          <p:cNvSpPr>
            <a:spLocks noGrp="1"/>
          </p:cNvSpPr>
          <p:nvPr>
            <p:ph type="title"/>
          </p:nvPr>
        </p:nvSpPr>
        <p:spPr>
          <a:xfrm>
            <a:off x="838200" y="365126"/>
            <a:ext cx="9840124" cy="1092200"/>
          </a:xfrm>
        </p:spPr>
        <p:txBody>
          <a:bodyPr/>
          <a:lstStyle/>
          <a:p>
            <a:r>
              <a:rPr lang="es-ES" noProof="0" dirty="0"/>
              <a:t>La evolución de las Bases de Datos</a:t>
            </a:r>
          </a:p>
        </p:txBody>
      </p:sp>
      <p:sp>
        <p:nvSpPr>
          <p:cNvPr id="29" name="CuadroTexto 28">
            <a:extLst>
              <a:ext uri="{FF2B5EF4-FFF2-40B4-BE49-F238E27FC236}">
                <a16:creationId xmlns:a16="http://schemas.microsoft.com/office/drawing/2014/main" id="{F8708867-D4B2-B032-BC10-60A01DE609FD}"/>
              </a:ext>
            </a:extLst>
          </p:cNvPr>
          <p:cNvSpPr txBox="1"/>
          <p:nvPr/>
        </p:nvSpPr>
        <p:spPr>
          <a:xfrm>
            <a:off x="7892626" y="5879729"/>
            <a:ext cx="1475212" cy="369332"/>
          </a:xfrm>
          <a:prstGeom prst="rect">
            <a:avLst/>
          </a:prstGeom>
          <a:noFill/>
        </p:spPr>
        <p:txBody>
          <a:bodyPr wrap="none">
            <a:spAutoFit/>
          </a:bodyPr>
          <a:lstStyle/>
          <a:p>
            <a:r>
              <a:rPr lang="en-US" dirty="0">
                <a:solidFill>
                  <a:schemeClr val="accent6">
                    <a:lumMod val="20000"/>
                    <a:lumOff val="80000"/>
                  </a:schemeClr>
                </a:solidFill>
                <a:highlight>
                  <a:srgbClr val="0000FF"/>
                </a:highlight>
              </a:rPr>
              <a:t>“data centric”</a:t>
            </a:r>
          </a:p>
        </p:txBody>
      </p:sp>
    </p:spTree>
    <p:extLst>
      <p:ext uri="{BB962C8B-B14F-4D97-AF65-F5344CB8AC3E}">
        <p14:creationId xmlns:p14="http://schemas.microsoft.com/office/powerpoint/2010/main" val="141293467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9840124" cy="1092200"/>
          </a:xfrm>
        </p:spPr>
        <p:txBody>
          <a:bodyPr/>
          <a:lstStyle/>
          <a:p>
            <a:r>
              <a:rPr lang="es-ES" noProof="0" dirty="0"/>
              <a:t>La evolución de la computación: Iteraciones analíticas</a:t>
            </a:r>
          </a:p>
        </p:txBody>
      </p:sp>
      <p:sp>
        <p:nvSpPr>
          <p:cNvPr id="4" name="Marcador de fecha 3">
            <a:extLst>
              <a:ext uri="{FF2B5EF4-FFF2-40B4-BE49-F238E27FC236}">
                <a16:creationId xmlns:a16="http://schemas.microsoft.com/office/drawing/2014/main" id="{2E843197-2421-4530-BC6F-A2710B1C618C}"/>
              </a:ext>
            </a:extLst>
          </p:cNvPr>
          <p:cNvSpPr>
            <a:spLocks noGrp="1"/>
          </p:cNvSpPr>
          <p:nvPr>
            <p:ph type="dt" sz="half" idx="10"/>
          </p:nvPr>
        </p:nvSpPr>
        <p:spPr>
          <a:xfrm>
            <a:off x="814650" y="6400379"/>
            <a:ext cx="3380278" cy="365125"/>
          </a:xfrm>
        </p:spPr>
        <p:txBody>
          <a:bodyPr/>
          <a:lstStyle/>
          <a:p>
            <a:fld id="{10BF4411-BAB3-4C6C-8930-C813125626B8}"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16B1073C-0F4C-4C9D-A7FF-E09FEE48281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C3051BCF-1A3D-4C89-B213-F49D0DB6687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4</a:t>
            </a:fld>
            <a:endParaRPr lang="es-ES" dirty="0"/>
          </a:p>
        </p:txBody>
      </p:sp>
      <p:graphicFrame>
        <p:nvGraphicFramePr>
          <p:cNvPr id="16" name="Diagrama 15">
            <a:extLst>
              <a:ext uri="{FF2B5EF4-FFF2-40B4-BE49-F238E27FC236}">
                <a16:creationId xmlns:a16="http://schemas.microsoft.com/office/drawing/2014/main" id="{80A21112-4217-4C44-A8C2-51D78468AADA}"/>
              </a:ext>
            </a:extLst>
          </p:cNvPr>
          <p:cNvGraphicFramePr/>
          <p:nvPr>
            <p:extLst>
              <p:ext uri="{D42A27DB-BD31-4B8C-83A1-F6EECF244321}">
                <p14:modId xmlns:p14="http://schemas.microsoft.com/office/powerpoint/2010/main" val="2420915443"/>
              </p:ext>
            </p:extLst>
          </p:nvPr>
        </p:nvGraphicFramePr>
        <p:xfrm>
          <a:off x="340878" y="1693420"/>
          <a:ext cx="5388118" cy="4554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7" name="Diagrama 26">
            <a:extLst>
              <a:ext uri="{FF2B5EF4-FFF2-40B4-BE49-F238E27FC236}">
                <a16:creationId xmlns:a16="http://schemas.microsoft.com/office/drawing/2014/main" id="{0FF84CC4-36A5-49B5-94A9-8959834B0BE6}"/>
              </a:ext>
            </a:extLst>
          </p:cNvPr>
          <p:cNvGraphicFramePr/>
          <p:nvPr>
            <p:extLst>
              <p:ext uri="{D42A27DB-BD31-4B8C-83A1-F6EECF244321}">
                <p14:modId xmlns:p14="http://schemas.microsoft.com/office/powerpoint/2010/main" val="3878195740"/>
              </p:ext>
            </p:extLst>
          </p:nvPr>
        </p:nvGraphicFramePr>
        <p:xfrm>
          <a:off x="6508102" y="1693420"/>
          <a:ext cx="5388118" cy="45549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Flecha: a la derecha 16">
            <a:extLst>
              <a:ext uri="{FF2B5EF4-FFF2-40B4-BE49-F238E27FC236}">
                <a16:creationId xmlns:a16="http://schemas.microsoft.com/office/drawing/2014/main" id="{48D3F7C1-38C4-47BC-B74C-D52E2A254C54}"/>
              </a:ext>
            </a:extLst>
          </p:cNvPr>
          <p:cNvSpPr/>
          <p:nvPr/>
        </p:nvSpPr>
        <p:spPr>
          <a:xfrm>
            <a:off x="5683900" y="3215477"/>
            <a:ext cx="940836" cy="1184987"/>
          </a:xfrm>
          <a:prstGeom prs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11167421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17550061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5</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28000" y="369506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557985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0516E18-463E-5A71-AF88-F6EA24B5A8F3}"/>
              </a:ext>
            </a:extLst>
          </p:cNvPr>
          <p:cNvSpPr>
            <a:spLocks noGrp="1"/>
          </p:cNvSpPr>
          <p:nvPr>
            <p:ph type="title"/>
          </p:nvPr>
        </p:nvSpPr>
        <p:spPr>
          <a:xfrm>
            <a:off x="341194" y="3814618"/>
            <a:ext cx="4932769" cy="1876594"/>
          </a:xfrm>
        </p:spPr>
        <p:txBody>
          <a:bodyPr/>
          <a:lstStyle/>
          <a:p>
            <a:r>
              <a:rPr lang="es-ES" noProof="0" dirty="0"/>
              <a:t>La empresa</a:t>
            </a:r>
          </a:p>
        </p:txBody>
      </p:sp>
      <p:pic>
        <p:nvPicPr>
          <p:cNvPr id="1026" name="Picture 2" descr="Qué es una empresa? Definición sencilla, tipos y ejemplos">
            <a:extLst>
              <a:ext uri="{FF2B5EF4-FFF2-40B4-BE49-F238E27FC236}">
                <a16:creationId xmlns:a16="http://schemas.microsoft.com/office/drawing/2014/main" id="{2A3FCA57-BB0B-3291-3FD3-C461A44AF4EB}"/>
              </a:ext>
            </a:extLst>
          </p:cNvPr>
          <p:cNvPicPr>
            <a:picLocks noGrp="1" noChangeAspect="1" noChangeArrowheads="1"/>
          </p:cNvPicPr>
          <p:nvPr>
            <p:ph type="pic" sz="quarter" idx="13"/>
          </p:nvPr>
        </p:nvPicPr>
        <p:blipFill rotWithShape="1">
          <a:blip r:embed="rId2">
            <a:extLst>
              <a:ext uri="{28A0092B-C50C-407E-A947-70E740481C1C}">
                <a14:useLocalDpi xmlns:a14="http://schemas.microsoft.com/office/drawing/2010/main" val="0"/>
              </a:ext>
            </a:extLst>
          </a:blip>
          <a:srcRect l="3043" r="3043"/>
          <a:stretch/>
        </p:blipFill>
        <p:spPr bwMode="auto">
          <a:xfrm>
            <a:off x="340906" y="903288"/>
            <a:ext cx="4932769" cy="2759075"/>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9C2A2552-704D-1390-82D0-A5EDBA31A772}"/>
              </a:ext>
            </a:extLst>
          </p:cNvPr>
          <p:cNvSpPr>
            <a:spLocks noGrp="1"/>
          </p:cNvSpPr>
          <p:nvPr>
            <p:ph type="dt" sz="half" idx="14"/>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21AD334E-F97C-CB46-CA1E-AE8E20C99F81}"/>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2BFF9DF-E4FC-328B-0C80-B8F21C100A2C}"/>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76</a:t>
            </a:fld>
            <a:endParaRPr lang="es-ES" dirty="0"/>
          </a:p>
        </p:txBody>
      </p:sp>
    </p:spTree>
    <p:extLst>
      <p:ext uri="{BB962C8B-B14F-4D97-AF65-F5344CB8AC3E}">
        <p14:creationId xmlns:p14="http://schemas.microsoft.com/office/powerpoint/2010/main" val="300515702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896088-7D3E-A3F7-ACF5-D6B9D702198C}"/>
              </a:ext>
            </a:extLst>
          </p:cNvPr>
          <p:cNvSpPr>
            <a:spLocks noGrp="1"/>
          </p:cNvSpPr>
          <p:nvPr>
            <p:ph type="title"/>
          </p:nvPr>
        </p:nvSpPr>
        <p:spPr>
          <a:xfrm>
            <a:off x="838200" y="365126"/>
            <a:ext cx="9840124" cy="1092200"/>
          </a:xfrm>
        </p:spPr>
        <p:txBody>
          <a:bodyPr/>
          <a:lstStyle/>
          <a:p>
            <a:r>
              <a:rPr lang="es-ES" noProof="0" dirty="0"/>
              <a:t>Definición de empresa (wiki)</a:t>
            </a:r>
          </a:p>
        </p:txBody>
      </p:sp>
      <p:pic>
        <p:nvPicPr>
          <p:cNvPr id="8" name="Marcador de posición de imagen 7">
            <a:extLst>
              <a:ext uri="{FF2B5EF4-FFF2-40B4-BE49-F238E27FC236}">
                <a16:creationId xmlns:a16="http://schemas.microsoft.com/office/drawing/2014/main" id="{837C3F7C-477C-4C9E-2A76-9AAB776D7D76}"/>
              </a:ext>
            </a:extLst>
          </p:cNvPr>
          <p:cNvPicPr>
            <a:picLocks noGrp="1" noChangeAspect="1"/>
          </p:cNvPicPr>
          <p:nvPr>
            <p:ph type="pic" sz="quarter" idx="13"/>
          </p:nvPr>
        </p:nvPicPr>
        <p:blipFill rotWithShape="1">
          <a:blip r:embed="rId2"/>
          <a:srcRect l="22000" r="22000"/>
          <a:stretch/>
        </p:blipFill>
        <p:spPr>
          <a:xfrm>
            <a:off x="728662" y="2533649"/>
            <a:ext cx="2736000" cy="2736000"/>
          </a:xfrm>
        </p:spPr>
      </p:pic>
      <p:sp>
        <p:nvSpPr>
          <p:cNvPr id="7" name="Marcador de contenido 6">
            <a:extLst>
              <a:ext uri="{FF2B5EF4-FFF2-40B4-BE49-F238E27FC236}">
                <a16:creationId xmlns:a16="http://schemas.microsoft.com/office/drawing/2014/main" id="{AE012313-5092-E1BF-9BF3-4ACC7833C266}"/>
              </a:ext>
            </a:extLst>
          </p:cNvPr>
          <p:cNvSpPr>
            <a:spLocks noGrp="1"/>
          </p:cNvSpPr>
          <p:nvPr>
            <p:ph sz="quarter" idx="14"/>
          </p:nvPr>
        </p:nvSpPr>
        <p:spPr>
          <a:xfrm>
            <a:off x="3533775" y="1657350"/>
            <a:ext cx="7843838" cy="4457700"/>
          </a:xfrm>
        </p:spPr>
        <p:txBody>
          <a:bodyPr>
            <a:normAutofit fontScale="92500" lnSpcReduction="20000"/>
          </a:bodyPr>
          <a:lstStyle/>
          <a:p>
            <a:r>
              <a:rPr lang="es-ES" noProof="0" dirty="0"/>
              <a:t>Empresa es agente económico en donde se organizan con eficiencia los factores económicos para producir bienes y servicios para el mercado con el ánimo de alcanzar ciertos objetivos, es decir, como un conjunto (sistema) de elementos humanos, técnicos y financieros, dirigidos y organizados según determinada jerarquía o estructura organizativa que lleva a cabo un directivo-gerente o empresario en ejercicio de la función directiva o empresarial.</a:t>
            </a:r>
          </a:p>
          <a:p>
            <a:r>
              <a:rPr lang="es-ES" noProof="0" dirty="0"/>
              <a:t>La empresa se ha de entender como un conjunto ordenado de factores productivos, que tienen como fin la producción de bienes y servicios, es el elemento básico de la producción en un sistema económico.</a:t>
            </a:r>
          </a:p>
          <a:p>
            <a:r>
              <a:rPr lang="es-ES" noProof="0" dirty="0"/>
              <a:t>Las empresas realizan actividades que crean utilidad por lo tanto riqueza, en el sentido de que la utilidad de los beneficios es superior a la de los insumos.</a:t>
            </a:r>
          </a:p>
        </p:txBody>
      </p:sp>
      <p:sp>
        <p:nvSpPr>
          <p:cNvPr id="3" name="Marcador de fecha 2">
            <a:extLst>
              <a:ext uri="{FF2B5EF4-FFF2-40B4-BE49-F238E27FC236}">
                <a16:creationId xmlns:a16="http://schemas.microsoft.com/office/drawing/2014/main" id="{59774931-53CC-2B78-3F67-DEEDD67E0121}"/>
              </a:ext>
            </a:extLst>
          </p:cNvPr>
          <p:cNvSpPr>
            <a:spLocks noGrp="1"/>
          </p:cNvSpPr>
          <p:nvPr>
            <p:ph type="dt" sz="half" idx="15"/>
          </p:nvPr>
        </p:nvSpPr>
        <p:spPr>
          <a:xfrm>
            <a:off x="814650" y="6400379"/>
            <a:ext cx="3380278" cy="365125"/>
          </a:xfrm>
        </p:spPr>
        <p:txBody>
          <a:bodyPr/>
          <a:lstStyle/>
          <a:p>
            <a:fld id="{685F5149-EA5B-482B-9590-8275652DCC4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F779956-412D-1E6C-198A-87FAAA327E29}"/>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12203A8-704C-5350-C0C2-6A273675505C}"/>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177</a:t>
            </a:fld>
            <a:endParaRPr lang="es-ES" dirty="0"/>
          </a:p>
        </p:txBody>
      </p:sp>
    </p:spTree>
    <p:extLst>
      <p:ext uri="{BB962C8B-B14F-4D97-AF65-F5344CB8AC3E}">
        <p14:creationId xmlns:p14="http://schemas.microsoft.com/office/powerpoint/2010/main" val="342049405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A17995F-8832-D626-57B2-7D9FD29FE001}"/>
              </a:ext>
            </a:extLst>
          </p:cNvPr>
          <p:cNvSpPr>
            <a:spLocks noGrp="1"/>
          </p:cNvSpPr>
          <p:nvPr>
            <p:ph type="title"/>
          </p:nvPr>
        </p:nvSpPr>
        <p:spPr>
          <a:xfrm>
            <a:off x="838200" y="365126"/>
            <a:ext cx="9840124" cy="1092200"/>
          </a:xfrm>
        </p:spPr>
        <p:txBody>
          <a:bodyPr/>
          <a:lstStyle/>
          <a:p>
            <a:r>
              <a:rPr lang="es-ES" noProof="0" dirty="0"/>
              <a:t>Tipos de empresas</a:t>
            </a:r>
          </a:p>
        </p:txBody>
      </p:sp>
      <p:graphicFrame>
        <p:nvGraphicFramePr>
          <p:cNvPr id="10" name="Marcador de contenido 9">
            <a:extLst>
              <a:ext uri="{FF2B5EF4-FFF2-40B4-BE49-F238E27FC236}">
                <a16:creationId xmlns:a16="http://schemas.microsoft.com/office/drawing/2014/main" id="{3B14B1DA-38FD-88B1-067F-1327F0B9E0F8}"/>
              </a:ext>
            </a:extLst>
          </p:cNvPr>
          <p:cNvGraphicFramePr>
            <a:graphicFrameLocks noGrp="1"/>
          </p:cNvGraphicFramePr>
          <p:nvPr>
            <p:ph idx="1"/>
            <p:extLst>
              <p:ext uri="{D42A27DB-BD31-4B8C-83A1-F6EECF244321}">
                <p14:modId xmlns:p14="http://schemas.microsoft.com/office/powerpoint/2010/main" val="1103628245"/>
              </p:ext>
            </p:extLst>
          </p:nvPr>
        </p:nvGraphicFramePr>
        <p:xfrm>
          <a:off x="174725" y="1590008"/>
          <a:ext cx="11916321" cy="48314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E8305692-CAE8-537E-F031-5D2439C093DE}"/>
              </a:ext>
            </a:extLst>
          </p:cNvPr>
          <p:cNvSpPr>
            <a:spLocks noGrp="1"/>
          </p:cNvSpPr>
          <p:nvPr>
            <p:ph type="dt" sz="half" idx="10"/>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F7319A8-3201-9ACD-C64C-77EA2A98306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A6D30A12-EEA8-B6C0-E586-B15077CF8C1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8</a:t>
            </a:fld>
            <a:endParaRPr lang="es-ES" dirty="0"/>
          </a:p>
        </p:txBody>
      </p:sp>
    </p:spTree>
    <p:extLst>
      <p:ext uri="{BB962C8B-B14F-4D97-AF65-F5344CB8AC3E}">
        <p14:creationId xmlns:p14="http://schemas.microsoft.com/office/powerpoint/2010/main" val="126002731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704CE45-C701-4EF4-E7A5-945A2AAE857D}"/>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E9BF767D-26B3-04BD-B0D1-2F289C7821C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51EEAC9C-6F78-DB29-9F01-21A9FFAB98A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79</a:t>
            </a:fld>
            <a:endParaRPr lang="es-ES" dirty="0"/>
          </a:p>
        </p:txBody>
      </p:sp>
      <p:pic>
        <p:nvPicPr>
          <p:cNvPr id="6" name="Imagen 5" descr="Una captura de pantalla de un celular de un mensaje con una foto de una persona&#10;&#10;Descripción generada automáticamente con confianza media">
            <a:extLst>
              <a:ext uri="{FF2B5EF4-FFF2-40B4-BE49-F238E27FC236}">
                <a16:creationId xmlns:a16="http://schemas.microsoft.com/office/drawing/2014/main" id="{7F9ECADE-EDA9-D13E-5682-BDFD6F12B4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13158" y="0"/>
            <a:ext cx="5165684" cy="6540581"/>
          </a:xfrm>
          <a:prstGeom prst="rect">
            <a:avLst/>
          </a:prstGeom>
        </p:spPr>
      </p:pic>
    </p:spTree>
    <p:extLst>
      <p:ext uri="{BB962C8B-B14F-4D97-AF65-F5344CB8AC3E}">
        <p14:creationId xmlns:p14="http://schemas.microsoft.com/office/powerpoint/2010/main" val="2643476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438FF1-D61F-48EB-AA81-A879D3D12FD6}"/>
              </a:ext>
            </a:extLst>
          </p:cNvPr>
          <p:cNvSpPr>
            <a:spLocks noGrp="1"/>
          </p:cNvSpPr>
          <p:nvPr>
            <p:ph type="title"/>
          </p:nvPr>
        </p:nvSpPr>
        <p:spPr>
          <a:xfrm>
            <a:off x="838200" y="365126"/>
            <a:ext cx="9840124" cy="1092200"/>
          </a:xfrm>
        </p:spPr>
        <p:txBody>
          <a:bodyPr/>
          <a:lstStyle/>
          <a:p>
            <a:r>
              <a:rPr lang="es-ES" noProof="0" dirty="0"/>
              <a:t>Amazon siempre en permanente cambio</a:t>
            </a:r>
          </a:p>
        </p:txBody>
      </p:sp>
      <p:sp>
        <p:nvSpPr>
          <p:cNvPr id="3" name="Marcador de fecha 2">
            <a:extLst>
              <a:ext uri="{FF2B5EF4-FFF2-40B4-BE49-F238E27FC236}">
                <a16:creationId xmlns:a16="http://schemas.microsoft.com/office/drawing/2014/main" id="{02DE1532-73F5-4405-8AA0-D10DEB9003C7}"/>
              </a:ext>
            </a:extLst>
          </p:cNvPr>
          <p:cNvSpPr>
            <a:spLocks noGrp="1"/>
          </p:cNvSpPr>
          <p:nvPr>
            <p:ph type="dt" sz="half" idx="10"/>
          </p:nvPr>
        </p:nvSpPr>
        <p:spPr>
          <a:xfrm>
            <a:off x="814650" y="6400379"/>
            <a:ext cx="3380278" cy="365125"/>
          </a:xfrm>
        </p:spPr>
        <p:txBody>
          <a:bodyPr/>
          <a:lstStyle/>
          <a:p>
            <a:fld id="{F23BB2FF-75B8-482A-9080-9F4A721A63E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C46BD4DE-740A-4F38-A44D-B94ABA23E20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9A49090-6967-4D73-9F5A-9B3D792983D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a:t>
            </a:fld>
            <a:endParaRPr lang="es-ES" dirty="0"/>
          </a:p>
        </p:txBody>
      </p:sp>
      <p:graphicFrame>
        <p:nvGraphicFramePr>
          <p:cNvPr id="6" name="Diagrama 5">
            <a:extLst>
              <a:ext uri="{FF2B5EF4-FFF2-40B4-BE49-F238E27FC236}">
                <a16:creationId xmlns:a16="http://schemas.microsoft.com/office/drawing/2014/main" id="{D44645AC-86E3-4D2A-8AA2-CE41577ED374}"/>
              </a:ext>
            </a:extLst>
          </p:cNvPr>
          <p:cNvGraphicFramePr/>
          <p:nvPr>
            <p:extLst>
              <p:ext uri="{D42A27DB-BD31-4B8C-83A1-F6EECF244321}">
                <p14:modId xmlns:p14="http://schemas.microsoft.com/office/powerpoint/2010/main" val="3395618178"/>
              </p:ext>
            </p:extLst>
          </p:nvPr>
        </p:nvGraphicFramePr>
        <p:xfrm>
          <a:off x="838199" y="2188725"/>
          <a:ext cx="10515601" cy="39883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315213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fecha 2">
            <a:extLst>
              <a:ext uri="{FF2B5EF4-FFF2-40B4-BE49-F238E27FC236}">
                <a16:creationId xmlns:a16="http://schemas.microsoft.com/office/drawing/2014/main" id="{4F838428-5EC6-EA56-A840-C9CE9A22C1BB}"/>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F589AF9-7635-05F3-87B2-2B77D8C5A4A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7C8E0BE-B862-F47F-1B33-6668D257C0E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0</a:t>
            </a:fld>
            <a:endParaRPr lang="es-ES" dirty="0"/>
          </a:p>
        </p:txBody>
      </p:sp>
      <p:pic>
        <p:nvPicPr>
          <p:cNvPr id="7" name="Imagen 6" descr="Interfaz de usuario gráfica, Texto&#10;&#10;Descripción generada automáticamente">
            <a:extLst>
              <a:ext uri="{FF2B5EF4-FFF2-40B4-BE49-F238E27FC236}">
                <a16:creationId xmlns:a16="http://schemas.microsoft.com/office/drawing/2014/main" id="{0636B107-139B-9B43-ACF3-DA3C017C99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4287" y="0"/>
            <a:ext cx="6963427" cy="6363372"/>
          </a:xfrm>
          <a:prstGeom prst="rect">
            <a:avLst/>
          </a:prstGeom>
        </p:spPr>
      </p:pic>
    </p:spTree>
    <p:extLst>
      <p:ext uri="{BB962C8B-B14F-4D97-AF65-F5344CB8AC3E}">
        <p14:creationId xmlns:p14="http://schemas.microsoft.com/office/powerpoint/2010/main" val="283625670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CB09191B-49A4-9BA2-030E-F28E37E12A31}"/>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3E2CDAE8-96B8-3EEB-4EF2-7CC2E816936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5FCD6594-8CCC-F7B6-407B-8AC11D17988D}"/>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1</a:t>
            </a:fld>
            <a:endParaRPr lang="es-ES" dirty="0"/>
          </a:p>
        </p:txBody>
      </p:sp>
      <p:pic>
        <p:nvPicPr>
          <p:cNvPr id="6" name="Imagen 5" descr="Texto&#10;&#10;Descripción generada automáticamente">
            <a:extLst>
              <a:ext uri="{FF2B5EF4-FFF2-40B4-BE49-F238E27FC236}">
                <a16:creationId xmlns:a16="http://schemas.microsoft.com/office/drawing/2014/main" id="{F52CCF9F-5F49-93CC-429D-6EA9E8AA82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29080" y="-1"/>
            <a:ext cx="8533840" cy="6400379"/>
          </a:xfrm>
          <a:prstGeom prst="rect">
            <a:avLst/>
          </a:prstGeom>
        </p:spPr>
      </p:pic>
    </p:spTree>
    <p:extLst>
      <p:ext uri="{BB962C8B-B14F-4D97-AF65-F5344CB8AC3E}">
        <p14:creationId xmlns:p14="http://schemas.microsoft.com/office/powerpoint/2010/main" val="24655774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D42405B-48BB-81E4-74C2-B48A7C7234FE}"/>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62651D71-E639-7B2F-0E34-69BCA5BFD89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AFD230F-E0D3-FC25-7025-E3E62FAF70B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2</a:t>
            </a:fld>
            <a:endParaRPr lang="es-ES" dirty="0"/>
          </a:p>
        </p:txBody>
      </p:sp>
      <p:pic>
        <p:nvPicPr>
          <p:cNvPr id="6" name="Imagen 5" descr="Un hombre mayor con traje y corbata&#10;&#10;Descripción generada automáticamente con confianza media">
            <a:extLst>
              <a:ext uri="{FF2B5EF4-FFF2-40B4-BE49-F238E27FC236}">
                <a16:creationId xmlns:a16="http://schemas.microsoft.com/office/drawing/2014/main" id="{26B0E522-6BA7-5F2A-E5BB-8C2ED0A6BE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9416" y="0"/>
            <a:ext cx="6273168" cy="6341355"/>
          </a:xfrm>
          <a:prstGeom prst="rect">
            <a:avLst/>
          </a:prstGeom>
        </p:spPr>
      </p:pic>
    </p:spTree>
    <p:extLst>
      <p:ext uri="{BB962C8B-B14F-4D97-AF65-F5344CB8AC3E}">
        <p14:creationId xmlns:p14="http://schemas.microsoft.com/office/powerpoint/2010/main" val="365952561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028DF5B9-C657-B159-AA88-B6B3F1DE2506}"/>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1EE4703C-2973-8A6F-A8FB-CA190D02AF5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90C170C-91A3-65DB-A2A7-2F261539476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3</a:t>
            </a:fld>
            <a:endParaRPr lang="es-ES" dirty="0"/>
          </a:p>
        </p:txBody>
      </p:sp>
      <p:pic>
        <p:nvPicPr>
          <p:cNvPr id="6" name="Imagen 5" descr="Diagrama&#10;&#10;Descripción generada automáticamente">
            <a:extLst>
              <a:ext uri="{FF2B5EF4-FFF2-40B4-BE49-F238E27FC236}">
                <a16:creationId xmlns:a16="http://schemas.microsoft.com/office/drawing/2014/main" id="{B14AF071-9CAE-4947-4491-2070CB6FF4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930" y="28432"/>
            <a:ext cx="10974139" cy="6022916"/>
          </a:xfrm>
          <a:prstGeom prst="rect">
            <a:avLst/>
          </a:prstGeom>
        </p:spPr>
      </p:pic>
    </p:spTree>
    <p:extLst>
      <p:ext uri="{BB962C8B-B14F-4D97-AF65-F5344CB8AC3E}">
        <p14:creationId xmlns:p14="http://schemas.microsoft.com/office/powerpoint/2010/main" val="129152177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C8F403C0-294A-0361-A7F0-9FDC1B8D5EE4}"/>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D544B850-B681-470B-9287-0A831948BB6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4B5ED6F-4AEF-394A-F345-9285CEA1802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4</a:t>
            </a:fld>
            <a:endParaRPr lang="es-ES" dirty="0"/>
          </a:p>
        </p:txBody>
      </p:sp>
      <p:pic>
        <p:nvPicPr>
          <p:cNvPr id="6" name="Imagen 5" descr="Dibujo en blanco y negro&#10;&#10;Descripción generada automáticamente con confianza media">
            <a:extLst>
              <a:ext uri="{FF2B5EF4-FFF2-40B4-BE49-F238E27FC236}">
                <a16:creationId xmlns:a16="http://schemas.microsoft.com/office/drawing/2014/main" id="{C15ABD4F-ADF2-4180-EEC2-5859E5121A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7404" y="-61906"/>
            <a:ext cx="8297193" cy="6404464"/>
          </a:xfrm>
          <a:prstGeom prst="rect">
            <a:avLst/>
          </a:prstGeom>
        </p:spPr>
      </p:pic>
    </p:spTree>
    <p:extLst>
      <p:ext uri="{BB962C8B-B14F-4D97-AF65-F5344CB8AC3E}">
        <p14:creationId xmlns:p14="http://schemas.microsoft.com/office/powerpoint/2010/main" val="125744888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C637C3F3-9954-5CAA-DBCC-5370EB9F1C7E}"/>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61B621B9-8889-EB70-A67E-C70A7CC63CB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34680D61-0A6E-1597-2955-CA83FCEFD4D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5</a:t>
            </a:fld>
            <a:endParaRPr lang="es-ES" dirty="0"/>
          </a:p>
        </p:txBody>
      </p:sp>
      <p:pic>
        <p:nvPicPr>
          <p:cNvPr id="5" name="VID-20210527-WA0002">
            <a:hlinkClick r:id="" action="ppaction://media"/>
            <a:extLst>
              <a:ext uri="{FF2B5EF4-FFF2-40B4-BE49-F238E27FC236}">
                <a16:creationId xmlns:a16="http://schemas.microsoft.com/office/drawing/2014/main" id="{1B71CC49-141C-E7F5-A368-F32D68FB1A9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784785" y="-1"/>
            <a:ext cx="3512941" cy="6387165"/>
          </a:xfrm>
          <a:prstGeom prst="rect">
            <a:avLst/>
          </a:prstGeom>
        </p:spPr>
      </p:pic>
    </p:spTree>
    <p:extLst>
      <p:ext uri="{BB962C8B-B14F-4D97-AF65-F5344CB8AC3E}">
        <p14:creationId xmlns:p14="http://schemas.microsoft.com/office/powerpoint/2010/main" val="1314079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26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ED2B2F7-B51B-245D-E96D-B9D9E012F28A}"/>
              </a:ext>
            </a:extLst>
          </p:cNvPr>
          <p:cNvSpPr>
            <a:spLocks noGrp="1"/>
          </p:cNvSpPr>
          <p:nvPr>
            <p:ph type="dt" sz="half" idx="10"/>
          </p:nvPr>
        </p:nvSpPr>
        <p:spPr>
          <a:xfrm>
            <a:off x="814650" y="6400379"/>
            <a:ext cx="3380278" cy="365125"/>
          </a:xfrm>
        </p:spPr>
        <p:txBody>
          <a:bodyPr/>
          <a:lstStyle/>
          <a:p>
            <a:fld id="{B2A2E5C6-1FA4-4EF1-A36F-D0BD4F18A807}"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452BAD86-0DC6-01F4-6887-11235246BEF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02B56099-DFBA-8D60-6C8A-63B42217A4C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6</a:t>
            </a:fld>
            <a:endParaRPr lang="es-ES" dirty="0"/>
          </a:p>
        </p:txBody>
      </p:sp>
      <p:pic>
        <p:nvPicPr>
          <p:cNvPr id="5" name="VID-20210518-WA0016">
            <a:hlinkClick r:id="" action="ppaction://media"/>
            <a:extLst>
              <a:ext uri="{FF2B5EF4-FFF2-40B4-BE49-F238E27FC236}">
                <a16:creationId xmlns:a16="http://schemas.microsoft.com/office/drawing/2014/main" id="{9C77FAD8-2F6E-4499-FA79-746D6BCB7B9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553179" y="34982"/>
            <a:ext cx="5085643" cy="6357054"/>
          </a:xfrm>
          <a:prstGeom prst="rect">
            <a:avLst/>
          </a:prstGeom>
        </p:spPr>
      </p:pic>
    </p:spTree>
    <p:extLst>
      <p:ext uri="{BB962C8B-B14F-4D97-AF65-F5344CB8AC3E}">
        <p14:creationId xmlns:p14="http://schemas.microsoft.com/office/powerpoint/2010/main" val="573168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29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7809EBD-B831-9C86-16C9-4A49A461723C}"/>
              </a:ext>
            </a:extLst>
          </p:cNvPr>
          <p:cNvSpPr>
            <a:spLocks noGrp="1"/>
          </p:cNvSpPr>
          <p:nvPr>
            <p:ph type="title"/>
          </p:nvPr>
        </p:nvSpPr>
        <p:spPr>
          <a:xfrm>
            <a:off x="341194" y="3814618"/>
            <a:ext cx="4932769" cy="1876594"/>
          </a:xfrm>
        </p:spPr>
        <p:txBody>
          <a:bodyPr/>
          <a:lstStyle/>
          <a:p>
            <a:r>
              <a:rPr lang="es-ES" noProof="0" dirty="0"/>
              <a:t>Motivación de las empresas para ir a las nuevas tecnologías</a:t>
            </a:r>
          </a:p>
        </p:txBody>
      </p:sp>
      <p:sp>
        <p:nvSpPr>
          <p:cNvPr id="3" name="Marcador de fecha 2">
            <a:extLst>
              <a:ext uri="{FF2B5EF4-FFF2-40B4-BE49-F238E27FC236}">
                <a16:creationId xmlns:a16="http://schemas.microsoft.com/office/drawing/2014/main" id="{4DC17199-C1A8-FF3E-C863-36D62326E3BD}"/>
              </a:ext>
            </a:extLst>
          </p:cNvPr>
          <p:cNvSpPr>
            <a:spLocks noGrp="1"/>
          </p:cNvSpPr>
          <p:nvPr>
            <p:ph type="dt" sz="half" idx="10"/>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5619181-F035-024F-48F3-D8CD473A3A6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1C66BFF-E595-037B-6F45-BF95753DA98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7</a:t>
            </a:fld>
            <a:endParaRPr lang="es-ES" dirty="0"/>
          </a:p>
        </p:txBody>
      </p:sp>
    </p:spTree>
    <p:extLst>
      <p:ext uri="{BB962C8B-B14F-4D97-AF65-F5344CB8AC3E}">
        <p14:creationId xmlns:p14="http://schemas.microsoft.com/office/powerpoint/2010/main" val="380031688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C1675D-D9CF-7FE3-B167-C47F225E9E95}"/>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834D077-9511-1201-8FA2-C39775D9B5C0}"/>
              </a:ext>
            </a:extLst>
          </p:cNvPr>
          <p:cNvSpPr>
            <a:spLocks noGrp="1"/>
          </p:cNvSpPr>
          <p:nvPr>
            <p:ph type="title"/>
          </p:nvPr>
        </p:nvSpPr>
        <p:spPr>
          <a:xfrm>
            <a:off x="838200" y="365126"/>
            <a:ext cx="9840124" cy="1092200"/>
          </a:xfrm>
        </p:spPr>
        <p:txBody>
          <a:bodyPr/>
          <a:lstStyle/>
          <a:p>
            <a:r>
              <a:rPr lang="es-ES" noProof="0" dirty="0"/>
              <a:t>Las razonas por las que las empresas avanzan hacia BDA</a:t>
            </a:r>
          </a:p>
        </p:txBody>
      </p:sp>
      <p:pic>
        <p:nvPicPr>
          <p:cNvPr id="9" name="Picture 2" descr="Y cómo es él', de José Luis Perales: letra, historia y vídeo - Happyfm">
            <a:extLst>
              <a:ext uri="{FF2B5EF4-FFF2-40B4-BE49-F238E27FC236}">
                <a16:creationId xmlns:a16="http://schemas.microsoft.com/office/drawing/2014/main" id="{0F2BA4DA-7BFC-FDDA-70AA-29BAFAAB4D17}"/>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a:stretch/>
        </p:blipFill>
        <p:spPr bwMode="auto">
          <a:xfrm>
            <a:off x="1104900" y="2124869"/>
            <a:ext cx="4648200" cy="3752850"/>
          </a:xfrm>
          <a:noFill/>
          <a:extLst>
            <a:ext uri="{909E8E84-426E-40DD-AFC4-6F175D3DCCD1}">
              <a14:hiddenFill xmlns:a14="http://schemas.microsoft.com/office/drawing/2010/main">
                <a:solidFill>
                  <a:srgbClr val="FFFFFF"/>
                </a:solidFill>
              </a14:hiddenFill>
            </a:ext>
          </a:extLst>
        </p:spPr>
      </p:pic>
      <p:sp>
        <p:nvSpPr>
          <p:cNvPr id="8" name="Marcador de contenido 7">
            <a:extLst>
              <a:ext uri="{FF2B5EF4-FFF2-40B4-BE49-F238E27FC236}">
                <a16:creationId xmlns:a16="http://schemas.microsoft.com/office/drawing/2014/main" id="{587DBE25-367A-B7DD-4740-0FD296BBC14B}"/>
              </a:ext>
            </a:extLst>
          </p:cNvPr>
          <p:cNvSpPr>
            <a:spLocks noGrp="1"/>
          </p:cNvSpPr>
          <p:nvPr>
            <p:ph sz="half" idx="2"/>
          </p:nvPr>
        </p:nvSpPr>
        <p:spPr>
          <a:xfrm>
            <a:off x="6172200" y="1825625"/>
            <a:ext cx="5181600" cy="4351338"/>
          </a:xfrm>
        </p:spPr>
        <p:txBody>
          <a:bodyPr>
            <a:normAutofit/>
          </a:bodyPr>
          <a:lstStyle/>
          <a:p>
            <a:r>
              <a:rPr lang="es-ES" noProof="0" dirty="0"/>
              <a:t>Mirándote a los ojos juraría</a:t>
            </a:r>
            <a:br>
              <a:rPr lang="es-ES" noProof="0" dirty="0"/>
            </a:br>
            <a:r>
              <a:rPr lang="es-ES" noProof="0" dirty="0"/>
              <a:t>Que tienes algo nuevo que contarme</a:t>
            </a:r>
            <a:br>
              <a:rPr lang="es-ES" noProof="0" dirty="0"/>
            </a:br>
            <a:r>
              <a:rPr lang="es-ES" noProof="0" dirty="0"/>
              <a:t>Empieza ya, mujer, no tengas miedo</a:t>
            </a:r>
            <a:br>
              <a:rPr lang="es-ES" noProof="0" dirty="0"/>
            </a:br>
            <a:r>
              <a:rPr lang="es-ES" noProof="0" dirty="0"/>
              <a:t>Quizá para mañana sea tarde</a:t>
            </a:r>
            <a:br>
              <a:rPr lang="es-ES" noProof="0" dirty="0"/>
            </a:br>
            <a:r>
              <a:rPr lang="es-ES" noProof="0" dirty="0"/>
              <a:t>Quizá para mañana sea tarde</a:t>
            </a:r>
          </a:p>
          <a:p>
            <a:r>
              <a:rPr lang="es-ES" noProof="0" dirty="0"/>
              <a:t>¿Y cómo es él?</a:t>
            </a:r>
            <a:br>
              <a:rPr lang="es-ES" noProof="0" dirty="0"/>
            </a:br>
            <a:r>
              <a:rPr lang="es-ES" noProof="0" dirty="0"/>
              <a:t>¿En qué lugar se enamoró de ti?</a:t>
            </a:r>
            <a:br>
              <a:rPr lang="es-ES" noProof="0" dirty="0"/>
            </a:br>
            <a:r>
              <a:rPr lang="es-ES" noProof="0" dirty="0"/>
              <a:t>¿De dónde es?</a:t>
            </a:r>
            <a:br>
              <a:rPr lang="es-ES" noProof="0" dirty="0"/>
            </a:br>
            <a:r>
              <a:rPr lang="es-ES" noProof="0" dirty="0"/>
              <a:t>¿A qué dedica el tiempo libre?</a:t>
            </a:r>
            <a:br>
              <a:rPr lang="es-ES" noProof="0" dirty="0"/>
            </a:br>
            <a:r>
              <a:rPr lang="es-ES" noProof="0" dirty="0"/>
              <a:t>Pregúntale: ¿Por qué ha robado un trozo de mi vida?...</a:t>
            </a:r>
          </a:p>
        </p:txBody>
      </p:sp>
      <p:sp>
        <p:nvSpPr>
          <p:cNvPr id="3" name="Marcador de fecha 2">
            <a:extLst>
              <a:ext uri="{FF2B5EF4-FFF2-40B4-BE49-F238E27FC236}">
                <a16:creationId xmlns:a16="http://schemas.microsoft.com/office/drawing/2014/main" id="{F0979871-039F-5C63-C03E-0860200136BC}"/>
              </a:ext>
            </a:extLst>
          </p:cNvPr>
          <p:cNvSpPr>
            <a:spLocks noGrp="1"/>
          </p:cNvSpPr>
          <p:nvPr>
            <p:ph type="dt" sz="half" idx="10"/>
          </p:nvPr>
        </p:nvSpPr>
        <p:spPr>
          <a:xfrm>
            <a:off x="814650" y="6400379"/>
            <a:ext cx="3380278" cy="365125"/>
          </a:xfrm>
        </p:spPr>
        <p:txBody>
          <a:bodyPr/>
          <a:lstStyle/>
          <a:p>
            <a:fld id="{93B58835-9F49-49F7-AEF1-2656CF1903F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F8C0145-08B0-9CBD-A6B7-7476C2FAC08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8682B005-B817-6F9E-E98B-BDE39FD14B3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88</a:t>
            </a:fld>
            <a:endParaRPr lang="es-ES" dirty="0"/>
          </a:p>
        </p:txBody>
      </p:sp>
    </p:spTree>
    <p:extLst>
      <p:ext uri="{BB962C8B-B14F-4D97-AF65-F5344CB8AC3E}">
        <p14:creationId xmlns:p14="http://schemas.microsoft.com/office/powerpoint/2010/main" val="191203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6"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C9F1D-26BF-0CA8-9680-36B86494F31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0922E94-5756-840C-7000-A202AB0A4532}"/>
              </a:ext>
            </a:extLst>
          </p:cNvPr>
          <p:cNvSpPr>
            <a:spLocks noGrp="1"/>
          </p:cNvSpPr>
          <p:nvPr>
            <p:ph type="title"/>
          </p:nvPr>
        </p:nvSpPr>
        <p:spPr>
          <a:xfrm>
            <a:off x="838200" y="365126"/>
            <a:ext cx="9840124" cy="1092200"/>
          </a:xfrm>
        </p:spPr>
        <p:txBody>
          <a:bodyPr>
            <a:normAutofit fontScale="90000"/>
          </a:bodyPr>
          <a:lstStyle/>
          <a:p>
            <a:r>
              <a:rPr lang="es-ES" noProof="0" dirty="0"/>
              <a:t>En definitiva, las razones por las que las empresas avanzan hacia las nuevas tecnologías</a:t>
            </a:r>
          </a:p>
        </p:txBody>
      </p:sp>
      <p:graphicFrame>
        <p:nvGraphicFramePr>
          <p:cNvPr id="9" name="Marcador de contenido 8">
            <a:extLst>
              <a:ext uri="{FF2B5EF4-FFF2-40B4-BE49-F238E27FC236}">
                <a16:creationId xmlns:a16="http://schemas.microsoft.com/office/drawing/2014/main" id="{92A77368-C05C-BEFD-F545-94A5F5B531FA}"/>
              </a:ext>
            </a:extLst>
          </p:cNvPr>
          <p:cNvGraphicFramePr>
            <a:graphicFrameLocks noGrp="1"/>
          </p:cNvGraphicFramePr>
          <p:nvPr>
            <p:ph sz="half" idx="1"/>
            <p:extLst>
              <p:ext uri="{D42A27DB-BD31-4B8C-83A1-F6EECF244321}">
                <p14:modId xmlns:p14="http://schemas.microsoft.com/office/powerpoint/2010/main" val="2354812316"/>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Marcador de contenido 9">
            <a:extLst>
              <a:ext uri="{FF2B5EF4-FFF2-40B4-BE49-F238E27FC236}">
                <a16:creationId xmlns:a16="http://schemas.microsoft.com/office/drawing/2014/main" id="{EFA82501-A12A-55E6-55A1-8DC6C87B0270}"/>
              </a:ext>
            </a:extLst>
          </p:cNvPr>
          <p:cNvPicPr>
            <a:picLocks noGrp="1" noChangeAspect="1"/>
          </p:cNvPicPr>
          <p:nvPr>
            <p:ph sz="quarter" idx="13"/>
          </p:nvPr>
        </p:nvPicPr>
        <p:blipFill>
          <a:blip r:embed="rId8"/>
          <a:stretch>
            <a:fillRect/>
          </a:stretch>
        </p:blipFill>
        <p:spPr>
          <a:xfrm>
            <a:off x="666750" y="3275053"/>
            <a:ext cx="2160588" cy="1268331"/>
          </a:xfrm>
        </p:spPr>
      </p:pic>
      <p:sp>
        <p:nvSpPr>
          <p:cNvPr id="3" name="Marcador de fecha 2">
            <a:extLst>
              <a:ext uri="{FF2B5EF4-FFF2-40B4-BE49-F238E27FC236}">
                <a16:creationId xmlns:a16="http://schemas.microsoft.com/office/drawing/2014/main" id="{8A0145E7-1D42-FF71-7C8E-B4426D4F8D23}"/>
              </a:ext>
            </a:extLst>
          </p:cNvPr>
          <p:cNvSpPr>
            <a:spLocks noGrp="1"/>
          </p:cNvSpPr>
          <p:nvPr>
            <p:ph type="dt" sz="half" idx="14"/>
          </p:nvPr>
        </p:nvSpPr>
        <p:spPr>
          <a:xfrm>
            <a:off x="814650" y="6400379"/>
            <a:ext cx="3380278" cy="365125"/>
          </a:xfrm>
        </p:spPr>
        <p:txBody>
          <a:bodyPr/>
          <a:lstStyle/>
          <a:p>
            <a:fld id="{F344BB69-6660-47D5-BEE7-5D62D65B16F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0BB7CD2-7582-B455-49ED-25E021752FD1}"/>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39D17E2-6676-9447-5A5A-A2E4CA215CE0}"/>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189</a:t>
            </a:fld>
            <a:endParaRPr lang="es-ES" dirty="0"/>
          </a:p>
        </p:txBody>
      </p:sp>
    </p:spTree>
    <p:extLst>
      <p:ext uri="{BB962C8B-B14F-4D97-AF65-F5344CB8AC3E}">
        <p14:creationId xmlns:p14="http://schemas.microsoft.com/office/powerpoint/2010/main" val="711086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79D406-4628-4789-9532-DF0961DFED34}"/>
              </a:ext>
            </a:extLst>
          </p:cNvPr>
          <p:cNvSpPr>
            <a:spLocks noGrp="1"/>
          </p:cNvSpPr>
          <p:nvPr>
            <p:ph type="title"/>
          </p:nvPr>
        </p:nvSpPr>
        <p:spPr>
          <a:xfrm>
            <a:off x="838200" y="365126"/>
            <a:ext cx="9840124" cy="1092200"/>
          </a:xfrm>
        </p:spPr>
        <p:txBody>
          <a:bodyPr/>
          <a:lstStyle/>
          <a:p>
            <a:r>
              <a:rPr lang="es-ES" noProof="0" dirty="0"/>
              <a:t>Jeff Bezos - Amazon</a:t>
            </a:r>
          </a:p>
        </p:txBody>
      </p:sp>
      <p:graphicFrame>
        <p:nvGraphicFramePr>
          <p:cNvPr id="11" name="Marcador de contenido 8">
            <a:extLst>
              <a:ext uri="{FF2B5EF4-FFF2-40B4-BE49-F238E27FC236}">
                <a16:creationId xmlns:a16="http://schemas.microsoft.com/office/drawing/2014/main" id="{79499EFB-27E7-4561-9078-0DEC70D64206}"/>
              </a:ext>
            </a:extLst>
          </p:cNvPr>
          <p:cNvGraphicFramePr>
            <a:graphicFrameLocks noGrp="1"/>
          </p:cNvGraphicFramePr>
          <p:nvPr>
            <p:ph idx="1"/>
            <p:extLst>
              <p:ext uri="{D42A27DB-BD31-4B8C-83A1-F6EECF244321}">
                <p14:modId xmlns:p14="http://schemas.microsoft.com/office/powerpoint/2010/main" val="132479645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1518861D-54D8-46B7-A6BB-11993DB94E18}"/>
              </a:ext>
            </a:extLst>
          </p:cNvPr>
          <p:cNvSpPr>
            <a:spLocks noGrp="1"/>
          </p:cNvSpPr>
          <p:nvPr>
            <p:ph type="dt" sz="half" idx="10"/>
          </p:nvPr>
        </p:nvSpPr>
        <p:spPr>
          <a:xfrm>
            <a:off x="814650" y="6400379"/>
            <a:ext cx="3380278" cy="365125"/>
          </a:xfrm>
        </p:spPr>
        <p:txBody>
          <a:bodyPr/>
          <a:lstStyle/>
          <a:p>
            <a:fld id="{95285B92-C945-437F-A1E1-1DE0A4AF5289}"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D4F881D2-0EE7-4CC1-B998-C0C8D0D0038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4511B7AA-6D2A-4406-87F0-6D457EB50D0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a:t>
            </a:fld>
            <a:endParaRPr lang="es-ES" dirty="0"/>
          </a:p>
        </p:txBody>
      </p:sp>
      <p:pic>
        <p:nvPicPr>
          <p:cNvPr id="2050" name="Picture 2" descr="Esta es la historia de Jeff Bezos, el hombre más rico del mundo">
            <a:extLst>
              <a:ext uri="{FF2B5EF4-FFF2-40B4-BE49-F238E27FC236}">
                <a16:creationId xmlns:a16="http://schemas.microsoft.com/office/drawing/2014/main" id="{C7BAC411-D5E3-4A6C-8EF4-D3250056DDDA}"/>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FilmGrain/>
                    </a14:imgEffect>
                  </a14:imgLayer>
                </a14:imgProps>
              </a:ext>
              <a:ext uri="{28A0092B-C50C-407E-A947-70E740481C1C}">
                <a14:useLocalDpi xmlns:a14="http://schemas.microsoft.com/office/drawing/2010/main" val="0"/>
              </a:ext>
            </a:extLst>
          </a:blip>
          <a:srcRect/>
          <a:stretch/>
        </p:blipFill>
        <p:spPr bwMode="auto">
          <a:xfrm>
            <a:off x="7499010" y="3867773"/>
            <a:ext cx="2790825" cy="249512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44153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4460F39-F8AB-8F44-B805-C919A1160F18}"/>
              </a:ext>
            </a:extLst>
          </p:cNvPr>
          <p:cNvSpPr>
            <a:spLocks noGrp="1"/>
          </p:cNvSpPr>
          <p:nvPr>
            <p:ph type="title"/>
          </p:nvPr>
        </p:nvSpPr>
        <p:spPr>
          <a:xfrm>
            <a:off x="341194" y="3814618"/>
            <a:ext cx="4932769" cy="1876594"/>
          </a:xfrm>
        </p:spPr>
        <p:txBody>
          <a:bodyPr/>
          <a:lstStyle/>
          <a:p>
            <a:r>
              <a:rPr lang="es-ES" noProof="0" dirty="0"/>
              <a:t>Las profesiones</a:t>
            </a:r>
          </a:p>
        </p:txBody>
      </p:sp>
      <p:sp>
        <p:nvSpPr>
          <p:cNvPr id="3" name="Marcador de fecha 2">
            <a:extLst>
              <a:ext uri="{FF2B5EF4-FFF2-40B4-BE49-F238E27FC236}">
                <a16:creationId xmlns:a16="http://schemas.microsoft.com/office/drawing/2014/main" id="{1336FBCD-28B0-CB38-E257-F18E0FB728F0}"/>
              </a:ext>
            </a:extLst>
          </p:cNvPr>
          <p:cNvSpPr>
            <a:spLocks noGrp="1"/>
          </p:cNvSpPr>
          <p:nvPr>
            <p:ph type="dt" sz="half" idx="10"/>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D22FE4A-7725-E1A1-575C-9527875E91D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5AABBDB-D3E5-D131-2058-4A94B7A1BFA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0</a:t>
            </a:fld>
            <a:endParaRPr lang="es-ES" dirty="0"/>
          </a:p>
        </p:txBody>
      </p:sp>
    </p:spTree>
    <p:extLst>
      <p:ext uri="{BB962C8B-B14F-4D97-AF65-F5344CB8AC3E}">
        <p14:creationId xmlns:p14="http://schemas.microsoft.com/office/powerpoint/2010/main" val="201607720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108E3126-1A1B-40BB-B2C8-5366C9DA7B1A}"/>
              </a:ext>
            </a:extLst>
          </p:cNvPr>
          <p:cNvSpPr>
            <a:spLocks noGrp="1"/>
          </p:cNvSpPr>
          <p:nvPr>
            <p:ph type="title"/>
          </p:nvPr>
        </p:nvSpPr>
        <p:spPr>
          <a:xfrm>
            <a:off x="838200" y="365126"/>
            <a:ext cx="9840124" cy="1092200"/>
          </a:xfrm>
        </p:spPr>
        <p:txBody>
          <a:bodyPr>
            <a:normAutofit/>
          </a:bodyPr>
          <a:lstStyle/>
          <a:p>
            <a:r>
              <a:rPr lang="es-ES" noProof="0" dirty="0"/>
              <a:t>Seis de cada diez profesiones están en riesgo (desaparecer / cambiar)</a:t>
            </a:r>
          </a:p>
        </p:txBody>
      </p:sp>
      <p:graphicFrame>
        <p:nvGraphicFramePr>
          <p:cNvPr id="11" name="Marcador de contenido 10">
            <a:extLst>
              <a:ext uri="{FF2B5EF4-FFF2-40B4-BE49-F238E27FC236}">
                <a16:creationId xmlns:a16="http://schemas.microsoft.com/office/drawing/2014/main" id="{00ADEC5C-A7FA-4591-8554-691F502F2DD4}"/>
              </a:ext>
            </a:extLst>
          </p:cNvPr>
          <p:cNvGraphicFramePr>
            <a:graphicFrameLocks noGrp="1"/>
          </p:cNvGraphicFramePr>
          <p:nvPr>
            <p:ph idx="1"/>
            <p:extLst>
              <p:ext uri="{D42A27DB-BD31-4B8C-83A1-F6EECF244321}">
                <p14:modId xmlns:p14="http://schemas.microsoft.com/office/powerpoint/2010/main" val="285811472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Marcador de fecha 1">
            <a:extLst>
              <a:ext uri="{FF2B5EF4-FFF2-40B4-BE49-F238E27FC236}">
                <a16:creationId xmlns:a16="http://schemas.microsoft.com/office/drawing/2014/main" id="{CF612010-313F-42D3-859F-CC56842E27EE}"/>
              </a:ext>
            </a:extLst>
          </p:cNvPr>
          <p:cNvSpPr>
            <a:spLocks noGrp="1"/>
          </p:cNvSpPr>
          <p:nvPr>
            <p:ph type="dt" sz="half" idx="10"/>
          </p:nvPr>
        </p:nvSpPr>
        <p:spPr>
          <a:xfrm>
            <a:off x="814650" y="6400379"/>
            <a:ext cx="3380278" cy="365125"/>
          </a:xfrm>
        </p:spPr>
        <p:txBody>
          <a:bodyPr/>
          <a:lstStyle/>
          <a:p>
            <a:fld id="{19F413C6-EADF-4A35-9589-5CCFDA55C182}"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315F8354-FF08-4424-98D5-CBB4DF1BDA9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6239C096-3252-41EF-A8D2-655618AAD69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1</a:t>
            </a:fld>
            <a:endParaRPr lang="es-ES" dirty="0"/>
          </a:p>
        </p:txBody>
      </p:sp>
    </p:spTree>
    <p:extLst>
      <p:ext uri="{BB962C8B-B14F-4D97-AF65-F5344CB8AC3E}">
        <p14:creationId xmlns:p14="http://schemas.microsoft.com/office/powerpoint/2010/main" val="37147235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CC140C-5B4D-85B4-BED1-135CB0451475}"/>
              </a:ext>
            </a:extLst>
          </p:cNvPr>
          <p:cNvSpPr>
            <a:spLocks noGrp="1"/>
          </p:cNvSpPr>
          <p:nvPr>
            <p:ph type="title"/>
          </p:nvPr>
        </p:nvSpPr>
        <p:spPr>
          <a:xfrm>
            <a:off x="838200" y="365126"/>
            <a:ext cx="9840124" cy="1092200"/>
          </a:xfrm>
        </p:spPr>
        <p:txBody>
          <a:bodyPr/>
          <a:lstStyle/>
          <a:p>
            <a:r>
              <a:rPr lang="es-ES" noProof="0" dirty="0"/>
              <a:t>Encuadre orgánico de la Inteligencia Artificial</a:t>
            </a:r>
          </a:p>
        </p:txBody>
      </p:sp>
      <p:graphicFrame>
        <p:nvGraphicFramePr>
          <p:cNvPr id="5" name="Marcador de contenido 4">
            <a:extLst>
              <a:ext uri="{FF2B5EF4-FFF2-40B4-BE49-F238E27FC236}">
                <a16:creationId xmlns:a16="http://schemas.microsoft.com/office/drawing/2014/main" id="{75B8E763-E6E7-5540-1AFC-8898F67E3AE9}"/>
              </a:ext>
            </a:extLst>
          </p:cNvPr>
          <p:cNvGraphicFramePr>
            <a:graphicFrameLocks noGrp="1"/>
          </p:cNvGraphicFramePr>
          <p:nvPr>
            <p:ph idx="1"/>
            <p:extLst>
              <p:ext uri="{D42A27DB-BD31-4B8C-83A1-F6EECF244321}">
                <p14:modId xmlns:p14="http://schemas.microsoft.com/office/powerpoint/2010/main" val="232028570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6AD22723-537F-7BBA-EAD2-D68EDFF4B821}"/>
              </a:ext>
            </a:extLst>
          </p:cNvPr>
          <p:cNvSpPr>
            <a:spLocks noGrp="1"/>
          </p:cNvSpPr>
          <p:nvPr>
            <p:ph type="dt" sz="half" idx="10"/>
          </p:nvPr>
        </p:nvSpPr>
        <p:spPr>
          <a:xfrm>
            <a:off x="814650" y="6400379"/>
            <a:ext cx="3380278" cy="365125"/>
          </a:xfrm>
        </p:spPr>
        <p:txBody>
          <a:bodyPr/>
          <a:lstStyle/>
          <a:p>
            <a:fld id="{AA39BA0C-95D7-45A7-8C81-E01B8E30AA8A}" type="datetime2">
              <a:rPr lang="es-ES" smtClean="0"/>
              <a:pPr/>
              <a:t>jueves, 19 de septiembre de 2024</a:t>
            </a:fld>
            <a:endParaRPr lang="es-ES" dirty="0"/>
          </a:p>
        </p:txBody>
      </p:sp>
      <p:sp>
        <p:nvSpPr>
          <p:cNvPr id="4" name="Marcador de número de diapositiva 3">
            <a:extLst>
              <a:ext uri="{FF2B5EF4-FFF2-40B4-BE49-F238E27FC236}">
                <a16:creationId xmlns:a16="http://schemas.microsoft.com/office/drawing/2014/main" id="{8CEFE0F5-1AAD-514E-0602-4D54B39844D9}"/>
              </a:ext>
            </a:extLst>
          </p:cNvPr>
          <p:cNvSpPr>
            <a:spLocks noGrp="1"/>
          </p:cNvSpPr>
          <p:nvPr>
            <p:ph type="sldNum" sz="quarter" idx="12"/>
          </p:nvPr>
        </p:nvSpPr>
        <p:spPr>
          <a:xfrm>
            <a:off x="10801350" y="6421474"/>
            <a:ext cx="576000" cy="365125"/>
          </a:xfrm>
        </p:spPr>
        <p:txBody>
          <a:bodyPr/>
          <a:lstStyle/>
          <a:p>
            <a:fld id="{0044FC7B-1484-4F41-8CEF-44245FF4EC0C}" type="slidenum">
              <a:rPr lang="es-ES" smtClean="0"/>
              <a:pPr/>
              <a:t>192</a:t>
            </a:fld>
            <a:endParaRPr lang="es-ES" dirty="0"/>
          </a:p>
        </p:txBody>
      </p:sp>
      <p:sp>
        <p:nvSpPr>
          <p:cNvPr id="8" name="Rectángulo: esquinas redondeadas 7">
            <a:extLst>
              <a:ext uri="{FF2B5EF4-FFF2-40B4-BE49-F238E27FC236}">
                <a16:creationId xmlns:a16="http://schemas.microsoft.com/office/drawing/2014/main" id="{1A6BC9F4-7D88-337A-2B71-D8D299B72602}"/>
              </a:ext>
            </a:extLst>
          </p:cNvPr>
          <p:cNvSpPr/>
          <p:nvPr/>
        </p:nvSpPr>
        <p:spPr>
          <a:xfrm>
            <a:off x="4599179" y="4001229"/>
            <a:ext cx="1601656" cy="1065829"/>
          </a:xfrm>
          <a:custGeom>
            <a:avLst/>
            <a:gdLst>
              <a:gd name="connsiteX0" fmla="*/ 0 w 1601656"/>
              <a:gd name="connsiteY0" fmla="*/ 177642 h 1065829"/>
              <a:gd name="connsiteX1" fmla="*/ 177642 w 1601656"/>
              <a:gd name="connsiteY1" fmla="*/ 0 h 1065829"/>
              <a:gd name="connsiteX2" fmla="*/ 1424014 w 1601656"/>
              <a:gd name="connsiteY2" fmla="*/ 0 h 1065829"/>
              <a:gd name="connsiteX3" fmla="*/ 1601656 w 1601656"/>
              <a:gd name="connsiteY3" fmla="*/ 177642 h 1065829"/>
              <a:gd name="connsiteX4" fmla="*/ 1601656 w 1601656"/>
              <a:gd name="connsiteY4" fmla="*/ 888187 h 1065829"/>
              <a:gd name="connsiteX5" fmla="*/ 1424014 w 1601656"/>
              <a:gd name="connsiteY5" fmla="*/ 1065829 h 1065829"/>
              <a:gd name="connsiteX6" fmla="*/ 177642 w 1601656"/>
              <a:gd name="connsiteY6" fmla="*/ 1065829 h 1065829"/>
              <a:gd name="connsiteX7" fmla="*/ 0 w 1601656"/>
              <a:gd name="connsiteY7" fmla="*/ 888187 h 1065829"/>
              <a:gd name="connsiteX8" fmla="*/ 0 w 1601656"/>
              <a:gd name="connsiteY8" fmla="*/ 177642 h 106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56" h="1065829" extrusionOk="0">
                <a:moveTo>
                  <a:pt x="0" y="177642"/>
                </a:moveTo>
                <a:cubicBezTo>
                  <a:pt x="10655" y="87508"/>
                  <a:pt x="73315" y="925"/>
                  <a:pt x="177642" y="0"/>
                </a:cubicBezTo>
                <a:cubicBezTo>
                  <a:pt x="418387" y="-7291"/>
                  <a:pt x="1052130" y="109107"/>
                  <a:pt x="1424014" y="0"/>
                </a:cubicBezTo>
                <a:cubicBezTo>
                  <a:pt x="1520120" y="-4728"/>
                  <a:pt x="1604988" y="83874"/>
                  <a:pt x="1601656" y="177642"/>
                </a:cubicBezTo>
                <a:cubicBezTo>
                  <a:pt x="1597338" y="259492"/>
                  <a:pt x="1616072" y="572582"/>
                  <a:pt x="1601656" y="888187"/>
                </a:cubicBezTo>
                <a:cubicBezTo>
                  <a:pt x="1587359" y="972976"/>
                  <a:pt x="1508261" y="1074237"/>
                  <a:pt x="1424014" y="1065829"/>
                </a:cubicBezTo>
                <a:cubicBezTo>
                  <a:pt x="1008982" y="1054476"/>
                  <a:pt x="574162" y="1002811"/>
                  <a:pt x="177642" y="1065829"/>
                </a:cubicBezTo>
                <a:cubicBezTo>
                  <a:pt x="97147" y="1069377"/>
                  <a:pt x="-1376" y="988959"/>
                  <a:pt x="0" y="888187"/>
                </a:cubicBezTo>
                <a:cubicBezTo>
                  <a:pt x="-7413" y="565513"/>
                  <a:pt x="46034" y="464776"/>
                  <a:pt x="0" y="177642"/>
                </a:cubicBezTo>
                <a:close/>
              </a:path>
            </a:pathLst>
          </a:custGeom>
          <a:noFill/>
          <a:ln w="38100">
            <a:solidFill>
              <a:srgbClr val="FF0000"/>
            </a:solidFill>
            <a:extLst>
              <a:ext uri="{C807C97D-BFC1-408E-A445-0C87EB9F89A2}">
                <ask:lineSketchStyleProps xmlns:ask="http://schemas.microsoft.com/office/drawing/2018/sketchyshapes" sd="3478455080">
                  <a:prstGeom prst="roundRect">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46861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58788161-8C7C-7885-7B29-A1DD5CF31D20}"/>
              </a:ext>
            </a:extLst>
          </p:cNvPr>
          <p:cNvSpPr/>
          <p:nvPr/>
        </p:nvSpPr>
        <p:spPr>
          <a:xfrm>
            <a:off x="1930400" y="1117600"/>
            <a:ext cx="3251200" cy="528277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s-ES" dirty="0">
                <a:highlight>
                  <a:srgbClr val="000000"/>
                </a:highlight>
              </a:rPr>
              <a:t>Data valuing engineer</a:t>
            </a:r>
          </a:p>
        </p:txBody>
      </p:sp>
      <p:sp>
        <p:nvSpPr>
          <p:cNvPr id="2" name="Título 1">
            <a:extLst>
              <a:ext uri="{FF2B5EF4-FFF2-40B4-BE49-F238E27FC236}">
                <a16:creationId xmlns:a16="http://schemas.microsoft.com/office/drawing/2014/main" id="{C9033118-05A9-4E4F-B014-7A03D1E0808A}"/>
              </a:ext>
            </a:extLst>
          </p:cNvPr>
          <p:cNvSpPr>
            <a:spLocks noGrp="1"/>
          </p:cNvSpPr>
          <p:nvPr>
            <p:ph type="title"/>
          </p:nvPr>
        </p:nvSpPr>
        <p:spPr>
          <a:xfrm>
            <a:off x="838200" y="365126"/>
            <a:ext cx="9840124" cy="1092200"/>
          </a:xfrm>
        </p:spPr>
        <p:txBody>
          <a:bodyPr/>
          <a:lstStyle/>
          <a:p>
            <a:r>
              <a:rPr lang="es-ES" noProof="0" dirty="0"/>
              <a:t>Profesionales Big Data / Inteligencia artificial core</a:t>
            </a:r>
          </a:p>
        </p:txBody>
      </p:sp>
      <p:sp>
        <p:nvSpPr>
          <p:cNvPr id="3" name="Marcador de fecha 2">
            <a:extLst>
              <a:ext uri="{FF2B5EF4-FFF2-40B4-BE49-F238E27FC236}">
                <a16:creationId xmlns:a16="http://schemas.microsoft.com/office/drawing/2014/main" id="{EC495C22-40F1-42C5-861F-60B81B27FA95}"/>
              </a:ext>
            </a:extLst>
          </p:cNvPr>
          <p:cNvSpPr>
            <a:spLocks noGrp="1"/>
          </p:cNvSpPr>
          <p:nvPr>
            <p:ph type="dt" sz="half" idx="10"/>
          </p:nvPr>
        </p:nvSpPr>
        <p:spPr>
          <a:xfrm>
            <a:off x="814650" y="6400379"/>
            <a:ext cx="3380278" cy="365125"/>
          </a:xfrm>
        </p:spPr>
        <p:txBody>
          <a:bodyPr/>
          <a:lstStyle/>
          <a:p>
            <a:fld id="{BCB94BE4-B894-4439-94DC-2A7F75B1CF8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14C73D9-C38A-4542-962C-DC7A4BB3FC2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5A4D2584-3FA3-4004-B8E0-CE6E0DF80C6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3</a:t>
            </a:fld>
            <a:endParaRPr lang="es-ES" dirty="0"/>
          </a:p>
        </p:txBody>
      </p:sp>
      <p:graphicFrame>
        <p:nvGraphicFramePr>
          <p:cNvPr id="6" name="Diagrama 5">
            <a:extLst>
              <a:ext uri="{FF2B5EF4-FFF2-40B4-BE49-F238E27FC236}">
                <a16:creationId xmlns:a16="http://schemas.microsoft.com/office/drawing/2014/main" id="{40388320-3B80-4F4A-A148-59BC718279AC}"/>
              </a:ext>
            </a:extLst>
          </p:cNvPr>
          <p:cNvGraphicFramePr/>
          <p:nvPr>
            <p:extLst>
              <p:ext uri="{D42A27DB-BD31-4B8C-83A1-F6EECF244321}">
                <p14:modId xmlns:p14="http://schemas.microsoft.com/office/powerpoint/2010/main" val="1526698681"/>
              </p:ext>
            </p:extLst>
          </p:nvPr>
        </p:nvGraphicFramePr>
        <p:xfrm>
          <a:off x="203200" y="1534160"/>
          <a:ext cx="11846559" cy="4887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8975618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CFFD9C-887E-D9AF-809D-8BF5D080409A}"/>
              </a:ext>
            </a:extLst>
          </p:cNvPr>
          <p:cNvSpPr>
            <a:spLocks noGrp="1"/>
          </p:cNvSpPr>
          <p:nvPr>
            <p:ph type="title"/>
          </p:nvPr>
        </p:nvSpPr>
        <p:spPr>
          <a:xfrm>
            <a:off x="838200" y="365126"/>
            <a:ext cx="9840124" cy="1092200"/>
          </a:xfrm>
        </p:spPr>
        <p:txBody>
          <a:bodyPr>
            <a:normAutofit fontScale="90000"/>
          </a:bodyPr>
          <a:lstStyle/>
          <a:p>
            <a:r>
              <a:rPr lang="es-ES" noProof="0" dirty="0"/>
              <a:t>Otros profesionales relacionados con Big Data / Inteligencia artificial</a:t>
            </a:r>
            <a:br>
              <a:rPr lang="es-ES" noProof="0" dirty="0"/>
            </a:br>
            <a:endParaRPr lang="es-ES" noProof="0" dirty="0"/>
          </a:p>
        </p:txBody>
      </p:sp>
      <p:graphicFrame>
        <p:nvGraphicFramePr>
          <p:cNvPr id="11" name="Marcador de contenido 10">
            <a:extLst>
              <a:ext uri="{FF2B5EF4-FFF2-40B4-BE49-F238E27FC236}">
                <a16:creationId xmlns:a16="http://schemas.microsoft.com/office/drawing/2014/main" id="{CC9D21DB-13A7-28D7-B60D-B60396D8948A}"/>
              </a:ext>
            </a:extLst>
          </p:cNvPr>
          <p:cNvGraphicFramePr>
            <a:graphicFrameLocks noGrp="1"/>
          </p:cNvGraphicFramePr>
          <p:nvPr>
            <p:ph idx="1"/>
            <p:extLst>
              <p:ext uri="{D42A27DB-BD31-4B8C-83A1-F6EECF244321}">
                <p14:modId xmlns:p14="http://schemas.microsoft.com/office/powerpoint/2010/main" val="229262694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Marcador de fecha 6">
            <a:extLst>
              <a:ext uri="{FF2B5EF4-FFF2-40B4-BE49-F238E27FC236}">
                <a16:creationId xmlns:a16="http://schemas.microsoft.com/office/drawing/2014/main" id="{FFB2C202-7C9F-8C7A-E98D-E5A4DBE928EA}"/>
              </a:ext>
            </a:extLst>
          </p:cNvPr>
          <p:cNvSpPr>
            <a:spLocks noGrp="1"/>
          </p:cNvSpPr>
          <p:nvPr>
            <p:ph type="dt" sz="half" idx="10"/>
          </p:nvPr>
        </p:nvSpPr>
        <p:spPr>
          <a:xfrm>
            <a:off x="814650" y="6400379"/>
            <a:ext cx="3380278" cy="365125"/>
          </a:xfrm>
        </p:spPr>
        <p:txBody>
          <a:bodyPr/>
          <a:lstStyle/>
          <a:p>
            <a:fld id="{943DFC9A-9069-45C8-AF58-6C1AF648DDE7}" type="datetime2">
              <a:rPr lang="es-ES" smtClean="0"/>
              <a:pPr/>
              <a:t>jueves, 19 de septiembre de 2024</a:t>
            </a:fld>
            <a:endParaRPr lang="es-ES" dirty="0"/>
          </a:p>
        </p:txBody>
      </p:sp>
      <p:sp>
        <p:nvSpPr>
          <p:cNvPr id="8" name="Marcador de pie de página 7">
            <a:extLst>
              <a:ext uri="{FF2B5EF4-FFF2-40B4-BE49-F238E27FC236}">
                <a16:creationId xmlns:a16="http://schemas.microsoft.com/office/drawing/2014/main" id="{6553103C-723D-52AF-F82D-799F39D9193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9" name="Marcador de número de diapositiva 8">
            <a:extLst>
              <a:ext uri="{FF2B5EF4-FFF2-40B4-BE49-F238E27FC236}">
                <a16:creationId xmlns:a16="http://schemas.microsoft.com/office/drawing/2014/main" id="{12DF799C-2717-2631-F483-3C0FD7D0FAE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4</a:t>
            </a:fld>
            <a:endParaRPr lang="es-ES" dirty="0"/>
          </a:p>
        </p:txBody>
      </p:sp>
    </p:spTree>
    <p:extLst>
      <p:ext uri="{BB962C8B-B14F-4D97-AF65-F5344CB8AC3E}">
        <p14:creationId xmlns:p14="http://schemas.microsoft.com/office/powerpoint/2010/main" val="7830840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B2831C-2338-4286-A14E-7089B7D55329}"/>
              </a:ext>
            </a:extLst>
          </p:cNvPr>
          <p:cNvSpPr>
            <a:spLocks noGrp="1"/>
          </p:cNvSpPr>
          <p:nvPr>
            <p:ph type="title"/>
          </p:nvPr>
        </p:nvSpPr>
        <p:spPr>
          <a:xfrm>
            <a:off x="341194" y="3814618"/>
            <a:ext cx="4932769" cy="1876594"/>
          </a:xfrm>
        </p:spPr>
        <p:txBody>
          <a:bodyPr>
            <a:normAutofit fontScale="90000"/>
          </a:bodyPr>
          <a:lstStyle/>
          <a:p>
            <a:r>
              <a:rPr lang="es-ES" noProof="0" dirty="0"/>
              <a:t>El estado del arte de la transformación Digital en las empresas</a:t>
            </a:r>
          </a:p>
        </p:txBody>
      </p:sp>
      <p:sp>
        <p:nvSpPr>
          <p:cNvPr id="3" name="Marcador de fecha 2">
            <a:extLst>
              <a:ext uri="{FF2B5EF4-FFF2-40B4-BE49-F238E27FC236}">
                <a16:creationId xmlns:a16="http://schemas.microsoft.com/office/drawing/2014/main" id="{A201B0F0-4252-496E-84F2-675E830896D9}"/>
              </a:ext>
            </a:extLst>
          </p:cNvPr>
          <p:cNvSpPr>
            <a:spLocks noGrp="1"/>
          </p:cNvSpPr>
          <p:nvPr>
            <p:ph type="dt" sz="half" idx="10"/>
          </p:nvPr>
        </p:nvSpPr>
        <p:spPr>
          <a:xfrm>
            <a:off x="814650" y="6400379"/>
            <a:ext cx="3380278" cy="365125"/>
          </a:xfrm>
        </p:spPr>
        <p:txBody>
          <a:bodyPr/>
          <a:lstStyle/>
          <a:p>
            <a:fld id="{94391A9D-A889-4C6D-A82B-E179C25D66A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8E37C4B6-41D8-4E76-8913-6D4C2504D35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28ED3F3-3331-4A39-9151-97AD9F41DB4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5</a:t>
            </a:fld>
            <a:endParaRPr lang="es-ES" dirty="0"/>
          </a:p>
        </p:txBody>
      </p:sp>
    </p:spTree>
    <p:extLst>
      <p:ext uri="{BB962C8B-B14F-4D97-AF65-F5344CB8AC3E}">
        <p14:creationId xmlns:p14="http://schemas.microsoft.com/office/powerpoint/2010/main" val="235385760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D839C32-EEB1-4A1A-BB7C-071605A90D86}"/>
              </a:ext>
            </a:extLst>
          </p:cNvPr>
          <p:cNvSpPr>
            <a:spLocks noGrp="1"/>
          </p:cNvSpPr>
          <p:nvPr>
            <p:ph type="title"/>
          </p:nvPr>
        </p:nvSpPr>
        <p:spPr>
          <a:xfrm>
            <a:off x="838200" y="365126"/>
            <a:ext cx="9840124" cy="1092200"/>
          </a:xfrm>
        </p:spPr>
        <p:txBody>
          <a:bodyPr/>
          <a:lstStyle/>
          <a:p>
            <a:r>
              <a:rPr lang="es-ES" noProof="0" dirty="0"/>
              <a:t>Punto de partida</a:t>
            </a:r>
          </a:p>
        </p:txBody>
      </p:sp>
      <p:sp>
        <p:nvSpPr>
          <p:cNvPr id="3" name="Marcador de fecha 2">
            <a:extLst>
              <a:ext uri="{FF2B5EF4-FFF2-40B4-BE49-F238E27FC236}">
                <a16:creationId xmlns:a16="http://schemas.microsoft.com/office/drawing/2014/main" id="{F8FDAB65-2A08-434A-9785-ED90AEFA7AA5}"/>
              </a:ext>
            </a:extLst>
          </p:cNvPr>
          <p:cNvSpPr>
            <a:spLocks noGrp="1"/>
          </p:cNvSpPr>
          <p:nvPr>
            <p:ph type="dt" sz="half" idx="10"/>
          </p:nvPr>
        </p:nvSpPr>
        <p:spPr>
          <a:xfrm>
            <a:off x="814650" y="6400379"/>
            <a:ext cx="3380278" cy="365125"/>
          </a:xfrm>
        </p:spPr>
        <p:txBody>
          <a:bodyPr/>
          <a:lstStyle/>
          <a:p>
            <a:fld id="{63A947E9-D6C4-4A4B-96AB-38C63BA54895}"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C9355F7C-6088-4872-8CDE-F1050BA0243D}"/>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3B0EB2F-7E51-4931-8180-F3AF5AC4AB3E}"/>
              </a:ext>
            </a:extLst>
          </p:cNvPr>
          <p:cNvSpPr>
            <a:spLocks noGrp="1"/>
          </p:cNvSpPr>
          <p:nvPr>
            <p:ph type="sldNum" sz="quarter" idx="12"/>
          </p:nvPr>
        </p:nvSpPr>
        <p:spPr>
          <a:xfrm>
            <a:off x="10801350" y="6421474"/>
            <a:ext cx="576000" cy="365125"/>
          </a:xfrm>
        </p:spPr>
        <p:txBody>
          <a:bodyPr/>
          <a:lstStyle/>
          <a:p>
            <a:fld id="{C51F9630-FBD1-438A-835E-721B707AED8A}" type="slidenum">
              <a:rPr lang="es-ES" smtClean="0"/>
              <a:pPr/>
              <a:t>196</a:t>
            </a:fld>
            <a:endParaRPr lang="es-ES" dirty="0"/>
          </a:p>
        </p:txBody>
      </p:sp>
      <p:graphicFrame>
        <p:nvGraphicFramePr>
          <p:cNvPr id="6" name="Diagrama 5">
            <a:extLst>
              <a:ext uri="{FF2B5EF4-FFF2-40B4-BE49-F238E27FC236}">
                <a16:creationId xmlns:a16="http://schemas.microsoft.com/office/drawing/2014/main" id="{ED48AFCC-6B12-467A-802A-57A8905F6EE5}"/>
              </a:ext>
            </a:extLst>
          </p:cNvPr>
          <p:cNvGraphicFramePr/>
          <p:nvPr>
            <p:extLst>
              <p:ext uri="{D42A27DB-BD31-4B8C-83A1-F6EECF244321}">
                <p14:modId xmlns:p14="http://schemas.microsoft.com/office/powerpoint/2010/main" val="1737625377"/>
              </p:ext>
            </p:extLst>
          </p:nvPr>
        </p:nvGraphicFramePr>
        <p:xfrm>
          <a:off x="202019" y="2002033"/>
          <a:ext cx="11763781" cy="4101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415819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394DE8-5492-474E-9C4B-1760D93B1B66}"/>
              </a:ext>
            </a:extLst>
          </p:cNvPr>
          <p:cNvSpPr>
            <a:spLocks noGrp="1"/>
          </p:cNvSpPr>
          <p:nvPr>
            <p:ph type="title"/>
          </p:nvPr>
        </p:nvSpPr>
        <p:spPr>
          <a:xfrm>
            <a:off x="838200" y="365126"/>
            <a:ext cx="9840124" cy="1092200"/>
          </a:xfrm>
        </p:spPr>
        <p:txBody>
          <a:bodyPr>
            <a:normAutofit fontScale="90000"/>
          </a:bodyPr>
          <a:lstStyle/>
          <a:p>
            <a:r>
              <a:rPr lang="es-ES" noProof="0" dirty="0"/>
              <a:t>La transformación digital por país </a:t>
            </a:r>
            <a:br>
              <a:rPr lang="es-ES" noProof="0" dirty="0"/>
            </a:br>
            <a:r>
              <a:rPr lang="es-ES" noProof="0" dirty="0"/>
              <a:t>Fuente: DESI (Índice de Economía y Sociedad Digital 2022)</a:t>
            </a:r>
          </a:p>
        </p:txBody>
      </p:sp>
      <p:sp>
        <p:nvSpPr>
          <p:cNvPr id="3" name="Marcador de fecha 2">
            <a:extLst>
              <a:ext uri="{FF2B5EF4-FFF2-40B4-BE49-F238E27FC236}">
                <a16:creationId xmlns:a16="http://schemas.microsoft.com/office/drawing/2014/main" id="{6D75ABDD-ABC4-4209-89CF-E2143E4F8602}"/>
              </a:ext>
            </a:extLst>
          </p:cNvPr>
          <p:cNvSpPr>
            <a:spLocks noGrp="1"/>
          </p:cNvSpPr>
          <p:nvPr>
            <p:ph type="dt" sz="half" idx="10"/>
          </p:nvPr>
        </p:nvSpPr>
        <p:spPr>
          <a:xfrm>
            <a:off x="814650" y="6400379"/>
            <a:ext cx="3380278" cy="365125"/>
          </a:xfrm>
        </p:spPr>
        <p:txBody>
          <a:bodyPr/>
          <a:lstStyle/>
          <a:p>
            <a:fld id="{20FF79CD-665F-4C61-8762-E06259029591}"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D7A758A-1441-43E5-9D5D-A7B278A6A2E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FFFA8A1-9A45-4833-A225-A209759E98D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7</a:t>
            </a:fld>
            <a:endParaRPr lang="es-ES" dirty="0"/>
          </a:p>
        </p:txBody>
      </p:sp>
      <p:pic>
        <p:nvPicPr>
          <p:cNvPr id="7" name="Imagen 6">
            <a:extLst>
              <a:ext uri="{FF2B5EF4-FFF2-40B4-BE49-F238E27FC236}">
                <a16:creationId xmlns:a16="http://schemas.microsoft.com/office/drawing/2014/main" id="{CBA0850F-9AF6-61CC-F18B-BBD88279183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077621" y="1322094"/>
            <a:ext cx="8819504" cy="5349535"/>
          </a:xfrm>
          <a:prstGeom prst="rect">
            <a:avLst/>
          </a:prstGeom>
        </p:spPr>
      </p:pic>
    </p:spTree>
    <p:extLst>
      <p:ext uri="{BB962C8B-B14F-4D97-AF65-F5344CB8AC3E}">
        <p14:creationId xmlns:p14="http://schemas.microsoft.com/office/powerpoint/2010/main" val="37684883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FE9CE0-870B-4D89-8F9F-A55287F166B8}"/>
              </a:ext>
            </a:extLst>
          </p:cNvPr>
          <p:cNvSpPr>
            <a:spLocks noGrp="1"/>
          </p:cNvSpPr>
          <p:nvPr>
            <p:ph type="title"/>
          </p:nvPr>
        </p:nvSpPr>
        <p:spPr>
          <a:xfrm>
            <a:off x="838200" y="365126"/>
            <a:ext cx="9840124" cy="1092200"/>
          </a:xfrm>
        </p:spPr>
        <p:txBody>
          <a:bodyPr>
            <a:normAutofit/>
          </a:bodyPr>
          <a:lstStyle/>
          <a:p>
            <a:r>
              <a:rPr lang="es-ES" noProof="0" dirty="0"/>
              <a:t>Las barreras a la transformación digital </a:t>
            </a:r>
          </a:p>
        </p:txBody>
      </p:sp>
      <p:sp>
        <p:nvSpPr>
          <p:cNvPr id="3" name="Marcador de fecha 2">
            <a:extLst>
              <a:ext uri="{FF2B5EF4-FFF2-40B4-BE49-F238E27FC236}">
                <a16:creationId xmlns:a16="http://schemas.microsoft.com/office/drawing/2014/main" id="{2CACE4D4-981A-471B-A228-639AD82EEDBD}"/>
              </a:ext>
            </a:extLst>
          </p:cNvPr>
          <p:cNvSpPr>
            <a:spLocks noGrp="1"/>
          </p:cNvSpPr>
          <p:nvPr>
            <p:ph type="dt" sz="half" idx="10"/>
          </p:nvPr>
        </p:nvSpPr>
        <p:spPr>
          <a:xfrm>
            <a:off x="814650" y="6400379"/>
            <a:ext cx="3380278" cy="365125"/>
          </a:xfrm>
        </p:spPr>
        <p:txBody>
          <a:bodyPr/>
          <a:lstStyle/>
          <a:p>
            <a:fld id="{858D7A21-3635-4E1C-B614-EC01A4537B6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2E926B1-2F8F-4D87-9FC9-CECA53F355A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5A261224-1E49-42D1-A015-462F79CD214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8</a:t>
            </a:fld>
            <a:endParaRPr lang="es-ES" dirty="0"/>
          </a:p>
        </p:txBody>
      </p:sp>
      <p:pic>
        <p:nvPicPr>
          <p:cNvPr id="6" name="Picture 2" descr="La digitalización es esencial para el 88 % de las pymes españolas pero la  inflación frena su avance - RevistaPYMES.es">
            <a:extLst>
              <a:ext uri="{FF2B5EF4-FFF2-40B4-BE49-F238E27FC236}">
                <a16:creationId xmlns:a16="http://schemas.microsoft.com/office/drawing/2014/main" id="{8795CC4A-80EC-1EC5-0289-6C140E0FA0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070" y="2046604"/>
            <a:ext cx="8578850" cy="4289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74401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60CA007-B82C-DC41-CBAB-82A1D716A4C9}"/>
              </a:ext>
            </a:extLst>
          </p:cNvPr>
          <p:cNvSpPr>
            <a:spLocks noGrp="1"/>
          </p:cNvSpPr>
          <p:nvPr>
            <p:ph type="title"/>
          </p:nvPr>
        </p:nvSpPr>
        <p:spPr>
          <a:xfrm>
            <a:off x="838200" y="365126"/>
            <a:ext cx="9840124" cy="1092200"/>
          </a:xfrm>
        </p:spPr>
        <p:txBody>
          <a:bodyPr/>
          <a:lstStyle/>
          <a:p>
            <a:r>
              <a:rPr lang="es-ES" noProof="0" dirty="0"/>
              <a:t>Lo que impide a las empresas digitalizarse</a:t>
            </a:r>
          </a:p>
        </p:txBody>
      </p:sp>
      <p:sp>
        <p:nvSpPr>
          <p:cNvPr id="3" name="Marcador de fecha 2">
            <a:extLst>
              <a:ext uri="{FF2B5EF4-FFF2-40B4-BE49-F238E27FC236}">
                <a16:creationId xmlns:a16="http://schemas.microsoft.com/office/drawing/2014/main" id="{7256D010-476C-B24C-2449-7FC2E0A883C3}"/>
              </a:ext>
            </a:extLst>
          </p:cNvPr>
          <p:cNvSpPr>
            <a:spLocks noGrp="1"/>
          </p:cNvSpPr>
          <p:nvPr>
            <p:ph type="dt" sz="half" idx="10"/>
          </p:nvPr>
        </p:nvSpPr>
        <p:spPr>
          <a:xfrm>
            <a:off x="814650" y="6400379"/>
            <a:ext cx="3380278" cy="365125"/>
          </a:xfrm>
        </p:spPr>
        <p:txBody>
          <a:bodyPr/>
          <a:lstStyle/>
          <a:p>
            <a:fld id="{AEE2699D-D66D-4468-9F57-7E31CDE0E5A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5F2BE7D-076C-B7C1-4CA3-09D1ABA1606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13E9C74-C02B-6203-1168-612756010D1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199</a:t>
            </a:fld>
            <a:endParaRPr lang="es-ES" dirty="0"/>
          </a:p>
        </p:txBody>
      </p:sp>
      <p:pic>
        <p:nvPicPr>
          <p:cNvPr id="3074" name="Picture 2" descr="La inflación, el segundo gran impedimento para la digitalización de las  pymes españolas, según un estudio de IONOS – IONOS Newsroom (España)">
            <a:extLst>
              <a:ext uri="{FF2B5EF4-FFF2-40B4-BE49-F238E27FC236}">
                <a16:creationId xmlns:a16="http://schemas.microsoft.com/office/drawing/2014/main" id="{5A53AAF8-FAB9-629A-364B-FF34AF52A6A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710"/>
          <a:stretch/>
        </p:blipFill>
        <p:spPr bwMode="auto">
          <a:xfrm>
            <a:off x="751840" y="1991360"/>
            <a:ext cx="9114848" cy="42891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7973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9840124" cy="1092200"/>
          </a:xfrm>
        </p:spPr>
        <p:txBody>
          <a:bodyPr>
            <a:normAutofit/>
          </a:bodyPr>
          <a:lstStyle/>
          <a:p>
            <a:r>
              <a:rPr lang="es-ES" noProof="0" dirty="0"/>
              <a:t>Ponente</a:t>
            </a:r>
          </a:p>
        </p:txBody>
      </p:sp>
      <p:sp>
        <p:nvSpPr>
          <p:cNvPr id="2" name="Marcador de fecha 1">
            <a:extLst>
              <a:ext uri="{FF2B5EF4-FFF2-40B4-BE49-F238E27FC236}">
                <a16:creationId xmlns:a16="http://schemas.microsoft.com/office/drawing/2014/main" id="{1FE60CD7-04F5-4DC2-BA5A-08F80A034F6E}"/>
              </a:ext>
            </a:extLst>
          </p:cNvPr>
          <p:cNvSpPr>
            <a:spLocks noGrp="1"/>
          </p:cNvSpPr>
          <p:nvPr>
            <p:ph type="dt" sz="half" idx="10"/>
          </p:nvPr>
        </p:nvSpPr>
        <p:spPr>
          <a:xfrm>
            <a:off x="814650" y="6400379"/>
            <a:ext cx="3380278" cy="365125"/>
          </a:xfrm>
        </p:spPr>
        <p:txBody>
          <a:bodyPr/>
          <a:lstStyle/>
          <a:p>
            <a:fld id="{7C4DECFD-EC26-476D-8BAA-6C4720D90AB8}"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1D89C0E1-B45F-4B50-A5BC-B66F730E6BE4}"/>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FF33A2C-6AF2-4018-A922-D37603292B0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a:t>
            </a:fld>
            <a:endParaRPr lang="es-ES" dirty="0"/>
          </a:p>
        </p:txBody>
      </p:sp>
      <p:grpSp>
        <p:nvGrpSpPr>
          <p:cNvPr id="27" name="Group 26"/>
          <p:cNvGrpSpPr/>
          <p:nvPr/>
        </p:nvGrpSpPr>
        <p:grpSpPr>
          <a:xfrm>
            <a:off x="848754" y="3264567"/>
            <a:ext cx="10596107" cy="2711020"/>
            <a:chOff x="3543300" y="6896100"/>
            <a:chExt cx="11429999" cy="2015023"/>
          </a:xfrm>
        </p:grpSpPr>
        <p:grpSp>
          <p:nvGrpSpPr>
            <p:cNvPr id="18" name="Group 17"/>
            <p:cNvGrpSpPr/>
            <p:nvPr/>
          </p:nvGrpSpPr>
          <p:grpSpPr>
            <a:xfrm>
              <a:off x="3543300" y="6896100"/>
              <a:ext cx="685800" cy="685800"/>
              <a:chOff x="6324600" y="4114799"/>
              <a:chExt cx="685800" cy="685800"/>
            </a:xfrm>
          </p:grpSpPr>
          <p:cxnSp>
            <p:nvCxnSpPr>
              <p:cNvPr id="19" name="Straight Connector 18"/>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rot="10800000">
              <a:off x="14287500" y="8225323"/>
              <a:ext cx="685799" cy="685800"/>
              <a:chOff x="6324600" y="4114799"/>
              <a:chExt cx="685799" cy="685800"/>
            </a:xfrm>
          </p:grpSpPr>
          <p:cxnSp>
            <p:nvCxnSpPr>
              <p:cNvPr id="22" name="Straight Connector 21"/>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324600" y="4114799"/>
                <a:ext cx="685799"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a:off x="1024229" y="3235224"/>
            <a:ext cx="10319013" cy="2528992"/>
          </a:xfrm>
          <a:prstGeom prst="rect">
            <a:avLst/>
          </a:prstGeom>
          <a:noFill/>
        </p:spPr>
        <p:txBody>
          <a:bodyPr wrap="square" lIns="81029" tIns="40687" rIns="81029" bIns="40687" rtlCol="0">
            <a:spAutoFit/>
          </a:bodyPr>
          <a:lstStyle/>
          <a:p>
            <a:pPr marL="285750" indent="-285750">
              <a:spcAft>
                <a:spcPts val="600"/>
              </a:spcAft>
              <a:buFont typeface="Arial" panose="020B0604020202020204" pitchFamily="34" charset="0"/>
              <a:buChar char="•"/>
            </a:pPr>
            <a:r>
              <a:rPr lang="es-ES" dirty="0">
                <a:solidFill>
                  <a:schemeClr val="tx2"/>
                </a:solidFill>
              </a:rPr>
              <a:t>Ha desarrollado su carrera profesional en Consultoras y siempre en relación con el Sistema Financiero, y desde el negocio, conoce el mundo de los mercados de capitales / Banca privada y Banca de empresa. Ha trabajado en Argentina, USA, UK, Alemania, Portugal, Italia, Andorra y Turquía. </a:t>
            </a:r>
          </a:p>
          <a:p>
            <a:pPr marL="285750" indent="-285750">
              <a:spcAft>
                <a:spcPts val="600"/>
              </a:spcAft>
              <a:buFont typeface="Arial" panose="020B0604020202020204" pitchFamily="34" charset="0"/>
              <a:buChar char="•"/>
            </a:pPr>
            <a:r>
              <a:rPr lang="es-ES" dirty="0">
                <a:solidFill>
                  <a:schemeClr val="tx2"/>
                </a:solidFill>
              </a:rPr>
              <a:t>En el 2014 entró accidentalmente en el mundo de nuevas tecnologías (Big Data Analytic, IoT, Blockchain, Metaverso) y se quedó allí desde entonces.</a:t>
            </a:r>
          </a:p>
          <a:p>
            <a:pPr marL="285750" indent="-285750">
              <a:spcAft>
                <a:spcPts val="600"/>
              </a:spcAft>
              <a:buFont typeface="Arial" panose="020B0604020202020204" pitchFamily="34" charset="0"/>
              <a:buChar char="•"/>
            </a:pPr>
            <a:r>
              <a:rPr lang="es-ES" dirty="0">
                <a:solidFill>
                  <a:schemeClr val="tx2"/>
                </a:solidFill>
              </a:rPr>
              <a:t>Actualmente es director de una master de IA en una escuela de Negocios y “trata” de hacer investigación en la UAM.</a:t>
            </a:r>
          </a:p>
          <a:p>
            <a:pPr marL="285750" indent="-285750">
              <a:spcAft>
                <a:spcPts val="600"/>
              </a:spcAft>
              <a:buFont typeface="Arial" panose="020B0604020202020204" pitchFamily="34" charset="0"/>
              <a:buChar char="•"/>
            </a:pPr>
            <a:r>
              <a:rPr lang="es-ES" dirty="0">
                <a:solidFill>
                  <a:schemeClr val="tx2"/>
                </a:solidFill>
              </a:rPr>
              <a:t>Cree firmemente en la tecnología “Open Source y Open Data”, porque ayudará a hacer un mundo mejor.</a:t>
            </a:r>
          </a:p>
        </p:txBody>
      </p:sp>
      <p:sp>
        <p:nvSpPr>
          <p:cNvPr id="26" name="TextBox 25"/>
          <p:cNvSpPr txBox="1"/>
          <p:nvPr/>
        </p:nvSpPr>
        <p:spPr>
          <a:xfrm>
            <a:off x="5175113" y="1011671"/>
            <a:ext cx="5388114" cy="1282497"/>
          </a:xfrm>
          <a:prstGeom prst="rect">
            <a:avLst/>
          </a:prstGeom>
          <a:noFill/>
        </p:spPr>
        <p:txBody>
          <a:bodyPr wrap="square" lIns="81029" tIns="40687" rIns="81029" bIns="40687" rtlCol="0">
            <a:spAutoFit/>
          </a:bodyPr>
          <a:lstStyle/>
          <a:p>
            <a:pPr algn="ctr"/>
            <a:r>
              <a:rPr lang="en-US" sz="4000" b="1" dirty="0">
                <a:solidFill>
                  <a:schemeClr val="accent1">
                    <a:lumMod val="75000"/>
                  </a:schemeClr>
                </a:solidFill>
                <a:latin typeface="+mj-lt"/>
              </a:rPr>
              <a:t>José Antonio Ureta</a:t>
            </a:r>
          </a:p>
          <a:p>
            <a:pPr algn="ctr"/>
            <a:r>
              <a:rPr lang="es-ES" sz="1900" dirty="0">
                <a:latin typeface="+mj-lt"/>
              </a:rPr>
              <a:t>Ingeniero Informático (UPM)</a:t>
            </a:r>
          </a:p>
          <a:p>
            <a:pPr algn="ctr"/>
            <a:r>
              <a:rPr lang="es-ES" sz="1900" dirty="0">
                <a:latin typeface="+mj-lt"/>
              </a:rPr>
              <a:t>Tesina: “los mercados de valores europeos”.</a:t>
            </a:r>
            <a:endParaRPr lang="uk-UA" sz="1900" dirty="0">
              <a:latin typeface="+mj-lt"/>
            </a:endParaRPr>
          </a:p>
        </p:txBody>
      </p:sp>
      <p:pic>
        <p:nvPicPr>
          <p:cNvPr id="6" name="Imagen 5" descr="Un hombre con un micrófono&#10;&#10;Descripción generada automáticamente con confianza media">
            <a:extLst>
              <a:ext uri="{FF2B5EF4-FFF2-40B4-BE49-F238E27FC236}">
                <a16:creationId xmlns:a16="http://schemas.microsoft.com/office/drawing/2014/main" id="{03AAFE66-B021-1187-224F-E26FAC46D8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2824" y="-6953"/>
            <a:ext cx="2392289" cy="3184367"/>
          </a:xfrm>
          <a:prstGeom prst="rect">
            <a:avLst/>
          </a:prstGeom>
        </p:spPr>
      </p:pic>
    </p:spTree>
    <p:extLst>
      <p:ext uri="{BB962C8B-B14F-4D97-AF65-F5344CB8AC3E}">
        <p14:creationId xmlns:p14="http://schemas.microsoft.com/office/powerpoint/2010/main" val="1740233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La Transformación digital en las empresas, un gran cambio cultural: Los cuatro vectores</a:t>
            </a:r>
          </a:p>
        </p:txBody>
      </p:sp>
      <p:sp>
        <p:nvSpPr>
          <p:cNvPr id="2" name="Marcador de fecha 1">
            <a:extLst>
              <a:ext uri="{FF2B5EF4-FFF2-40B4-BE49-F238E27FC236}">
                <a16:creationId xmlns:a16="http://schemas.microsoft.com/office/drawing/2014/main" id="{0EA2A7CF-3B5F-4773-892C-0D05B86DFAD7}"/>
              </a:ext>
            </a:extLst>
          </p:cNvPr>
          <p:cNvSpPr>
            <a:spLocks noGrp="1"/>
          </p:cNvSpPr>
          <p:nvPr>
            <p:ph type="dt" sz="half" idx="10"/>
          </p:nvPr>
        </p:nvSpPr>
        <p:spPr>
          <a:xfrm>
            <a:off x="814650" y="6400379"/>
            <a:ext cx="3380278" cy="365125"/>
          </a:xfrm>
        </p:spPr>
        <p:txBody>
          <a:bodyPr/>
          <a:lstStyle/>
          <a:p>
            <a:fld id="{25E571EF-62EC-4B8C-8C5E-3711DBA960ED}"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4ACFD77F-3031-4A39-A417-EB8235DAF52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77D172B-D116-431D-99B8-7875015763A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0</a:t>
            </a:fld>
            <a:endParaRPr lang="es-ES" dirty="0"/>
          </a:p>
        </p:txBody>
      </p:sp>
      <p:sp>
        <p:nvSpPr>
          <p:cNvPr id="7" name="Rectángulo 6">
            <a:extLst>
              <a:ext uri="{FF2B5EF4-FFF2-40B4-BE49-F238E27FC236}">
                <a16:creationId xmlns:a16="http://schemas.microsoft.com/office/drawing/2014/main" id="{B478F333-1C0E-47E7-8D94-6168F70D9682}"/>
              </a:ext>
            </a:extLst>
          </p:cNvPr>
          <p:cNvSpPr/>
          <p:nvPr/>
        </p:nvSpPr>
        <p:spPr>
          <a:xfrm>
            <a:off x="8695908" y="1164432"/>
            <a:ext cx="2013693" cy="369332"/>
          </a:xfrm>
          <a:prstGeom prst="rect">
            <a:avLst/>
          </a:prstGeom>
        </p:spPr>
        <p:txBody>
          <a:bodyPr wrap="none">
            <a:spAutoFit/>
          </a:bodyPr>
          <a:lstStyle/>
          <a:p>
            <a:r>
              <a:rPr lang="es-ES" dirty="0">
                <a:latin typeface="Avenir LT Std 35 Light" panose="020B0402020203020204" pitchFamily="34" charset="0"/>
              </a:rPr>
              <a:t>©</a:t>
            </a:r>
            <a:r>
              <a:rPr lang="es-ES" i="1" dirty="0">
                <a:latin typeface="Avenir LT Std 35 Light" panose="020B0402020203020204" pitchFamily="34" charset="0"/>
              </a:rPr>
              <a:t>Lluís Altés (DES)</a:t>
            </a:r>
            <a:endParaRPr lang="es-ES" dirty="0">
              <a:latin typeface="Avenir LT Std 35 Light" panose="020B0402020203020204" pitchFamily="34" charset="0"/>
            </a:endParaRPr>
          </a:p>
        </p:txBody>
      </p:sp>
      <p:graphicFrame>
        <p:nvGraphicFramePr>
          <p:cNvPr id="10" name="Diagrama 9">
            <a:extLst>
              <a:ext uri="{FF2B5EF4-FFF2-40B4-BE49-F238E27FC236}">
                <a16:creationId xmlns:a16="http://schemas.microsoft.com/office/drawing/2014/main" id="{3F1991C8-816E-4505-B773-AC2F1C8E6E01}"/>
              </a:ext>
            </a:extLst>
          </p:cNvPr>
          <p:cNvGraphicFramePr/>
          <p:nvPr>
            <p:extLst>
              <p:ext uri="{D42A27DB-BD31-4B8C-83A1-F6EECF244321}">
                <p14:modId xmlns:p14="http://schemas.microsoft.com/office/powerpoint/2010/main" val="1296587474"/>
              </p:ext>
            </p:extLst>
          </p:nvPr>
        </p:nvGraphicFramePr>
        <p:xfrm>
          <a:off x="421419" y="1563818"/>
          <a:ext cx="11770581" cy="450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Globo: línea doblada 8">
            <a:extLst>
              <a:ext uri="{FF2B5EF4-FFF2-40B4-BE49-F238E27FC236}">
                <a16:creationId xmlns:a16="http://schemas.microsoft.com/office/drawing/2014/main" id="{8969605C-35B7-4856-903E-849909CE8743}"/>
              </a:ext>
            </a:extLst>
          </p:cNvPr>
          <p:cNvSpPr/>
          <p:nvPr/>
        </p:nvSpPr>
        <p:spPr>
          <a:xfrm>
            <a:off x="8326877" y="5282119"/>
            <a:ext cx="2519463" cy="525294"/>
          </a:xfrm>
          <a:prstGeom prst="borderCallout2">
            <a:avLst>
              <a:gd name="adj1" fmla="val 18750"/>
              <a:gd name="adj2" fmla="val -8333"/>
              <a:gd name="adj3" fmla="val 18750"/>
              <a:gd name="adj4" fmla="val -16667"/>
              <a:gd name="adj5" fmla="val -89375"/>
              <a:gd name="adj6" fmla="val -476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Avenir LT Std 35 Light" panose="020B0402020203020204" pitchFamily="34" charset="0"/>
              </a:rPr>
              <a:t>Redefinir la aproximación al cliente</a:t>
            </a:r>
          </a:p>
        </p:txBody>
      </p:sp>
      <p:sp>
        <p:nvSpPr>
          <p:cNvPr id="13" name="Globo: línea doblada 12">
            <a:extLst>
              <a:ext uri="{FF2B5EF4-FFF2-40B4-BE49-F238E27FC236}">
                <a16:creationId xmlns:a16="http://schemas.microsoft.com/office/drawing/2014/main" id="{65DBA956-6057-44CD-B2F3-208DEDF70C85}"/>
              </a:ext>
            </a:extLst>
          </p:cNvPr>
          <p:cNvSpPr/>
          <p:nvPr/>
        </p:nvSpPr>
        <p:spPr>
          <a:xfrm>
            <a:off x="141962" y="2040973"/>
            <a:ext cx="3350268" cy="1685900"/>
          </a:xfrm>
          <a:prstGeom prst="borderCallout2">
            <a:avLst>
              <a:gd name="adj1" fmla="val 37390"/>
              <a:gd name="adj2" fmla="val 100840"/>
              <a:gd name="adj3" fmla="val 39821"/>
              <a:gd name="adj4" fmla="val 118929"/>
              <a:gd name="adj5" fmla="val 55966"/>
              <a:gd name="adj6" fmla="val 159696"/>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2000" dirty="0">
                <a:solidFill>
                  <a:schemeClr val="lt1"/>
                </a:solidFill>
                <a:latin typeface="Avenir LT Std 35 Light" panose="020B0402020203020204" pitchFamily="34" charset="0"/>
              </a:rPr>
              <a:t>Transformar las empresas implica un cambio cultural + rediseñar su modelos de negocio y operativos + los productos y servicios.</a:t>
            </a:r>
          </a:p>
        </p:txBody>
      </p:sp>
      <p:pic>
        <p:nvPicPr>
          <p:cNvPr id="3074" name="Picture 2" descr="5 consejos de Harvard para ser más inteligente">
            <a:extLst>
              <a:ext uri="{FF2B5EF4-FFF2-40B4-BE49-F238E27FC236}">
                <a16:creationId xmlns:a16="http://schemas.microsoft.com/office/drawing/2014/main" id="{33720FF4-FBCB-8BA5-DEE7-16156F3EE3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76382" y="2947047"/>
            <a:ext cx="2021347" cy="124657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923942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AC2A57-59E3-EE06-7D42-4319B5BC6613}"/>
              </a:ext>
            </a:extLst>
          </p:cNvPr>
          <p:cNvSpPr>
            <a:spLocks noGrp="1"/>
          </p:cNvSpPr>
          <p:nvPr>
            <p:ph type="title"/>
          </p:nvPr>
        </p:nvSpPr>
        <p:spPr>
          <a:xfrm>
            <a:off x="838200" y="365126"/>
            <a:ext cx="9840124" cy="1092200"/>
          </a:xfrm>
        </p:spPr>
        <p:txBody>
          <a:bodyPr>
            <a:normAutofit/>
          </a:bodyPr>
          <a:lstStyle/>
          <a:p>
            <a:r>
              <a:rPr lang="es-ES" noProof="0" dirty="0"/>
              <a:t>Gasto en digitalización de las empresas españolas: 2022-2024</a:t>
            </a:r>
          </a:p>
        </p:txBody>
      </p:sp>
      <p:graphicFrame>
        <p:nvGraphicFramePr>
          <p:cNvPr id="4" name="Marcador de contenido 3">
            <a:extLst>
              <a:ext uri="{FF2B5EF4-FFF2-40B4-BE49-F238E27FC236}">
                <a16:creationId xmlns:a16="http://schemas.microsoft.com/office/drawing/2014/main" id="{84C605A7-D759-26EF-EA9B-FA2C27A5A26E}"/>
              </a:ext>
            </a:extLst>
          </p:cNvPr>
          <p:cNvGraphicFramePr>
            <a:graphicFrameLocks noGrp="1"/>
          </p:cNvGraphicFramePr>
          <p:nvPr>
            <p:ph idx="1"/>
            <p:extLst>
              <p:ext uri="{D42A27DB-BD31-4B8C-83A1-F6EECF244321}">
                <p14:modId xmlns:p14="http://schemas.microsoft.com/office/powerpoint/2010/main" val="1362707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8A2E668F-FE79-B05A-92DA-60965AB10282}"/>
              </a:ext>
            </a:extLst>
          </p:cNvPr>
          <p:cNvSpPr>
            <a:spLocks noGrp="1"/>
          </p:cNvSpPr>
          <p:nvPr>
            <p:ph type="dt" sz="half" idx="10"/>
          </p:nvPr>
        </p:nvSpPr>
        <p:spPr>
          <a:xfrm>
            <a:off x="814650" y="6400379"/>
            <a:ext cx="3380278" cy="365125"/>
          </a:xfrm>
        </p:spPr>
        <p:txBody>
          <a:bodyPr/>
          <a:lstStyle/>
          <a:p>
            <a:fld id="{786E432C-A5F1-4840-B0F1-140CBD090BCF}" type="datetime2">
              <a:rPr lang="es-ES" smtClean="0"/>
              <a:pPr/>
              <a:t>jueves, 19 de septiembre de 2024</a:t>
            </a:fld>
            <a:endParaRPr lang="es-ES" dirty="0"/>
          </a:p>
        </p:txBody>
      </p:sp>
      <p:sp>
        <p:nvSpPr>
          <p:cNvPr id="5" name="Marcador de número de diapositiva 4">
            <a:extLst>
              <a:ext uri="{FF2B5EF4-FFF2-40B4-BE49-F238E27FC236}">
                <a16:creationId xmlns:a16="http://schemas.microsoft.com/office/drawing/2014/main" id="{B9D1B809-E3D1-5B38-F4F5-C863F42EB848}"/>
              </a:ext>
            </a:extLst>
          </p:cNvPr>
          <p:cNvSpPr>
            <a:spLocks noGrp="1"/>
          </p:cNvSpPr>
          <p:nvPr>
            <p:ph type="sldNum" sz="quarter" idx="12"/>
          </p:nvPr>
        </p:nvSpPr>
        <p:spPr>
          <a:xfrm>
            <a:off x="10801350" y="6421474"/>
            <a:ext cx="576000" cy="365125"/>
          </a:xfrm>
        </p:spPr>
        <p:txBody>
          <a:bodyPr/>
          <a:lstStyle/>
          <a:p>
            <a:fld id="{0044FC7B-1484-4F41-8CEF-44245FF4EC0C}" type="slidenum">
              <a:rPr lang="es-ES" smtClean="0"/>
              <a:pPr/>
              <a:t>200</a:t>
            </a:fld>
            <a:endParaRPr lang="es-ES" dirty="0"/>
          </a:p>
        </p:txBody>
      </p:sp>
    </p:spTree>
    <p:extLst>
      <p:ext uri="{BB962C8B-B14F-4D97-AF65-F5344CB8AC3E}">
        <p14:creationId xmlns:p14="http://schemas.microsoft.com/office/powerpoint/2010/main" val="322456704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756B79-BE8D-478C-AA2D-564C38590E6C}"/>
              </a:ext>
            </a:extLst>
          </p:cNvPr>
          <p:cNvSpPr>
            <a:spLocks noGrp="1"/>
          </p:cNvSpPr>
          <p:nvPr>
            <p:ph type="title"/>
          </p:nvPr>
        </p:nvSpPr>
        <p:spPr>
          <a:xfrm>
            <a:off x="838200" y="365126"/>
            <a:ext cx="9840124" cy="1092200"/>
          </a:xfrm>
        </p:spPr>
        <p:txBody>
          <a:bodyPr>
            <a:normAutofit/>
          </a:bodyPr>
          <a:lstStyle/>
          <a:p>
            <a:r>
              <a:rPr lang="es-ES" noProof="0" dirty="0"/>
              <a:t>El estado del arte de las empresas objetivo a transformar</a:t>
            </a:r>
          </a:p>
        </p:txBody>
      </p:sp>
      <p:graphicFrame>
        <p:nvGraphicFramePr>
          <p:cNvPr id="13" name="Marcador de contenido 12">
            <a:extLst>
              <a:ext uri="{FF2B5EF4-FFF2-40B4-BE49-F238E27FC236}">
                <a16:creationId xmlns:a16="http://schemas.microsoft.com/office/drawing/2014/main" id="{512D6513-9548-4634-9F4A-7E937A1D4EAC}"/>
              </a:ext>
            </a:extLst>
          </p:cNvPr>
          <p:cNvGraphicFramePr>
            <a:graphicFrameLocks noGrp="1"/>
          </p:cNvGraphicFramePr>
          <p:nvPr>
            <p:ph sz="half" idx="1"/>
            <p:extLst>
              <p:ext uri="{D42A27DB-BD31-4B8C-83A1-F6EECF244321}">
                <p14:modId xmlns:p14="http://schemas.microsoft.com/office/powerpoint/2010/main" val="212178781"/>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Blog de Emburse Captio | Hoja de gastos">
            <a:extLst>
              <a:ext uri="{FF2B5EF4-FFF2-40B4-BE49-F238E27FC236}">
                <a16:creationId xmlns:a16="http://schemas.microsoft.com/office/drawing/2014/main" id="{F062E2E2-910A-B6E7-74CC-98CC132DAF74}"/>
              </a:ext>
            </a:extLst>
          </p:cNvPr>
          <p:cNvPicPr>
            <a:picLocks noGrp="1" noChangeAspect="1" noChangeArrowheads="1"/>
          </p:cNvPicPr>
          <p:nvPr>
            <p:ph sz="half" idx="2"/>
          </p:nvPr>
        </p:nvPicPr>
        <p:blipFill>
          <a:blip r:embed="rId7" cstate="print">
            <a:extLst>
              <a:ext uri="{28A0092B-C50C-407E-A947-70E740481C1C}">
                <a14:useLocalDpi xmlns:a14="http://schemas.microsoft.com/office/drawing/2010/main" val="0"/>
              </a:ext>
            </a:extLst>
          </a:blip>
          <a:srcRect/>
          <a:stretch>
            <a:fillRect/>
          </a:stretch>
        </p:blipFill>
        <p:spPr bwMode="auto">
          <a:xfrm>
            <a:off x="7493231" y="3155474"/>
            <a:ext cx="2539538" cy="1691640"/>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D533CC27-FC1B-8373-4C50-1228FFB9BCC5}"/>
              </a:ext>
            </a:extLst>
          </p:cNvPr>
          <p:cNvSpPr>
            <a:spLocks noGrp="1"/>
          </p:cNvSpPr>
          <p:nvPr>
            <p:ph type="dt" sz="half" idx="10"/>
          </p:nvPr>
        </p:nvSpPr>
        <p:spPr>
          <a:xfrm>
            <a:off x="814650" y="6400379"/>
            <a:ext cx="3380278" cy="365125"/>
          </a:xfrm>
        </p:spPr>
        <p:txBody>
          <a:bodyPr/>
          <a:lstStyle/>
          <a:p>
            <a:fld id="{8257514B-C1F8-4CFD-A757-720E79215A69}" type="datetime2">
              <a:rPr lang="es-ES" smtClean="0"/>
              <a:pPr/>
              <a:t>jueves, 19 de septiembre de 2024</a:t>
            </a:fld>
            <a:endParaRPr lang="es-ES" dirty="0"/>
          </a:p>
        </p:txBody>
      </p:sp>
      <p:sp>
        <p:nvSpPr>
          <p:cNvPr id="4" name="Marcador de número de diapositiva 3">
            <a:extLst>
              <a:ext uri="{FF2B5EF4-FFF2-40B4-BE49-F238E27FC236}">
                <a16:creationId xmlns:a16="http://schemas.microsoft.com/office/drawing/2014/main" id="{F6F9A825-8AE8-2A98-A5F7-6D7B2B3245B8}"/>
              </a:ext>
            </a:extLst>
          </p:cNvPr>
          <p:cNvSpPr>
            <a:spLocks noGrp="1"/>
          </p:cNvSpPr>
          <p:nvPr>
            <p:ph type="sldNum" sz="quarter" idx="12"/>
          </p:nvPr>
        </p:nvSpPr>
        <p:spPr>
          <a:xfrm>
            <a:off x="10801350" y="6421474"/>
            <a:ext cx="576000" cy="365125"/>
          </a:xfrm>
        </p:spPr>
        <p:txBody>
          <a:bodyPr/>
          <a:lstStyle/>
          <a:p>
            <a:fld id="{0044FC7B-1484-4F41-8CEF-44245FF4EC0C}" type="slidenum">
              <a:rPr lang="es-ES" smtClean="0"/>
              <a:pPr/>
              <a:t>201</a:t>
            </a:fld>
            <a:endParaRPr lang="es-ES" dirty="0"/>
          </a:p>
        </p:txBody>
      </p:sp>
    </p:spTree>
    <p:extLst>
      <p:ext uri="{BB962C8B-B14F-4D97-AF65-F5344CB8AC3E}">
        <p14:creationId xmlns:p14="http://schemas.microsoft.com/office/powerpoint/2010/main" val="73749513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165FB69-818C-A5D7-FB9D-8BEABE3D0B22}"/>
              </a:ext>
            </a:extLst>
          </p:cNvPr>
          <p:cNvSpPr>
            <a:spLocks noGrp="1"/>
          </p:cNvSpPr>
          <p:nvPr>
            <p:ph type="title"/>
          </p:nvPr>
        </p:nvSpPr>
        <p:spPr>
          <a:xfrm>
            <a:off x="838200" y="365126"/>
            <a:ext cx="9840124" cy="1092200"/>
          </a:xfrm>
        </p:spPr>
        <p:txBody>
          <a:bodyPr>
            <a:noAutofit/>
          </a:bodyPr>
          <a:lstStyle/>
          <a:p>
            <a:r>
              <a:rPr lang="es-ES" noProof="0" dirty="0"/>
              <a:t>Necesidad de profesionales de inteligencia artificial en España (2024-2026)</a:t>
            </a:r>
          </a:p>
        </p:txBody>
      </p:sp>
      <p:pic>
        <p:nvPicPr>
          <p:cNvPr id="1026" name="Picture 2" descr="Bag with money and word Salary and up arrow with calculator. increase of  salary, wage rates. promotion, career growth. raising the standard of  living. increase profits and family budget. foto de Stock |">
            <a:extLst>
              <a:ext uri="{FF2B5EF4-FFF2-40B4-BE49-F238E27FC236}">
                <a16:creationId xmlns:a16="http://schemas.microsoft.com/office/drawing/2014/main" id="{598D917A-5A06-DF33-4990-689C19561FCE}"/>
              </a:ext>
            </a:extLst>
          </p:cNvPr>
          <p:cNvPicPr>
            <a:picLocks noGrp="1" noChangeAspect="1" noChangeArrowheads="1"/>
          </p:cNvPicPr>
          <p:nvPr>
            <p:ph type="pic" sz="quarter" idx="13"/>
          </p:nvPr>
        </p:nvPicPr>
        <p:blipFill rotWithShape="1">
          <a:blip r:embed="rId3">
            <a:extLst>
              <a:ext uri="{28A0092B-C50C-407E-A947-70E740481C1C}">
                <a14:useLocalDpi xmlns:a14="http://schemas.microsoft.com/office/drawing/2010/main" val="0"/>
              </a:ext>
            </a:extLst>
          </a:blip>
          <a:srcRect l="21650" r="21650"/>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graphicFrame>
        <p:nvGraphicFramePr>
          <p:cNvPr id="8" name="Marcador de contenido 7">
            <a:extLst>
              <a:ext uri="{FF2B5EF4-FFF2-40B4-BE49-F238E27FC236}">
                <a16:creationId xmlns:a16="http://schemas.microsoft.com/office/drawing/2014/main" id="{4EBD99B2-1D8F-5D6A-643C-E0D9A3EB033F}"/>
              </a:ext>
            </a:extLst>
          </p:cNvPr>
          <p:cNvGraphicFramePr>
            <a:graphicFrameLocks noGrp="1"/>
          </p:cNvGraphicFramePr>
          <p:nvPr>
            <p:ph sz="quarter" idx="14"/>
            <p:extLst>
              <p:ext uri="{D42A27DB-BD31-4B8C-83A1-F6EECF244321}">
                <p14:modId xmlns:p14="http://schemas.microsoft.com/office/powerpoint/2010/main" val="3282840964"/>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Marcador de fecha 2">
            <a:extLst>
              <a:ext uri="{FF2B5EF4-FFF2-40B4-BE49-F238E27FC236}">
                <a16:creationId xmlns:a16="http://schemas.microsoft.com/office/drawing/2014/main" id="{8939833A-1CF9-5A15-E9F1-0D21D8D6C76F}"/>
              </a:ext>
            </a:extLst>
          </p:cNvPr>
          <p:cNvSpPr>
            <a:spLocks noGrp="1"/>
          </p:cNvSpPr>
          <p:nvPr>
            <p:ph type="dt" sz="half" idx="15"/>
          </p:nvPr>
        </p:nvSpPr>
        <p:spPr>
          <a:xfrm>
            <a:off x="814650" y="6400379"/>
            <a:ext cx="3380278" cy="365125"/>
          </a:xfrm>
        </p:spPr>
        <p:txBody>
          <a:bodyPr/>
          <a:lstStyle/>
          <a:p>
            <a:fld id="{0BEB6A0C-86B2-428F-B6A1-B8D81D243C58}" type="datetime2">
              <a:rPr lang="es-ES" smtClean="0"/>
              <a:pPr/>
              <a:t>jueves, 19 de septiembre de 2024</a:t>
            </a:fld>
            <a:endParaRPr lang="es-ES" dirty="0"/>
          </a:p>
        </p:txBody>
      </p:sp>
      <p:sp>
        <p:nvSpPr>
          <p:cNvPr id="4" name="Marcador de número de diapositiva 3">
            <a:extLst>
              <a:ext uri="{FF2B5EF4-FFF2-40B4-BE49-F238E27FC236}">
                <a16:creationId xmlns:a16="http://schemas.microsoft.com/office/drawing/2014/main" id="{0BCFB211-2047-C8A4-72AE-199E0F68BE85}"/>
              </a:ext>
            </a:extLst>
          </p:cNvPr>
          <p:cNvSpPr>
            <a:spLocks noGrp="1"/>
          </p:cNvSpPr>
          <p:nvPr>
            <p:ph type="sldNum" sz="quarter" idx="17"/>
          </p:nvPr>
        </p:nvSpPr>
        <p:spPr>
          <a:xfrm>
            <a:off x="10801350" y="6421474"/>
            <a:ext cx="576000" cy="365125"/>
          </a:xfrm>
        </p:spPr>
        <p:txBody>
          <a:bodyPr/>
          <a:lstStyle/>
          <a:p>
            <a:fld id="{53024153-3610-4503-BC5A-5F42C52943E5}" type="slidenum">
              <a:rPr lang="es-ES" smtClean="0"/>
              <a:pPr/>
              <a:t>202</a:t>
            </a:fld>
            <a:endParaRPr lang="es-ES" dirty="0"/>
          </a:p>
        </p:txBody>
      </p:sp>
    </p:spTree>
    <p:extLst>
      <p:ext uri="{BB962C8B-B14F-4D97-AF65-F5344CB8AC3E}">
        <p14:creationId xmlns:p14="http://schemas.microsoft.com/office/powerpoint/2010/main" val="356272419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BE9D430-DCDD-417D-9004-3D817185DDC4}"/>
              </a:ext>
            </a:extLst>
          </p:cNvPr>
          <p:cNvSpPr>
            <a:spLocks noGrp="1"/>
          </p:cNvSpPr>
          <p:nvPr>
            <p:ph type="title"/>
          </p:nvPr>
        </p:nvSpPr>
        <p:spPr>
          <a:xfrm>
            <a:off x="341194" y="3814618"/>
            <a:ext cx="4932769" cy="1876594"/>
          </a:xfrm>
        </p:spPr>
        <p:txBody>
          <a:bodyPr/>
          <a:lstStyle/>
          <a:p>
            <a:r>
              <a:rPr lang="es-ES" noProof="0" dirty="0"/>
              <a:t>La venta</a:t>
            </a:r>
          </a:p>
        </p:txBody>
      </p:sp>
      <p:pic>
        <p:nvPicPr>
          <p:cNvPr id="2050" name="Picture 2" descr="3D Printing And The Business Solution Selling Model « Fabbaloo">
            <a:extLst>
              <a:ext uri="{FF2B5EF4-FFF2-40B4-BE49-F238E27FC236}">
                <a16:creationId xmlns:a16="http://schemas.microsoft.com/office/drawing/2014/main" id="{0F64B6A8-EC69-28F5-55C2-6E8A5388940E}"/>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t="4051" b="4051"/>
          <a:stretch/>
        </p:blipFill>
        <p:spPr bwMode="auto">
          <a:xfrm>
            <a:off x="340906" y="903288"/>
            <a:ext cx="4932769" cy="2759075"/>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8644C537-15DF-4732-BEB5-0C9AB91EBE20}"/>
              </a:ext>
            </a:extLst>
          </p:cNvPr>
          <p:cNvSpPr>
            <a:spLocks noGrp="1"/>
          </p:cNvSpPr>
          <p:nvPr>
            <p:ph type="dt" sz="half" idx="14"/>
          </p:nvPr>
        </p:nvSpPr>
        <p:spPr>
          <a:xfrm>
            <a:off x="814650" y="6400379"/>
            <a:ext cx="3380278" cy="365125"/>
          </a:xfrm>
        </p:spPr>
        <p:txBody>
          <a:bodyPr/>
          <a:lstStyle/>
          <a:p>
            <a:fld id="{F77C3D19-8489-4097-9C96-BA6AFAD10E2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80BD643E-32D2-40EA-AE79-8FB620324E33}"/>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D80090C-BA69-4300-A588-98B8FCBC41E2}"/>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03</a:t>
            </a:fld>
            <a:endParaRPr lang="es-ES" dirty="0"/>
          </a:p>
        </p:txBody>
      </p:sp>
    </p:spTree>
    <p:extLst>
      <p:ext uri="{BB962C8B-B14F-4D97-AF65-F5344CB8AC3E}">
        <p14:creationId xmlns:p14="http://schemas.microsoft.com/office/powerpoint/2010/main" val="262208893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AF3F50-BD9C-4B0B-98B5-25F49982ABDF}"/>
              </a:ext>
            </a:extLst>
          </p:cNvPr>
          <p:cNvSpPr>
            <a:spLocks noGrp="1"/>
          </p:cNvSpPr>
          <p:nvPr>
            <p:ph type="title"/>
          </p:nvPr>
        </p:nvSpPr>
        <p:spPr>
          <a:xfrm>
            <a:off x="838200" y="365126"/>
            <a:ext cx="9840124" cy="1092200"/>
          </a:xfrm>
        </p:spPr>
        <p:txBody>
          <a:bodyPr/>
          <a:lstStyle/>
          <a:p>
            <a:r>
              <a:rPr lang="es-ES" noProof="0" dirty="0"/>
              <a:t>Detectando y vendiendo el caso de uso… </a:t>
            </a:r>
          </a:p>
        </p:txBody>
      </p:sp>
      <p:sp>
        <p:nvSpPr>
          <p:cNvPr id="3" name="Marcador de fecha 2">
            <a:extLst>
              <a:ext uri="{FF2B5EF4-FFF2-40B4-BE49-F238E27FC236}">
                <a16:creationId xmlns:a16="http://schemas.microsoft.com/office/drawing/2014/main" id="{3927B23E-DC02-4037-9B4E-F2D4047C22AE}"/>
              </a:ext>
            </a:extLst>
          </p:cNvPr>
          <p:cNvSpPr>
            <a:spLocks noGrp="1"/>
          </p:cNvSpPr>
          <p:nvPr>
            <p:ph type="dt" sz="half" idx="10"/>
          </p:nvPr>
        </p:nvSpPr>
        <p:spPr>
          <a:xfrm>
            <a:off x="814650" y="6400379"/>
            <a:ext cx="3380278" cy="365125"/>
          </a:xfrm>
        </p:spPr>
        <p:txBody>
          <a:bodyPr/>
          <a:lstStyle/>
          <a:p>
            <a:fld id="{318622F0-3A2C-4949-B777-23A5645EF2BF}"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C4B857E-D171-4885-9BC0-1CD78D03AAE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C280E01-A330-46C6-B739-470298664D6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04</a:t>
            </a:fld>
            <a:endParaRPr lang="es-ES" dirty="0"/>
          </a:p>
        </p:txBody>
      </p:sp>
      <p:graphicFrame>
        <p:nvGraphicFramePr>
          <p:cNvPr id="6" name="Diagrama 5">
            <a:extLst>
              <a:ext uri="{FF2B5EF4-FFF2-40B4-BE49-F238E27FC236}">
                <a16:creationId xmlns:a16="http://schemas.microsoft.com/office/drawing/2014/main" id="{9BB4FB41-0B07-41EF-9C4B-41159ED76C1F}"/>
              </a:ext>
            </a:extLst>
          </p:cNvPr>
          <p:cNvGraphicFramePr/>
          <p:nvPr>
            <p:extLst>
              <p:ext uri="{D42A27DB-BD31-4B8C-83A1-F6EECF244321}">
                <p14:modId xmlns:p14="http://schemas.microsoft.com/office/powerpoint/2010/main" val="1714448770"/>
              </p:ext>
            </p:extLst>
          </p:nvPr>
        </p:nvGraphicFramePr>
        <p:xfrm>
          <a:off x="267913" y="1648250"/>
          <a:ext cx="11776542" cy="4708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dangerous – Liberal Dictionary">
            <a:extLst>
              <a:ext uri="{FF2B5EF4-FFF2-40B4-BE49-F238E27FC236}">
                <a16:creationId xmlns:a16="http://schemas.microsoft.com/office/drawing/2014/main" id="{75B42293-B607-6B84-9BB4-3A5202AD6F4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78275" y="2298956"/>
            <a:ext cx="947799" cy="9477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angerous – Liberal Dictionary">
            <a:extLst>
              <a:ext uri="{FF2B5EF4-FFF2-40B4-BE49-F238E27FC236}">
                <a16:creationId xmlns:a16="http://schemas.microsoft.com/office/drawing/2014/main" id="{F371AFF8-2A7A-60A5-5DED-80A89E1C175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14209" y="4204442"/>
            <a:ext cx="947799" cy="94779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portante stock de ilustración. Ilustración de caucho - 108957925">
            <a:extLst>
              <a:ext uri="{FF2B5EF4-FFF2-40B4-BE49-F238E27FC236}">
                <a16:creationId xmlns:a16="http://schemas.microsoft.com/office/drawing/2014/main" id="{A6D4BEAD-95E4-9ED4-5449-640BB3C8103C}"/>
              </a:ext>
            </a:extLst>
          </p:cNvPr>
          <p:cNvPicPr>
            <a:picLocks noChangeAspect="1" noChangeArrowheads="1"/>
          </p:cNvPicPr>
          <p:nvPr/>
        </p:nvPicPr>
        <p:blipFill>
          <a:blip r:embed="rId9">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9711859" y="4036318"/>
            <a:ext cx="2046288" cy="12840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portante stock de ilustración. Ilustración de caucho - 108957925">
            <a:extLst>
              <a:ext uri="{FF2B5EF4-FFF2-40B4-BE49-F238E27FC236}">
                <a16:creationId xmlns:a16="http://schemas.microsoft.com/office/drawing/2014/main" id="{A5F54A3C-9A16-CAE5-1947-7C18E4E85804}"/>
              </a:ext>
            </a:extLst>
          </p:cNvPr>
          <p:cNvPicPr>
            <a:picLocks noChangeAspect="1" noChangeArrowheads="1"/>
          </p:cNvPicPr>
          <p:nvPr/>
        </p:nvPicPr>
        <p:blipFill>
          <a:blip r:embed="rId9">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989399" y="5502553"/>
            <a:ext cx="2046288" cy="128404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angerous – Liberal Dictionary">
            <a:extLst>
              <a:ext uri="{FF2B5EF4-FFF2-40B4-BE49-F238E27FC236}">
                <a16:creationId xmlns:a16="http://schemas.microsoft.com/office/drawing/2014/main" id="{4B158224-2345-39B9-5E13-548FEEDD4069}"/>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11347" y="5028653"/>
            <a:ext cx="947799" cy="9477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72271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AF3F50-BD9C-4B0B-98B5-25F49982ABDF}"/>
              </a:ext>
            </a:extLst>
          </p:cNvPr>
          <p:cNvSpPr>
            <a:spLocks noGrp="1"/>
          </p:cNvSpPr>
          <p:nvPr>
            <p:ph type="title"/>
          </p:nvPr>
        </p:nvSpPr>
        <p:spPr>
          <a:xfrm>
            <a:off x="838200" y="365126"/>
            <a:ext cx="9840124" cy="1092200"/>
          </a:xfrm>
        </p:spPr>
        <p:txBody>
          <a:bodyPr>
            <a:normAutofit/>
          </a:bodyPr>
          <a:lstStyle/>
          <a:p>
            <a:pPr lvl="0"/>
            <a:r>
              <a:rPr lang="es-ES" noProof="0" dirty="0"/>
              <a:t>Si va bien a la primera,  seguir, si no, saber parar pronto y a tiempo.</a:t>
            </a:r>
          </a:p>
        </p:txBody>
      </p:sp>
      <p:pic>
        <p:nvPicPr>
          <p:cNvPr id="8" name="Marcador de contenido 9">
            <a:extLst>
              <a:ext uri="{FF2B5EF4-FFF2-40B4-BE49-F238E27FC236}">
                <a16:creationId xmlns:a16="http://schemas.microsoft.com/office/drawing/2014/main" id="{DE479C66-6790-D61C-AEA4-A87B253E43B3}"/>
              </a:ext>
            </a:extLst>
          </p:cNvPr>
          <p:cNvPicPr>
            <a:picLocks noGrp="1" noChangeAspect="1"/>
          </p:cNvPicPr>
          <p:nvPr>
            <p:ph type="pic" sz="quarter" idx="13"/>
          </p:nvPr>
        </p:nvPicPr>
        <p:blipFill>
          <a:blip r:embed="rId3"/>
          <a:srcRect l="854" r="854"/>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graphicFrame>
        <p:nvGraphicFramePr>
          <p:cNvPr id="6" name="Marcador de contenido 5">
            <a:extLst>
              <a:ext uri="{FF2B5EF4-FFF2-40B4-BE49-F238E27FC236}">
                <a16:creationId xmlns:a16="http://schemas.microsoft.com/office/drawing/2014/main" id="{8EC1BCAF-EA5F-D313-14EC-63277B0415B3}"/>
              </a:ext>
            </a:extLst>
          </p:cNvPr>
          <p:cNvGraphicFramePr>
            <a:graphicFrameLocks noGrp="1"/>
          </p:cNvGraphicFramePr>
          <p:nvPr>
            <p:ph sz="quarter" idx="14"/>
            <p:extLst>
              <p:ext uri="{D42A27DB-BD31-4B8C-83A1-F6EECF244321}">
                <p14:modId xmlns:p14="http://schemas.microsoft.com/office/powerpoint/2010/main" val="803432442"/>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Marcador de fecha 2">
            <a:extLst>
              <a:ext uri="{FF2B5EF4-FFF2-40B4-BE49-F238E27FC236}">
                <a16:creationId xmlns:a16="http://schemas.microsoft.com/office/drawing/2014/main" id="{3927B23E-DC02-4037-9B4E-F2D4047C22AE}"/>
              </a:ext>
            </a:extLst>
          </p:cNvPr>
          <p:cNvSpPr>
            <a:spLocks noGrp="1"/>
          </p:cNvSpPr>
          <p:nvPr>
            <p:ph type="dt" sz="half" idx="15"/>
          </p:nvPr>
        </p:nvSpPr>
        <p:spPr>
          <a:xfrm>
            <a:off x="814650" y="6400379"/>
            <a:ext cx="3380278" cy="365125"/>
          </a:xfrm>
        </p:spPr>
        <p:txBody>
          <a:bodyPr/>
          <a:lstStyle/>
          <a:p>
            <a:fld id="{B65F1A9C-0469-4A58-A802-B4650D084AB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C4B857E-D171-4885-9BC0-1CD78D03AAE1}"/>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C280E01-A330-46C6-B739-470298664D64}"/>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205</a:t>
            </a:fld>
            <a:endParaRPr lang="es-ES" dirty="0"/>
          </a:p>
        </p:txBody>
      </p:sp>
    </p:spTree>
    <p:extLst>
      <p:ext uri="{BB962C8B-B14F-4D97-AF65-F5344CB8AC3E}">
        <p14:creationId xmlns:p14="http://schemas.microsoft.com/office/powerpoint/2010/main" val="123121910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1AA312B-12DC-4581-805E-22E5CD69B98B}"/>
              </a:ext>
            </a:extLst>
          </p:cNvPr>
          <p:cNvSpPr>
            <a:spLocks noGrp="1"/>
          </p:cNvSpPr>
          <p:nvPr>
            <p:ph type="title"/>
          </p:nvPr>
        </p:nvSpPr>
        <p:spPr>
          <a:xfrm>
            <a:off x="341194" y="3814618"/>
            <a:ext cx="4932769" cy="1876594"/>
          </a:xfrm>
        </p:spPr>
        <p:txBody>
          <a:bodyPr>
            <a:normAutofit fontScale="90000"/>
          </a:bodyPr>
          <a:lstStyle/>
          <a:p>
            <a:r>
              <a:rPr lang="es-ES" noProof="0" dirty="0"/>
              <a:t>La producción de un proyecto de Transformación  digital</a:t>
            </a:r>
          </a:p>
        </p:txBody>
      </p:sp>
      <p:sp>
        <p:nvSpPr>
          <p:cNvPr id="11" name="Marcador de posición de imagen 10">
            <a:extLst>
              <a:ext uri="{FF2B5EF4-FFF2-40B4-BE49-F238E27FC236}">
                <a16:creationId xmlns:a16="http://schemas.microsoft.com/office/drawing/2014/main" id="{B8B4E8FF-2124-3DFF-61A2-31936A6679EE}"/>
              </a:ext>
            </a:extLst>
          </p:cNvPr>
          <p:cNvSpPr>
            <a:spLocks noGrp="1"/>
          </p:cNvSpPr>
          <p:nvPr>
            <p:ph type="pic" sz="quarter" idx="13"/>
          </p:nvPr>
        </p:nvSpPr>
        <p:spPr/>
        <p:txBody>
          <a:bodyPr/>
          <a:lstStyle/>
          <a:p>
            <a:endParaRPr lang="es-ES" dirty="0"/>
          </a:p>
        </p:txBody>
      </p:sp>
      <p:sp>
        <p:nvSpPr>
          <p:cNvPr id="3" name="Marcador de fecha 2">
            <a:extLst>
              <a:ext uri="{FF2B5EF4-FFF2-40B4-BE49-F238E27FC236}">
                <a16:creationId xmlns:a16="http://schemas.microsoft.com/office/drawing/2014/main" id="{2C6A8C79-4ACB-49BB-B387-519FDC59D89A}"/>
              </a:ext>
            </a:extLst>
          </p:cNvPr>
          <p:cNvSpPr>
            <a:spLocks noGrp="1"/>
          </p:cNvSpPr>
          <p:nvPr>
            <p:ph type="dt" sz="half" idx="14"/>
          </p:nvPr>
        </p:nvSpPr>
        <p:spPr>
          <a:xfrm>
            <a:off x="814650" y="6400379"/>
            <a:ext cx="3380278" cy="365125"/>
          </a:xfrm>
        </p:spPr>
        <p:txBody>
          <a:bodyPr/>
          <a:lstStyle/>
          <a:p>
            <a:fld id="{70BF5886-C78D-4B60-9DD3-C724E4C544FB}"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FF2F36C9-3B51-4D4B-B57E-BDFC73F1CB05}"/>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AB5770EF-6ABA-45E2-A973-72D1D26B085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06</a:t>
            </a:fld>
            <a:endParaRPr lang="es-ES" dirty="0"/>
          </a:p>
        </p:txBody>
      </p:sp>
      <p:pic>
        <p:nvPicPr>
          <p:cNvPr id="1026" name="Picture 2" descr="14 pasos para una sólida estrategia de transformación digital para 2024">
            <a:extLst>
              <a:ext uri="{FF2B5EF4-FFF2-40B4-BE49-F238E27FC236}">
                <a16:creationId xmlns:a16="http://schemas.microsoft.com/office/drawing/2014/main" id="{BE14DAF4-ADA1-C4D0-4BDB-14381445B8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9" y="50259"/>
            <a:ext cx="5516664" cy="3755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5689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8BE264-BA4D-4994-A1DF-4E119FB34C25}"/>
              </a:ext>
            </a:extLst>
          </p:cNvPr>
          <p:cNvSpPr>
            <a:spLocks noGrp="1"/>
          </p:cNvSpPr>
          <p:nvPr>
            <p:ph type="title"/>
          </p:nvPr>
        </p:nvSpPr>
        <p:spPr>
          <a:xfrm>
            <a:off x="838200" y="365126"/>
            <a:ext cx="9840124" cy="1092200"/>
          </a:xfrm>
        </p:spPr>
        <p:txBody>
          <a:bodyPr/>
          <a:lstStyle/>
          <a:p>
            <a:r>
              <a:rPr lang="es-ES" noProof="0" dirty="0"/>
              <a:t>De partida</a:t>
            </a:r>
          </a:p>
        </p:txBody>
      </p:sp>
      <p:sp>
        <p:nvSpPr>
          <p:cNvPr id="3" name="Marcador de fecha 2">
            <a:extLst>
              <a:ext uri="{FF2B5EF4-FFF2-40B4-BE49-F238E27FC236}">
                <a16:creationId xmlns:a16="http://schemas.microsoft.com/office/drawing/2014/main" id="{D6F6F03F-1261-4E51-8CAB-BBC2A747FD6C}"/>
              </a:ext>
            </a:extLst>
          </p:cNvPr>
          <p:cNvSpPr>
            <a:spLocks noGrp="1"/>
          </p:cNvSpPr>
          <p:nvPr>
            <p:ph type="dt" sz="half" idx="10"/>
          </p:nvPr>
        </p:nvSpPr>
        <p:spPr>
          <a:xfrm>
            <a:off x="814650" y="6400379"/>
            <a:ext cx="3380278" cy="365125"/>
          </a:xfrm>
        </p:spPr>
        <p:txBody>
          <a:bodyPr/>
          <a:lstStyle/>
          <a:p>
            <a:fld id="{EF370A2B-922E-4D9F-A8F6-4E208D64E43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1F88616D-C5A0-458F-B84D-18E28AFAAC0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458A6E0E-FA17-4BC3-962C-012866525A9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07</a:t>
            </a:fld>
            <a:endParaRPr lang="es-ES" dirty="0"/>
          </a:p>
        </p:txBody>
      </p:sp>
      <p:graphicFrame>
        <p:nvGraphicFramePr>
          <p:cNvPr id="6" name="Diagrama 5">
            <a:extLst>
              <a:ext uri="{FF2B5EF4-FFF2-40B4-BE49-F238E27FC236}">
                <a16:creationId xmlns:a16="http://schemas.microsoft.com/office/drawing/2014/main" id="{0AC66E42-E46B-48F5-AD4B-175941D9248D}"/>
              </a:ext>
            </a:extLst>
          </p:cNvPr>
          <p:cNvGraphicFramePr/>
          <p:nvPr>
            <p:extLst>
              <p:ext uri="{D42A27DB-BD31-4B8C-83A1-F6EECF244321}">
                <p14:modId xmlns:p14="http://schemas.microsoft.com/office/powerpoint/2010/main" val="1776851594"/>
              </p:ext>
            </p:extLst>
          </p:nvPr>
        </p:nvGraphicFramePr>
        <p:xfrm>
          <a:off x="838199" y="1692614"/>
          <a:ext cx="10299971" cy="38132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4" descr="black pencil on white printerpaper">
            <a:extLst>
              <a:ext uri="{FF2B5EF4-FFF2-40B4-BE49-F238E27FC236}">
                <a16:creationId xmlns:a16="http://schemas.microsoft.com/office/drawing/2014/main" id="{746F07E4-BAEB-48CE-9F28-6E8C5E9414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9797" y="2541182"/>
            <a:ext cx="3994003" cy="2664000"/>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Grupo de empresarios felices y exitosos en la oficina celebrando beneficios - foto de stock">
            <a:extLst>
              <a:ext uri="{FF2B5EF4-FFF2-40B4-BE49-F238E27FC236}">
                <a16:creationId xmlns:a16="http://schemas.microsoft.com/office/drawing/2014/main" id="{CFA82D3F-C225-4A35-91ED-C74606D536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1258" y="2541182"/>
            <a:ext cx="3996000" cy="266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895585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4F95B47-1B48-4005-A9B3-586D5D3EA8ED}"/>
              </a:ext>
            </a:extLst>
          </p:cNvPr>
          <p:cNvSpPr>
            <a:spLocks noGrp="1"/>
          </p:cNvSpPr>
          <p:nvPr>
            <p:ph type="title"/>
          </p:nvPr>
        </p:nvSpPr>
        <p:spPr>
          <a:xfrm>
            <a:off x="838200" y="365126"/>
            <a:ext cx="9840124" cy="1092200"/>
          </a:xfrm>
        </p:spPr>
        <p:txBody>
          <a:bodyPr/>
          <a:lstStyle/>
          <a:p>
            <a:r>
              <a:rPr lang="es-ES" noProof="0" dirty="0"/>
              <a:t>Pensar</a:t>
            </a:r>
          </a:p>
        </p:txBody>
      </p:sp>
      <p:sp>
        <p:nvSpPr>
          <p:cNvPr id="3" name="Marcador de fecha 2">
            <a:extLst>
              <a:ext uri="{FF2B5EF4-FFF2-40B4-BE49-F238E27FC236}">
                <a16:creationId xmlns:a16="http://schemas.microsoft.com/office/drawing/2014/main" id="{639EE4C0-6A70-402A-8A1C-D12437FB1FCE}"/>
              </a:ext>
            </a:extLst>
          </p:cNvPr>
          <p:cNvSpPr>
            <a:spLocks noGrp="1"/>
          </p:cNvSpPr>
          <p:nvPr>
            <p:ph type="dt" sz="half" idx="10"/>
          </p:nvPr>
        </p:nvSpPr>
        <p:spPr>
          <a:xfrm>
            <a:off x="814650" y="6400379"/>
            <a:ext cx="3380278" cy="365125"/>
          </a:xfrm>
        </p:spPr>
        <p:txBody>
          <a:bodyPr/>
          <a:lstStyle/>
          <a:p>
            <a:fld id="{12817A8B-7095-480F-A455-57E434DF13C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C29C553E-E44E-4B31-85CB-D297AAE0A3C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C2936C6-8196-4891-A070-C8FEEC72DC3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08</a:t>
            </a:fld>
            <a:endParaRPr lang="es-ES" dirty="0"/>
          </a:p>
        </p:txBody>
      </p:sp>
      <p:pic>
        <p:nvPicPr>
          <p:cNvPr id="6" name="Picture 2" descr="El Arte de compartir el arte">
            <a:extLst>
              <a:ext uri="{FF2B5EF4-FFF2-40B4-BE49-F238E27FC236}">
                <a16:creationId xmlns:a16="http://schemas.microsoft.com/office/drawing/2014/main" id="{5A298721-42C9-4B3D-8EA7-C06FCC755AF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9477" y="0"/>
            <a:ext cx="5529436" cy="6356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38359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3D303603-CAC6-33F1-248D-70C8F2CB65C2}"/>
              </a:ext>
            </a:extLst>
          </p:cNvPr>
          <p:cNvSpPr>
            <a:spLocks noGrp="1"/>
          </p:cNvSpPr>
          <p:nvPr>
            <p:ph type="title"/>
          </p:nvPr>
        </p:nvSpPr>
        <p:spPr>
          <a:xfrm>
            <a:off x="838200" y="365126"/>
            <a:ext cx="9840124" cy="1092200"/>
          </a:xfrm>
        </p:spPr>
        <p:txBody>
          <a:bodyPr/>
          <a:lstStyle/>
          <a:p>
            <a:r>
              <a:rPr lang="es-ES" noProof="0" dirty="0"/>
              <a:t>Las personas</a:t>
            </a:r>
          </a:p>
        </p:txBody>
      </p:sp>
      <p:graphicFrame>
        <p:nvGraphicFramePr>
          <p:cNvPr id="2" name="Marcador de contenido 1">
            <a:extLst>
              <a:ext uri="{FF2B5EF4-FFF2-40B4-BE49-F238E27FC236}">
                <a16:creationId xmlns:a16="http://schemas.microsoft.com/office/drawing/2014/main" id="{8DAF12A7-A97E-C514-3486-BE6C0A0AB210}"/>
              </a:ext>
            </a:extLst>
          </p:cNvPr>
          <p:cNvGraphicFramePr>
            <a:graphicFrameLocks noGrp="1"/>
          </p:cNvGraphicFramePr>
          <p:nvPr>
            <p:ph sz="half" idx="1"/>
            <p:extLst>
              <p:ext uri="{D42A27DB-BD31-4B8C-83A1-F6EECF244321}">
                <p14:modId xmlns:p14="http://schemas.microsoft.com/office/powerpoint/2010/main" val="3948294378"/>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Comportamientos en personas felices - Psicologos en Majadahonda">
            <a:extLst>
              <a:ext uri="{FF2B5EF4-FFF2-40B4-BE49-F238E27FC236}">
                <a16:creationId xmlns:a16="http://schemas.microsoft.com/office/drawing/2014/main" id="{763C81B9-3F18-48C4-2611-AC26EE34AB01}"/>
              </a:ext>
            </a:extLst>
          </p:cNvPr>
          <p:cNvPicPr>
            <a:picLocks noGrp="1" noChangeAspect="1" noChangeArrowheads="1"/>
          </p:cNvPicPr>
          <p:nvPr>
            <p:ph sz="quarter" idx="13"/>
          </p:nvPr>
        </p:nvPicPr>
        <p:blipFill>
          <a:blip r:embed="rId7">
            <a:extLst>
              <a:ext uri="{28A0092B-C50C-407E-A947-70E740481C1C}">
                <a14:useLocalDpi xmlns:a14="http://schemas.microsoft.com/office/drawing/2010/main" val="0"/>
              </a:ext>
            </a:extLst>
          </a:blip>
          <a:stretch/>
        </p:blipFill>
        <p:spPr bwMode="auto">
          <a:xfrm>
            <a:off x="666750" y="2831509"/>
            <a:ext cx="2160588" cy="2155419"/>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D38CF4BF-028F-196C-7077-D687703D5489}"/>
              </a:ext>
            </a:extLst>
          </p:cNvPr>
          <p:cNvSpPr>
            <a:spLocks noGrp="1"/>
          </p:cNvSpPr>
          <p:nvPr>
            <p:ph type="dt" sz="half" idx="14"/>
          </p:nvPr>
        </p:nvSpPr>
        <p:spPr>
          <a:xfrm>
            <a:off x="814650" y="6400379"/>
            <a:ext cx="3380278" cy="365125"/>
          </a:xfrm>
        </p:spPr>
        <p:txBody>
          <a:bodyPr/>
          <a:lstStyle/>
          <a:p>
            <a:fld id="{8EEFBEF0-2862-40C5-A64D-D8B3ABA7AF16}"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A53A03EB-9CAC-5046-D0E1-477284FEA3BF}"/>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5F7FC6CD-F83A-A715-4A82-325C0859C077}"/>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09</a:t>
            </a:fld>
            <a:endParaRPr lang="es-ES" dirty="0"/>
          </a:p>
        </p:txBody>
      </p:sp>
    </p:spTree>
    <p:extLst>
      <p:ext uri="{BB962C8B-B14F-4D97-AF65-F5344CB8AC3E}">
        <p14:creationId xmlns:p14="http://schemas.microsoft.com/office/powerpoint/2010/main" val="8050167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038C0EF-2D2D-4B2A-8A57-FB854C7E3F12}"/>
              </a:ext>
            </a:extLst>
          </p:cNvPr>
          <p:cNvSpPr>
            <a:spLocks noGrp="1"/>
          </p:cNvSpPr>
          <p:nvPr>
            <p:ph type="title"/>
          </p:nvPr>
        </p:nvSpPr>
        <p:spPr>
          <a:xfrm>
            <a:off x="838200" y="365126"/>
            <a:ext cx="9840124" cy="1092200"/>
          </a:xfrm>
        </p:spPr>
        <p:txBody>
          <a:bodyPr/>
          <a:lstStyle/>
          <a:p>
            <a:r>
              <a:rPr lang="es-ES" noProof="0" dirty="0"/>
              <a:t>Qué es y qué no es transformación digital</a:t>
            </a:r>
          </a:p>
        </p:txBody>
      </p:sp>
      <p:sp>
        <p:nvSpPr>
          <p:cNvPr id="5" name="Marcador de fecha 4">
            <a:extLst>
              <a:ext uri="{FF2B5EF4-FFF2-40B4-BE49-F238E27FC236}">
                <a16:creationId xmlns:a16="http://schemas.microsoft.com/office/drawing/2014/main" id="{F054B0AC-3628-4D03-B296-86CCD009EBC2}"/>
              </a:ext>
            </a:extLst>
          </p:cNvPr>
          <p:cNvSpPr>
            <a:spLocks noGrp="1"/>
          </p:cNvSpPr>
          <p:nvPr>
            <p:ph type="dt" sz="half" idx="10"/>
          </p:nvPr>
        </p:nvSpPr>
        <p:spPr>
          <a:xfrm>
            <a:off x="814650" y="6400379"/>
            <a:ext cx="3380278" cy="365125"/>
          </a:xfrm>
        </p:spPr>
        <p:txBody>
          <a:bodyPr/>
          <a:lstStyle/>
          <a:p>
            <a:fld id="{E6DFBDCC-AE59-41DB-8484-F5871A41446F}"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FFC966D5-8377-4B0B-AD99-93EE2BAED6D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33D0E556-CB29-42F7-93A0-A5DC2D903B4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1</a:t>
            </a:fld>
            <a:endParaRPr lang="es-ES" dirty="0"/>
          </a:p>
        </p:txBody>
      </p:sp>
      <p:graphicFrame>
        <p:nvGraphicFramePr>
          <p:cNvPr id="2" name="Diagrama 1">
            <a:extLst>
              <a:ext uri="{FF2B5EF4-FFF2-40B4-BE49-F238E27FC236}">
                <a16:creationId xmlns:a16="http://schemas.microsoft.com/office/drawing/2014/main" id="{D9AE01EB-8A87-47E2-AD5F-2EF0C1C300A3}"/>
              </a:ext>
            </a:extLst>
          </p:cNvPr>
          <p:cNvGraphicFramePr/>
          <p:nvPr>
            <p:extLst>
              <p:ext uri="{D42A27DB-BD31-4B8C-83A1-F6EECF244321}">
                <p14:modId xmlns:p14="http://schemas.microsoft.com/office/powerpoint/2010/main" val="972867518"/>
              </p:ext>
            </p:extLst>
          </p:nvPr>
        </p:nvGraphicFramePr>
        <p:xfrm>
          <a:off x="680935" y="2088460"/>
          <a:ext cx="11177081" cy="4340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yes no buttons download svg eps png psd ai vector color free - el fonts  vectors">
            <a:extLst>
              <a:ext uri="{FF2B5EF4-FFF2-40B4-BE49-F238E27FC236}">
                <a16:creationId xmlns:a16="http://schemas.microsoft.com/office/drawing/2014/main" id="{6C380E25-D38B-4C9F-ACAD-7431C9A4092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680935" y="1609951"/>
            <a:ext cx="1089193" cy="106787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2" descr="yes no buttons download svg eps png psd ai vector color free - el fonts  vectors">
            <a:extLst>
              <a:ext uri="{FF2B5EF4-FFF2-40B4-BE49-F238E27FC236}">
                <a16:creationId xmlns:a16="http://schemas.microsoft.com/office/drawing/2014/main" id="{5E26680D-DBD7-43C7-8F81-03973308E2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6633556" y="1668319"/>
            <a:ext cx="1089193" cy="106787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659582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2D4193C-B93D-E306-F6AE-EBE1EA1E7933}"/>
              </a:ext>
            </a:extLst>
          </p:cNvPr>
          <p:cNvSpPr>
            <a:spLocks noGrp="1"/>
          </p:cNvSpPr>
          <p:nvPr>
            <p:ph type="title"/>
          </p:nvPr>
        </p:nvSpPr>
        <p:spPr>
          <a:xfrm>
            <a:off x="838200" y="365126"/>
            <a:ext cx="9840124" cy="1092200"/>
          </a:xfrm>
        </p:spPr>
        <p:txBody>
          <a:bodyPr/>
          <a:lstStyle/>
          <a:p>
            <a:r>
              <a:rPr lang="es-ES" noProof="0" dirty="0"/>
              <a:t>La curva de las expectativas</a:t>
            </a:r>
          </a:p>
        </p:txBody>
      </p:sp>
      <p:pic>
        <p:nvPicPr>
          <p:cNvPr id="8" name="Marcador de contenido 7" descr="Imagen que contiene Gráfico&#10;&#10;Descripción generada automáticamente">
            <a:extLst>
              <a:ext uri="{FF2B5EF4-FFF2-40B4-BE49-F238E27FC236}">
                <a16:creationId xmlns:a16="http://schemas.microsoft.com/office/drawing/2014/main" id="{C96F815D-DD9E-3777-016B-3C82A1F77994}"/>
              </a:ext>
            </a:extLst>
          </p:cNvPr>
          <p:cNvPicPr>
            <a:picLocks noGrp="1" noChangeAspect="1"/>
          </p:cNvPicPr>
          <p:nvPr>
            <p:ph idx="1"/>
          </p:nvPr>
        </p:nvPicPr>
        <p:blipFill>
          <a:blip r:embed="rId2">
            <a:clrChange>
              <a:clrFrom>
                <a:srgbClr val="F7F6F4"/>
              </a:clrFrom>
              <a:clrTo>
                <a:srgbClr val="F7F6F4">
                  <a:alpha val="0"/>
                </a:srgbClr>
              </a:clrTo>
            </a:clrChange>
            <a:extLst>
              <a:ext uri="{28A0092B-C50C-407E-A947-70E740481C1C}">
                <a14:useLocalDpi xmlns:a14="http://schemas.microsoft.com/office/drawing/2010/main" val="0"/>
              </a:ext>
            </a:extLst>
          </a:blip>
          <a:stretch>
            <a:fillRect/>
          </a:stretch>
        </p:blipFill>
        <p:spPr>
          <a:xfrm>
            <a:off x="3161377" y="1825625"/>
            <a:ext cx="5869246" cy="4351338"/>
          </a:xfrm>
        </p:spPr>
      </p:pic>
      <p:sp>
        <p:nvSpPr>
          <p:cNvPr id="4" name="Marcador de fecha 3">
            <a:extLst>
              <a:ext uri="{FF2B5EF4-FFF2-40B4-BE49-F238E27FC236}">
                <a16:creationId xmlns:a16="http://schemas.microsoft.com/office/drawing/2014/main" id="{EA7E8F69-D9BB-F7F6-A057-EA2602AEE91C}"/>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AF1B2100-1BB3-E33E-965B-8552D2A510F9}"/>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C9EC78F0-EA1C-6DCD-005A-A02CC5EC91E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10</a:t>
            </a:fld>
            <a:endParaRPr lang="es-ES" dirty="0"/>
          </a:p>
        </p:txBody>
      </p:sp>
    </p:spTree>
    <p:extLst>
      <p:ext uri="{BB962C8B-B14F-4D97-AF65-F5344CB8AC3E}">
        <p14:creationId xmlns:p14="http://schemas.microsoft.com/office/powerpoint/2010/main" val="28504394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4DADD8-11D8-4251-B794-86A8C3C487E9}"/>
              </a:ext>
            </a:extLst>
          </p:cNvPr>
          <p:cNvSpPr>
            <a:spLocks noGrp="1"/>
          </p:cNvSpPr>
          <p:nvPr>
            <p:ph type="title"/>
          </p:nvPr>
        </p:nvSpPr>
        <p:spPr>
          <a:xfrm>
            <a:off x="838200" y="365126"/>
            <a:ext cx="9840124" cy="1092200"/>
          </a:xfrm>
        </p:spPr>
        <p:txBody>
          <a:bodyPr>
            <a:normAutofit/>
          </a:bodyPr>
          <a:lstStyle/>
          <a:p>
            <a:r>
              <a:rPr lang="es-ES" noProof="0" dirty="0"/>
              <a:t>Fases del proceso de "Transformación Digital“. Un proyecto de consultoría “tradicional”</a:t>
            </a:r>
          </a:p>
        </p:txBody>
      </p:sp>
      <p:graphicFrame>
        <p:nvGraphicFramePr>
          <p:cNvPr id="7" name="Marcador de contenido 6">
            <a:extLst>
              <a:ext uri="{FF2B5EF4-FFF2-40B4-BE49-F238E27FC236}">
                <a16:creationId xmlns:a16="http://schemas.microsoft.com/office/drawing/2014/main" id="{5586834D-D4DF-489A-86A4-29DBB9011955}"/>
              </a:ext>
            </a:extLst>
          </p:cNvPr>
          <p:cNvGraphicFramePr>
            <a:graphicFrameLocks noGrp="1"/>
          </p:cNvGraphicFramePr>
          <p:nvPr>
            <p:ph idx="1"/>
            <p:extLst>
              <p:ext uri="{D42A27DB-BD31-4B8C-83A1-F6EECF244321}">
                <p14:modId xmlns:p14="http://schemas.microsoft.com/office/powerpoint/2010/main" val="399977299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Marcador de fecha 3">
            <a:extLst>
              <a:ext uri="{FF2B5EF4-FFF2-40B4-BE49-F238E27FC236}">
                <a16:creationId xmlns:a16="http://schemas.microsoft.com/office/drawing/2014/main" id="{A849250E-9DC7-4370-8E59-9A71982B526B}"/>
              </a:ext>
            </a:extLst>
          </p:cNvPr>
          <p:cNvSpPr>
            <a:spLocks noGrp="1"/>
          </p:cNvSpPr>
          <p:nvPr>
            <p:ph type="dt" sz="half" idx="10"/>
          </p:nvPr>
        </p:nvSpPr>
        <p:spPr>
          <a:xfrm>
            <a:off x="814650" y="6400379"/>
            <a:ext cx="3380278" cy="365125"/>
          </a:xfrm>
        </p:spPr>
        <p:txBody>
          <a:bodyPr/>
          <a:lstStyle/>
          <a:p>
            <a:fld id="{CA2806B3-B1C6-4FC7-98C6-063613D61FCC}"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C7268419-F5B5-421D-9BE2-3987EDCC2ED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74CB81DF-8FB6-44CD-A0AC-B388F5D1A24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11</a:t>
            </a:fld>
            <a:endParaRPr lang="es-ES" dirty="0"/>
          </a:p>
        </p:txBody>
      </p:sp>
      <p:pic>
        <p:nvPicPr>
          <p:cNvPr id="5124" name="Picture 4" descr="Carrera de niños meta: Más de 16,096 ilustraciones y dibujos de stock con  licencia libres de regalías | Shutterstock">
            <a:extLst>
              <a:ext uri="{FF2B5EF4-FFF2-40B4-BE49-F238E27FC236}">
                <a16:creationId xmlns:a16="http://schemas.microsoft.com/office/drawing/2014/main" id="{BB85AB90-2738-D250-0F8E-6E688D7ED047}"/>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3929" t="11605" r="14297" b="6923"/>
          <a:stretch/>
        </p:blipFill>
        <p:spPr bwMode="auto">
          <a:xfrm>
            <a:off x="11047500" y="5249285"/>
            <a:ext cx="859149" cy="97524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lustración de línea de salida de carrera de diseño plano | Vector Gratis">
            <a:extLst>
              <a:ext uri="{FF2B5EF4-FFF2-40B4-BE49-F238E27FC236}">
                <a16:creationId xmlns:a16="http://schemas.microsoft.com/office/drawing/2014/main" id="{C2FBD1FC-47D6-CCDE-47AA-9E52B523EAD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4669" r="47330"/>
          <a:stretch/>
        </p:blipFill>
        <p:spPr bwMode="auto">
          <a:xfrm>
            <a:off x="128213" y="1720533"/>
            <a:ext cx="1281244" cy="122069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ecurrente - Iconos gratis de flechas">
            <a:extLst>
              <a:ext uri="{FF2B5EF4-FFF2-40B4-BE49-F238E27FC236}">
                <a16:creationId xmlns:a16="http://schemas.microsoft.com/office/drawing/2014/main" id="{8B560C60-1A5A-DD78-9058-74FCEE25FEDE}"/>
              </a:ext>
            </a:extLst>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77669" y="1975002"/>
            <a:ext cx="1220690" cy="1220690"/>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a:extLst>
              <a:ext uri="{FF2B5EF4-FFF2-40B4-BE49-F238E27FC236}">
                <a16:creationId xmlns:a16="http://schemas.microsoft.com/office/drawing/2014/main" id="{E2720F95-8516-A020-A45C-80F8950C6E4F}"/>
              </a:ext>
            </a:extLst>
          </p:cNvPr>
          <p:cNvPicPr>
            <a:picLocks noChangeAspect="1"/>
          </p:cNvPicPr>
          <p:nvPr/>
        </p:nvPicPr>
        <p:blipFill>
          <a:blip r:embed="rId11"/>
          <a:stretch>
            <a:fillRect/>
          </a:stretch>
        </p:blipFill>
        <p:spPr>
          <a:xfrm>
            <a:off x="10280654" y="1857464"/>
            <a:ext cx="753286" cy="868261"/>
          </a:xfrm>
          <a:prstGeom prst="rect">
            <a:avLst/>
          </a:prstGeom>
        </p:spPr>
      </p:pic>
      <p:sp>
        <p:nvSpPr>
          <p:cNvPr id="9" name="Rectángulo: esquina doblada 8">
            <a:extLst>
              <a:ext uri="{FF2B5EF4-FFF2-40B4-BE49-F238E27FC236}">
                <a16:creationId xmlns:a16="http://schemas.microsoft.com/office/drawing/2014/main" id="{9E85650F-1639-240D-7E90-2FC66C8D7811}"/>
              </a:ext>
            </a:extLst>
          </p:cNvPr>
          <p:cNvSpPr/>
          <p:nvPr/>
        </p:nvSpPr>
        <p:spPr>
          <a:xfrm>
            <a:off x="4000307" y="2737262"/>
            <a:ext cx="6419194" cy="3274283"/>
          </a:xfrm>
          <a:prstGeom prst="foldedCorner">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Estrategia – Táctica</a:t>
            </a:r>
          </a:p>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Mejora de la eficiencia y de la productividad.</a:t>
            </a:r>
          </a:p>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Competitividad.</a:t>
            </a:r>
          </a:p>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Capacidad de adaptación.</a:t>
            </a:r>
          </a:p>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Experiencia del cliente.</a:t>
            </a:r>
          </a:p>
          <a:p>
            <a:pPr marL="285750" lvl="0" indent="-285750">
              <a:spcAft>
                <a:spcPts val="600"/>
              </a:spcAft>
              <a:buFont typeface="Arial" panose="020B0604020202020204" pitchFamily="34" charset="0"/>
              <a:buChar char="•"/>
            </a:pPr>
            <a:r>
              <a:rPr lang="es-ES" sz="1800" dirty="0">
                <a:solidFill>
                  <a:srgbClr val="3333FF"/>
                </a:solidFill>
                <a:latin typeface="Courier New" panose="02070309020205020404" pitchFamily="49" charset="0"/>
                <a:cs typeface="Courier New" panose="02070309020205020404" pitchFamily="49" charset="0"/>
              </a:rPr>
              <a:t>Acceder a nuevas oportunidades de negocio.</a:t>
            </a:r>
          </a:p>
        </p:txBody>
      </p:sp>
    </p:spTree>
    <p:extLst>
      <p:ext uri="{BB962C8B-B14F-4D97-AF65-F5344CB8AC3E}">
        <p14:creationId xmlns:p14="http://schemas.microsoft.com/office/powerpoint/2010/main" val="8053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xit" presetSubtype="4" fill="hold" grpId="1" nodeType="clickEffect">
                                  <p:stCondLst>
                                    <p:cond delay="0"/>
                                  </p:stCondLst>
                                  <p:childTnLst>
                                    <p:anim calcmode="lin" valueType="num">
                                      <p:cBhvr additive="base">
                                        <p:cTn id="10" dur="500"/>
                                        <p:tgtEl>
                                          <p:spTgt spid="9"/>
                                        </p:tgtEl>
                                        <p:attrNameLst>
                                          <p:attrName>ppt_x</p:attrName>
                                        </p:attrNameLst>
                                      </p:cBhvr>
                                      <p:tavLst>
                                        <p:tav tm="0">
                                          <p:val>
                                            <p:strVal val="ppt_x"/>
                                          </p:val>
                                        </p:tav>
                                        <p:tav tm="100000">
                                          <p:val>
                                            <p:strVal val="ppt_x"/>
                                          </p:val>
                                        </p:tav>
                                      </p:tavLst>
                                    </p:anim>
                                    <p:anim calcmode="lin" valueType="num">
                                      <p:cBhvr additive="base">
                                        <p:cTn id="11" dur="500"/>
                                        <p:tgtEl>
                                          <p:spTgt spid="9"/>
                                        </p:tgtEl>
                                        <p:attrNameLst>
                                          <p:attrName>ppt_y</p:attrName>
                                        </p:attrNameLst>
                                      </p:cBhvr>
                                      <p:tavLst>
                                        <p:tav tm="0">
                                          <p:val>
                                            <p:strVal val="ppt_y"/>
                                          </p:val>
                                        </p:tav>
                                        <p:tav tm="100000">
                                          <p:val>
                                            <p:strVal val="1+ppt_h/2"/>
                                          </p:val>
                                        </p:tav>
                                      </p:tavLst>
                                    </p:anim>
                                    <p:set>
                                      <p:cBhvr>
                                        <p:cTn id="12"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9753A64F-3FFB-4C82-BA4B-FAEEE494755C}"/>
              </a:ext>
            </a:extLst>
          </p:cNvPr>
          <p:cNvSpPr>
            <a:spLocks noGrp="1"/>
          </p:cNvSpPr>
          <p:nvPr>
            <p:ph type="title"/>
          </p:nvPr>
        </p:nvSpPr>
        <p:spPr>
          <a:xfrm>
            <a:off x="838200" y="365126"/>
            <a:ext cx="9840124" cy="1092200"/>
          </a:xfrm>
        </p:spPr>
        <p:txBody>
          <a:bodyPr/>
          <a:lstStyle/>
          <a:p>
            <a:r>
              <a:rPr lang="es-ES" noProof="0" dirty="0"/>
              <a:t>Metodología Crisp-DM</a:t>
            </a:r>
            <a:br>
              <a:rPr lang="es-ES" noProof="0" dirty="0"/>
            </a:br>
            <a:r>
              <a:rPr lang="es-ES" noProof="0" dirty="0"/>
              <a:t>Artificial Intelligence</a:t>
            </a:r>
          </a:p>
        </p:txBody>
      </p:sp>
      <p:sp>
        <p:nvSpPr>
          <p:cNvPr id="3" name="Marcador de fecha 2">
            <a:extLst>
              <a:ext uri="{FF2B5EF4-FFF2-40B4-BE49-F238E27FC236}">
                <a16:creationId xmlns:a16="http://schemas.microsoft.com/office/drawing/2014/main" id="{6E478017-7D24-4C68-9952-A9AE93714743}"/>
              </a:ext>
            </a:extLst>
          </p:cNvPr>
          <p:cNvSpPr>
            <a:spLocks noGrp="1"/>
          </p:cNvSpPr>
          <p:nvPr>
            <p:ph type="dt" sz="half" idx="10"/>
          </p:nvPr>
        </p:nvSpPr>
        <p:spPr>
          <a:xfrm>
            <a:off x="814650" y="6400379"/>
            <a:ext cx="3380278" cy="365125"/>
          </a:xfrm>
        </p:spPr>
        <p:txBody>
          <a:bodyPr/>
          <a:lstStyle/>
          <a:p>
            <a:fld id="{A2B2040A-B599-436E-AC9E-F2081AF8CFF6}"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7F5D82D-3006-4FDB-A274-60CB76856CE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9177F0D-78EB-4295-B4A9-233F0F2BF7C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12</a:t>
            </a:fld>
            <a:endParaRPr lang="es-ES" dirty="0"/>
          </a:p>
        </p:txBody>
      </p:sp>
      <p:graphicFrame>
        <p:nvGraphicFramePr>
          <p:cNvPr id="14" name="Diagrama 13">
            <a:extLst>
              <a:ext uri="{FF2B5EF4-FFF2-40B4-BE49-F238E27FC236}">
                <a16:creationId xmlns:a16="http://schemas.microsoft.com/office/drawing/2014/main" id="{3DEA0588-025A-4CDC-A763-7760A86490C4}"/>
              </a:ext>
            </a:extLst>
          </p:cNvPr>
          <p:cNvGraphicFramePr/>
          <p:nvPr>
            <p:extLst>
              <p:ext uri="{D42A27DB-BD31-4B8C-83A1-F6EECF244321}">
                <p14:modId xmlns:p14="http://schemas.microsoft.com/office/powerpoint/2010/main" val="3100695827"/>
              </p:ext>
            </p:extLst>
          </p:nvPr>
        </p:nvGraphicFramePr>
        <p:xfrm>
          <a:off x="4036979" y="836614"/>
          <a:ext cx="7752944" cy="55197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CuadroTexto 17">
            <a:extLst>
              <a:ext uri="{FF2B5EF4-FFF2-40B4-BE49-F238E27FC236}">
                <a16:creationId xmlns:a16="http://schemas.microsoft.com/office/drawing/2014/main" id="{924A8168-BD99-4BE9-8611-A37CB0ABD34D}"/>
              </a:ext>
            </a:extLst>
          </p:cNvPr>
          <p:cNvSpPr txBox="1"/>
          <p:nvPr/>
        </p:nvSpPr>
        <p:spPr>
          <a:xfrm>
            <a:off x="9120725" y="1248014"/>
            <a:ext cx="1391660" cy="442674"/>
          </a:xfrm>
          <a:prstGeom prst="roundRect">
            <a:avLst/>
          </a:prstGeom>
          <a:solidFill>
            <a:schemeClr val="tx2"/>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chemeClr val="bg1"/>
                </a:solidFill>
              </a:rPr>
              <a:t>Inspiración</a:t>
            </a:r>
          </a:p>
        </p:txBody>
      </p:sp>
      <p:sp>
        <p:nvSpPr>
          <p:cNvPr id="20" name="CuadroTexto 19">
            <a:extLst>
              <a:ext uri="{FF2B5EF4-FFF2-40B4-BE49-F238E27FC236}">
                <a16:creationId xmlns:a16="http://schemas.microsoft.com/office/drawing/2014/main" id="{474C96A1-FC2E-4A80-962B-665B876B9ECE}"/>
              </a:ext>
            </a:extLst>
          </p:cNvPr>
          <p:cNvSpPr txBox="1"/>
          <p:nvPr/>
        </p:nvSpPr>
        <p:spPr>
          <a:xfrm>
            <a:off x="9168577" y="5388649"/>
            <a:ext cx="952722" cy="442674"/>
          </a:xfrm>
          <a:prstGeom prst="roundRect">
            <a:avLst/>
          </a:prstGeom>
          <a:solidFill>
            <a:schemeClr val="tx2"/>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chemeClr val="bg1"/>
                </a:solidFill>
              </a:rPr>
              <a:t>Diseño</a:t>
            </a:r>
          </a:p>
        </p:txBody>
      </p:sp>
      <p:sp>
        <p:nvSpPr>
          <p:cNvPr id="22" name="CuadroTexto 21">
            <a:extLst>
              <a:ext uri="{FF2B5EF4-FFF2-40B4-BE49-F238E27FC236}">
                <a16:creationId xmlns:a16="http://schemas.microsoft.com/office/drawing/2014/main" id="{62292D4E-22F7-441C-89AA-E313165DFDE7}"/>
              </a:ext>
            </a:extLst>
          </p:cNvPr>
          <p:cNvSpPr txBox="1"/>
          <p:nvPr/>
        </p:nvSpPr>
        <p:spPr>
          <a:xfrm>
            <a:off x="4959883" y="4084460"/>
            <a:ext cx="1244458" cy="442674"/>
          </a:xfrm>
          <a:prstGeom prst="roundRect">
            <a:avLst/>
          </a:prstGeom>
          <a:solidFill>
            <a:schemeClr val="tx2"/>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chemeClr val="bg1"/>
                </a:solidFill>
              </a:rPr>
              <a:t>Contraste</a:t>
            </a:r>
          </a:p>
        </p:txBody>
      </p:sp>
      <p:sp>
        <p:nvSpPr>
          <p:cNvPr id="24" name="CuadroTexto 23">
            <a:extLst>
              <a:ext uri="{FF2B5EF4-FFF2-40B4-BE49-F238E27FC236}">
                <a16:creationId xmlns:a16="http://schemas.microsoft.com/office/drawing/2014/main" id="{1A5A5FAA-C9DC-4C0A-A464-4C384C56427B}"/>
              </a:ext>
            </a:extLst>
          </p:cNvPr>
          <p:cNvSpPr txBox="1"/>
          <p:nvPr/>
        </p:nvSpPr>
        <p:spPr>
          <a:xfrm>
            <a:off x="4959883" y="1807192"/>
            <a:ext cx="1030046" cy="442674"/>
          </a:xfrm>
          <a:prstGeom prst="roundRect">
            <a:avLst/>
          </a:prstGeom>
          <a:solidFill>
            <a:schemeClr val="tx2"/>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chemeClr val="bg1"/>
                </a:solidFill>
              </a:rPr>
              <a:t>Pilotaje</a:t>
            </a:r>
          </a:p>
        </p:txBody>
      </p:sp>
    </p:spTree>
    <p:extLst>
      <p:ext uri="{BB962C8B-B14F-4D97-AF65-F5344CB8AC3E}">
        <p14:creationId xmlns:p14="http://schemas.microsoft.com/office/powerpoint/2010/main" val="172763790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1029"/>
          <p:cNvSpPr>
            <a:spLocks noGrp="1"/>
          </p:cNvSpPr>
          <p:nvPr>
            <p:ph type="title"/>
            <p:custDataLst>
              <p:tags r:id="rId1"/>
            </p:custDataLst>
          </p:nvPr>
        </p:nvSpPr>
        <p:spPr>
          <a:xfrm>
            <a:off x="838200" y="365126"/>
            <a:ext cx="9840124" cy="1092200"/>
          </a:xfrm>
        </p:spPr>
        <p:txBody>
          <a:bodyPr>
            <a:normAutofit/>
          </a:bodyPr>
          <a:lstStyle/>
          <a:p>
            <a:r>
              <a:rPr lang="es-ES" noProof="0" dirty="0"/>
              <a:t>METODOLOGIA, CICLO DE TRABAJO</a:t>
            </a:r>
          </a:p>
        </p:txBody>
      </p:sp>
      <p:sp>
        <p:nvSpPr>
          <p:cNvPr id="2" name="Marcador de fecha 2">
            <a:extLst>
              <a:ext uri="{FF2B5EF4-FFF2-40B4-BE49-F238E27FC236}">
                <a16:creationId xmlns:a16="http://schemas.microsoft.com/office/drawing/2014/main" id="{4182365F-0FDC-B5E9-FDC7-E878963513F0}"/>
              </a:ext>
            </a:extLst>
          </p:cNvPr>
          <p:cNvSpPr>
            <a:spLocks noGrp="1"/>
          </p:cNvSpPr>
          <p:nvPr>
            <p:ph type="dt" sz="half" idx="10"/>
          </p:nvPr>
        </p:nvSpPr>
        <p:spPr>
          <a:xfrm>
            <a:off x="814650" y="6400379"/>
            <a:ext cx="3380278" cy="365125"/>
          </a:xfrm>
        </p:spPr>
        <p:txBody>
          <a:bodyPr/>
          <a:lstStyle/>
          <a:p>
            <a:fld id="{A2B2040A-B599-436E-AC9E-F2081AF8CFF6}" type="datetime2">
              <a:rPr lang="es-ES" smtClean="0"/>
              <a:pPr/>
              <a:t>jueves, 19 de septiembre de 2024</a:t>
            </a:fld>
            <a:endParaRPr lang="es-ES" dirty="0"/>
          </a:p>
        </p:txBody>
      </p:sp>
      <p:sp>
        <p:nvSpPr>
          <p:cNvPr id="3" name="Marcador de pie de página 3">
            <a:extLst>
              <a:ext uri="{FF2B5EF4-FFF2-40B4-BE49-F238E27FC236}">
                <a16:creationId xmlns:a16="http://schemas.microsoft.com/office/drawing/2014/main" id="{035A54D6-4D32-12C2-B22A-1C18A235554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graphicFrame>
        <p:nvGraphicFramePr>
          <p:cNvPr id="48190" name="Object 1086"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8190" name="Object 108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5 Imagen"/>
          <p:cNvPicPr/>
          <p:nvPr/>
        </p:nvPicPr>
        <p:blipFill>
          <a:blip r:embed="rId7">
            <a:clrChange>
              <a:clrFrom>
                <a:srgbClr val="E6E8E7"/>
              </a:clrFrom>
              <a:clrTo>
                <a:srgbClr val="E6E8E7">
                  <a:alpha val="0"/>
                </a:srgbClr>
              </a:clrTo>
            </a:clrChange>
          </a:blip>
          <a:srcRect l="2343" t="5206" r="2343" b="8333"/>
          <a:stretch/>
        </p:blipFill>
        <p:spPr>
          <a:xfrm>
            <a:off x="1133995" y="1788339"/>
            <a:ext cx="8598249" cy="4466856"/>
          </a:xfrm>
          <a:prstGeom prst="rect">
            <a:avLst/>
          </a:prstGeom>
          <a:ln w="9360">
            <a:noFill/>
          </a:ln>
        </p:spPr>
      </p:pic>
      <p:sp>
        <p:nvSpPr>
          <p:cNvPr id="4" name="Marcador de número de diapositiva 4">
            <a:extLst>
              <a:ext uri="{FF2B5EF4-FFF2-40B4-BE49-F238E27FC236}">
                <a16:creationId xmlns:a16="http://schemas.microsoft.com/office/drawing/2014/main" id="{4D666222-9B4E-5BFC-B3D9-0914E1DE1518}"/>
              </a:ext>
            </a:extLst>
          </p:cNvPr>
          <p:cNvSpPr txBox="1">
            <a:spLocks/>
          </p:cNvSpPr>
          <p:nvPr/>
        </p:nvSpPr>
        <p:spPr>
          <a:xfrm>
            <a:off x="10953750" y="6410797"/>
            <a:ext cx="576000" cy="365125"/>
          </a:xfrm>
          <a:prstGeom prst="rect">
            <a:avLst/>
          </a:prstGeom>
          <a:solidFill>
            <a:srgbClr val="F0F4FA"/>
          </a:solidFill>
        </p:spPr>
        <p:txBody>
          <a:bodyPr vert="horz" lIns="91440" tIns="45720" rIns="91440" bIns="45720" rtlCol="0" anchor="ctr"/>
          <a:lstStyle>
            <a:defPPr>
              <a:defRPr lang="es-ES"/>
            </a:defPPr>
            <a:lvl1pPr marL="0" algn="r" defTabSz="914400" rtl="0" eaLnBrk="1" latinLnBrk="0" hangingPunct="1">
              <a:defRPr sz="1600" b="1" kern="1200">
                <a:solidFill>
                  <a:srgbClr val="3333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5440F6C-613C-488D-819E-DA6065366E0E}" type="slidenum">
              <a:rPr lang="es-ES" smtClean="0"/>
              <a:pPr/>
              <a:t>213</a:t>
            </a:fld>
            <a:endParaRPr lang="es-ES" dirty="0"/>
          </a:p>
        </p:txBody>
      </p:sp>
    </p:spTree>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7BF34CCE-586D-F58E-660A-5A523D3F9AF7}"/>
              </a:ext>
            </a:extLst>
          </p:cNvPr>
          <p:cNvSpPr>
            <a:spLocks noGrp="1"/>
          </p:cNvSpPr>
          <p:nvPr>
            <p:ph type="title"/>
          </p:nvPr>
        </p:nvSpPr>
        <p:spPr>
          <a:xfrm>
            <a:off x="838200" y="365126"/>
            <a:ext cx="9840124" cy="1092200"/>
          </a:xfrm>
        </p:spPr>
        <p:txBody>
          <a:bodyPr/>
          <a:lstStyle/>
          <a:p>
            <a:r>
              <a:rPr lang="es-ES" noProof="0" dirty="0"/>
              <a:t>Metodología: Roles</a:t>
            </a:r>
          </a:p>
        </p:txBody>
      </p:sp>
      <p:sp>
        <p:nvSpPr>
          <p:cNvPr id="8" name="Marcador de contenido 7">
            <a:extLst>
              <a:ext uri="{FF2B5EF4-FFF2-40B4-BE49-F238E27FC236}">
                <a16:creationId xmlns:a16="http://schemas.microsoft.com/office/drawing/2014/main" id="{130A5E18-AC0D-A5A1-BFCD-8A9ABF3B62AB}"/>
              </a:ext>
            </a:extLst>
          </p:cNvPr>
          <p:cNvSpPr>
            <a:spLocks noGrp="1"/>
          </p:cNvSpPr>
          <p:nvPr>
            <p:ph sz="half" idx="1"/>
          </p:nvPr>
        </p:nvSpPr>
        <p:spPr>
          <a:xfrm>
            <a:off x="838200" y="1825625"/>
            <a:ext cx="5181600" cy="4351338"/>
          </a:xfrm>
        </p:spPr>
        <p:txBody>
          <a:bodyPr>
            <a:normAutofit fontScale="62500" lnSpcReduction="20000"/>
          </a:bodyPr>
          <a:lstStyle/>
          <a:p>
            <a:r>
              <a:rPr lang="es-ES" noProof="0" dirty="0"/>
              <a:t>Product Owner: </a:t>
            </a:r>
          </a:p>
          <a:p>
            <a:pPr lvl="1"/>
            <a:r>
              <a:rPr lang="es-ES" noProof="0" dirty="0"/>
              <a:t>Pertenece al cliente y tiene el conocimiento y la perspectiva del negocio. </a:t>
            </a:r>
          </a:p>
          <a:p>
            <a:pPr lvl="1"/>
            <a:r>
              <a:rPr lang="es-ES" noProof="0" dirty="0"/>
              <a:t>Identifica y prioriza las historias de usuario</a:t>
            </a:r>
          </a:p>
          <a:p>
            <a:r>
              <a:rPr lang="es-ES" noProof="0" dirty="0"/>
              <a:t>Scrum Master: </a:t>
            </a:r>
          </a:p>
          <a:p>
            <a:pPr lvl="1"/>
            <a:r>
              <a:rPr lang="es-ES" noProof="0" dirty="0"/>
              <a:t>Es un facilitador, su función principal es eliminar los posibles obstáculos que impidan que se cumplan los objetivos del sprint. </a:t>
            </a:r>
          </a:p>
          <a:p>
            <a:pPr lvl="1"/>
            <a:r>
              <a:rPr lang="es-ES" noProof="0" dirty="0"/>
              <a:t>Asegura que se utiliza la metodología correctamente</a:t>
            </a:r>
          </a:p>
          <a:p>
            <a:r>
              <a:rPr lang="es-ES" noProof="0" dirty="0"/>
              <a:t>Equipo: </a:t>
            </a:r>
          </a:p>
          <a:p>
            <a:pPr lvl="1"/>
            <a:r>
              <a:rPr lang="es-ES" noProof="0" dirty="0"/>
              <a:t>El equipo se auto organiza y tiene la responsabilidad de entregar el producto. </a:t>
            </a:r>
          </a:p>
          <a:p>
            <a:pPr lvl="1"/>
            <a:r>
              <a:rPr lang="es-ES" noProof="0" dirty="0"/>
              <a:t>Equipos de un máximo de 8 personas con habilidades transversales</a:t>
            </a:r>
          </a:p>
          <a:p>
            <a:r>
              <a:rPr lang="es-ES" noProof="0" dirty="0"/>
              <a:t>Stakeholders:  </a:t>
            </a:r>
          </a:p>
          <a:p>
            <a:pPr lvl="1"/>
            <a:r>
              <a:rPr lang="es-ES" noProof="0" dirty="0"/>
              <a:t>Interesados en el producto. </a:t>
            </a:r>
          </a:p>
          <a:p>
            <a:pPr lvl="1"/>
            <a:r>
              <a:rPr lang="es-ES" noProof="0" dirty="0"/>
              <a:t>Sus necesidades se canalizan a través del PO. P</a:t>
            </a:r>
          </a:p>
          <a:p>
            <a:pPr lvl="1"/>
            <a:r>
              <a:rPr lang="es-ES" noProof="0" dirty="0"/>
              <a:t>ueden participar en las revisiones de sprint</a:t>
            </a:r>
          </a:p>
          <a:p>
            <a:endParaRPr lang="es-ES" noProof="0" dirty="0"/>
          </a:p>
        </p:txBody>
      </p:sp>
      <p:pic>
        <p:nvPicPr>
          <p:cNvPr id="10" name="Shape 163"/>
          <p:cNvPicPr>
            <a:picLocks noGrp="1"/>
          </p:cNvPicPr>
          <p:nvPr>
            <p:ph sz="half" idx="2"/>
          </p:nvPr>
        </p:nvPicPr>
        <p:blipFill rotWithShape="1">
          <a:blip r:embed="rId2"/>
          <a:stretch/>
        </p:blipFill>
        <p:spPr>
          <a:xfrm>
            <a:off x="6172200" y="2274769"/>
            <a:ext cx="5181600" cy="3453050"/>
          </a:xfrm>
          <a:ln>
            <a:noFill/>
          </a:ln>
        </p:spPr>
      </p:pic>
      <p:sp>
        <p:nvSpPr>
          <p:cNvPr id="30" name="Marcador de fecha 2">
            <a:extLst>
              <a:ext uri="{FF2B5EF4-FFF2-40B4-BE49-F238E27FC236}">
                <a16:creationId xmlns:a16="http://schemas.microsoft.com/office/drawing/2014/main" id="{5484FB43-16A7-9098-B62A-4390F3A1F0C7}"/>
              </a:ext>
            </a:extLst>
          </p:cNvPr>
          <p:cNvSpPr>
            <a:spLocks noGrp="1"/>
          </p:cNvSpPr>
          <p:nvPr>
            <p:ph type="dt" sz="half" idx="10"/>
          </p:nvPr>
        </p:nvSpPr>
        <p:spPr>
          <a:xfrm>
            <a:off x="814650" y="6400379"/>
            <a:ext cx="3380278" cy="365125"/>
          </a:xfrm>
        </p:spPr>
        <p:txBody>
          <a:bodyPr/>
          <a:lstStyle/>
          <a:p>
            <a:fld id="{A2B2040A-B599-436E-AC9E-F2081AF8CFF6}" type="datetime2">
              <a:rPr lang="es-ES" smtClean="0"/>
              <a:pPr/>
              <a:t>jueves, 19 de septiembre de 2024</a:t>
            </a:fld>
            <a:endParaRPr lang="es-ES" dirty="0"/>
          </a:p>
        </p:txBody>
      </p:sp>
      <p:sp>
        <p:nvSpPr>
          <p:cNvPr id="31" name="Marcador de pie de página 3">
            <a:extLst>
              <a:ext uri="{FF2B5EF4-FFF2-40B4-BE49-F238E27FC236}">
                <a16:creationId xmlns:a16="http://schemas.microsoft.com/office/drawing/2014/main" id="{9529F959-12BF-4056-B5D6-B076C127D5A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32" name="Marcador de número de diapositiva 4">
            <a:extLst>
              <a:ext uri="{FF2B5EF4-FFF2-40B4-BE49-F238E27FC236}">
                <a16:creationId xmlns:a16="http://schemas.microsoft.com/office/drawing/2014/main" id="{48B75966-C6EF-E7BD-EAAC-2945BCAA597B}"/>
              </a:ext>
            </a:extLst>
          </p:cNvPr>
          <p:cNvSpPr txBox="1">
            <a:spLocks/>
          </p:cNvSpPr>
          <p:nvPr/>
        </p:nvSpPr>
        <p:spPr>
          <a:xfrm>
            <a:off x="10953750" y="6410797"/>
            <a:ext cx="576000" cy="365125"/>
          </a:xfrm>
          <a:prstGeom prst="rect">
            <a:avLst/>
          </a:prstGeom>
          <a:solidFill>
            <a:srgbClr val="F0F4FA"/>
          </a:solidFill>
        </p:spPr>
        <p:txBody>
          <a:bodyPr vert="horz" lIns="91440" tIns="45720" rIns="91440" bIns="45720" rtlCol="0" anchor="ctr"/>
          <a:lstStyle>
            <a:defPPr>
              <a:defRPr lang="es-ES"/>
            </a:defPPr>
            <a:lvl1pPr marL="0" algn="r" defTabSz="914400" rtl="0" eaLnBrk="1" latinLnBrk="0" hangingPunct="1">
              <a:defRPr sz="1600" b="1" kern="1200">
                <a:solidFill>
                  <a:srgbClr val="3333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5440F6C-613C-488D-819E-DA6065366E0E}" type="slidenum">
              <a:rPr lang="es-ES" smtClean="0"/>
              <a:pPr/>
              <a:t>214</a:t>
            </a:fld>
            <a:endParaRPr lang="es-ES" dirty="0"/>
          </a:p>
        </p:txBody>
      </p:sp>
    </p:spTree>
    <p:extLst>
      <p:ext uri="{BB962C8B-B14F-4D97-AF65-F5344CB8AC3E}">
        <p14:creationId xmlns:p14="http://schemas.microsoft.com/office/powerpoint/2010/main" val="360180851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07558876-6DE9-016C-F3B2-DF94041A1E2C}"/>
              </a:ext>
            </a:extLst>
          </p:cNvPr>
          <p:cNvSpPr>
            <a:spLocks noGrp="1"/>
          </p:cNvSpPr>
          <p:nvPr>
            <p:ph type="title"/>
          </p:nvPr>
        </p:nvSpPr>
        <p:spPr>
          <a:xfrm>
            <a:off x="838200" y="365126"/>
            <a:ext cx="9840124" cy="1092200"/>
          </a:xfrm>
        </p:spPr>
        <p:txBody>
          <a:bodyPr/>
          <a:lstStyle/>
          <a:p>
            <a:r>
              <a:rPr lang="es-ES" noProof="0" dirty="0"/>
              <a:t>Metodología: Documentación SCRUM </a:t>
            </a:r>
            <a:br>
              <a:rPr lang="es-ES" noProof="0" dirty="0"/>
            </a:br>
            <a:r>
              <a:rPr lang="es-ES" noProof="0" dirty="0"/>
              <a:t>(según Wikipedia)</a:t>
            </a:r>
          </a:p>
        </p:txBody>
      </p:sp>
      <p:graphicFrame>
        <p:nvGraphicFramePr>
          <p:cNvPr id="10" name="Marcador de contenido 9">
            <a:extLst>
              <a:ext uri="{FF2B5EF4-FFF2-40B4-BE49-F238E27FC236}">
                <a16:creationId xmlns:a16="http://schemas.microsoft.com/office/drawing/2014/main" id="{818457E7-EBB1-5F88-48DF-3A5F4E9F849C}"/>
              </a:ext>
            </a:extLst>
          </p:cNvPr>
          <p:cNvGraphicFramePr>
            <a:graphicFrameLocks noGrp="1"/>
          </p:cNvGraphicFramePr>
          <p:nvPr>
            <p:ph idx="1"/>
            <p:extLst>
              <p:ext uri="{D42A27DB-BD31-4B8C-83A1-F6EECF244321}">
                <p14:modId xmlns:p14="http://schemas.microsoft.com/office/powerpoint/2010/main" val="2498101491"/>
              </p:ext>
            </p:extLst>
          </p:nvPr>
        </p:nvGraphicFramePr>
        <p:xfrm>
          <a:off x="378087" y="1819801"/>
          <a:ext cx="11520276" cy="4542840"/>
        </p:xfrm>
        <a:graphic>
          <a:graphicData uri="http://schemas.openxmlformats.org/drawingml/2006/table">
            <a:tbl>
              <a:tblPr firstRow="1" bandRow="1">
                <a:tableStyleId>{5C22544A-7EE6-4342-B048-85BDC9FD1C3A}</a:tableStyleId>
              </a:tblPr>
              <a:tblGrid>
                <a:gridCol w="2015661">
                  <a:extLst>
                    <a:ext uri="{9D8B030D-6E8A-4147-A177-3AD203B41FA5}">
                      <a16:colId xmlns:a16="http://schemas.microsoft.com/office/drawing/2014/main" val="1447222002"/>
                    </a:ext>
                  </a:extLst>
                </a:gridCol>
                <a:gridCol w="9504615">
                  <a:extLst>
                    <a:ext uri="{9D8B030D-6E8A-4147-A177-3AD203B41FA5}">
                      <a16:colId xmlns:a16="http://schemas.microsoft.com/office/drawing/2014/main" val="3369492007"/>
                    </a:ext>
                  </a:extLst>
                </a:gridCol>
              </a:tblGrid>
              <a:tr h="370840">
                <a:tc>
                  <a:txBody>
                    <a:bodyPr/>
                    <a:lstStyle/>
                    <a:p>
                      <a:pPr>
                        <a:lnSpc>
                          <a:spcPct val="100000"/>
                        </a:lnSpc>
                      </a:pPr>
                      <a:r>
                        <a:rPr lang="es-ES" sz="1800" b="0" dirty="0">
                          <a:solidFill>
                            <a:srgbClr val="FFFFFF"/>
                          </a:solidFill>
                        </a:rPr>
                        <a:t>Documento</a:t>
                      </a:r>
                      <a:endParaRPr sz="2400" b="0" i="0" dirty="0">
                        <a:latin typeface="Avenir LT Std 35 Light" panose="020B0402020203020204" pitchFamily="34" charset="0"/>
                        <a:cs typeface="Calibri"/>
                      </a:endParaRPr>
                    </a:p>
                  </a:txBody>
                  <a:tcPr marL="180000" marT="108000"/>
                </a:tc>
                <a:tc>
                  <a:txBody>
                    <a:bodyPr/>
                    <a:lstStyle/>
                    <a:p>
                      <a:pPr>
                        <a:lnSpc>
                          <a:spcPct val="100000"/>
                        </a:lnSpc>
                      </a:pPr>
                      <a:r>
                        <a:rPr lang="es-ES" sz="1800" b="0" dirty="0">
                          <a:solidFill>
                            <a:srgbClr val="FFFFFF"/>
                          </a:solidFill>
                        </a:rPr>
                        <a:t>Definición</a:t>
                      </a:r>
                      <a:endParaRPr sz="2400" b="0" i="0" dirty="0">
                        <a:latin typeface="Avenir LT Std 35 Light" panose="020B0402020203020204" pitchFamily="34" charset="0"/>
                        <a:cs typeface="Calibri"/>
                      </a:endParaRPr>
                    </a:p>
                  </a:txBody>
                  <a:tcPr marL="180000" marT="108000"/>
                </a:tc>
                <a:extLst>
                  <a:ext uri="{0D108BD9-81ED-4DB2-BD59-A6C34878D82A}">
                    <a16:rowId xmlns:a16="http://schemas.microsoft.com/office/drawing/2014/main" val="320247027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dirty="0">
                          <a:solidFill>
                            <a:srgbClr val="000000"/>
                          </a:solidFill>
                          <a:latin typeface="+mj-lt"/>
                        </a:rPr>
                        <a:t>Product Backlog</a:t>
                      </a:r>
                      <a:endParaRPr lang="es-ES" b="0" dirty="0">
                        <a:latin typeface="+mj-lt"/>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dirty="0">
                          <a:solidFill>
                            <a:srgbClr val="000000"/>
                          </a:solidFill>
                        </a:rPr>
                        <a:t>Es el conjunto de todos los requisitos de proyecto, el cual contiene descripciones genéricas de funcionalidades deseables, priorizadas según su retorno sobre la inversión (</a:t>
                      </a:r>
                      <a:r>
                        <a:rPr lang="es-ES" sz="1800" b="0" u="sng" dirty="0">
                          <a:solidFill>
                            <a:srgbClr val="000000"/>
                          </a:solidFill>
                        </a:rPr>
                        <a:t>ROI</a:t>
                      </a:r>
                      <a:r>
                        <a:rPr lang="es-ES" sz="1800" b="0" dirty="0">
                          <a:solidFill>
                            <a:srgbClr val="000000"/>
                          </a:solidFill>
                        </a:rPr>
                        <a:t>) . Representa el qué va a ser construido en su totalida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dirty="0">
                          <a:solidFill>
                            <a:srgbClr val="000000"/>
                          </a:solidFill>
                        </a:rPr>
                        <a:t>Es abierto y solo puede ser modificado por el Product Owner. Contiene estimaciones realizadas a grandes rasgos, tanto del valor para el negocio, como del esfuerzo de desarrollo requerido.</a:t>
                      </a:r>
                      <a:endParaRPr lang="es-ES" dirty="0"/>
                    </a:p>
                  </a:txBody>
                  <a:tcPr/>
                </a:tc>
                <a:extLst>
                  <a:ext uri="{0D108BD9-81ED-4DB2-BD59-A6C34878D82A}">
                    <a16:rowId xmlns:a16="http://schemas.microsoft.com/office/drawing/2014/main" val="170593925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dirty="0">
                          <a:solidFill>
                            <a:srgbClr val="000000"/>
                          </a:solidFill>
                          <a:latin typeface="+mj-lt"/>
                        </a:rPr>
                        <a:t>Sprint Backlog</a:t>
                      </a:r>
                      <a:endParaRPr lang="es-ES" sz="2400" b="0" i="0" dirty="0">
                        <a:latin typeface="+mj-lt"/>
                        <a:cs typeface="Calibri"/>
                      </a:endParaRPr>
                    </a:p>
                  </a:txBody>
                  <a:tcPr anchor="ctr"/>
                </a:tc>
                <a:tc>
                  <a:txBody>
                    <a:bodyPr/>
                    <a:lstStyle/>
                    <a:p>
                      <a:pPr marL="285750" indent="-285750">
                        <a:buFont typeface="Arial" panose="020B0604020202020204" pitchFamily="34" charset="0"/>
                        <a:buChar char="•"/>
                      </a:pPr>
                      <a:r>
                        <a:rPr lang="es-ES" dirty="0"/>
                        <a:t>El sprint backlog es el subconjunto de requisitos que serán desarrollados durante el siguiente sprint. </a:t>
                      </a:r>
                    </a:p>
                    <a:p>
                      <a:pPr marL="285750" indent="-285750">
                        <a:buFont typeface="Arial" panose="020B0604020202020204" pitchFamily="34" charset="0"/>
                        <a:buChar char="•"/>
                      </a:pPr>
                      <a:r>
                        <a:rPr lang="es-ES" dirty="0"/>
                        <a:t>Al definir el sprint backlog, se describe el cómo el equipo va a implementar los requisitos durante el sprint. </a:t>
                      </a:r>
                    </a:p>
                    <a:p>
                      <a:pPr marL="285750" indent="-285750">
                        <a:buFont typeface="Arial" panose="020B0604020202020204" pitchFamily="34" charset="0"/>
                        <a:buChar char="•"/>
                      </a:pPr>
                      <a:r>
                        <a:rPr lang="es-ES" dirty="0"/>
                        <a:t>Por lo general los requisitos se subdividen en tareas, a las cuales se asignan ciertas horas de trabajo pero ninguna tarea con una duración superior a 16 horas.</a:t>
                      </a:r>
                    </a:p>
                  </a:txBody>
                  <a:tcPr/>
                </a:tc>
                <a:extLst>
                  <a:ext uri="{0D108BD9-81ED-4DB2-BD59-A6C34878D82A}">
                    <a16:rowId xmlns:a16="http://schemas.microsoft.com/office/drawing/2014/main" val="19098374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dirty="0">
                          <a:solidFill>
                            <a:srgbClr val="000000"/>
                          </a:solidFill>
                          <a:latin typeface="+mj-lt"/>
                        </a:rPr>
                        <a:t>Burndown chart</a:t>
                      </a:r>
                      <a:endParaRPr lang="es-ES" sz="2400" b="0" i="0" dirty="0">
                        <a:latin typeface="+mj-lt"/>
                        <a:cs typeface="Calibri"/>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dirty="0">
                          <a:solidFill>
                            <a:srgbClr val="000000"/>
                          </a:solidFill>
                        </a:rPr>
                        <a:t>Muestra el progreso del proyecto de modo gráfico. Mide la cantidad de requisitos pendientes de desarrollar  desde el comienzo de cada sprint.</a:t>
                      </a:r>
                      <a:endParaRPr lang="es-ES" sz="2400" b="0" i="0" dirty="0">
                        <a:latin typeface="Avenir LT Std 35 Light" panose="020B0402020203020204" pitchFamily="34" charset="0"/>
                        <a:cs typeface="Calibri"/>
                      </a:endParaRPr>
                    </a:p>
                  </a:txBody>
                  <a:tcPr/>
                </a:tc>
                <a:extLst>
                  <a:ext uri="{0D108BD9-81ED-4DB2-BD59-A6C34878D82A}">
                    <a16:rowId xmlns:a16="http://schemas.microsoft.com/office/drawing/2014/main" val="461529794"/>
                  </a:ext>
                </a:extLst>
              </a:tr>
            </a:tbl>
          </a:graphicData>
        </a:graphic>
      </p:graphicFrame>
      <p:sp>
        <p:nvSpPr>
          <p:cNvPr id="15" name="Marcador de fecha 2">
            <a:extLst>
              <a:ext uri="{FF2B5EF4-FFF2-40B4-BE49-F238E27FC236}">
                <a16:creationId xmlns:a16="http://schemas.microsoft.com/office/drawing/2014/main" id="{4217F0B5-81CD-7CFE-B63B-D3F6C4DAF613}"/>
              </a:ext>
            </a:extLst>
          </p:cNvPr>
          <p:cNvSpPr>
            <a:spLocks noGrp="1"/>
          </p:cNvSpPr>
          <p:nvPr>
            <p:ph type="dt" sz="half" idx="10"/>
          </p:nvPr>
        </p:nvSpPr>
        <p:spPr>
          <a:xfrm>
            <a:off x="814650" y="6400379"/>
            <a:ext cx="3380278" cy="365125"/>
          </a:xfrm>
        </p:spPr>
        <p:txBody>
          <a:bodyPr/>
          <a:lstStyle/>
          <a:p>
            <a:fld id="{A2B2040A-B599-436E-AC9E-F2081AF8CFF6}" type="datetime2">
              <a:rPr lang="es-ES" smtClean="0"/>
              <a:pPr/>
              <a:t>jueves, 19 de septiembre de 2024</a:t>
            </a:fld>
            <a:endParaRPr lang="es-ES" dirty="0"/>
          </a:p>
        </p:txBody>
      </p:sp>
      <p:sp>
        <p:nvSpPr>
          <p:cNvPr id="16" name="Marcador de pie de página 3">
            <a:extLst>
              <a:ext uri="{FF2B5EF4-FFF2-40B4-BE49-F238E27FC236}">
                <a16:creationId xmlns:a16="http://schemas.microsoft.com/office/drawing/2014/main" id="{CE3BE68E-8442-CF97-8667-8CB18AA7CF6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7" name="Marcador de número de diapositiva 4">
            <a:extLst>
              <a:ext uri="{FF2B5EF4-FFF2-40B4-BE49-F238E27FC236}">
                <a16:creationId xmlns:a16="http://schemas.microsoft.com/office/drawing/2014/main" id="{AFFD2DF1-01D9-A3A2-B52C-208B847B3F78}"/>
              </a:ext>
            </a:extLst>
          </p:cNvPr>
          <p:cNvSpPr txBox="1">
            <a:spLocks/>
          </p:cNvSpPr>
          <p:nvPr/>
        </p:nvSpPr>
        <p:spPr>
          <a:xfrm>
            <a:off x="10953750" y="6410797"/>
            <a:ext cx="576000" cy="365125"/>
          </a:xfrm>
          <a:prstGeom prst="rect">
            <a:avLst/>
          </a:prstGeom>
          <a:solidFill>
            <a:srgbClr val="F0F4FA"/>
          </a:solidFill>
        </p:spPr>
        <p:txBody>
          <a:bodyPr vert="horz" lIns="91440" tIns="45720" rIns="91440" bIns="45720" rtlCol="0" anchor="ctr"/>
          <a:lstStyle>
            <a:defPPr>
              <a:defRPr lang="es-ES"/>
            </a:defPPr>
            <a:lvl1pPr marL="0" algn="r" defTabSz="914400" rtl="0" eaLnBrk="1" latinLnBrk="0" hangingPunct="1">
              <a:defRPr sz="1600" b="1" kern="1200">
                <a:solidFill>
                  <a:srgbClr val="3333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5440F6C-613C-488D-819E-DA6065366E0E}" type="slidenum">
              <a:rPr lang="es-ES" smtClean="0"/>
              <a:pPr/>
              <a:t>215</a:t>
            </a:fld>
            <a:endParaRPr lang="es-ES" dirty="0"/>
          </a:p>
        </p:txBody>
      </p:sp>
    </p:spTree>
    <p:extLst>
      <p:ext uri="{BB962C8B-B14F-4D97-AF65-F5344CB8AC3E}">
        <p14:creationId xmlns:p14="http://schemas.microsoft.com/office/powerpoint/2010/main" val="4134025413"/>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1029"/>
          <p:cNvSpPr>
            <a:spLocks noGrp="1"/>
          </p:cNvSpPr>
          <p:nvPr>
            <p:ph type="title"/>
            <p:custDataLst>
              <p:tags r:id="rId1"/>
            </p:custDataLst>
          </p:nvPr>
        </p:nvSpPr>
        <p:spPr>
          <a:xfrm>
            <a:off x="838200" y="365126"/>
            <a:ext cx="9840124" cy="1092200"/>
          </a:xfrm>
        </p:spPr>
        <p:txBody>
          <a:bodyPr>
            <a:normAutofit/>
          </a:bodyPr>
          <a:lstStyle/>
          <a:p>
            <a:r>
              <a:rPr lang="es-ES" noProof="0" dirty="0"/>
              <a:t>METODOLOGIA</a:t>
            </a:r>
            <a:br>
              <a:rPr lang="es-ES" noProof="0" dirty="0"/>
            </a:br>
            <a:r>
              <a:rPr lang="es-ES" noProof="0" dirty="0"/>
              <a:t>CICLO DE TRABAJO (2/2)</a:t>
            </a:r>
          </a:p>
        </p:txBody>
      </p:sp>
      <p:sp>
        <p:nvSpPr>
          <p:cNvPr id="43" name="3 Marcador de número de diapositiva"/>
          <p:cNvSpPr>
            <a:spLocks noGrp="1"/>
          </p:cNvSpPr>
          <p:nvPr>
            <p:ph type="sldNum" sz="quarter" idx="12"/>
          </p:nvPr>
        </p:nvSpPr>
        <p:spPr>
          <a:xfrm>
            <a:off x="10801350" y="6421474"/>
            <a:ext cx="576000" cy="365125"/>
          </a:xfrm>
        </p:spPr>
        <p:txBody>
          <a:bodyPr/>
          <a:lstStyle/>
          <a:p>
            <a:fld id="{DC074D37-AEB9-46CA-B316-7CBCC268AF09}" type="slidenum">
              <a:rPr lang="de-DE" smtClean="0"/>
              <a:pPr/>
              <a:t>216</a:t>
            </a:fld>
            <a:endParaRPr lang="de-DE" dirty="0"/>
          </a:p>
        </p:txBody>
      </p:sp>
      <p:graphicFrame>
        <p:nvGraphicFramePr>
          <p:cNvPr id="48190" name="Object 1086"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8190" name="Object 108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ustomShape 5"/>
          <p:cNvSpPr/>
          <p:nvPr/>
        </p:nvSpPr>
        <p:spPr>
          <a:xfrm>
            <a:off x="4086960" y="3440920"/>
            <a:ext cx="1548000" cy="856080"/>
          </a:xfrm>
          <a:prstGeom prst="roundRect">
            <a:avLst>
              <a:gd name="adj" fmla="val 13910"/>
            </a:avLst>
          </a:prstGeom>
          <a:solidFill>
            <a:srgbClr val="F1A50D"/>
          </a:solidFill>
          <a:ln>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esarrollo</a:t>
            </a:r>
            <a:endParaRPr sz="1400" b="1" dirty="0"/>
          </a:p>
          <a:p>
            <a:pPr algn="ctr">
              <a:lnSpc>
                <a:spcPct val="100000"/>
              </a:lnSpc>
            </a:pPr>
            <a:r>
              <a:rPr lang="es-ES" sz="1400" b="1" dirty="0">
                <a:solidFill>
                  <a:srgbClr val="FFFFFF"/>
                </a:solidFill>
                <a:ea typeface="DejaVu Sans"/>
              </a:rPr>
              <a:t>Sprint 1</a:t>
            </a:r>
            <a:endParaRPr sz="1400" b="1" dirty="0"/>
          </a:p>
        </p:txBody>
      </p:sp>
      <p:sp>
        <p:nvSpPr>
          <p:cNvPr id="9" name="CustomShape 6"/>
          <p:cNvSpPr/>
          <p:nvPr/>
        </p:nvSpPr>
        <p:spPr>
          <a:xfrm>
            <a:off x="2000280" y="1814870"/>
            <a:ext cx="1548000" cy="4088810"/>
          </a:xfrm>
          <a:prstGeom prst="roundRect">
            <a:avLst>
              <a:gd name="adj" fmla="val 13910"/>
            </a:avLst>
          </a:prstGeom>
          <a:solidFill>
            <a:srgbClr val="4B98D7"/>
          </a:solidFill>
          <a:ln>
            <a:solidFill>
              <a:srgbClr val="4B98D7"/>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spcBef>
                <a:spcPts val="0"/>
              </a:spcBef>
            </a:pPr>
            <a:endParaRPr sz="1400" b="1" dirty="0"/>
          </a:p>
          <a:p>
            <a:pPr algn="ctr">
              <a:lnSpc>
                <a:spcPct val="100000"/>
              </a:lnSpc>
              <a:spcBef>
                <a:spcPts val="0"/>
              </a:spcBef>
            </a:pPr>
            <a:r>
              <a:rPr lang="es-ES" sz="1400" b="1" dirty="0">
                <a:solidFill>
                  <a:srgbClr val="FFFFFF"/>
                </a:solidFill>
                <a:ea typeface="DejaVu Sans"/>
              </a:rPr>
              <a:t>Arquitectura y Entornos</a:t>
            </a:r>
            <a:endParaRPr sz="1400" b="1" dirty="0"/>
          </a:p>
          <a:p>
            <a:pPr algn="ctr">
              <a:lnSpc>
                <a:spcPct val="100000"/>
              </a:lnSpc>
              <a:spcBef>
                <a:spcPts val="0"/>
              </a:spcBef>
            </a:pPr>
            <a:endParaRPr sz="1400" b="1" dirty="0"/>
          </a:p>
          <a:p>
            <a:pPr algn="ctr">
              <a:lnSpc>
                <a:spcPct val="100000"/>
              </a:lnSpc>
              <a:spcBef>
                <a:spcPts val="0"/>
              </a:spcBef>
            </a:pPr>
            <a:r>
              <a:rPr lang="es-ES" sz="1400" b="1" dirty="0">
                <a:solidFill>
                  <a:srgbClr val="FFFFFF"/>
                </a:solidFill>
                <a:ea typeface="DejaVu Sans"/>
              </a:rPr>
              <a:t>Product Backlog</a:t>
            </a:r>
            <a:endParaRPr sz="1400" b="1" dirty="0"/>
          </a:p>
          <a:p>
            <a:pPr algn="ctr">
              <a:lnSpc>
                <a:spcPct val="100000"/>
              </a:lnSpc>
              <a:spcBef>
                <a:spcPts val="0"/>
              </a:spcBef>
            </a:pPr>
            <a:endParaRPr sz="1400" b="1" dirty="0"/>
          </a:p>
          <a:p>
            <a:pPr algn="ctr">
              <a:lnSpc>
                <a:spcPct val="100000"/>
              </a:lnSpc>
              <a:spcBef>
                <a:spcPts val="0"/>
              </a:spcBef>
            </a:pPr>
            <a:r>
              <a:rPr lang="es-ES" sz="1400" b="1" dirty="0">
                <a:solidFill>
                  <a:srgbClr val="FFFFFF"/>
                </a:solidFill>
                <a:ea typeface="DejaVu Sans"/>
              </a:rPr>
              <a:t>Análisis a alto nivel </a:t>
            </a:r>
            <a:endParaRPr sz="1400" b="1" dirty="0"/>
          </a:p>
          <a:p>
            <a:pPr algn="ctr">
              <a:lnSpc>
                <a:spcPct val="100000"/>
              </a:lnSpc>
              <a:spcBef>
                <a:spcPts val="0"/>
              </a:spcBef>
            </a:pPr>
            <a:endParaRPr sz="1400" b="1" dirty="0"/>
          </a:p>
          <a:p>
            <a:pPr algn="ctr">
              <a:lnSpc>
                <a:spcPct val="100000"/>
              </a:lnSpc>
              <a:spcBef>
                <a:spcPts val="0"/>
              </a:spcBef>
            </a:pPr>
            <a:r>
              <a:rPr lang="es-ES" sz="1400" b="1" dirty="0">
                <a:solidFill>
                  <a:srgbClr val="FFFFFF"/>
                </a:solidFill>
                <a:ea typeface="DejaVu Sans"/>
              </a:rPr>
              <a:t>Recom. UX Dashboards</a:t>
            </a:r>
            <a:endParaRPr sz="1400" b="1" dirty="0"/>
          </a:p>
          <a:p>
            <a:pPr algn="ctr">
              <a:lnSpc>
                <a:spcPct val="100000"/>
              </a:lnSpc>
              <a:spcBef>
                <a:spcPts val="0"/>
              </a:spcBef>
            </a:pPr>
            <a:endParaRPr sz="1400" b="1" dirty="0"/>
          </a:p>
          <a:p>
            <a:pPr algn="ctr">
              <a:lnSpc>
                <a:spcPct val="100000"/>
              </a:lnSpc>
              <a:spcBef>
                <a:spcPts val="0"/>
              </a:spcBef>
            </a:pPr>
            <a:r>
              <a:rPr lang="es-ES" sz="1400" b="1" dirty="0">
                <a:solidFill>
                  <a:srgbClr val="FFFFFF"/>
                </a:solidFill>
                <a:ea typeface="DejaVu Sans"/>
              </a:rPr>
              <a:t> Diseño y Análisis</a:t>
            </a:r>
            <a:endParaRPr sz="1400" b="1" dirty="0"/>
          </a:p>
          <a:p>
            <a:pPr algn="ctr">
              <a:lnSpc>
                <a:spcPct val="100000"/>
              </a:lnSpc>
              <a:spcBef>
                <a:spcPts val="0"/>
              </a:spcBef>
            </a:pPr>
            <a:r>
              <a:rPr lang="es-ES" sz="1400" b="1" dirty="0">
                <a:solidFill>
                  <a:srgbClr val="FFFFFF"/>
                </a:solidFill>
                <a:ea typeface="DejaVu Sans"/>
              </a:rPr>
              <a:t>Sprint 1</a:t>
            </a:r>
            <a:endParaRPr sz="1400" b="1" dirty="0"/>
          </a:p>
          <a:p>
            <a:pPr algn="ctr">
              <a:lnSpc>
                <a:spcPct val="100000"/>
              </a:lnSpc>
              <a:spcBef>
                <a:spcPts val="0"/>
              </a:spcBef>
            </a:pPr>
            <a:r>
              <a:rPr lang="es-ES" sz="1400" b="1" dirty="0">
                <a:solidFill>
                  <a:srgbClr val="FFFFFF"/>
                </a:solidFill>
                <a:ea typeface="DejaVu Sans"/>
              </a:rPr>
              <a:t> </a:t>
            </a:r>
            <a:endParaRPr sz="1400" b="1" dirty="0"/>
          </a:p>
        </p:txBody>
      </p:sp>
      <p:sp>
        <p:nvSpPr>
          <p:cNvPr id="10" name="CustomShape 7"/>
          <p:cNvSpPr/>
          <p:nvPr/>
        </p:nvSpPr>
        <p:spPr>
          <a:xfrm>
            <a:off x="6173640" y="3440920"/>
            <a:ext cx="1548000" cy="856080"/>
          </a:xfrm>
          <a:prstGeom prst="roundRect">
            <a:avLst>
              <a:gd name="adj" fmla="val 13910"/>
            </a:avLst>
          </a:prstGeom>
          <a:solidFill>
            <a:srgbClr val="F1A50D"/>
          </a:solidFill>
          <a:ln>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esarrollo</a:t>
            </a:r>
            <a:endParaRPr sz="1400" b="1" dirty="0"/>
          </a:p>
          <a:p>
            <a:pPr algn="ctr">
              <a:lnSpc>
                <a:spcPct val="100000"/>
              </a:lnSpc>
            </a:pPr>
            <a:r>
              <a:rPr lang="es-ES" sz="1400" b="1" dirty="0">
                <a:solidFill>
                  <a:srgbClr val="FFFFFF"/>
                </a:solidFill>
                <a:ea typeface="DejaVu Sans"/>
              </a:rPr>
              <a:t>Sprint 2</a:t>
            </a:r>
            <a:endParaRPr sz="1400" b="1" dirty="0"/>
          </a:p>
        </p:txBody>
      </p:sp>
      <p:sp>
        <p:nvSpPr>
          <p:cNvPr id="11" name="CustomShape 8"/>
          <p:cNvSpPr/>
          <p:nvPr/>
        </p:nvSpPr>
        <p:spPr>
          <a:xfrm>
            <a:off x="8260320" y="3440920"/>
            <a:ext cx="1548000" cy="856080"/>
          </a:xfrm>
          <a:prstGeom prst="roundRect">
            <a:avLst>
              <a:gd name="adj" fmla="val 13910"/>
            </a:avLst>
          </a:prstGeom>
          <a:solidFill>
            <a:srgbClr val="F1A50D"/>
          </a:solidFill>
          <a:ln>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esarrollo</a:t>
            </a:r>
            <a:endParaRPr sz="1400" b="1" dirty="0"/>
          </a:p>
          <a:p>
            <a:pPr algn="ctr">
              <a:lnSpc>
                <a:spcPct val="100000"/>
              </a:lnSpc>
            </a:pPr>
            <a:r>
              <a:rPr lang="es-ES" sz="1400" b="1" dirty="0">
                <a:solidFill>
                  <a:srgbClr val="FFFFFF"/>
                </a:solidFill>
                <a:ea typeface="DejaVu Sans"/>
              </a:rPr>
              <a:t>Sprint 3</a:t>
            </a:r>
            <a:endParaRPr sz="1400" b="1" dirty="0"/>
          </a:p>
        </p:txBody>
      </p:sp>
      <p:sp>
        <p:nvSpPr>
          <p:cNvPr id="12" name="CustomShape 9"/>
          <p:cNvSpPr/>
          <p:nvPr/>
        </p:nvSpPr>
        <p:spPr>
          <a:xfrm>
            <a:off x="4086960" y="1834240"/>
            <a:ext cx="1548000" cy="856080"/>
          </a:xfrm>
          <a:prstGeom prst="roundRect">
            <a:avLst>
              <a:gd name="adj" fmla="val 13910"/>
            </a:avLst>
          </a:prstGeom>
          <a:solidFill>
            <a:srgbClr val="4B98D7"/>
          </a:solidFill>
          <a:ln>
            <a:solidFill>
              <a:srgbClr val="4B98D7"/>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iseño y Análisis</a:t>
            </a:r>
            <a:endParaRPr sz="1400" b="1" dirty="0"/>
          </a:p>
          <a:p>
            <a:pPr algn="ctr">
              <a:lnSpc>
                <a:spcPct val="100000"/>
              </a:lnSpc>
            </a:pPr>
            <a:r>
              <a:rPr lang="es-ES" sz="1400" b="1" dirty="0">
                <a:solidFill>
                  <a:srgbClr val="FFFFFF"/>
                </a:solidFill>
                <a:ea typeface="DejaVu Sans"/>
              </a:rPr>
              <a:t>Sprint 2</a:t>
            </a:r>
            <a:endParaRPr sz="1400" b="1" dirty="0"/>
          </a:p>
        </p:txBody>
      </p:sp>
      <p:sp>
        <p:nvSpPr>
          <p:cNvPr id="13" name="CustomShape 10"/>
          <p:cNvSpPr/>
          <p:nvPr/>
        </p:nvSpPr>
        <p:spPr>
          <a:xfrm>
            <a:off x="6173640" y="1834240"/>
            <a:ext cx="1548000" cy="856080"/>
          </a:xfrm>
          <a:prstGeom prst="roundRect">
            <a:avLst>
              <a:gd name="adj" fmla="val 13910"/>
            </a:avLst>
          </a:prstGeom>
          <a:solidFill>
            <a:srgbClr val="4B98D7"/>
          </a:solidFill>
          <a:ln>
            <a:solidFill>
              <a:srgbClr val="4B98D7"/>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iseño y Análisis</a:t>
            </a:r>
            <a:endParaRPr sz="1400" b="1" dirty="0"/>
          </a:p>
          <a:p>
            <a:pPr algn="ctr">
              <a:lnSpc>
                <a:spcPct val="100000"/>
              </a:lnSpc>
            </a:pPr>
            <a:r>
              <a:rPr lang="es-ES" sz="1400" b="1" dirty="0">
                <a:solidFill>
                  <a:srgbClr val="FFFFFF"/>
                </a:solidFill>
                <a:ea typeface="DejaVu Sans"/>
              </a:rPr>
              <a:t>Sprint 3</a:t>
            </a:r>
            <a:endParaRPr sz="1400" b="1" dirty="0"/>
          </a:p>
        </p:txBody>
      </p:sp>
      <p:sp>
        <p:nvSpPr>
          <p:cNvPr id="14" name="CustomShape 11"/>
          <p:cNvSpPr/>
          <p:nvPr/>
        </p:nvSpPr>
        <p:spPr>
          <a:xfrm>
            <a:off x="8260320" y="1834240"/>
            <a:ext cx="1548000" cy="856080"/>
          </a:xfrm>
          <a:prstGeom prst="roundRect">
            <a:avLst>
              <a:gd name="adj" fmla="val 13910"/>
            </a:avLst>
          </a:prstGeom>
          <a:solidFill>
            <a:srgbClr val="4B98D7"/>
          </a:solidFill>
          <a:ln>
            <a:solidFill>
              <a:srgbClr val="4B98D7"/>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Diseño y Análisis Sprint  4</a:t>
            </a:r>
            <a:endParaRPr sz="1400" b="1" dirty="0"/>
          </a:p>
        </p:txBody>
      </p:sp>
      <p:sp>
        <p:nvSpPr>
          <p:cNvPr id="17" name="CustomShape 14"/>
          <p:cNvSpPr/>
          <p:nvPr/>
        </p:nvSpPr>
        <p:spPr>
          <a:xfrm>
            <a:off x="9965639" y="1115680"/>
            <a:ext cx="558360" cy="638280"/>
          </a:xfrm>
          <a:prstGeom prst="rect">
            <a:avLst/>
          </a:prstGeom>
          <a:noFill/>
          <a:ln w="9360">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s-ES" sz="3600" dirty="0">
                <a:solidFill>
                  <a:srgbClr val="000000"/>
                </a:solidFill>
                <a:ea typeface="DejaVu Sans"/>
              </a:rPr>
              <a:t>...</a:t>
            </a:r>
            <a:endParaRPr dirty="0"/>
          </a:p>
        </p:txBody>
      </p:sp>
      <p:sp>
        <p:nvSpPr>
          <p:cNvPr id="18" name="CustomShape 15"/>
          <p:cNvSpPr/>
          <p:nvPr/>
        </p:nvSpPr>
        <p:spPr>
          <a:xfrm>
            <a:off x="6173640" y="5047600"/>
            <a:ext cx="1548000" cy="856080"/>
          </a:xfrm>
          <a:prstGeom prst="roundRect">
            <a:avLst>
              <a:gd name="adj" fmla="val 13910"/>
            </a:avLst>
          </a:prstGeom>
          <a:solidFill>
            <a:srgbClr val="77933C"/>
          </a:solidFill>
          <a:ln>
            <a:solidFill>
              <a:schemeClr val="accent3">
                <a:lumMod val="75000"/>
              </a:schemeClr>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Integración y pruebas</a:t>
            </a:r>
            <a:endParaRPr sz="1400" b="1" dirty="0"/>
          </a:p>
          <a:p>
            <a:pPr algn="ctr">
              <a:lnSpc>
                <a:spcPct val="100000"/>
              </a:lnSpc>
            </a:pPr>
            <a:r>
              <a:rPr lang="es-ES" sz="1400" b="1" dirty="0">
                <a:solidFill>
                  <a:srgbClr val="FFFFFF"/>
                </a:solidFill>
                <a:ea typeface="DejaVu Sans"/>
              </a:rPr>
              <a:t>Sprint 1</a:t>
            </a:r>
            <a:endParaRPr sz="1400" b="1" dirty="0"/>
          </a:p>
        </p:txBody>
      </p:sp>
      <p:sp>
        <p:nvSpPr>
          <p:cNvPr id="19" name="CustomShape 16"/>
          <p:cNvSpPr/>
          <p:nvPr/>
        </p:nvSpPr>
        <p:spPr>
          <a:xfrm>
            <a:off x="8260320" y="5047600"/>
            <a:ext cx="1548000" cy="856080"/>
          </a:xfrm>
          <a:prstGeom prst="roundRect">
            <a:avLst>
              <a:gd name="adj" fmla="val 13910"/>
            </a:avLst>
          </a:prstGeom>
          <a:solidFill>
            <a:srgbClr val="77933C"/>
          </a:solidFill>
          <a:ln>
            <a:solidFill>
              <a:schemeClr val="accent3">
                <a:lumMod val="75000"/>
              </a:schemeClr>
            </a:solidFill>
            <a:round/>
          </a:ln>
        </p:spPr>
        <p:style>
          <a:lnRef idx="2">
            <a:schemeClr val="accent6"/>
          </a:lnRef>
          <a:fillRef idx="1">
            <a:schemeClr val="lt1"/>
          </a:fillRef>
          <a:effectRef idx="0">
            <a:schemeClr val="accent6"/>
          </a:effectRef>
          <a:fontRef idx="minor"/>
        </p:style>
        <p:txBody>
          <a:bodyPr lIns="90000" tIns="45000" rIns="90000" bIns="45000" anchor="ctr"/>
          <a:lstStyle/>
          <a:p>
            <a:pPr algn="ctr">
              <a:lnSpc>
                <a:spcPct val="100000"/>
              </a:lnSpc>
            </a:pPr>
            <a:r>
              <a:rPr lang="es-ES" sz="1400" b="1" dirty="0">
                <a:solidFill>
                  <a:srgbClr val="FFFFFF"/>
                </a:solidFill>
                <a:ea typeface="DejaVu Sans"/>
              </a:rPr>
              <a:t>Integración y pruebas</a:t>
            </a:r>
            <a:endParaRPr sz="1400" b="1" dirty="0"/>
          </a:p>
          <a:p>
            <a:pPr algn="ctr">
              <a:lnSpc>
                <a:spcPct val="100000"/>
              </a:lnSpc>
            </a:pPr>
            <a:r>
              <a:rPr lang="es-ES" sz="1400" b="1" dirty="0">
                <a:solidFill>
                  <a:srgbClr val="FFFFFF"/>
                </a:solidFill>
                <a:ea typeface="DejaVu Sans"/>
              </a:rPr>
              <a:t>Sprint 2</a:t>
            </a:r>
            <a:endParaRPr sz="1400" b="1" dirty="0"/>
          </a:p>
        </p:txBody>
      </p:sp>
      <p:sp>
        <p:nvSpPr>
          <p:cNvPr id="22" name="CustomShape 19"/>
          <p:cNvSpPr/>
          <p:nvPr/>
        </p:nvSpPr>
        <p:spPr>
          <a:xfrm>
            <a:off x="2467560" y="1237720"/>
            <a:ext cx="613440" cy="516240"/>
          </a:xfrm>
          <a:prstGeom prst="rect">
            <a:avLst/>
          </a:prstGeom>
          <a:noFill/>
          <a:ln w="9360">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s-ES" sz="2800" b="1" dirty="0">
                <a:solidFill>
                  <a:srgbClr val="000000"/>
                </a:solidFill>
                <a:ea typeface="DejaVu Sans"/>
              </a:rPr>
              <a:t>S0</a:t>
            </a:r>
            <a:endParaRPr dirty="0"/>
          </a:p>
        </p:txBody>
      </p:sp>
      <p:sp>
        <p:nvSpPr>
          <p:cNvPr id="23" name="CustomShape 20"/>
          <p:cNvSpPr/>
          <p:nvPr/>
        </p:nvSpPr>
        <p:spPr>
          <a:xfrm>
            <a:off x="4549910" y="1237720"/>
            <a:ext cx="613440" cy="516240"/>
          </a:xfrm>
          <a:prstGeom prst="rect">
            <a:avLst/>
          </a:prstGeom>
          <a:noFill/>
          <a:ln w="9360">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s-ES" sz="2800" b="1" dirty="0">
                <a:solidFill>
                  <a:srgbClr val="000000"/>
                </a:solidFill>
                <a:ea typeface="DejaVu Sans"/>
              </a:rPr>
              <a:t>S1</a:t>
            </a:r>
            <a:endParaRPr dirty="0"/>
          </a:p>
        </p:txBody>
      </p:sp>
      <p:sp>
        <p:nvSpPr>
          <p:cNvPr id="24" name="CustomShape 21"/>
          <p:cNvSpPr/>
          <p:nvPr/>
        </p:nvSpPr>
        <p:spPr>
          <a:xfrm>
            <a:off x="6822716" y="1237720"/>
            <a:ext cx="613440" cy="516240"/>
          </a:xfrm>
          <a:prstGeom prst="rect">
            <a:avLst/>
          </a:prstGeom>
          <a:noFill/>
          <a:ln w="9360">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s-ES" sz="2800" b="1" dirty="0">
                <a:solidFill>
                  <a:srgbClr val="000000"/>
                </a:solidFill>
                <a:ea typeface="DejaVu Sans"/>
              </a:rPr>
              <a:t>S2</a:t>
            </a:r>
            <a:endParaRPr dirty="0"/>
          </a:p>
        </p:txBody>
      </p:sp>
      <p:sp>
        <p:nvSpPr>
          <p:cNvPr id="25" name="CustomShape 22"/>
          <p:cNvSpPr/>
          <p:nvPr/>
        </p:nvSpPr>
        <p:spPr>
          <a:xfrm>
            <a:off x="8669279" y="1183000"/>
            <a:ext cx="613440" cy="516240"/>
          </a:xfrm>
          <a:prstGeom prst="rect">
            <a:avLst/>
          </a:prstGeom>
          <a:noFill/>
          <a:ln w="9360">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s-ES" sz="2800" b="1" dirty="0">
                <a:solidFill>
                  <a:srgbClr val="000000"/>
                </a:solidFill>
                <a:ea typeface="DejaVu Sans"/>
              </a:rPr>
              <a:t>S3</a:t>
            </a:r>
            <a:endParaRPr dirty="0"/>
          </a:p>
        </p:txBody>
      </p:sp>
      <p:sp>
        <p:nvSpPr>
          <p:cNvPr id="27" name="CustomShape 23"/>
          <p:cNvSpPr/>
          <p:nvPr/>
        </p:nvSpPr>
        <p:spPr>
          <a:xfrm rot="16200000" flipH="1">
            <a:off x="3459720" y="2723978"/>
            <a:ext cx="784800" cy="576000"/>
          </a:xfrm>
          <a:prstGeom prst="straightConnector1">
            <a:avLst/>
          </a:prstGeom>
          <a:noFill/>
          <a:ln>
            <a:round/>
            <a:tailEnd type="arrow" w="med" len="med"/>
          </a:ln>
          <a:effectLst>
            <a:outerShdw blurRad="40000" dist="20000" dir="5400000" rotWithShape="0">
              <a:srgbClr val="000000">
                <a:alpha val="38000"/>
              </a:srgbClr>
            </a:outerShdw>
          </a:effectLst>
        </p:spPr>
        <p:style>
          <a:lnRef idx="2">
            <a:schemeClr val="dk1"/>
          </a:lnRef>
          <a:fillRef idx="0">
            <a:schemeClr val="dk1"/>
          </a:fillRef>
          <a:effectRef idx="1">
            <a:schemeClr val="dk1"/>
          </a:effectRef>
          <a:fontRef idx="minor"/>
        </p:style>
        <p:txBody>
          <a:bodyPr/>
          <a:lstStyle/>
          <a:p>
            <a:endParaRPr lang="es-ES" dirty="0"/>
          </a:p>
        </p:txBody>
      </p:sp>
      <p:sp>
        <p:nvSpPr>
          <p:cNvPr id="32" name="CustomShape 23"/>
          <p:cNvSpPr/>
          <p:nvPr/>
        </p:nvSpPr>
        <p:spPr>
          <a:xfrm rot="16200000" flipH="1">
            <a:off x="5530560" y="4367200"/>
            <a:ext cx="784800" cy="576000"/>
          </a:xfrm>
          <a:prstGeom prst="straightConnector1">
            <a:avLst/>
          </a:prstGeom>
          <a:noFill/>
          <a:ln>
            <a:round/>
            <a:tailEnd type="arrow" w="med" len="med"/>
          </a:ln>
          <a:effectLst>
            <a:outerShdw blurRad="40000" dist="20000" dir="5400000" rotWithShape="0">
              <a:srgbClr val="000000">
                <a:alpha val="38000"/>
              </a:srgbClr>
            </a:outerShdw>
          </a:effectLst>
        </p:spPr>
        <p:style>
          <a:lnRef idx="2">
            <a:schemeClr val="dk1"/>
          </a:lnRef>
          <a:fillRef idx="0">
            <a:schemeClr val="dk1"/>
          </a:fillRef>
          <a:effectRef idx="1">
            <a:schemeClr val="dk1"/>
          </a:effectRef>
          <a:fontRef idx="minor"/>
        </p:style>
        <p:txBody>
          <a:bodyPr/>
          <a:lstStyle/>
          <a:p>
            <a:endParaRPr lang="es-ES" dirty="0"/>
          </a:p>
        </p:txBody>
      </p:sp>
      <p:sp>
        <p:nvSpPr>
          <p:cNvPr id="33" name="CustomShape 23"/>
          <p:cNvSpPr/>
          <p:nvPr/>
        </p:nvSpPr>
        <p:spPr>
          <a:xfrm rot="16200000" flipH="1">
            <a:off x="7617240" y="4367200"/>
            <a:ext cx="784800" cy="576000"/>
          </a:xfrm>
          <a:prstGeom prst="straightConnector1">
            <a:avLst/>
          </a:prstGeom>
          <a:noFill/>
          <a:ln>
            <a:round/>
            <a:tailEnd type="arrow" w="med" len="med"/>
          </a:ln>
          <a:effectLst>
            <a:outerShdw blurRad="40000" dist="20000" dir="5400000" rotWithShape="0">
              <a:srgbClr val="000000">
                <a:alpha val="38000"/>
              </a:srgbClr>
            </a:outerShdw>
          </a:effectLst>
        </p:spPr>
        <p:style>
          <a:lnRef idx="2">
            <a:schemeClr val="dk1"/>
          </a:lnRef>
          <a:fillRef idx="0">
            <a:schemeClr val="dk1"/>
          </a:fillRef>
          <a:effectRef idx="1">
            <a:schemeClr val="dk1"/>
          </a:effectRef>
          <a:fontRef idx="minor"/>
        </p:style>
        <p:txBody>
          <a:bodyPr/>
          <a:lstStyle/>
          <a:p>
            <a:endParaRPr lang="es-ES" dirty="0"/>
          </a:p>
        </p:txBody>
      </p:sp>
      <p:sp>
        <p:nvSpPr>
          <p:cNvPr id="34" name="CustomShape 23"/>
          <p:cNvSpPr/>
          <p:nvPr/>
        </p:nvSpPr>
        <p:spPr>
          <a:xfrm rot="16200000" flipH="1">
            <a:off x="5530560" y="2794720"/>
            <a:ext cx="784800" cy="576000"/>
          </a:xfrm>
          <a:prstGeom prst="straightConnector1">
            <a:avLst/>
          </a:prstGeom>
          <a:noFill/>
          <a:ln>
            <a:round/>
            <a:tailEnd type="arrow" w="med" len="med"/>
          </a:ln>
          <a:effectLst>
            <a:outerShdw blurRad="40000" dist="20000" dir="5400000" rotWithShape="0">
              <a:srgbClr val="000000">
                <a:alpha val="38000"/>
              </a:srgbClr>
            </a:outerShdw>
          </a:effectLst>
        </p:spPr>
        <p:style>
          <a:lnRef idx="2">
            <a:schemeClr val="dk1"/>
          </a:lnRef>
          <a:fillRef idx="0">
            <a:schemeClr val="dk1"/>
          </a:fillRef>
          <a:effectRef idx="1">
            <a:schemeClr val="dk1"/>
          </a:effectRef>
          <a:fontRef idx="minor"/>
        </p:style>
        <p:txBody>
          <a:bodyPr/>
          <a:lstStyle/>
          <a:p>
            <a:endParaRPr lang="es-ES" dirty="0"/>
          </a:p>
        </p:txBody>
      </p:sp>
      <p:sp>
        <p:nvSpPr>
          <p:cNvPr id="35" name="CustomShape 23"/>
          <p:cNvSpPr/>
          <p:nvPr/>
        </p:nvSpPr>
        <p:spPr>
          <a:xfrm rot="16200000" flipH="1">
            <a:off x="7597504" y="2785521"/>
            <a:ext cx="784800" cy="576000"/>
          </a:xfrm>
          <a:prstGeom prst="straightConnector1">
            <a:avLst/>
          </a:prstGeom>
          <a:noFill/>
          <a:ln>
            <a:round/>
            <a:tailEnd type="arrow" w="med" len="med"/>
          </a:ln>
          <a:effectLst>
            <a:outerShdw blurRad="40000" dist="20000" dir="5400000" rotWithShape="0">
              <a:srgbClr val="000000">
                <a:alpha val="38000"/>
              </a:srgbClr>
            </a:outerShdw>
          </a:effectLst>
        </p:spPr>
        <p:style>
          <a:lnRef idx="2">
            <a:schemeClr val="dk1"/>
          </a:lnRef>
          <a:fillRef idx="0">
            <a:schemeClr val="dk1"/>
          </a:fillRef>
          <a:effectRef idx="1">
            <a:schemeClr val="dk1"/>
          </a:effectRef>
          <a:fontRef idx="minor"/>
        </p:style>
        <p:txBody>
          <a:bodyPr/>
          <a:lstStyle/>
          <a:p>
            <a:endParaRPr lang="es-ES" dirty="0"/>
          </a:p>
        </p:txBody>
      </p:sp>
    </p:spTree>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D361B8-D2CC-4230-9C7F-A5B9AFE4BCF0}"/>
              </a:ext>
            </a:extLst>
          </p:cNvPr>
          <p:cNvSpPr>
            <a:spLocks noGrp="1"/>
          </p:cNvSpPr>
          <p:nvPr>
            <p:ph type="title"/>
          </p:nvPr>
        </p:nvSpPr>
        <p:spPr>
          <a:xfrm>
            <a:off x="838200" y="365126"/>
            <a:ext cx="9840124" cy="1092200"/>
          </a:xfrm>
        </p:spPr>
        <p:txBody>
          <a:bodyPr anchor="b">
            <a:normAutofit/>
          </a:bodyPr>
          <a:lstStyle/>
          <a:p>
            <a:pPr lvl="0"/>
            <a:r>
              <a:rPr lang="es-ES" noProof="0" dirty="0"/>
              <a:t>Trabajar con visión Agile aporta beneficios</a:t>
            </a:r>
          </a:p>
        </p:txBody>
      </p:sp>
      <p:graphicFrame>
        <p:nvGraphicFramePr>
          <p:cNvPr id="7" name="Marcador de contenido 6">
            <a:extLst>
              <a:ext uri="{FF2B5EF4-FFF2-40B4-BE49-F238E27FC236}">
                <a16:creationId xmlns:a16="http://schemas.microsoft.com/office/drawing/2014/main" id="{E8A69646-B720-4D68-811C-A5AA610B7AFF}"/>
              </a:ext>
            </a:extLst>
          </p:cNvPr>
          <p:cNvGraphicFramePr>
            <a:graphicFrameLocks noGrp="1"/>
          </p:cNvGraphicFramePr>
          <p:nvPr>
            <p:ph sz="half" idx="1"/>
            <p:extLst>
              <p:ext uri="{D42A27DB-BD31-4B8C-83A1-F6EECF244321}">
                <p14:modId xmlns:p14="http://schemas.microsoft.com/office/powerpoint/2010/main" val="2948961846"/>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A4023038-7A9F-42EC-AA5A-B1915B1DD970}"/>
              </a:ext>
            </a:extLst>
          </p:cNvPr>
          <p:cNvSpPr>
            <a:spLocks noGrp="1"/>
          </p:cNvSpPr>
          <p:nvPr>
            <p:ph type="dt" sz="half" idx="10"/>
          </p:nvPr>
        </p:nvSpPr>
        <p:spPr>
          <a:xfrm>
            <a:off x="814650" y="6400379"/>
            <a:ext cx="3380278" cy="365125"/>
          </a:xfrm>
        </p:spPr>
        <p:txBody>
          <a:bodyPr/>
          <a:lstStyle/>
          <a:p>
            <a:fld id="{713BA680-06F7-4ABD-BC3B-228FA833CEF1}" type="datetime2">
              <a:rPr lang="es-ES" smtClean="0"/>
              <a:pPr/>
              <a:t>jueves, 19 de septiembre de 2024</a:t>
            </a:fld>
            <a:endParaRPr lang="es-ES" dirty="0"/>
          </a:p>
        </p:txBody>
      </p:sp>
      <p:sp>
        <p:nvSpPr>
          <p:cNvPr id="10" name="Marcador de pie de página 3">
            <a:extLst>
              <a:ext uri="{FF2B5EF4-FFF2-40B4-BE49-F238E27FC236}">
                <a16:creationId xmlns:a16="http://schemas.microsoft.com/office/drawing/2014/main" id="{6B719B5D-51FF-4A12-8BE6-13B468390DF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88666EB-7571-4256-9186-E26310B310F0}"/>
              </a:ext>
            </a:extLst>
          </p:cNvPr>
          <p:cNvSpPr>
            <a:spLocks noGrp="1"/>
          </p:cNvSpPr>
          <p:nvPr>
            <p:ph type="sldNum" sz="quarter" idx="12"/>
          </p:nvPr>
        </p:nvSpPr>
        <p:spPr>
          <a:xfrm>
            <a:off x="10801350" y="6421474"/>
            <a:ext cx="576000" cy="365125"/>
          </a:xfrm>
        </p:spPr>
        <p:txBody>
          <a:bodyPr/>
          <a:lstStyle/>
          <a:p>
            <a:fld id="{D1CC6AF2-3C76-A14F-B0C8-DE58A32D0EC9}" type="slidenum">
              <a:rPr lang="es-ES_tradnl" smtClean="0"/>
              <a:pPr/>
              <a:t>217</a:t>
            </a:fld>
            <a:endParaRPr lang="es-ES_tradnl" dirty="0"/>
          </a:p>
        </p:txBody>
      </p:sp>
      <p:pic>
        <p:nvPicPr>
          <p:cNvPr id="3" name="Marcador de contenido 2">
            <a:extLst>
              <a:ext uri="{FF2B5EF4-FFF2-40B4-BE49-F238E27FC236}">
                <a16:creationId xmlns:a16="http://schemas.microsoft.com/office/drawing/2014/main" id="{186DD38A-9F64-4761-85CD-C476280EB8D2}"/>
              </a:ext>
            </a:extLst>
          </p:cNvPr>
          <p:cNvPicPr>
            <a:picLocks noGrp="1" noChangeAspect="1"/>
          </p:cNvPicPr>
          <p:nvPr>
            <p:ph sz="half" idx="2"/>
          </p:nvPr>
        </p:nvPicPr>
        <p:blipFill rotWithShape="1">
          <a:blip r:embed="rId7">
            <a:extLst>
              <a:ext uri="{28A0092B-C50C-407E-A947-70E740481C1C}">
                <a14:useLocalDpi xmlns:a14="http://schemas.microsoft.com/office/drawing/2010/main" val="0"/>
              </a:ext>
            </a:extLst>
          </a:blip>
          <a:srcRect/>
          <a:stretch/>
        </p:blipFill>
        <p:spPr>
          <a:xfrm>
            <a:off x="6288900" y="2271439"/>
            <a:ext cx="5799316" cy="3016938"/>
          </a:xfrm>
          <a:prstGeom prst="rect">
            <a:avLst/>
          </a:prstGeom>
          <a:ln>
            <a:noFill/>
          </a:ln>
        </p:spPr>
      </p:pic>
    </p:spTree>
    <p:extLst>
      <p:ext uri="{BB962C8B-B14F-4D97-AF65-F5344CB8AC3E}">
        <p14:creationId xmlns:p14="http://schemas.microsoft.com/office/powerpoint/2010/main" val="276032311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BE81133-A984-415B-9644-366022A72528}"/>
              </a:ext>
            </a:extLst>
          </p:cNvPr>
          <p:cNvSpPr>
            <a:spLocks noGrp="1"/>
          </p:cNvSpPr>
          <p:nvPr>
            <p:ph type="title"/>
          </p:nvPr>
        </p:nvSpPr>
        <p:spPr>
          <a:xfrm>
            <a:off x="838200" y="365126"/>
            <a:ext cx="9840124" cy="1092200"/>
          </a:xfrm>
        </p:spPr>
        <p:txBody>
          <a:bodyPr/>
          <a:lstStyle/>
          <a:p>
            <a:r>
              <a:rPr lang="es-ES" noProof="0" dirty="0"/>
              <a:t>Costes de un proyecto de transformación digital</a:t>
            </a:r>
          </a:p>
        </p:txBody>
      </p:sp>
      <p:sp>
        <p:nvSpPr>
          <p:cNvPr id="3" name="Marcador de fecha 2">
            <a:extLst>
              <a:ext uri="{FF2B5EF4-FFF2-40B4-BE49-F238E27FC236}">
                <a16:creationId xmlns:a16="http://schemas.microsoft.com/office/drawing/2014/main" id="{D1C1EABF-7B6C-469E-85C2-7FDCBA811A1C}"/>
              </a:ext>
            </a:extLst>
          </p:cNvPr>
          <p:cNvSpPr>
            <a:spLocks noGrp="1"/>
          </p:cNvSpPr>
          <p:nvPr>
            <p:ph type="dt" sz="half" idx="10"/>
          </p:nvPr>
        </p:nvSpPr>
        <p:spPr>
          <a:xfrm>
            <a:off x="814650" y="6400379"/>
            <a:ext cx="3380278" cy="365125"/>
          </a:xfrm>
        </p:spPr>
        <p:txBody>
          <a:bodyPr/>
          <a:lstStyle/>
          <a:p>
            <a:fld id="{ED95D851-FB15-4B82-AB95-CC27AA8A64AB}"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6509CA9-20BD-4EBF-8A8B-511399987A7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E9E3E7E-A1B5-4011-8647-196185345E9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18</a:t>
            </a:fld>
            <a:endParaRPr lang="es-ES" dirty="0"/>
          </a:p>
        </p:txBody>
      </p:sp>
      <p:graphicFrame>
        <p:nvGraphicFramePr>
          <p:cNvPr id="9" name="Tabla 8">
            <a:extLst>
              <a:ext uri="{FF2B5EF4-FFF2-40B4-BE49-F238E27FC236}">
                <a16:creationId xmlns:a16="http://schemas.microsoft.com/office/drawing/2014/main" id="{A835B000-4767-4ACC-9792-BFE7E4D3BA32}"/>
              </a:ext>
            </a:extLst>
          </p:cNvPr>
          <p:cNvGraphicFramePr>
            <a:graphicFrameLocks noGrp="1"/>
          </p:cNvGraphicFramePr>
          <p:nvPr>
            <p:extLst>
              <p:ext uri="{D42A27DB-BD31-4B8C-83A1-F6EECF244321}">
                <p14:modId xmlns:p14="http://schemas.microsoft.com/office/powerpoint/2010/main" val="382643768"/>
              </p:ext>
            </p:extLst>
          </p:nvPr>
        </p:nvGraphicFramePr>
        <p:xfrm>
          <a:off x="838200" y="1767431"/>
          <a:ext cx="10663790" cy="4471995"/>
        </p:xfrm>
        <a:graphic>
          <a:graphicData uri="http://schemas.openxmlformats.org/drawingml/2006/table">
            <a:tbl>
              <a:tblPr firstRow="1" bandRow="1">
                <a:tableStyleId>{7DF18680-E054-41AD-8BC1-D1AEF772440D}</a:tableStyleId>
              </a:tblPr>
              <a:tblGrid>
                <a:gridCol w="5331895">
                  <a:extLst>
                    <a:ext uri="{9D8B030D-6E8A-4147-A177-3AD203B41FA5}">
                      <a16:colId xmlns:a16="http://schemas.microsoft.com/office/drawing/2014/main" val="415720762"/>
                    </a:ext>
                  </a:extLst>
                </a:gridCol>
                <a:gridCol w="5331895">
                  <a:extLst>
                    <a:ext uri="{9D8B030D-6E8A-4147-A177-3AD203B41FA5}">
                      <a16:colId xmlns:a16="http://schemas.microsoft.com/office/drawing/2014/main" val="1098444218"/>
                    </a:ext>
                  </a:extLst>
                </a:gridCol>
              </a:tblGrid>
              <a:tr h="10537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bg1"/>
                          </a:solidFill>
                          <a:effectLst>
                            <a:outerShdw blurRad="38100" dist="38100" dir="2700000" algn="tl">
                              <a:srgbClr val="000000">
                                <a:alpha val="43137"/>
                              </a:srgbClr>
                            </a:outerShdw>
                          </a:effectLst>
                        </a:rPr>
                        <a:t>La primera vez = CAPEX</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bg1"/>
                          </a:solidFill>
                          <a:effectLst>
                            <a:outerShdw blurRad="38100" dist="38100" dir="2700000" algn="tl">
                              <a:srgbClr val="000000">
                                <a:alpha val="43137"/>
                              </a:srgbClr>
                            </a:outerShdw>
                          </a:effectLst>
                        </a:rPr>
                        <a:t>(</a:t>
                      </a:r>
                      <a:r>
                        <a:rPr lang="es-ES" sz="2000" dirty="0">
                          <a:solidFill>
                            <a:schemeClr val="bg1"/>
                          </a:solidFill>
                          <a:effectLst/>
                        </a:rPr>
                        <a:t>Creación del ecosistema</a:t>
                      </a:r>
                      <a:r>
                        <a:rPr lang="es-ES" sz="2000" dirty="0">
                          <a:solidFill>
                            <a:schemeClr val="bg1"/>
                          </a:solidFill>
                          <a:effectLst>
                            <a:outerShdw blurRad="38100" dist="38100" dir="2700000" algn="tl">
                              <a:srgbClr val="000000">
                                <a:alpha val="43137"/>
                              </a:srgbClr>
                            </a:outerShdw>
                          </a:effectLst>
                        </a:rPr>
                        <a:t>)</a:t>
                      </a:r>
                      <a:endParaRPr lang="es-ES" sz="2000" dirty="0">
                        <a:solidFill>
                          <a:schemeClr val="bg1"/>
                        </a:solidFill>
                        <a:effectLst/>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bg1"/>
                          </a:solidFill>
                          <a:effectLst>
                            <a:outerShdw blurRad="38100" dist="38100" dir="2700000" algn="tl">
                              <a:srgbClr val="000000">
                                <a:alpha val="43137"/>
                              </a:srgbClr>
                            </a:outerShdw>
                          </a:effectLst>
                        </a:rPr>
                        <a:t>Siguientes años = OPEX</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bg1"/>
                          </a:solidFill>
                          <a:effectLst>
                            <a:outerShdw blurRad="38100" dist="38100" dir="2700000" algn="tl">
                              <a:srgbClr val="000000">
                                <a:alpha val="43137"/>
                              </a:srgbClr>
                            </a:outerShdw>
                          </a:effectLst>
                        </a:rPr>
                        <a:t>(Mantenimiento del ecosistema)</a:t>
                      </a:r>
                      <a:endParaRPr lang="es-ES" sz="2000" dirty="0">
                        <a:solidFill>
                          <a:schemeClr val="bg1"/>
                        </a:solidFill>
                        <a:effectLst>
                          <a:outerShdw blurRad="38100" dist="38100" dir="2700000" algn="tl">
                            <a:srgbClr val="000000">
                              <a:alpha val="43137"/>
                            </a:srgbClr>
                          </a:outerShdw>
                        </a:effectLst>
                        <a:latin typeface="+mn-lt"/>
                      </a:endParaRPr>
                    </a:p>
                  </a:txBody>
                  <a:tcPr anchor="ctr"/>
                </a:tc>
                <a:extLst>
                  <a:ext uri="{0D108BD9-81ED-4DB2-BD59-A6C34878D82A}">
                    <a16:rowId xmlns:a16="http://schemas.microsoft.com/office/drawing/2014/main" val="4230191165"/>
                  </a:ext>
                </a:extLst>
              </a:tr>
              <a:tr h="1221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Contrato de </a:t>
                      </a:r>
                      <a:r>
                        <a:rPr lang="es-ES" sz="2000" dirty="0">
                          <a:solidFill>
                            <a:schemeClr val="tx1"/>
                          </a:solidFill>
                          <a:effectLst/>
                          <a:highlight>
                            <a:srgbClr val="FFFF00"/>
                          </a:highlight>
                        </a:rPr>
                        <a:t>infraestructura</a:t>
                      </a:r>
                      <a:r>
                        <a:rPr lang="es-ES" sz="2000" dirty="0">
                          <a:solidFill>
                            <a:schemeClr val="tx1"/>
                          </a:solidFill>
                          <a:effectLst/>
                        </a:rPr>
                        <a:t> (espacio físico): On premise / Nube</a:t>
                      </a:r>
                      <a:endParaRPr lang="es-ES" sz="2000" dirty="0">
                        <a:solidFill>
                          <a:schemeClr val="tx1"/>
                        </a:solidFill>
                        <a:effectLst/>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Si es plataforma de suscripción, el coste anual. Precio por nod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Si es plataforma de pago por uso, lo que se la use.</a:t>
                      </a:r>
                      <a:endParaRPr lang="es-ES" sz="2000" dirty="0">
                        <a:solidFill>
                          <a:schemeClr val="tx1"/>
                        </a:solidFill>
                        <a:effectLst/>
                        <a:latin typeface="+mn-lt"/>
                      </a:endParaRPr>
                    </a:p>
                  </a:txBody>
                  <a:tcPr anchor="ctr"/>
                </a:tc>
                <a:extLst>
                  <a:ext uri="{0D108BD9-81ED-4DB2-BD59-A6C34878D82A}">
                    <a16:rowId xmlns:a16="http://schemas.microsoft.com/office/drawing/2014/main" val="3227850508"/>
                  </a:ext>
                </a:extLst>
              </a:tr>
              <a:tr h="10537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Coste de los </a:t>
                      </a:r>
                      <a:r>
                        <a:rPr lang="es-ES" sz="2000" dirty="0">
                          <a:solidFill>
                            <a:schemeClr val="tx1"/>
                          </a:solidFill>
                          <a:effectLst/>
                          <a:highlight>
                            <a:srgbClr val="FFFF00"/>
                          </a:highlight>
                        </a:rPr>
                        <a:t>datos</a:t>
                      </a:r>
                      <a:r>
                        <a:rPr lang="es-ES" sz="2000" dirty="0">
                          <a:solidFill>
                            <a:schemeClr val="tx1"/>
                          </a:solidFill>
                          <a:effectLst/>
                        </a:rPr>
                        <a:t> de entrenamiento y pruebas</a:t>
                      </a:r>
                      <a:endParaRPr lang="es-ES" sz="2000" dirty="0">
                        <a:solidFill>
                          <a:schemeClr val="tx1"/>
                        </a:solidFill>
                        <a:effectLst/>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Coste de los datos de pago contratados.</a:t>
                      </a:r>
                      <a:endParaRPr lang="es-ES" sz="2000" dirty="0">
                        <a:solidFill>
                          <a:schemeClr val="tx1"/>
                        </a:solidFill>
                        <a:effectLst/>
                        <a:latin typeface="+mn-lt"/>
                      </a:endParaRPr>
                    </a:p>
                  </a:txBody>
                  <a:tcPr anchor="ctr"/>
                </a:tc>
                <a:extLst>
                  <a:ext uri="{0D108BD9-81ED-4DB2-BD59-A6C34878D82A}">
                    <a16:rowId xmlns:a16="http://schemas.microsoft.com/office/drawing/2014/main" val="2807733700"/>
                  </a:ext>
                </a:extLst>
              </a:tr>
              <a:tr h="10537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Desarrollo de un </a:t>
                      </a:r>
                      <a:r>
                        <a:rPr lang="es-ES" sz="2000" dirty="0">
                          <a:solidFill>
                            <a:schemeClr val="tx1"/>
                          </a:solidFill>
                          <a:effectLst/>
                          <a:highlight>
                            <a:srgbClr val="FFFF00"/>
                          </a:highlight>
                        </a:rPr>
                        <a:t>caso de us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caso de uso por caso de uso) </a:t>
                      </a:r>
                      <a:endParaRPr lang="es-ES" sz="2000" dirty="0">
                        <a:solidFill>
                          <a:schemeClr val="tx1"/>
                        </a:solidFill>
                        <a:effectLst/>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Mantenimiento del caso de uso.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dirty="0">
                          <a:solidFill>
                            <a:schemeClr val="tx1"/>
                          </a:solidFill>
                          <a:effectLst/>
                        </a:rPr>
                        <a:t>15% - 20% anual de lo que costó.</a:t>
                      </a:r>
                      <a:endParaRPr lang="es-ES" sz="2000" dirty="0">
                        <a:solidFill>
                          <a:schemeClr val="tx1"/>
                        </a:solidFill>
                        <a:effectLst/>
                        <a:latin typeface="+mn-lt"/>
                      </a:endParaRPr>
                    </a:p>
                  </a:txBody>
                  <a:tcPr anchor="ctr"/>
                </a:tc>
                <a:extLst>
                  <a:ext uri="{0D108BD9-81ED-4DB2-BD59-A6C34878D82A}">
                    <a16:rowId xmlns:a16="http://schemas.microsoft.com/office/drawing/2014/main" val="3332403107"/>
                  </a:ext>
                </a:extLst>
              </a:tr>
            </a:tbl>
          </a:graphicData>
        </a:graphic>
      </p:graphicFrame>
    </p:spTree>
    <p:extLst>
      <p:ext uri="{BB962C8B-B14F-4D97-AF65-F5344CB8AC3E}">
        <p14:creationId xmlns:p14="http://schemas.microsoft.com/office/powerpoint/2010/main" val="3751782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33F0F3-540B-43A7-910D-ADB8DC300EB3}"/>
              </a:ext>
            </a:extLst>
          </p:cNvPr>
          <p:cNvSpPr>
            <a:spLocks noGrp="1"/>
          </p:cNvSpPr>
          <p:nvPr>
            <p:ph type="title"/>
          </p:nvPr>
        </p:nvSpPr>
        <p:spPr>
          <a:xfrm>
            <a:off x="838200" y="365126"/>
            <a:ext cx="9840124" cy="1092200"/>
          </a:xfrm>
        </p:spPr>
        <p:txBody>
          <a:bodyPr>
            <a:normAutofit fontScale="90000"/>
          </a:bodyPr>
          <a:lstStyle/>
          <a:p>
            <a:r>
              <a:rPr lang="es-ES" noProof="0" dirty="0"/>
              <a:t>Formas de acudir a los fondos Next Generation</a:t>
            </a:r>
            <a:br>
              <a:rPr lang="es-ES" noProof="0" dirty="0"/>
            </a:br>
            <a:r>
              <a:rPr lang="es-ES" noProof="0" dirty="0"/>
              <a:t>casi siempre esperando convocatoria</a:t>
            </a:r>
          </a:p>
        </p:txBody>
      </p:sp>
      <p:sp>
        <p:nvSpPr>
          <p:cNvPr id="3" name="Marcador de contenido 2">
            <a:extLst>
              <a:ext uri="{FF2B5EF4-FFF2-40B4-BE49-F238E27FC236}">
                <a16:creationId xmlns:a16="http://schemas.microsoft.com/office/drawing/2014/main" id="{19808B11-5337-4F6F-9071-6A8F96B7DCAE}"/>
              </a:ext>
            </a:extLst>
          </p:cNvPr>
          <p:cNvSpPr>
            <a:spLocks noGrp="1"/>
          </p:cNvSpPr>
          <p:nvPr>
            <p:ph sz="half" idx="1"/>
          </p:nvPr>
        </p:nvSpPr>
        <p:spPr>
          <a:xfrm>
            <a:off x="2926700" y="1863518"/>
            <a:ext cx="8821604" cy="4212000"/>
          </a:xfrm>
        </p:spPr>
        <p:txBody>
          <a:bodyPr>
            <a:normAutofit fontScale="92500" lnSpcReduction="10000"/>
          </a:bodyPr>
          <a:lstStyle/>
          <a:p>
            <a:r>
              <a:rPr lang="es-ES" noProof="0" dirty="0"/>
              <a:t>De forma individual:</a:t>
            </a:r>
          </a:p>
          <a:p>
            <a:pPr lvl="1"/>
            <a:r>
              <a:rPr lang="es-ES" noProof="0" dirty="0"/>
              <a:t>Personas físicas </a:t>
            </a:r>
          </a:p>
          <a:p>
            <a:pPr lvl="1"/>
            <a:r>
              <a:rPr lang="es-ES" noProof="0" dirty="0"/>
              <a:t>Personas jurídicas</a:t>
            </a:r>
          </a:p>
          <a:p>
            <a:r>
              <a:rPr lang="es-ES" noProof="0" dirty="0"/>
              <a:t>En consorcio (orientado a los PERTE)</a:t>
            </a:r>
          </a:p>
          <a:p>
            <a:pPr lvl="1"/>
            <a:r>
              <a:rPr lang="es-ES" noProof="0" dirty="0"/>
              <a:t>La unión de varias entidades con una estrategia conjunta, debido a que cuentan con objetivos comunes en torno a un mismo proyecto.</a:t>
            </a:r>
          </a:p>
          <a:p>
            <a:pPr lvl="1"/>
            <a:r>
              <a:rPr lang="es-ES" noProof="0" dirty="0"/>
              <a:t>Tienen que participar:</a:t>
            </a:r>
          </a:p>
          <a:p>
            <a:pPr lvl="2"/>
            <a:r>
              <a:rPr lang="es-ES" noProof="0" dirty="0"/>
              <a:t>Empresas</a:t>
            </a:r>
          </a:p>
          <a:p>
            <a:pPr lvl="2"/>
            <a:r>
              <a:rPr lang="es-ES" noProof="0" dirty="0"/>
              <a:t>Unidades de investigación</a:t>
            </a:r>
          </a:p>
          <a:p>
            <a:pPr lvl="1"/>
            <a:r>
              <a:rPr lang="es-ES" noProof="0" dirty="0"/>
              <a:t>Cada entidad aporta un valor complementario.</a:t>
            </a:r>
          </a:p>
          <a:p>
            <a:pPr lvl="1"/>
            <a:r>
              <a:rPr lang="es-ES" noProof="0" dirty="0"/>
              <a:t>Manteniendo por completo su independencia (no es una fusión).</a:t>
            </a:r>
          </a:p>
          <a:p>
            <a:pPr lvl="0"/>
            <a:r>
              <a:rPr lang="es-ES" noProof="0" dirty="0"/>
              <a:t>Mecanismo complejo: Ponerse en manos de un especialista.</a:t>
            </a:r>
          </a:p>
        </p:txBody>
      </p:sp>
      <p:pic>
        <p:nvPicPr>
          <p:cNvPr id="5" name="Marcador de contenido 13">
            <a:extLst>
              <a:ext uri="{FF2B5EF4-FFF2-40B4-BE49-F238E27FC236}">
                <a16:creationId xmlns:a16="http://schemas.microsoft.com/office/drawing/2014/main" id="{D93E3862-AD7D-4817-BEA2-71A188526659}"/>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a:stretch>
            <a:fillRect/>
          </a:stretch>
        </p:blipFill>
        <p:spPr>
          <a:xfrm>
            <a:off x="859999" y="3019126"/>
            <a:ext cx="1774090" cy="1780186"/>
          </a:xfrm>
        </p:spPr>
      </p:pic>
      <p:sp>
        <p:nvSpPr>
          <p:cNvPr id="4" name="Marcador de fecha 3">
            <a:extLst>
              <a:ext uri="{FF2B5EF4-FFF2-40B4-BE49-F238E27FC236}">
                <a16:creationId xmlns:a16="http://schemas.microsoft.com/office/drawing/2014/main" id="{3858CD8B-E29A-4237-AD9F-F027AD6C079C}"/>
              </a:ext>
            </a:extLst>
          </p:cNvPr>
          <p:cNvSpPr>
            <a:spLocks noGrp="1"/>
          </p:cNvSpPr>
          <p:nvPr>
            <p:ph type="dt" sz="half" idx="14"/>
          </p:nvPr>
        </p:nvSpPr>
        <p:spPr>
          <a:xfrm>
            <a:off x="814650" y="6400379"/>
            <a:ext cx="3380278" cy="365125"/>
          </a:xfrm>
        </p:spPr>
        <p:txBody>
          <a:bodyPr/>
          <a:lstStyle/>
          <a:p>
            <a:fld id="{8DBB3B39-EBDE-49EC-8EF6-4CA3A577C491}"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8565DEA1-C965-4FDD-A81E-70CAC772E56D}"/>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01AD171B-C548-42EA-A112-D859C4CB0639}"/>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19</a:t>
            </a:fld>
            <a:endParaRPr lang="es-ES" dirty="0"/>
          </a:p>
        </p:txBody>
      </p:sp>
    </p:spTree>
    <p:extLst>
      <p:ext uri="{BB962C8B-B14F-4D97-AF65-F5344CB8AC3E}">
        <p14:creationId xmlns:p14="http://schemas.microsoft.com/office/powerpoint/2010/main" val="295480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415962282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2</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02560" y="182562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860181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6">
            <a:extLst>
              <a:ext uri="{FF2B5EF4-FFF2-40B4-BE49-F238E27FC236}">
                <a16:creationId xmlns:a16="http://schemas.microsoft.com/office/drawing/2014/main" id="{2F356A1F-F69A-4968-AA20-DBB90A1AEF39}"/>
              </a:ext>
            </a:extLst>
          </p:cNvPr>
          <p:cNvSpPr>
            <a:spLocks noGrp="1"/>
          </p:cNvSpPr>
          <p:nvPr>
            <p:ph type="body" idx="1"/>
          </p:nvPr>
        </p:nvSpPr>
        <p:spPr>
          <a:xfrm>
            <a:off x="839788" y="1623758"/>
            <a:ext cx="5157787" cy="800356"/>
          </a:xfrm>
        </p:spPr>
        <p:txBody>
          <a:bodyPr>
            <a:normAutofit lnSpcReduction="10000"/>
          </a:bodyPr>
          <a:lstStyle/>
          <a:p>
            <a:r>
              <a:rPr lang="es-ES" noProof="0" dirty="0"/>
              <a:t>Una solución informática de las de toda la vida</a:t>
            </a:r>
          </a:p>
        </p:txBody>
      </p:sp>
      <p:graphicFrame>
        <p:nvGraphicFramePr>
          <p:cNvPr id="6" name="Marcador de contenido 5">
            <a:extLst>
              <a:ext uri="{FF2B5EF4-FFF2-40B4-BE49-F238E27FC236}">
                <a16:creationId xmlns:a16="http://schemas.microsoft.com/office/drawing/2014/main" id="{2D452B3A-3C19-4410-8269-1CA971200D45}"/>
              </a:ext>
            </a:extLst>
          </p:cNvPr>
          <p:cNvGraphicFramePr>
            <a:graphicFrameLocks noGrp="1"/>
          </p:cNvGraphicFramePr>
          <p:nvPr>
            <p:ph sz="half" idx="2"/>
            <p:extLst>
              <p:ext uri="{D42A27DB-BD31-4B8C-83A1-F6EECF244321}">
                <p14:modId xmlns:p14="http://schemas.microsoft.com/office/powerpoint/2010/main" val="1674686533"/>
              </p:ext>
            </p:extLst>
          </p:nvPr>
        </p:nvGraphicFramePr>
        <p:xfrm>
          <a:off x="839788" y="2500313"/>
          <a:ext cx="5157787" cy="371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Marcador de texto 7">
            <a:extLst>
              <a:ext uri="{FF2B5EF4-FFF2-40B4-BE49-F238E27FC236}">
                <a16:creationId xmlns:a16="http://schemas.microsoft.com/office/drawing/2014/main" id="{43C66BA7-D495-4DE6-88F3-2E15911C6618}"/>
              </a:ext>
            </a:extLst>
          </p:cNvPr>
          <p:cNvSpPr>
            <a:spLocks noGrp="1"/>
          </p:cNvSpPr>
          <p:nvPr>
            <p:ph type="body" sz="quarter" idx="3"/>
          </p:nvPr>
        </p:nvSpPr>
        <p:spPr>
          <a:xfrm>
            <a:off x="6172200" y="1623758"/>
            <a:ext cx="5183188" cy="800356"/>
          </a:xfrm>
        </p:spPr>
        <p:txBody>
          <a:bodyPr>
            <a:normAutofit/>
          </a:bodyPr>
          <a:lstStyle/>
          <a:p>
            <a:r>
              <a:rPr lang="es-ES" noProof="0" dirty="0"/>
              <a:t>Diferencias</a:t>
            </a:r>
          </a:p>
        </p:txBody>
      </p:sp>
      <p:graphicFrame>
        <p:nvGraphicFramePr>
          <p:cNvPr id="13" name="Marcador de contenido 6">
            <a:extLst>
              <a:ext uri="{FF2B5EF4-FFF2-40B4-BE49-F238E27FC236}">
                <a16:creationId xmlns:a16="http://schemas.microsoft.com/office/drawing/2014/main" id="{6B4300B3-42AC-47E1-84F1-E08E45CA0CB5}"/>
              </a:ext>
            </a:extLst>
          </p:cNvPr>
          <p:cNvGraphicFramePr>
            <a:graphicFrameLocks noGrp="1"/>
          </p:cNvGraphicFramePr>
          <p:nvPr>
            <p:ph sz="quarter" idx="4"/>
            <p:extLst>
              <p:ext uri="{D42A27DB-BD31-4B8C-83A1-F6EECF244321}">
                <p14:modId xmlns:p14="http://schemas.microsoft.com/office/powerpoint/2010/main" val="2151261067"/>
              </p:ext>
            </p:extLst>
          </p:nvPr>
        </p:nvGraphicFramePr>
        <p:xfrm>
          <a:off x="6194427" y="3453755"/>
          <a:ext cx="5183188" cy="1512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Marcador de fecha 2">
            <a:extLst>
              <a:ext uri="{FF2B5EF4-FFF2-40B4-BE49-F238E27FC236}">
                <a16:creationId xmlns:a16="http://schemas.microsoft.com/office/drawing/2014/main" id="{7BF07255-B9D2-43B3-9425-DB6D76C39F3C}"/>
              </a:ext>
            </a:extLst>
          </p:cNvPr>
          <p:cNvSpPr>
            <a:spLocks noGrp="1"/>
          </p:cNvSpPr>
          <p:nvPr>
            <p:ph type="dt" sz="half" idx="10"/>
          </p:nvPr>
        </p:nvSpPr>
        <p:spPr>
          <a:xfrm>
            <a:off x="814650" y="6400379"/>
            <a:ext cx="3380278" cy="365125"/>
          </a:xfrm>
        </p:spPr>
        <p:txBody>
          <a:bodyPr/>
          <a:lstStyle/>
          <a:p>
            <a:fld id="{C5567525-443E-43D4-8D49-F5FD10ABA2B5}"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95A1B4D5-3288-4A89-A9F8-CC2FD8A6C2C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C65FD04F-C84D-4AB1-9EB9-5C01734448C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20</a:t>
            </a:fld>
            <a:endParaRPr lang="es-ES" dirty="0"/>
          </a:p>
        </p:txBody>
      </p:sp>
      <p:sp>
        <p:nvSpPr>
          <p:cNvPr id="2" name="Título 1">
            <a:extLst>
              <a:ext uri="{FF2B5EF4-FFF2-40B4-BE49-F238E27FC236}">
                <a16:creationId xmlns:a16="http://schemas.microsoft.com/office/drawing/2014/main" id="{666D3422-D50C-468D-839A-D64A0925A329}"/>
              </a:ext>
            </a:extLst>
          </p:cNvPr>
          <p:cNvSpPr>
            <a:spLocks noGrp="1"/>
          </p:cNvSpPr>
          <p:nvPr>
            <p:ph type="title"/>
          </p:nvPr>
        </p:nvSpPr>
        <p:spPr>
          <a:xfrm>
            <a:off x="838200" y="365126"/>
            <a:ext cx="9840124" cy="1092200"/>
          </a:xfrm>
        </p:spPr>
        <p:txBody>
          <a:bodyPr>
            <a:normAutofit/>
          </a:bodyPr>
          <a:lstStyle/>
          <a:p>
            <a:r>
              <a:rPr lang="es-ES" noProof="0" dirty="0"/>
              <a:t>Entregable de un proyecto de Transformación Digital</a:t>
            </a:r>
          </a:p>
        </p:txBody>
      </p:sp>
    </p:spTree>
    <p:extLst>
      <p:ext uri="{BB962C8B-B14F-4D97-AF65-F5344CB8AC3E}">
        <p14:creationId xmlns:p14="http://schemas.microsoft.com/office/powerpoint/2010/main" val="265596709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487A77-BB4B-4E13-BDCC-16DB903D1087}"/>
              </a:ext>
            </a:extLst>
          </p:cNvPr>
          <p:cNvSpPr>
            <a:spLocks noGrp="1"/>
          </p:cNvSpPr>
          <p:nvPr>
            <p:ph type="title"/>
          </p:nvPr>
        </p:nvSpPr>
        <p:spPr>
          <a:xfrm>
            <a:off x="341194" y="3814618"/>
            <a:ext cx="4932769" cy="1876594"/>
          </a:xfrm>
        </p:spPr>
        <p:txBody>
          <a:bodyPr/>
          <a:lstStyle/>
          <a:p>
            <a:r>
              <a:rPr lang="es-ES" noProof="0" dirty="0"/>
              <a:t>A tener en cuenta</a:t>
            </a:r>
            <a:br>
              <a:rPr lang="es-ES" noProof="0" dirty="0"/>
            </a:br>
            <a:r>
              <a:rPr lang="es-ES" noProof="0" dirty="0"/>
              <a:t>Producción sostenible </a:t>
            </a:r>
            <a:br>
              <a:rPr lang="es-ES" noProof="0" dirty="0"/>
            </a:br>
            <a:r>
              <a:rPr lang="es-ES" noProof="0" dirty="0"/>
              <a:t>ODS</a:t>
            </a:r>
          </a:p>
        </p:txBody>
      </p:sp>
      <p:sp>
        <p:nvSpPr>
          <p:cNvPr id="3" name="Marcador de fecha 2">
            <a:extLst>
              <a:ext uri="{FF2B5EF4-FFF2-40B4-BE49-F238E27FC236}">
                <a16:creationId xmlns:a16="http://schemas.microsoft.com/office/drawing/2014/main" id="{564CE5DA-F6AC-482A-86B3-587F432C68AE}"/>
              </a:ext>
            </a:extLst>
          </p:cNvPr>
          <p:cNvSpPr>
            <a:spLocks noGrp="1"/>
          </p:cNvSpPr>
          <p:nvPr>
            <p:ph type="dt" sz="half" idx="10"/>
          </p:nvPr>
        </p:nvSpPr>
        <p:spPr>
          <a:xfrm>
            <a:off x="814650" y="6400379"/>
            <a:ext cx="3380278" cy="365125"/>
          </a:xfrm>
        </p:spPr>
        <p:txBody>
          <a:bodyPr/>
          <a:lstStyle/>
          <a:p>
            <a:fld id="{1A3FACC6-CF89-4914-8D09-2C6BDE2E9067}"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C0C659F-3698-408D-845E-9EF5BB3364A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813551B2-16B2-46BA-8968-ED64FBC9C18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21</a:t>
            </a:fld>
            <a:endParaRPr lang="es-ES" dirty="0"/>
          </a:p>
        </p:txBody>
      </p:sp>
    </p:spTree>
    <p:extLst>
      <p:ext uri="{BB962C8B-B14F-4D97-AF65-F5344CB8AC3E}">
        <p14:creationId xmlns:p14="http://schemas.microsoft.com/office/powerpoint/2010/main" val="118754078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9B44C1-57E9-8D02-08B3-468EF1072CBE}"/>
              </a:ext>
            </a:extLst>
          </p:cNvPr>
          <p:cNvSpPr>
            <a:spLocks noGrp="1"/>
          </p:cNvSpPr>
          <p:nvPr>
            <p:ph type="title"/>
          </p:nvPr>
        </p:nvSpPr>
        <p:spPr>
          <a:xfrm>
            <a:off x="838200" y="365126"/>
            <a:ext cx="9840124" cy="1092200"/>
          </a:xfrm>
        </p:spPr>
        <p:txBody>
          <a:bodyPr/>
          <a:lstStyle/>
          <a:p>
            <a:r>
              <a:rPr lang="es-ES" noProof="0" dirty="0"/>
              <a:t>La herramienta resultante, cumplirá con los criterios de sostenibilidad</a:t>
            </a:r>
          </a:p>
        </p:txBody>
      </p:sp>
      <p:sp>
        <p:nvSpPr>
          <p:cNvPr id="3" name="Marcador de fecha 2">
            <a:extLst>
              <a:ext uri="{FF2B5EF4-FFF2-40B4-BE49-F238E27FC236}">
                <a16:creationId xmlns:a16="http://schemas.microsoft.com/office/drawing/2014/main" id="{702ABCC3-690E-F250-881C-6D46710FF8F5}"/>
              </a:ext>
            </a:extLst>
          </p:cNvPr>
          <p:cNvSpPr>
            <a:spLocks noGrp="1"/>
          </p:cNvSpPr>
          <p:nvPr>
            <p:ph type="dt" sz="half" idx="10"/>
          </p:nvPr>
        </p:nvSpPr>
        <p:spPr>
          <a:xfrm>
            <a:off x="814650" y="6400379"/>
            <a:ext cx="3380278" cy="365125"/>
          </a:xfrm>
        </p:spPr>
        <p:txBody>
          <a:bodyPr/>
          <a:lstStyle/>
          <a:p>
            <a:fld id="{916877E1-320C-41D0-BFAC-CAD2C337046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BADFE124-C979-59A2-9719-B7EC5B0EB8A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1F0CA67-04B0-91E5-EE55-E40F1EB84D89}"/>
              </a:ext>
            </a:extLst>
          </p:cNvPr>
          <p:cNvSpPr>
            <a:spLocks noGrp="1"/>
          </p:cNvSpPr>
          <p:nvPr>
            <p:ph type="sldNum" sz="quarter" idx="12"/>
          </p:nvPr>
        </p:nvSpPr>
        <p:spPr>
          <a:xfrm>
            <a:off x="10801350" y="6421474"/>
            <a:ext cx="576000" cy="365125"/>
          </a:xfrm>
        </p:spPr>
        <p:txBody>
          <a:bodyPr/>
          <a:lstStyle/>
          <a:p>
            <a:fld id="{EC8B5E14-3D5E-4CAE-B5FC-D50764B3A2F1}" type="slidenum">
              <a:rPr lang="es-ES" smtClean="0"/>
              <a:pPr/>
              <a:t>222</a:t>
            </a:fld>
            <a:endParaRPr lang="es-ES" dirty="0"/>
          </a:p>
        </p:txBody>
      </p:sp>
      <p:graphicFrame>
        <p:nvGraphicFramePr>
          <p:cNvPr id="6" name="Diagrama 5">
            <a:extLst>
              <a:ext uri="{FF2B5EF4-FFF2-40B4-BE49-F238E27FC236}">
                <a16:creationId xmlns:a16="http://schemas.microsoft.com/office/drawing/2014/main" id="{2688A68C-23A0-0E16-6B3E-F129C8214CA9}"/>
              </a:ext>
            </a:extLst>
          </p:cNvPr>
          <p:cNvGraphicFramePr/>
          <p:nvPr/>
        </p:nvGraphicFramePr>
        <p:xfrm>
          <a:off x="838200" y="2073417"/>
          <a:ext cx="9725026" cy="3884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uadroTexto 6">
            <a:extLst>
              <a:ext uri="{FF2B5EF4-FFF2-40B4-BE49-F238E27FC236}">
                <a16:creationId xmlns:a16="http://schemas.microsoft.com/office/drawing/2014/main" id="{9B0F51C0-E4E4-3B86-5467-680250C99CE9}"/>
              </a:ext>
            </a:extLst>
          </p:cNvPr>
          <p:cNvSpPr txBox="1"/>
          <p:nvPr/>
        </p:nvSpPr>
        <p:spPr>
          <a:xfrm>
            <a:off x="3424636" y="5773495"/>
            <a:ext cx="5348515" cy="369332"/>
          </a:xfrm>
          <a:prstGeom prst="rect">
            <a:avLst/>
          </a:prstGeom>
          <a:noFill/>
        </p:spPr>
        <p:txBody>
          <a:bodyPr wrap="none" rtlCol="0">
            <a:spAutoFit/>
          </a:bodyPr>
          <a:lstStyle/>
          <a:p>
            <a:r>
              <a:rPr lang="es-ES" dirty="0">
                <a:solidFill>
                  <a:schemeClr val="bg1"/>
                </a:solidFill>
                <a:highlight>
                  <a:srgbClr val="000000"/>
                </a:highlight>
              </a:rPr>
              <a:t>En las páginas que van continuación se describe el plan</a:t>
            </a:r>
          </a:p>
        </p:txBody>
      </p:sp>
      <p:sp>
        <p:nvSpPr>
          <p:cNvPr id="9" name="CuadroTexto 8">
            <a:extLst>
              <a:ext uri="{FF2B5EF4-FFF2-40B4-BE49-F238E27FC236}">
                <a16:creationId xmlns:a16="http://schemas.microsoft.com/office/drawing/2014/main" id="{7E17E597-62A2-747A-18BF-08757AA0E48A}"/>
              </a:ext>
            </a:extLst>
          </p:cNvPr>
          <p:cNvSpPr txBox="1"/>
          <p:nvPr/>
        </p:nvSpPr>
        <p:spPr>
          <a:xfrm>
            <a:off x="1407319" y="1714878"/>
            <a:ext cx="7144067" cy="988323"/>
          </a:xfrm>
          <a:prstGeom prst="curvedDownArrow">
            <a:avLst>
              <a:gd name="adj1" fmla="val 324996"/>
              <a:gd name="adj2" fmla="val 585194"/>
              <a:gd name="adj3" fmla="val 77271"/>
            </a:avLst>
          </a:prstGeom>
          <a:solidFill>
            <a:schemeClr val="accent1"/>
          </a:solidFill>
        </p:spPr>
        <p:txBody>
          <a:bodyPr wrap="square">
            <a:noAutofit/>
          </a:bodyPr>
          <a:lstStyle/>
          <a:p>
            <a:pPr lvl="0"/>
            <a:endParaRPr lang="es-ES" dirty="0">
              <a:highlight>
                <a:srgbClr val="FFFFFF"/>
              </a:highlight>
            </a:endParaRPr>
          </a:p>
        </p:txBody>
      </p:sp>
      <p:sp>
        <p:nvSpPr>
          <p:cNvPr id="10" name="CuadroTexto 9">
            <a:extLst>
              <a:ext uri="{FF2B5EF4-FFF2-40B4-BE49-F238E27FC236}">
                <a16:creationId xmlns:a16="http://schemas.microsoft.com/office/drawing/2014/main" id="{0A7C1C05-3489-5976-5266-777BF4125EDD}"/>
              </a:ext>
            </a:extLst>
          </p:cNvPr>
          <p:cNvSpPr txBox="1"/>
          <p:nvPr/>
        </p:nvSpPr>
        <p:spPr>
          <a:xfrm>
            <a:off x="1581296" y="1399434"/>
            <a:ext cx="6095028" cy="369332"/>
          </a:xfrm>
          <a:prstGeom prst="rect">
            <a:avLst/>
          </a:prstGeom>
          <a:noFill/>
        </p:spPr>
        <p:txBody>
          <a:bodyPr wrap="square">
            <a:spAutoFit/>
          </a:bodyPr>
          <a:lstStyle/>
          <a:p>
            <a:pPr lvl="0"/>
            <a:r>
              <a:rPr lang="es-ES" dirty="0">
                <a:highlight>
                  <a:srgbClr val="FFFFFF"/>
                </a:highlight>
              </a:rPr>
              <a:t>Green code es un subconjunto de sostenibilidad (ODS + ESG)</a:t>
            </a:r>
          </a:p>
        </p:txBody>
      </p:sp>
    </p:spTree>
    <p:extLst>
      <p:ext uri="{BB962C8B-B14F-4D97-AF65-F5344CB8AC3E}">
        <p14:creationId xmlns:p14="http://schemas.microsoft.com/office/powerpoint/2010/main" val="187741520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1A22BA-E5C4-4D3A-976B-6294A148AA45}"/>
              </a:ext>
            </a:extLst>
          </p:cNvPr>
          <p:cNvSpPr>
            <a:spLocks noGrp="1"/>
          </p:cNvSpPr>
          <p:nvPr>
            <p:ph type="title"/>
          </p:nvPr>
        </p:nvSpPr>
        <p:spPr>
          <a:xfrm>
            <a:off x="838200" y="365126"/>
            <a:ext cx="9840124" cy="1092200"/>
          </a:xfrm>
        </p:spPr>
        <p:txBody>
          <a:bodyPr anchor="b">
            <a:normAutofit fontScale="90000"/>
          </a:bodyPr>
          <a:lstStyle/>
          <a:p>
            <a:r>
              <a:rPr lang="es-ES" noProof="0" dirty="0"/>
              <a:t>los objetivos de desarrollo sostenible 2030 son 17 (incluyen 169 metas y 232 indicadores)</a:t>
            </a:r>
          </a:p>
        </p:txBody>
      </p:sp>
      <p:pic>
        <p:nvPicPr>
          <p:cNvPr id="3074" name="Picture 2" descr="Los objetivos de desarrollo sostenible de la Agenda 2030 - Fundacion Iter">
            <a:extLst>
              <a:ext uri="{FF2B5EF4-FFF2-40B4-BE49-F238E27FC236}">
                <a16:creationId xmlns:a16="http://schemas.microsoft.com/office/drawing/2014/main" id="{79A55891-9C5C-4840-B9F5-B363FB49E99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1607612" y="1825625"/>
            <a:ext cx="8976776" cy="4351338"/>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D6CF879E-2F80-45D9-8749-8BDA6EB71470}"/>
              </a:ext>
            </a:extLst>
          </p:cNvPr>
          <p:cNvSpPr>
            <a:spLocks noGrp="1"/>
          </p:cNvSpPr>
          <p:nvPr>
            <p:ph type="dt" sz="half" idx="10"/>
          </p:nvPr>
        </p:nvSpPr>
        <p:spPr>
          <a:xfrm>
            <a:off x="814650" y="6400379"/>
            <a:ext cx="3380278" cy="365125"/>
          </a:xfrm>
        </p:spPr>
        <p:txBody>
          <a:bodyPr/>
          <a:lstStyle/>
          <a:p>
            <a:fld id="{AB6CD8D1-7A91-4191-85B9-A8A8386A1F1C}"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6F0FA73-F62B-4DEC-84EA-29735DF6AEC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295E80C-7554-4499-9D34-2C34AAD6673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23</a:t>
            </a:fld>
            <a:endParaRPr lang="es-ES" dirty="0"/>
          </a:p>
        </p:txBody>
      </p:sp>
    </p:spTree>
    <p:extLst>
      <p:ext uri="{BB962C8B-B14F-4D97-AF65-F5344CB8AC3E}">
        <p14:creationId xmlns:p14="http://schemas.microsoft.com/office/powerpoint/2010/main" val="235601803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C1A8DC45-6EA1-B84B-4277-16D403A38A43}"/>
              </a:ext>
            </a:extLst>
          </p:cNvPr>
          <p:cNvSpPr>
            <a:spLocks noGrp="1"/>
          </p:cNvSpPr>
          <p:nvPr>
            <p:ph type="title"/>
          </p:nvPr>
        </p:nvSpPr>
        <p:spPr>
          <a:xfrm>
            <a:off x="838200" y="365126"/>
            <a:ext cx="9840124" cy="1092200"/>
          </a:xfrm>
        </p:spPr>
        <p:txBody>
          <a:bodyPr/>
          <a:lstStyle/>
          <a:p>
            <a:r>
              <a:rPr lang="es-ES" noProof="0" dirty="0"/>
              <a:t>tres factores son tenidos en cuenta al evaluar una empresa conforme a los criterios ESG </a:t>
            </a:r>
          </a:p>
        </p:txBody>
      </p:sp>
      <p:graphicFrame>
        <p:nvGraphicFramePr>
          <p:cNvPr id="9" name="Marcador de contenido 8">
            <a:extLst>
              <a:ext uri="{FF2B5EF4-FFF2-40B4-BE49-F238E27FC236}">
                <a16:creationId xmlns:a16="http://schemas.microsoft.com/office/drawing/2014/main" id="{A771AF26-4808-10B8-3C82-9852126F8ACA}"/>
              </a:ext>
            </a:extLst>
          </p:cNvPr>
          <p:cNvGraphicFramePr>
            <a:graphicFrameLocks noGrp="1"/>
          </p:cNvGraphicFramePr>
          <p:nvPr>
            <p:ph idx="1"/>
            <p:extLst>
              <p:ext uri="{D42A27DB-BD31-4B8C-83A1-F6EECF244321}">
                <p14:modId xmlns:p14="http://schemas.microsoft.com/office/powerpoint/2010/main" val="378779105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289B7B69-048D-1BED-C56E-47A290BB82A9}"/>
              </a:ext>
            </a:extLst>
          </p:cNvPr>
          <p:cNvSpPr>
            <a:spLocks noGrp="1"/>
          </p:cNvSpPr>
          <p:nvPr>
            <p:ph type="dt" sz="half" idx="10"/>
          </p:nvPr>
        </p:nvSpPr>
        <p:spPr>
          <a:xfrm>
            <a:off x="814650" y="6400379"/>
            <a:ext cx="3380278" cy="365125"/>
          </a:xfrm>
        </p:spPr>
        <p:txBody>
          <a:bodyPr/>
          <a:lstStyle/>
          <a:p>
            <a:fld id="{CA3A8BB5-8318-4059-81AE-AD35AED6195C}"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A210DD0-E6E0-497F-5A6A-B785EA5E8D3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2404A57-BA59-B728-E43A-18B19728034F}"/>
              </a:ext>
            </a:extLst>
          </p:cNvPr>
          <p:cNvSpPr>
            <a:spLocks noGrp="1"/>
          </p:cNvSpPr>
          <p:nvPr>
            <p:ph type="sldNum" sz="quarter" idx="12"/>
          </p:nvPr>
        </p:nvSpPr>
        <p:spPr>
          <a:xfrm>
            <a:off x="10801350" y="6421474"/>
            <a:ext cx="576000" cy="365125"/>
          </a:xfrm>
        </p:spPr>
        <p:txBody>
          <a:bodyPr/>
          <a:lstStyle/>
          <a:p>
            <a:fld id="{EC8B5E14-3D5E-4CAE-B5FC-D50764B3A2F1}" type="slidenum">
              <a:rPr lang="es-ES" smtClean="0"/>
              <a:pPr/>
              <a:t>224</a:t>
            </a:fld>
            <a:endParaRPr lang="es-ES" dirty="0"/>
          </a:p>
        </p:txBody>
      </p:sp>
      <p:pic>
        <p:nvPicPr>
          <p:cNvPr id="10" name="Picture 2" descr="ESG and Industrial Water | Saltworks Technologies">
            <a:extLst>
              <a:ext uri="{FF2B5EF4-FFF2-40B4-BE49-F238E27FC236}">
                <a16:creationId xmlns:a16="http://schemas.microsoft.com/office/drawing/2014/main" id="{1A17F838-5036-B3BA-9CAA-CC05835CEF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646" y="4802753"/>
            <a:ext cx="1625681" cy="1625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1200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AD90BF2-9DC7-438C-9D9B-51CA27C88A92}"/>
              </a:ext>
            </a:extLst>
          </p:cNvPr>
          <p:cNvSpPr>
            <a:spLocks noGrp="1"/>
          </p:cNvSpPr>
          <p:nvPr>
            <p:ph type="title"/>
          </p:nvPr>
        </p:nvSpPr>
        <p:spPr>
          <a:xfrm>
            <a:off x="838200" y="365126"/>
            <a:ext cx="9840124" cy="1092200"/>
          </a:xfrm>
        </p:spPr>
        <p:txBody>
          <a:bodyPr>
            <a:normAutofit fontScale="90000"/>
          </a:bodyPr>
          <a:lstStyle/>
          <a:p>
            <a:r>
              <a:rPr lang="es-ES" noProof="0" dirty="0"/>
              <a:t>Metodología / cadena de valor de las empresas para cumplir los criterios ODS y ESG</a:t>
            </a:r>
          </a:p>
        </p:txBody>
      </p:sp>
      <p:graphicFrame>
        <p:nvGraphicFramePr>
          <p:cNvPr id="4" name="Marcador de contenido 3">
            <a:extLst>
              <a:ext uri="{FF2B5EF4-FFF2-40B4-BE49-F238E27FC236}">
                <a16:creationId xmlns:a16="http://schemas.microsoft.com/office/drawing/2014/main" id="{CC64D626-0B01-4C99-A198-82E82F3E5CEE}"/>
              </a:ext>
            </a:extLst>
          </p:cNvPr>
          <p:cNvGraphicFramePr>
            <a:graphicFrameLocks noGrp="1"/>
          </p:cNvGraphicFramePr>
          <p:nvPr>
            <p:ph sz="half" idx="1"/>
            <p:extLst>
              <p:ext uri="{D42A27DB-BD31-4B8C-83A1-F6EECF244321}">
                <p14:modId xmlns:p14="http://schemas.microsoft.com/office/powerpoint/2010/main" val="2065140045"/>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2" descr="value chain Icon 5838700">
            <a:extLst>
              <a:ext uri="{FF2B5EF4-FFF2-40B4-BE49-F238E27FC236}">
                <a16:creationId xmlns:a16="http://schemas.microsoft.com/office/drawing/2014/main" id="{C826B42A-48ED-B805-BF59-9B2B4F5EBDC8}"/>
              </a:ext>
            </a:extLst>
          </p:cNvPr>
          <p:cNvPicPr>
            <a:picLocks noGrp="1" noChangeAspect="1" noChangeArrowheads="1"/>
          </p:cNvPicPr>
          <p:nvPr>
            <p:ph sz="quarter" idx="13"/>
          </p:nvPr>
        </p:nvPicPr>
        <p:blipFill rotWithShape="1">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596F7626-AD45-48A0-BDEA-42CC455D16DD}"/>
              </a:ext>
            </a:extLst>
          </p:cNvPr>
          <p:cNvSpPr>
            <a:spLocks noGrp="1"/>
          </p:cNvSpPr>
          <p:nvPr>
            <p:ph type="dt" sz="half" idx="14"/>
          </p:nvPr>
        </p:nvSpPr>
        <p:spPr>
          <a:xfrm>
            <a:off x="814650" y="6400379"/>
            <a:ext cx="3380278" cy="365125"/>
          </a:xfrm>
        </p:spPr>
        <p:txBody>
          <a:bodyPr/>
          <a:lstStyle/>
          <a:p>
            <a:fld id="{23F1890A-0DB8-4E08-A1CE-8A9CA2B34237}" type="datetime2">
              <a:rPr lang="es-ES" smtClean="0"/>
              <a:pPr/>
              <a:t>jueves, 19 de septiembre de 2024</a:t>
            </a:fld>
            <a:endParaRPr lang="es-ES" dirty="0"/>
          </a:p>
        </p:txBody>
      </p:sp>
      <p:sp>
        <p:nvSpPr>
          <p:cNvPr id="9" name="Marcador de pie de página 8">
            <a:extLst>
              <a:ext uri="{FF2B5EF4-FFF2-40B4-BE49-F238E27FC236}">
                <a16:creationId xmlns:a16="http://schemas.microsoft.com/office/drawing/2014/main" id="{8BD8C4D0-A605-4C54-8622-DC9998FBE7EE}"/>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10" name="Marcador de número de diapositiva 9">
            <a:extLst>
              <a:ext uri="{FF2B5EF4-FFF2-40B4-BE49-F238E27FC236}">
                <a16:creationId xmlns:a16="http://schemas.microsoft.com/office/drawing/2014/main" id="{4FC4A8D1-0A0B-4C53-B115-EBA713390828}"/>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25</a:t>
            </a:fld>
            <a:endParaRPr lang="es-ES" dirty="0"/>
          </a:p>
        </p:txBody>
      </p:sp>
    </p:spTree>
    <p:extLst>
      <p:ext uri="{BB962C8B-B14F-4D97-AF65-F5344CB8AC3E}">
        <p14:creationId xmlns:p14="http://schemas.microsoft.com/office/powerpoint/2010/main" val="6316771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1690F052-CA99-AE26-5BC2-02CD577DE123}"/>
              </a:ext>
            </a:extLst>
          </p:cNvPr>
          <p:cNvSpPr>
            <a:spLocks noGrp="1"/>
          </p:cNvSpPr>
          <p:nvPr>
            <p:ph type="title"/>
          </p:nvPr>
        </p:nvSpPr>
        <p:spPr>
          <a:xfrm>
            <a:off x="838200" y="365126"/>
            <a:ext cx="9840124" cy="1092200"/>
          </a:xfrm>
        </p:spPr>
        <p:txBody>
          <a:bodyPr/>
          <a:lstStyle/>
          <a:p>
            <a:r>
              <a:rPr lang="es-ES" noProof="0" dirty="0"/>
              <a:t>Razones por las que vamos a construir código sostenible</a:t>
            </a:r>
          </a:p>
        </p:txBody>
      </p:sp>
      <p:graphicFrame>
        <p:nvGraphicFramePr>
          <p:cNvPr id="35" name="Marcador de contenido 34">
            <a:extLst>
              <a:ext uri="{FF2B5EF4-FFF2-40B4-BE49-F238E27FC236}">
                <a16:creationId xmlns:a16="http://schemas.microsoft.com/office/drawing/2014/main" id="{84BC839D-9AFC-AB1B-1B26-8715F18AC57B}"/>
              </a:ext>
            </a:extLst>
          </p:cNvPr>
          <p:cNvGraphicFramePr>
            <a:graphicFrameLocks noGrp="1"/>
          </p:cNvGraphicFramePr>
          <p:nvPr>
            <p:ph sz="half" idx="1"/>
            <p:extLst>
              <p:ext uri="{D42A27DB-BD31-4B8C-83A1-F6EECF244321}">
                <p14:modId xmlns:p14="http://schemas.microsoft.com/office/powerpoint/2010/main" val="382289808"/>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4" name="Picture 6" descr="Verde, - foto de stock">
            <a:extLst>
              <a:ext uri="{FF2B5EF4-FFF2-40B4-BE49-F238E27FC236}">
                <a16:creationId xmlns:a16="http://schemas.microsoft.com/office/drawing/2014/main" id="{0B2E698B-28EE-E8C9-FC18-013E4759E8D5}"/>
              </a:ext>
            </a:extLst>
          </p:cNvPr>
          <p:cNvPicPr>
            <a:picLocks noGrp="1" noChangeAspect="1" noChangeArrowheads="1"/>
          </p:cNvPicPr>
          <p:nvPr>
            <p:ph sz="half" idx="2"/>
          </p:nvPr>
        </p:nvPicPr>
        <p:blipFill>
          <a:blip r:embed="rId7">
            <a:extLst>
              <a:ext uri="{28A0092B-C50C-407E-A947-70E740481C1C}">
                <a14:useLocalDpi xmlns:a14="http://schemas.microsoft.com/office/drawing/2010/main" val="0"/>
              </a:ext>
            </a:extLst>
          </a:blip>
          <a:srcRect/>
          <a:stretch>
            <a:fillRect/>
          </a:stretch>
        </p:blipFill>
        <p:spPr bwMode="auto">
          <a:xfrm>
            <a:off x="7830312" y="3379502"/>
            <a:ext cx="1865376" cy="1243584"/>
          </a:xfr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Marcador de fecha 1">
            <a:extLst>
              <a:ext uri="{FF2B5EF4-FFF2-40B4-BE49-F238E27FC236}">
                <a16:creationId xmlns:a16="http://schemas.microsoft.com/office/drawing/2014/main" id="{25BE0FAF-A033-7089-3B46-E75F850DC8D9}"/>
              </a:ext>
            </a:extLst>
          </p:cNvPr>
          <p:cNvSpPr>
            <a:spLocks noGrp="1"/>
          </p:cNvSpPr>
          <p:nvPr>
            <p:ph type="dt" sz="half" idx="10"/>
          </p:nvPr>
        </p:nvSpPr>
        <p:spPr>
          <a:xfrm>
            <a:off x="814650" y="6400379"/>
            <a:ext cx="3380278" cy="365125"/>
          </a:xfrm>
        </p:spPr>
        <p:txBody>
          <a:bodyPr/>
          <a:lstStyle/>
          <a:p>
            <a:fld id="{905F653B-BB2D-42E2-8446-F3503510BCE6}"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E594DDC1-909A-4696-1897-9FDBD9A14DA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3A78B1F1-8AA6-B91A-0B2A-7C8E559E8408}"/>
              </a:ext>
            </a:extLst>
          </p:cNvPr>
          <p:cNvSpPr>
            <a:spLocks noGrp="1"/>
          </p:cNvSpPr>
          <p:nvPr>
            <p:ph type="sldNum" sz="quarter" idx="12"/>
          </p:nvPr>
        </p:nvSpPr>
        <p:spPr>
          <a:xfrm>
            <a:off x="10801350" y="6421474"/>
            <a:ext cx="576000" cy="365125"/>
          </a:xfrm>
        </p:spPr>
        <p:txBody>
          <a:bodyPr/>
          <a:lstStyle/>
          <a:p>
            <a:fld id="{2B3BE2C4-4D73-4B6C-944D-39AB999AB1EC}" type="slidenum">
              <a:rPr lang="es-ES" smtClean="0"/>
              <a:pPr/>
              <a:t>226</a:t>
            </a:fld>
            <a:endParaRPr lang="es-ES" dirty="0"/>
          </a:p>
        </p:txBody>
      </p:sp>
    </p:spTree>
    <p:extLst>
      <p:ext uri="{BB962C8B-B14F-4D97-AF65-F5344CB8AC3E}">
        <p14:creationId xmlns:p14="http://schemas.microsoft.com/office/powerpoint/2010/main" val="348857870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1690F052-CA99-AE26-5BC2-02CD577DE123}"/>
              </a:ext>
            </a:extLst>
          </p:cNvPr>
          <p:cNvSpPr>
            <a:spLocks noGrp="1"/>
          </p:cNvSpPr>
          <p:nvPr>
            <p:ph type="title"/>
          </p:nvPr>
        </p:nvSpPr>
        <p:spPr>
          <a:xfrm>
            <a:off x="838200" y="365126"/>
            <a:ext cx="9840124" cy="1092200"/>
          </a:xfrm>
        </p:spPr>
        <p:txBody>
          <a:bodyPr>
            <a:normAutofit/>
          </a:bodyPr>
          <a:lstStyle/>
          <a:p>
            <a:r>
              <a:rPr lang="es-ES" noProof="0" dirty="0"/>
              <a:t>Los vectores que vamos a trabajar en la construcción y roll-out de la herramienta</a:t>
            </a:r>
          </a:p>
        </p:txBody>
      </p:sp>
      <p:graphicFrame>
        <p:nvGraphicFramePr>
          <p:cNvPr id="16" name="Marcador de contenido 5">
            <a:extLst>
              <a:ext uri="{FF2B5EF4-FFF2-40B4-BE49-F238E27FC236}">
                <a16:creationId xmlns:a16="http://schemas.microsoft.com/office/drawing/2014/main" id="{F666E37B-0A4B-6E71-DB10-248B89B08777}"/>
              </a:ext>
            </a:extLst>
          </p:cNvPr>
          <p:cNvGraphicFramePr>
            <a:graphicFrameLocks noGrp="1"/>
          </p:cNvGraphicFramePr>
          <p:nvPr>
            <p:ph sz="half" idx="1"/>
            <p:extLst>
              <p:ext uri="{D42A27DB-BD31-4B8C-83A1-F6EECF244321}">
                <p14:modId xmlns:p14="http://schemas.microsoft.com/office/powerpoint/2010/main" val="3111792151"/>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Picture 6" descr="Verde, - foto de stock">
            <a:extLst>
              <a:ext uri="{FF2B5EF4-FFF2-40B4-BE49-F238E27FC236}">
                <a16:creationId xmlns:a16="http://schemas.microsoft.com/office/drawing/2014/main" id="{0C5B947E-7182-E375-1A1A-FFE7B4C8FDA0}"/>
              </a:ext>
            </a:extLst>
          </p:cNvPr>
          <p:cNvPicPr>
            <a:picLocks noGrp="1" noChangeAspect="1" noChangeArrowheads="1"/>
          </p:cNvPicPr>
          <p:nvPr>
            <p:ph sz="quarter" idx="13"/>
          </p:nvPr>
        </p:nvPicPr>
        <p:blipFill>
          <a:blip r:embed="rId7">
            <a:extLst>
              <a:ext uri="{28A0092B-C50C-407E-A947-70E740481C1C}">
                <a14:useLocalDpi xmlns:a14="http://schemas.microsoft.com/office/drawing/2010/main" val="0"/>
              </a:ext>
            </a:extLst>
          </a:blip>
          <a:srcRect l="16667" r="16667"/>
          <a:stretch/>
        </p:blipFill>
        <p:spPr bwMode="auto">
          <a:xfrm>
            <a:off x="1125258" y="3287427"/>
            <a:ext cx="1243572" cy="1243584"/>
          </a:xfr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Marcador de fecha 1">
            <a:extLst>
              <a:ext uri="{FF2B5EF4-FFF2-40B4-BE49-F238E27FC236}">
                <a16:creationId xmlns:a16="http://schemas.microsoft.com/office/drawing/2014/main" id="{D92664E9-AA51-F6B8-FE80-E8A45C9A9D5B}"/>
              </a:ext>
            </a:extLst>
          </p:cNvPr>
          <p:cNvSpPr>
            <a:spLocks noGrp="1"/>
          </p:cNvSpPr>
          <p:nvPr>
            <p:ph type="dt" sz="half" idx="14"/>
          </p:nvPr>
        </p:nvSpPr>
        <p:spPr>
          <a:xfrm>
            <a:off x="814650" y="6400379"/>
            <a:ext cx="3380278" cy="365125"/>
          </a:xfrm>
        </p:spPr>
        <p:txBody>
          <a:bodyPr/>
          <a:lstStyle/>
          <a:p>
            <a:fld id="{B70541DF-D2F9-414F-B2D2-152EADA17595}"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28AF6000-EBC5-E7BE-7649-91E926AD80B9}"/>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814DE2C-3B66-E636-2946-0CADA7490BF0}"/>
              </a:ext>
            </a:extLst>
          </p:cNvPr>
          <p:cNvSpPr>
            <a:spLocks noGrp="1"/>
          </p:cNvSpPr>
          <p:nvPr>
            <p:ph type="sldNum" sz="quarter" idx="16"/>
          </p:nvPr>
        </p:nvSpPr>
        <p:spPr>
          <a:xfrm>
            <a:off x="10801350" y="6421474"/>
            <a:ext cx="576000" cy="365125"/>
          </a:xfrm>
        </p:spPr>
        <p:txBody>
          <a:bodyPr/>
          <a:lstStyle/>
          <a:p>
            <a:fld id="{2B3BE2C4-4D73-4B6C-944D-39AB999AB1EC}" type="slidenum">
              <a:rPr lang="es-ES" smtClean="0"/>
              <a:pPr/>
              <a:t>227</a:t>
            </a:fld>
            <a:endParaRPr lang="es-ES" dirty="0"/>
          </a:p>
        </p:txBody>
      </p:sp>
    </p:spTree>
    <p:extLst>
      <p:ext uri="{BB962C8B-B14F-4D97-AF65-F5344CB8AC3E}">
        <p14:creationId xmlns:p14="http://schemas.microsoft.com/office/powerpoint/2010/main" val="24145786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B0B54D9-72C4-4CF2-CD0F-216BB5EC22CD}"/>
              </a:ext>
            </a:extLst>
          </p:cNvPr>
          <p:cNvSpPr>
            <a:spLocks noGrp="1"/>
          </p:cNvSpPr>
          <p:nvPr>
            <p:ph type="title"/>
          </p:nvPr>
        </p:nvSpPr>
        <p:spPr>
          <a:xfrm>
            <a:off x="838200" y="365126"/>
            <a:ext cx="9840124" cy="1092200"/>
          </a:xfrm>
        </p:spPr>
        <p:txBody>
          <a:bodyPr/>
          <a:lstStyle/>
          <a:p>
            <a:r>
              <a:rPr lang="es-ES" noProof="0" dirty="0"/>
              <a:t>Las fases que se siguen en la construcción</a:t>
            </a:r>
          </a:p>
        </p:txBody>
      </p:sp>
      <p:graphicFrame>
        <p:nvGraphicFramePr>
          <p:cNvPr id="8" name="Marcador de contenido 7">
            <a:extLst>
              <a:ext uri="{FF2B5EF4-FFF2-40B4-BE49-F238E27FC236}">
                <a16:creationId xmlns:a16="http://schemas.microsoft.com/office/drawing/2014/main" id="{1D3DEBA6-B0D1-A2FC-FB12-F7FAB089137F}"/>
              </a:ext>
            </a:extLst>
          </p:cNvPr>
          <p:cNvGraphicFramePr>
            <a:graphicFrameLocks noGrp="1"/>
          </p:cNvGraphicFramePr>
          <p:nvPr>
            <p:ph sz="half" idx="1"/>
            <p:extLst>
              <p:ext uri="{D42A27DB-BD31-4B8C-83A1-F6EECF244321}">
                <p14:modId xmlns:p14="http://schemas.microsoft.com/office/powerpoint/2010/main" val="470661973"/>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2" descr="process Icon 5864656">
            <a:extLst>
              <a:ext uri="{FF2B5EF4-FFF2-40B4-BE49-F238E27FC236}">
                <a16:creationId xmlns:a16="http://schemas.microsoft.com/office/drawing/2014/main" id="{4A9F21E4-9FE7-645C-8FA4-0F37E54B1687}"/>
              </a:ext>
            </a:extLst>
          </p:cNvPr>
          <p:cNvPicPr>
            <a:picLocks noGrp="1" noChangeAspect="1" noChangeArrowheads="1"/>
          </p:cNvPicPr>
          <p:nvPr>
            <p:ph sz="quarter" idx="13"/>
          </p:nvPr>
        </p:nvPicPr>
        <p:blipFill rotWithShape="1">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5" name="Marcador de fecha 4">
            <a:extLst>
              <a:ext uri="{FF2B5EF4-FFF2-40B4-BE49-F238E27FC236}">
                <a16:creationId xmlns:a16="http://schemas.microsoft.com/office/drawing/2014/main" id="{9205181F-5738-310B-FDE4-5B75FDBCA34A}"/>
              </a:ext>
            </a:extLst>
          </p:cNvPr>
          <p:cNvSpPr>
            <a:spLocks noGrp="1"/>
          </p:cNvSpPr>
          <p:nvPr>
            <p:ph type="dt" sz="half" idx="14"/>
          </p:nvPr>
        </p:nvSpPr>
        <p:spPr>
          <a:xfrm>
            <a:off x="814650" y="6400379"/>
            <a:ext cx="3380278" cy="365125"/>
          </a:xfrm>
        </p:spPr>
        <p:txBody>
          <a:bodyPr/>
          <a:lstStyle/>
          <a:p>
            <a:fld id="{854B3419-BD4E-41E6-AA17-97B0D76FD4AF}"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16C2B4EB-8A4D-69BC-D3B5-A0160C4EEB0C}"/>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06E6CBF9-C108-542A-4F0E-03A39505ABDF}"/>
              </a:ext>
            </a:extLst>
          </p:cNvPr>
          <p:cNvSpPr>
            <a:spLocks noGrp="1"/>
          </p:cNvSpPr>
          <p:nvPr>
            <p:ph type="sldNum" sz="quarter" idx="16"/>
          </p:nvPr>
        </p:nvSpPr>
        <p:spPr>
          <a:xfrm>
            <a:off x="10801350" y="6421474"/>
            <a:ext cx="576000" cy="365125"/>
          </a:xfrm>
        </p:spPr>
        <p:txBody>
          <a:bodyPr/>
          <a:lstStyle/>
          <a:p>
            <a:fld id="{2B3BE2C4-4D73-4B6C-944D-39AB999AB1EC}" type="slidenum">
              <a:rPr lang="es-ES" smtClean="0"/>
              <a:pPr/>
              <a:t>228</a:t>
            </a:fld>
            <a:endParaRPr lang="es-ES" dirty="0"/>
          </a:p>
        </p:txBody>
      </p:sp>
    </p:spTree>
    <p:extLst>
      <p:ext uri="{BB962C8B-B14F-4D97-AF65-F5344CB8AC3E}">
        <p14:creationId xmlns:p14="http://schemas.microsoft.com/office/powerpoint/2010/main" val="166547984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F678F3B-E629-29B7-C811-443CD858A015}"/>
              </a:ext>
            </a:extLst>
          </p:cNvPr>
          <p:cNvSpPr>
            <a:spLocks noGrp="1"/>
          </p:cNvSpPr>
          <p:nvPr>
            <p:ph type="title"/>
          </p:nvPr>
        </p:nvSpPr>
        <p:spPr>
          <a:xfrm>
            <a:off x="341194" y="3814618"/>
            <a:ext cx="4932769" cy="1876594"/>
          </a:xfrm>
        </p:spPr>
        <p:txBody>
          <a:bodyPr/>
          <a:lstStyle/>
          <a:p>
            <a:r>
              <a:rPr lang="es-ES" noProof="0" dirty="0"/>
              <a:t>Conclusiones</a:t>
            </a:r>
            <a:br>
              <a:rPr lang="es-ES" noProof="0" dirty="0"/>
            </a:br>
            <a:r>
              <a:rPr lang="es-ES" noProof="0" dirty="0"/>
              <a:t>… vamos acabando</a:t>
            </a:r>
          </a:p>
        </p:txBody>
      </p:sp>
      <p:pic>
        <p:nvPicPr>
          <p:cNvPr id="8" name="Marcador de posición de imagen 7">
            <a:extLst>
              <a:ext uri="{FF2B5EF4-FFF2-40B4-BE49-F238E27FC236}">
                <a16:creationId xmlns:a16="http://schemas.microsoft.com/office/drawing/2014/main" id="{B41DAA8C-00F2-3313-1C3F-9FCCF47BC2BF}"/>
              </a:ext>
            </a:extLst>
          </p:cNvPr>
          <p:cNvPicPr>
            <a:picLocks noGrp="1" noChangeAspect="1"/>
          </p:cNvPicPr>
          <p:nvPr>
            <p:ph type="pic" sz="quarter" idx="13"/>
          </p:nvPr>
        </p:nvPicPr>
        <p:blipFill>
          <a:blip r:embed="rId2"/>
          <a:srcRect t="7286" b="7286"/>
          <a:stretch/>
        </p:blipFill>
        <p:spPr>
          <a:xfrm>
            <a:off x="340906" y="903288"/>
            <a:ext cx="4932769" cy="2759075"/>
          </a:xfrm>
        </p:spPr>
      </p:pic>
      <p:sp>
        <p:nvSpPr>
          <p:cNvPr id="3" name="Marcador de fecha 2">
            <a:extLst>
              <a:ext uri="{FF2B5EF4-FFF2-40B4-BE49-F238E27FC236}">
                <a16:creationId xmlns:a16="http://schemas.microsoft.com/office/drawing/2014/main" id="{25F2D20A-B8D0-B989-8C7D-12E3E6C997FC}"/>
              </a:ext>
            </a:extLst>
          </p:cNvPr>
          <p:cNvSpPr>
            <a:spLocks noGrp="1"/>
          </p:cNvSpPr>
          <p:nvPr>
            <p:ph type="dt" sz="half" idx="14"/>
          </p:nvPr>
        </p:nvSpPr>
        <p:spPr>
          <a:xfrm>
            <a:off x="814650" y="6400379"/>
            <a:ext cx="3380278" cy="365125"/>
          </a:xfrm>
        </p:spPr>
        <p:txBody>
          <a:bodyPr/>
          <a:lstStyle/>
          <a:p>
            <a:fld id="{3F3FD301-D498-494A-B485-5163A739EF4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3464EB4-9ACC-C0E3-FF75-0F604016E249}"/>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EAA773C-17A6-8246-8EE4-11F236695F3A}"/>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29</a:t>
            </a:fld>
            <a:endParaRPr lang="es-ES" dirty="0"/>
          </a:p>
        </p:txBody>
      </p:sp>
    </p:spTree>
    <p:extLst>
      <p:ext uri="{BB962C8B-B14F-4D97-AF65-F5344CB8AC3E}">
        <p14:creationId xmlns:p14="http://schemas.microsoft.com/office/powerpoint/2010/main" val="18604302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6"/>
            <a:ext cx="9840124" cy="1092200"/>
          </a:xfrm>
        </p:spPr>
        <p:txBody>
          <a:bodyPr>
            <a:normAutofit/>
          </a:bodyPr>
          <a:lstStyle/>
          <a:p>
            <a:r>
              <a:rPr lang="es-ES" noProof="0" dirty="0"/>
              <a:t>Evolución Industrial 1.0 a 4.0 (Transformación digital)</a:t>
            </a:r>
          </a:p>
        </p:txBody>
      </p:sp>
      <p:sp>
        <p:nvSpPr>
          <p:cNvPr id="2" name="Marcador de fecha 1">
            <a:extLst>
              <a:ext uri="{FF2B5EF4-FFF2-40B4-BE49-F238E27FC236}">
                <a16:creationId xmlns:a16="http://schemas.microsoft.com/office/drawing/2014/main" id="{35102012-1844-434B-9083-772D2F007A2F}"/>
              </a:ext>
            </a:extLst>
          </p:cNvPr>
          <p:cNvSpPr>
            <a:spLocks noGrp="1"/>
          </p:cNvSpPr>
          <p:nvPr>
            <p:ph type="dt" sz="half" idx="10"/>
          </p:nvPr>
        </p:nvSpPr>
        <p:spPr>
          <a:xfrm>
            <a:off x="814650" y="6400379"/>
            <a:ext cx="3380278" cy="365125"/>
          </a:xfrm>
        </p:spPr>
        <p:txBody>
          <a:bodyPr/>
          <a:lstStyle/>
          <a:p>
            <a:fld id="{7AEE85BA-68BB-4054-AAF2-5E4864A38D3A}"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973B5B1D-9158-411D-9025-1933C3D29EA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B5DDF7F7-3935-4512-8A1B-56DD7E8CC94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3</a:t>
            </a:fld>
            <a:endParaRPr lang="es-ES" dirty="0"/>
          </a:p>
        </p:txBody>
      </p:sp>
      <p:pic>
        <p:nvPicPr>
          <p:cNvPr id="16" name="Picture 2" descr="Imagen relacionada"/>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714625" y="1201777"/>
            <a:ext cx="9486775" cy="565622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4&quot; inch Large Handheld Magnifying Glass 3X Power REAL Glass Magnifier  762931657493 | eBay">
            <a:extLst>
              <a:ext uri="{FF2B5EF4-FFF2-40B4-BE49-F238E27FC236}">
                <a16:creationId xmlns:a16="http://schemas.microsoft.com/office/drawing/2014/main" id="{B74C9F6C-DC09-CA4C-8640-FD5A9EF5E553}"/>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rot="7631485">
            <a:off x="4361294" y="879093"/>
            <a:ext cx="6858000" cy="44464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38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8A20B3-7379-4024-9AFC-99A70D0B77BD}"/>
              </a:ext>
            </a:extLst>
          </p:cNvPr>
          <p:cNvSpPr>
            <a:spLocks noGrp="1"/>
          </p:cNvSpPr>
          <p:nvPr>
            <p:ph type="title"/>
          </p:nvPr>
        </p:nvSpPr>
        <p:spPr>
          <a:xfrm>
            <a:off x="838200" y="365126"/>
            <a:ext cx="9840124" cy="1092200"/>
          </a:xfrm>
        </p:spPr>
        <p:txBody>
          <a:bodyPr/>
          <a:lstStyle/>
          <a:p>
            <a:r>
              <a:rPr lang="es-ES" noProof="0" dirty="0"/>
              <a:t>… conclusiones</a:t>
            </a:r>
          </a:p>
        </p:txBody>
      </p:sp>
      <p:graphicFrame>
        <p:nvGraphicFramePr>
          <p:cNvPr id="3" name="Marcador de contenido 2">
            <a:extLst>
              <a:ext uri="{FF2B5EF4-FFF2-40B4-BE49-F238E27FC236}">
                <a16:creationId xmlns:a16="http://schemas.microsoft.com/office/drawing/2014/main" id="{512729AA-2FF8-77BF-01AD-F24F80FB1135}"/>
              </a:ext>
            </a:extLst>
          </p:cNvPr>
          <p:cNvGraphicFramePr>
            <a:graphicFrameLocks noGrp="1"/>
          </p:cNvGraphicFramePr>
          <p:nvPr>
            <p:ph sz="half" idx="1"/>
            <p:extLst>
              <p:ext uri="{D42A27DB-BD31-4B8C-83A1-F6EECF244321}">
                <p14:modId xmlns:p14="http://schemas.microsoft.com/office/powerpoint/2010/main" val="2039019754"/>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Marcador de contenido 8">
            <a:extLst>
              <a:ext uri="{FF2B5EF4-FFF2-40B4-BE49-F238E27FC236}">
                <a16:creationId xmlns:a16="http://schemas.microsoft.com/office/drawing/2014/main" id="{A7F9A0D9-2402-A9CA-3A06-4595012ACFA2}"/>
              </a:ext>
            </a:extLst>
          </p:cNvPr>
          <p:cNvPicPr>
            <a:picLocks noGrp="1" noChangeAspect="1"/>
          </p:cNvPicPr>
          <p:nvPr>
            <p:ph sz="quarter" idx="13"/>
          </p:nvPr>
        </p:nvPicPr>
        <p:blipFill>
          <a:blip r:embed="rId7"/>
          <a:stretch>
            <a:fillRect/>
          </a:stretch>
        </p:blipFill>
        <p:spPr>
          <a:xfrm>
            <a:off x="971882" y="2828925"/>
            <a:ext cx="1550324" cy="2160588"/>
          </a:xfrm>
        </p:spPr>
      </p:pic>
      <p:sp>
        <p:nvSpPr>
          <p:cNvPr id="5" name="Marcador de fecha 4">
            <a:extLst>
              <a:ext uri="{FF2B5EF4-FFF2-40B4-BE49-F238E27FC236}">
                <a16:creationId xmlns:a16="http://schemas.microsoft.com/office/drawing/2014/main" id="{FF7812A5-ECA7-41BF-A0A9-6B9143600319}"/>
              </a:ext>
            </a:extLst>
          </p:cNvPr>
          <p:cNvSpPr>
            <a:spLocks noGrp="1"/>
          </p:cNvSpPr>
          <p:nvPr>
            <p:ph type="dt" sz="half" idx="14"/>
          </p:nvPr>
        </p:nvSpPr>
        <p:spPr>
          <a:xfrm>
            <a:off x="814650" y="6400379"/>
            <a:ext cx="3380278" cy="365125"/>
          </a:xfrm>
        </p:spPr>
        <p:txBody>
          <a:bodyPr/>
          <a:lstStyle/>
          <a:p>
            <a:fld id="{9240EB98-9BD9-471C-8FFA-6F371B9189F3}"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19654A33-6AFF-41A2-8B34-E244F155E3E9}"/>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62EDEA5C-8DFE-42AC-B851-D013330CDE6E}"/>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230</a:t>
            </a:fld>
            <a:endParaRPr lang="es-ES" dirty="0"/>
          </a:p>
        </p:txBody>
      </p:sp>
    </p:spTree>
    <p:extLst>
      <p:ext uri="{BB962C8B-B14F-4D97-AF65-F5344CB8AC3E}">
        <p14:creationId xmlns:p14="http://schemas.microsoft.com/office/powerpoint/2010/main" val="56497505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ctrTitle"/>
          </p:nvPr>
        </p:nvSpPr>
        <p:spPr>
          <a:xfrm>
            <a:off x="1352550" y="1122363"/>
            <a:ext cx="9315450" cy="2387600"/>
          </a:xfrm>
        </p:spPr>
        <p:txBody>
          <a:bodyPr>
            <a:normAutofit/>
          </a:bodyPr>
          <a:lstStyle/>
          <a:p>
            <a:r>
              <a:rPr lang="es-ES" noProof="0" dirty="0"/>
              <a:t>Final</a:t>
            </a:r>
          </a:p>
        </p:txBody>
      </p:sp>
      <p:sp>
        <p:nvSpPr>
          <p:cNvPr id="12" name="Subtítulo 11">
            <a:extLst>
              <a:ext uri="{FF2B5EF4-FFF2-40B4-BE49-F238E27FC236}">
                <a16:creationId xmlns:a16="http://schemas.microsoft.com/office/drawing/2014/main" id="{80734441-B630-4A08-9A31-93E8850457B5}"/>
              </a:ext>
            </a:extLst>
          </p:cNvPr>
          <p:cNvSpPr>
            <a:spLocks noGrp="1"/>
          </p:cNvSpPr>
          <p:nvPr>
            <p:ph type="subTitle" idx="1"/>
          </p:nvPr>
        </p:nvSpPr>
        <p:spPr>
          <a:xfrm>
            <a:off x="4905375" y="3602038"/>
            <a:ext cx="5762625" cy="1655762"/>
          </a:xfrm>
        </p:spPr>
        <p:txBody>
          <a:bodyPr>
            <a:normAutofit fontScale="92500" lnSpcReduction="20000"/>
          </a:bodyPr>
          <a:lstStyle/>
          <a:p>
            <a:r>
              <a:rPr lang="es-ES" altLang="es-ES" noProof="0" dirty="0"/>
              <a:t>Master IA</a:t>
            </a:r>
            <a:br>
              <a:rPr lang="es-ES" altLang="es-ES" noProof="0" dirty="0"/>
            </a:br>
            <a:r>
              <a:rPr lang="es-ES" altLang="es-ES" noProof="0" dirty="0"/>
              <a:t>Tajamar Tech 2024 2025</a:t>
            </a:r>
            <a:br>
              <a:rPr lang="es-ES" altLang="es-ES" noProof="0" dirty="0"/>
            </a:br>
            <a:r>
              <a:rPr lang="es-ES" altLang="es-ES" noProof="0" dirty="0"/>
              <a:t>“Transformación Digital”</a:t>
            </a:r>
            <a:fld id="{3E6D6B0C-C059-4955-9F14-3E442CEE976E}" type="datetime2">
              <a:rPr lang="es-ES" noProof="0" smtClean="0"/>
              <a:pPr/>
              <a:t>jueves, 19 de septiembre de 2024</a:t>
            </a:fld>
            <a:endParaRPr lang="es-ES" noProof="0" dirty="0"/>
          </a:p>
          <a:p>
            <a:r>
              <a:rPr lang="es-ES" noProof="0" dirty="0"/>
              <a:t>José A. Ureta</a:t>
            </a:r>
          </a:p>
        </p:txBody>
      </p:sp>
      <p:pic>
        <p:nvPicPr>
          <p:cNvPr id="5" name="Marcador de posición de imagen 4">
            <a:extLst>
              <a:ext uri="{FF2B5EF4-FFF2-40B4-BE49-F238E27FC236}">
                <a16:creationId xmlns:a16="http://schemas.microsoft.com/office/drawing/2014/main" id="{883F4F6F-1125-C4B7-A0D0-087249BBBB79}"/>
              </a:ext>
            </a:extLst>
          </p:cNvPr>
          <p:cNvPicPr>
            <a:picLocks noGrp="1" noChangeAspect="1"/>
          </p:cNvPicPr>
          <p:nvPr>
            <p:ph type="pic" sz="quarter" idx="13"/>
          </p:nvPr>
        </p:nvPicPr>
        <p:blipFill>
          <a:blip r:embed="rId3"/>
          <a:srcRect l="6766" r="6766"/>
          <a:stretch/>
        </p:blipFill>
        <p:spPr>
          <a:xfrm>
            <a:off x="1057275" y="3602037"/>
            <a:ext cx="3743325" cy="2655888"/>
          </a:xfrm>
        </p:spPr>
      </p:pic>
    </p:spTree>
    <p:extLst>
      <p:ext uri="{BB962C8B-B14F-4D97-AF65-F5344CB8AC3E}">
        <p14:creationId xmlns:p14="http://schemas.microsoft.com/office/powerpoint/2010/main" val="355845681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09A99189-337B-48F5-B0E5-539519693A9C}"/>
              </a:ext>
            </a:extLst>
          </p:cNvPr>
          <p:cNvSpPr>
            <a:spLocks noGrp="1"/>
          </p:cNvSpPr>
          <p:nvPr>
            <p:ph type="dt" sz="half" idx="10"/>
          </p:nvPr>
        </p:nvSpPr>
        <p:spPr>
          <a:xfrm>
            <a:off x="814650" y="6400379"/>
            <a:ext cx="3380278" cy="365125"/>
          </a:xfrm>
        </p:spPr>
        <p:txBody>
          <a:bodyPr/>
          <a:lstStyle/>
          <a:p>
            <a:fld id="{D038C60E-B22B-4BD3-AEFA-D88E1C15E293}" type="datetime2">
              <a:rPr lang="es-ES" smtClean="0"/>
              <a:pPr/>
              <a:t>jueves, 19 de septiembre de 2024</a:t>
            </a:fld>
            <a:endParaRPr lang="es-ES" dirty="0"/>
          </a:p>
        </p:txBody>
      </p:sp>
      <p:sp>
        <p:nvSpPr>
          <p:cNvPr id="3" name="Marcador de pie de página 2">
            <a:extLst>
              <a:ext uri="{FF2B5EF4-FFF2-40B4-BE49-F238E27FC236}">
                <a16:creationId xmlns:a16="http://schemas.microsoft.com/office/drawing/2014/main" id="{666E67B4-B50F-43E5-97A1-E7DC5D6C2D4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4" name="Marcador de número de diapositiva 3">
            <a:extLst>
              <a:ext uri="{FF2B5EF4-FFF2-40B4-BE49-F238E27FC236}">
                <a16:creationId xmlns:a16="http://schemas.microsoft.com/office/drawing/2014/main" id="{3D1C3BE0-A0CD-4623-B43D-778206B0140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32</a:t>
            </a:fld>
            <a:endParaRPr lang="es-ES" dirty="0"/>
          </a:p>
        </p:txBody>
      </p:sp>
      <p:sp>
        <p:nvSpPr>
          <p:cNvPr id="5" name="Elipse 4">
            <a:extLst>
              <a:ext uri="{FF2B5EF4-FFF2-40B4-BE49-F238E27FC236}">
                <a16:creationId xmlns:a16="http://schemas.microsoft.com/office/drawing/2014/main" id="{BA55593B-CA83-4657-B699-1E6F093C0F1D}"/>
              </a:ext>
            </a:extLst>
          </p:cNvPr>
          <p:cNvSpPr>
            <a:spLocks noChangeAspect="1"/>
          </p:cNvSpPr>
          <p:nvPr/>
        </p:nvSpPr>
        <p:spPr>
          <a:xfrm>
            <a:off x="1771848" y="229644"/>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68823" y="807547"/>
                  <a:pt x="654521" y="13776"/>
                  <a:pt x="1656000" y="0"/>
                </a:cubicBezTo>
                <a:cubicBezTo>
                  <a:pt x="2741492" y="98903"/>
                  <a:pt x="3215992" y="745573"/>
                  <a:pt x="3312000" y="1656000"/>
                </a:cubicBezTo>
                <a:cubicBezTo>
                  <a:pt x="3255094" y="2524456"/>
                  <a:pt x="2604305" y="3303479"/>
                  <a:pt x="1656000" y="3312000"/>
                </a:cubicBezTo>
                <a:cubicBezTo>
                  <a:pt x="711494" y="3214923"/>
                  <a:pt x="-155531" y="2727353"/>
                  <a:pt x="0" y="1656000"/>
                </a:cubicBezTo>
                <a:close/>
              </a:path>
              <a:path w="3312000" h="3312000" stroke="0" extrusionOk="0">
                <a:moveTo>
                  <a:pt x="0" y="1656000"/>
                </a:moveTo>
                <a:cubicBezTo>
                  <a:pt x="-33733" y="778661"/>
                  <a:pt x="850479" y="-190185"/>
                  <a:pt x="1656000" y="0"/>
                </a:cubicBezTo>
                <a:cubicBezTo>
                  <a:pt x="2645434" y="-197175"/>
                  <a:pt x="3365230" y="750883"/>
                  <a:pt x="3312000" y="1656000"/>
                </a:cubicBezTo>
                <a:cubicBezTo>
                  <a:pt x="3425462" y="2614880"/>
                  <a:pt x="2479959" y="3299728"/>
                  <a:pt x="1656000" y="3312000"/>
                </a:cubicBezTo>
                <a:cubicBezTo>
                  <a:pt x="747537" y="3274713"/>
                  <a:pt x="-60677" y="2754685"/>
                  <a:pt x="0" y="1656000"/>
                </a:cubicBezTo>
                <a:close/>
              </a:path>
            </a:pathLst>
          </a:custGeom>
          <a:solidFill>
            <a:schemeClr val="bg1"/>
          </a:solidFill>
          <a:ln w="76200">
            <a:solidFill>
              <a:schemeClr val="accent6">
                <a:lumMod val="50000"/>
              </a:schemeClr>
            </a:solidFill>
            <a:extLst>
              <a:ext uri="{C807C97D-BFC1-408E-A445-0C87EB9F89A2}">
                <ask:lineSketchStyleProps xmlns:ask="http://schemas.microsoft.com/office/drawing/2018/sketchyshapes" sd="3066130187">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2800" dirty="0">
                <a:solidFill>
                  <a:schemeClr val="accent6">
                    <a:lumMod val="50000"/>
                  </a:schemeClr>
                </a:solidFill>
                <a:latin typeface="Impact" panose="020B0806030902050204" pitchFamily="34" charset="0"/>
              </a:rPr>
              <a:t>Liderazgo</a:t>
            </a:r>
          </a:p>
        </p:txBody>
      </p:sp>
      <p:sp>
        <p:nvSpPr>
          <p:cNvPr id="6" name="Elipse 5">
            <a:extLst>
              <a:ext uri="{FF2B5EF4-FFF2-40B4-BE49-F238E27FC236}">
                <a16:creationId xmlns:a16="http://schemas.microsoft.com/office/drawing/2014/main" id="{A587E4CA-7B8D-4412-B8CA-16A7C6FFA392}"/>
              </a:ext>
            </a:extLst>
          </p:cNvPr>
          <p:cNvSpPr>
            <a:spLocks noChangeAspect="1"/>
          </p:cNvSpPr>
          <p:nvPr/>
        </p:nvSpPr>
        <p:spPr>
          <a:xfrm>
            <a:off x="5062991" y="229644"/>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52580" y="667104"/>
                  <a:pt x="809306" y="15547"/>
                  <a:pt x="1656000" y="0"/>
                </a:cubicBezTo>
                <a:cubicBezTo>
                  <a:pt x="2430775" y="105904"/>
                  <a:pt x="3401777" y="643931"/>
                  <a:pt x="3312000" y="1656000"/>
                </a:cubicBezTo>
                <a:cubicBezTo>
                  <a:pt x="3203476" y="2524770"/>
                  <a:pt x="2739586" y="3414467"/>
                  <a:pt x="1656000" y="3312000"/>
                </a:cubicBezTo>
                <a:cubicBezTo>
                  <a:pt x="777301" y="3411796"/>
                  <a:pt x="150580" y="2544329"/>
                  <a:pt x="0" y="1656000"/>
                </a:cubicBezTo>
                <a:close/>
              </a:path>
              <a:path w="3312000" h="3312000" stroke="0" extrusionOk="0">
                <a:moveTo>
                  <a:pt x="0" y="1656000"/>
                </a:moveTo>
                <a:cubicBezTo>
                  <a:pt x="155709" y="845082"/>
                  <a:pt x="946219" y="-151928"/>
                  <a:pt x="1656000" y="0"/>
                </a:cubicBezTo>
                <a:cubicBezTo>
                  <a:pt x="2733990" y="-141816"/>
                  <a:pt x="3333602" y="813234"/>
                  <a:pt x="3312000" y="1656000"/>
                </a:cubicBezTo>
                <a:cubicBezTo>
                  <a:pt x="3272993" y="2637016"/>
                  <a:pt x="2569062" y="3537963"/>
                  <a:pt x="1656000" y="3312000"/>
                </a:cubicBezTo>
                <a:cubicBezTo>
                  <a:pt x="535677" y="3349358"/>
                  <a:pt x="242583" y="2574666"/>
                  <a:pt x="0" y="1656000"/>
                </a:cubicBezTo>
                <a:close/>
              </a:path>
            </a:pathLst>
          </a:custGeom>
          <a:solidFill>
            <a:schemeClr val="bg1"/>
          </a:solidFill>
          <a:ln w="76200">
            <a:solidFill>
              <a:schemeClr val="accent6">
                <a:lumMod val="50000"/>
              </a:schemeClr>
            </a:solidFill>
            <a:extLst>
              <a:ext uri="{C807C97D-BFC1-408E-A445-0C87EB9F89A2}">
                <ask:lineSketchStyleProps xmlns:ask="http://schemas.microsoft.com/office/drawing/2018/sketchyshapes" sd="334576469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2800" dirty="0">
                <a:solidFill>
                  <a:schemeClr val="accent6">
                    <a:lumMod val="50000"/>
                  </a:schemeClr>
                </a:solidFill>
                <a:latin typeface="Impact" panose="020B0806030902050204" pitchFamily="34" charset="0"/>
              </a:rPr>
              <a:t>Modelo de Negocio</a:t>
            </a:r>
          </a:p>
        </p:txBody>
      </p:sp>
      <p:sp>
        <p:nvSpPr>
          <p:cNvPr id="7" name="Elipse 6">
            <a:extLst>
              <a:ext uri="{FF2B5EF4-FFF2-40B4-BE49-F238E27FC236}">
                <a16:creationId xmlns:a16="http://schemas.microsoft.com/office/drawing/2014/main" id="{0856ED39-6340-4526-B855-97FF11E9A2D6}"/>
              </a:ext>
            </a:extLst>
          </p:cNvPr>
          <p:cNvSpPr>
            <a:spLocks noChangeAspect="1"/>
          </p:cNvSpPr>
          <p:nvPr/>
        </p:nvSpPr>
        <p:spPr>
          <a:xfrm>
            <a:off x="1771848" y="3023341"/>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218158" y="820700"/>
                  <a:pt x="720598" y="-76045"/>
                  <a:pt x="1656000" y="0"/>
                </a:cubicBezTo>
                <a:cubicBezTo>
                  <a:pt x="2573844" y="-48105"/>
                  <a:pt x="3482979" y="834941"/>
                  <a:pt x="3312000" y="1656000"/>
                </a:cubicBezTo>
                <a:cubicBezTo>
                  <a:pt x="3490911" y="2765995"/>
                  <a:pt x="2552849" y="3286738"/>
                  <a:pt x="1656000" y="3312000"/>
                </a:cubicBezTo>
                <a:cubicBezTo>
                  <a:pt x="649303" y="3405923"/>
                  <a:pt x="73555" y="2378011"/>
                  <a:pt x="0" y="1656000"/>
                </a:cubicBezTo>
                <a:close/>
              </a:path>
              <a:path w="3312000" h="3312000" stroke="0" extrusionOk="0">
                <a:moveTo>
                  <a:pt x="0" y="1656000"/>
                </a:moveTo>
                <a:cubicBezTo>
                  <a:pt x="66019" y="1004844"/>
                  <a:pt x="690822" y="107921"/>
                  <a:pt x="1656000" y="0"/>
                </a:cubicBezTo>
                <a:cubicBezTo>
                  <a:pt x="2576582" y="-64256"/>
                  <a:pt x="3288058" y="996435"/>
                  <a:pt x="3312000" y="1656000"/>
                </a:cubicBezTo>
                <a:cubicBezTo>
                  <a:pt x="3416928" y="2555356"/>
                  <a:pt x="2332771" y="3197522"/>
                  <a:pt x="1656000" y="3312000"/>
                </a:cubicBezTo>
                <a:cubicBezTo>
                  <a:pt x="835867" y="3306768"/>
                  <a:pt x="-210924" y="2554337"/>
                  <a:pt x="0" y="1656000"/>
                </a:cubicBezTo>
                <a:close/>
              </a:path>
            </a:pathLst>
          </a:custGeom>
          <a:solidFill>
            <a:schemeClr val="bg1"/>
          </a:solidFill>
          <a:ln w="76200">
            <a:solidFill>
              <a:schemeClr val="accent6">
                <a:lumMod val="50000"/>
              </a:schemeClr>
            </a:solidFill>
            <a:extLst>
              <a:ext uri="{C807C97D-BFC1-408E-A445-0C87EB9F89A2}">
                <ask:lineSketchStyleProps xmlns:ask="http://schemas.microsoft.com/office/drawing/2018/sketchyshapes" sd="1775851235">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2800" dirty="0">
                <a:solidFill>
                  <a:schemeClr val="accent6">
                    <a:lumMod val="50000"/>
                  </a:schemeClr>
                </a:solidFill>
                <a:latin typeface="Impact" panose="020B0806030902050204" pitchFamily="34" charset="0"/>
              </a:rPr>
              <a:t>Cultura</a:t>
            </a:r>
          </a:p>
        </p:txBody>
      </p:sp>
      <p:sp>
        <p:nvSpPr>
          <p:cNvPr id="8" name="Elipse 7">
            <a:extLst>
              <a:ext uri="{FF2B5EF4-FFF2-40B4-BE49-F238E27FC236}">
                <a16:creationId xmlns:a16="http://schemas.microsoft.com/office/drawing/2014/main" id="{BC339638-32DE-4F54-8435-6AE0A1BB048A}"/>
              </a:ext>
            </a:extLst>
          </p:cNvPr>
          <p:cNvSpPr>
            <a:spLocks noChangeAspect="1"/>
          </p:cNvSpPr>
          <p:nvPr/>
        </p:nvSpPr>
        <p:spPr>
          <a:xfrm>
            <a:off x="5062991" y="3023341"/>
            <a:ext cx="3312000" cy="3312000"/>
          </a:xfrm>
          <a:custGeom>
            <a:avLst/>
            <a:gdLst>
              <a:gd name="connsiteX0" fmla="*/ 0 w 3312000"/>
              <a:gd name="connsiteY0" fmla="*/ 1656000 h 3312000"/>
              <a:gd name="connsiteX1" fmla="*/ 1656000 w 3312000"/>
              <a:gd name="connsiteY1" fmla="*/ 0 h 3312000"/>
              <a:gd name="connsiteX2" fmla="*/ 3312000 w 3312000"/>
              <a:gd name="connsiteY2" fmla="*/ 1656000 h 3312000"/>
              <a:gd name="connsiteX3" fmla="*/ 1656000 w 3312000"/>
              <a:gd name="connsiteY3" fmla="*/ 3312000 h 3312000"/>
              <a:gd name="connsiteX4" fmla="*/ 0 w 3312000"/>
              <a:gd name="connsiteY4" fmla="*/ 1656000 h 331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2000" h="3312000" fill="none" extrusionOk="0">
                <a:moveTo>
                  <a:pt x="0" y="1656000"/>
                </a:moveTo>
                <a:cubicBezTo>
                  <a:pt x="80123" y="777588"/>
                  <a:pt x="589557" y="-226562"/>
                  <a:pt x="1656000" y="0"/>
                </a:cubicBezTo>
                <a:cubicBezTo>
                  <a:pt x="2654074" y="240035"/>
                  <a:pt x="3141128" y="673690"/>
                  <a:pt x="3312000" y="1656000"/>
                </a:cubicBezTo>
                <a:cubicBezTo>
                  <a:pt x="3459733" y="2499876"/>
                  <a:pt x="2605400" y="3362565"/>
                  <a:pt x="1656000" y="3312000"/>
                </a:cubicBezTo>
                <a:cubicBezTo>
                  <a:pt x="770987" y="3199858"/>
                  <a:pt x="15923" y="2438815"/>
                  <a:pt x="0" y="1656000"/>
                </a:cubicBezTo>
                <a:close/>
              </a:path>
              <a:path w="3312000" h="3312000" stroke="0" extrusionOk="0">
                <a:moveTo>
                  <a:pt x="0" y="1656000"/>
                </a:moveTo>
                <a:cubicBezTo>
                  <a:pt x="119740" y="660917"/>
                  <a:pt x="718460" y="2461"/>
                  <a:pt x="1656000" y="0"/>
                </a:cubicBezTo>
                <a:cubicBezTo>
                  <a:pt x="2612420" y="-75367"/>
                  <a:pt x="3271002" y="846031"/>
                  <a:pt x="3312000" y="1656000"/>
                </a:cubicBezTo>
                <a:cubicBezTo>
                  <a:pt x="3174890" y="2699803"/>
                  <a:pt x="2341926" y="3375312"/>
                  <a:pt x="1656000" y="3312000"/>
                </a:cubicBezTo>
                <a:cubicBezTo>
                  <a:pt x="757061" y="3131645"/>
                  <a:pt x="-90736" y="2650720"/>
                  <a:pt x="0" y="1656000"/>
                </a:cubicBezTo>
                <a:close/>
              </a:path>
            </a:pathLst>
          </a:custGeom>
          <a:solidFill>
            <a:schemeClr val="bg1"/>
          </a:solidFill>
          <a:ln w="76200">
            <a:solidFill>
              <a:schemeClr val="accent6">
                <a:lumMod val="50000"/>
              </a:schemeClr>
            </a:solidFill>
            <a:extLst>
              <a:ext uri="{C807C97D-BFC1-408E-A445-0C87EB9F89A2}">
                <ask:lineSketchStyleProps xmlns:ask="http://schemas.microsoft.com/office/drawing/2018/sketchyshapes" sd="193564648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s-ES" sz="2800" dirty="0">
                <a:solidFill>
                  <a:schemeClr val="accent6">
                    <a:lumMod val="50000"/>
                  </a:schemeClr>
                </a:solidFill>
                <a:latin typeface="Impact" panose="020B0806030902050204" pitchFamily="34" charset="0"/>
              </a:rPr>
              <a:t>Procesos - procedimientos</a:t>
            </a:r>
          </a:p>
        </p:txBody>
      </p:sp>
      <p:sp>
        <p:nvSpPr>
          <p:cNvPr id="11" name="Flecha: a la derecha con bandas 10">
            <a:extLst>
              <a:ext uri="{FF2B5EF4-FFF2-40B4-BE49-F238E27FC236}">
                <a16:creationId xmlns:a16="http://schemas.microsoft.com/office/drawing/2014/main" id="{C0741EB6-5E26-4C85-ADEA-2DA386F5155E}"/>
              </a:ext>
            </a:extLst>
          </p:cNvPr>
          <p:cNvSpPr/>
          <p:nvPr/>
        </p:nvSpPr>
        <p:spPr>
          <a:xfrm>
            <a:off x="1770928" y="2222339"/>
            <a:ext cx="8964000" cy="2221093"/>
          </a:xfrm>
          <a:custGeom>
            <a:avLst/>
            <a:gdLst>
              <a:gd name="connsiteX0" fmla="*/ 0 w 8964000"/>
              <a:gd name="connsiteY0" fmla="*/ 555273 h 2221093"/>
              <a:gd name="connsiteX1" fmla="*/ 69409 w 8964000"/>
              <a:gd name="connsiteY1" fmla="*/ 555273 h 2221093"/>
              <a:gd name="connsiteX2" fmla="*/ 69409 w 8964000"/>
              <a:gd name="connsiteY2" fmla="*/ 1665820 h 2221093"/>
              <a:gd name="connsiteX3" fmla="*/ 0 w 8964000"/>
              <a:gd name="connsiteY3" fmla="*/ 1665820 h 2221093"/>
              <a:gd name="connsiteX4" fmla="*/ 0 w 8964000"/>
              <a:gd name="connsiteY4" fmla="*/ 555273 h 2221093"/>
              <a:gd name="connsiteX5" fmla="*/ 138818 w 8964000"/>
              <a:gd name="connsiteY5" fmla="*/ 555273 h 2221093"/>
              <a:gd name="connsiteX6" fmla="*/ 277637 w 8964000"/>
              <a:gd name="connsiteY6" fmla="*/ 555273 h 2221093"/>
              <a:gd name="connsiteX7" fmla="*/ 277637 w 8964000"/>
              <a:gd name="connsiteY7" fmla="*/ 1665820 h 2221093"/>
              <a:gd name="connsiteX8" fmla="*/ 138818 w 8964000"/>
              <a:gd name="connsiteY8" fmla="*/ 1665820 h 2221093"/>
              <a:gd name="connsiteX9" fmla="*/ 138818 w 8964000"/>
              <a:gd name="connsiteY9" fmla="*/ 555273 h 2221093"/>
              <a:gd name="connsiteX10" fmla="*/ 347046 w 8964000"/>
              <a:gd name="connsiteY10" fmla="*/ 555273 h 2221093"/>
              <a:gd name="connsiteX11" fmla="*/ 7853454 w 8964000"/>
              <a:gd name="connsiteY11" fmla="*/ 555273 h 2221093"/>
              <a:gd name="connsiteX12" fmla="*/ 7853454 w 8964000"/>
              <a:gd name="connsiteY12" fmla="*/ 0 h 2221093"/>
              <a:gd name="connsiteX13" fmla="*/ 8964000 w 8964000"/>
              <a:gd name="connsiteY13" fmla="*/ 1110547 h 2221093"/>
              <a:gd name="connsiteX14" fmla="*/ 7853454 w 8964000"/>
              <a:gd name="connsiteY14" fmla="*/ 2221093 h 2221093"/>
              <a:gd name="connsiteX15" fmla="*/ 7853454 w 8964000"/>
              <a:gd name="connsiteY15" fmla="*/ 1665820 h 2221093"/>
              <a:gd name="connsiteX16" fmla="*/ 347046 w 8964000"/>
              <a:gd name="connsiteY16" fmla="*/ 1665820 h 2221093"/>
              <a:gd name="connsiteX17" fmla="*/ 347046 w 8964000"/>
              <a:gd name="connsiteY17" fmla="*/ 555273 h 222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64000" h="2221093" fill="none" extrusionOk="0">
                <a:moveTo>
                  <a:pt x="0" y="555273"/>
                </a:moveTo>
                <a:cubicBezTo>
                  <a:pt x="24956" y="549248"/>
                  <a:pt x="36238" y="551817"/>
                  <a:pt x="69409" y="555273"/>
                </a:cubicBezTo>
                <a:cubicBezTo>
                  <a:pt x="-17793" y="870737"/>
                  <a:pt x="56427" y="1134862"/>
                  <a:pt x="69409" y="1665820"/>
                </a:cubicBezTo>
                <a:cubicBezTo>
                  <a:pt x="49171" y="1666976"/>
                  <a:pt x="33696" y="1663730"/>
                  <a:pt x="0" y="1665820"/>
                </a:cubicBezTo>
                <a:cubicBezTo>
                  <a:pt x="83197" y="1258780"/>
                  <a:pt x="-75544" y="1097874"/>
                  <a:pt x="0" y="555273"/>
                </a:cubicBezTo>
                <a:close/>
                <a:moveTo>
                  <a:pt x="138818" y="555273"/>
                </a:moveTo>
                <a:cubicBezTo>
                  <a:pt x="198838" y="564154"/>
                  <a:pt x="218975" y="559020"/>
                  <a:pt x="277637" y="555273"/>
                </a:cubicBezTo>
                <a:cubicBezTo>
                  <a:pt x="234862" y="968180"/>
                  <a:pt x="204435" y="1516120"/>
                  <a:pt x="277637" y="1665820"/>
                </a:cubicBezTo>
                <a:cubicBezTo>
                  <a:pt x="222411" y="1661977"/>
                  <a:pt x="159258" y="1677686"/>
                  <a:pt x="138818" y="1665820"/>
                </a:cubicBezTo>
                <a:cubicBezTo>
                  <a:pt x="46825" y="1148758"/>
                  <a:pt x="141321" y="784511"/>
                  <a:pt x="138818" y="555273"/>
                </a:cubicBezTo>
                <a:close/>
                <a:moveTo>
                  <a:pt x="347046" y="555273"/>
                </a:moveTo>
                <a:cubicBezTo>
                  <a:pt x="3631042" y="547017"/>
                  <a:pt x="4195743" y="586076"/>
                  <a:pt x="7853454" y="555273"/>
                </a:cubicBezTo>
                <a:cubicBezTo>
                  <a:pt x="7880329" y="311028"/>
                  <a:pt x="7827814" y="196493"/>
                  <a:pt x="7853454" y="0"/>
                </a:cubicBezTo>
                <a:cubicBezTo>
                  <a:pt x="8225605" y="222005"/>
                  <a:pt x="8673423" y="778707"/>
                  <a:pt x="8964000" y="1110547"/>
                </a:cubicBezTo>
                <a:cubicBezTo>
                  <a:pt x="8632457" y="1548634"/>
                  <a:pt x="8250030" y="1996927"/>
                  <a:pt x="7853454" y="2221093"/>
                </a:cubicBezTo>
                <a:cubicBezTo>
                  <a:pt x="7824660" y="2153041"/>
                  <a:pt x="7880718" y="1805873"/>
                  <a:pt x="7853454" y="1665820"/>
                </a:cubicBezTo>
                <a:cubicBezTo>
                  <a:pt x="6035240" y="1573668"/>
                  <a:pt x="1970224" y="1643795"/>
                  <a:pt x="347046" y="1665820"/>
                </a:cubicBezTo>
                <a:cubicBezTo>
                  <a:pt x="347465" y="1469119"/>
                  <a:pt x="342131" y="913894"/>
                  <a:pt x="347046" y="555273"/>
                </a:cubicBezTo>
                <a:close/>
              </a:path>
              <a:path w="8964000" h="2221093" stroke="0" extrusionOk="0">
                <a:moveTo>
                  <a:pt x="0" y="555273"/>
                </a:moveTo>
                <a:cubicBezTo>
                  <a:pt x="14083" y="556824"/>
                  <a:pt x="58055" y="553434"/>
                  <a:pt x="69409" y="555273"/>
                </a:cubicBezTo>
                <a:cubicBezTo>
                  <a:pt x="59473" y="1071936"/>
                  <a:pt x="66174" y="1453128"/>
                  <a:pt x="69409" y="1665820"/>
                </a:cubicBezTo>
                <a:cubicBezTo>
                  <a:pt x="36341" y="1669831"/>
                  <a:pt x="8796" y="1667528"/>
                  <a:pt x="0" y="1665820"/>
                </a:cubicBezTo>
                <a:cubicBezTo>
                  <a:pt x="79613" y="1420152"/>
                  <a:pt x="-8599" y="1064081"/>
                  <a:pt x="0" y="555273"/>
                </a:cubicBezTo>
                <a:close/>
                <a:moveTo>
                  <a:pt x="138818" y="555273"/>
                </a:moveTo>
                <a:cubicBezTo>
                  <a:pt x="166376" y="546871"/>
                  <a:pt x="226353" y="562581"/>
                  <a:pt x="277637" y="555273"/>
                </a:cubicBezTo>
                <a:cubicBezTo>
                  <a:pt x="245769" y="688666"/>
                  <a:pt x="178477" y="1423185"/>
                  <a:pt x="277637" y="1665820"/>
                </a:cubicBezTo>
                <a:cubicBezTo>
                  <a:pt x="213816" y="1655622"/>
                  <a:pt x="168189" y="1654566"/>
                  <a:pt x="138818" y="1665820"/>
                </a:cubicBezTo>
                <a:cubicBezTo>
                  <a:pt x="98957" y="1123697"/>
                  <a:pt x="168992" y="712471"/>
                  <a:pt x="138818" y="555273"/>
                </a:cubicBezTo>
                <a:close/>
                <a:moveTo>
                  <a:pt x="347046" y="555273"/>
                </a:moveTo>
                <a:cubicBezTo>
                  <a:pt x="2792809" y="403634"/>
                  <a:pt x="5363141" y="401208"/>
                  <a:pt x="7853454" y="555273"/>
                </a:cubicBezTo>
                <a:cubicBezTo>
                  <a:pt x="7888738" y="308960"/>
                  <a:pt x="7811999" y="131682"/>
                  <a:pt x="7853454" y="0"/>
                </a:cubicBezTo>
                <a:cubicBezTo>
                  <a:pt x="8089813" y="393422"/>
                  <a:pt x="8797474" y="862371"/>
                  <a:pt x="8964000" y="1110547"/>
                </a:cubicBezTo>
                <a:cubicBezTo>
                  <a:pt x="8836712" y="1437183"/>
                  <a:pt x="8107258" y="1905120"/>
                  <a:pt x="7853454" y="2221093"/>
                </a:cubicBezTo>
                <a:cubicBezTo>
                  <a:pt x="7821216" y="2117978"/>
                  <a:pt x="7872119" y="1753551"/>
                  <a:pt x="7853454" y="1665820"/>
                </a:cubicBezTo>
                <a:cubicBezTo>
                  <a:pt x="6935646" y="1697532"/>
                  <a:pt x="1184885" y="1680764"/>
                  <a:pt x="347046" y="1665820"/>
                </a:cubicBezTo>
                <a:cubicBezTo>
                  <a:pt x="441681" y="1217051"/>
                  <a:pt x="390525" y="1084253"/>
                  <a:pt x="347046" y="555273"/>
                </a:cubicBezTo>
                <a:close/>
              </a:path>
            </a:pathLst>
          </a:custGeom>
          <a:solidFill>
            <a:schemeClr val="accent6">
              <a:lumMod val="20000"/>
              <a:lumOff val="80000"/>
            </a:schemeClr>
          </a:solidFill>
          <a:ln w="76200">
            <a:solidFill>
              <a:schemeClr val="accent6">
                <a:lumMod val="50000"/>
              </a:schemeClr>
            </a:solidFill>
            <a:extLst>
              <a:ext uri="{C807C97D-BFC1-408E-A445-0C87EB9F89A2}">
                <ask:lineSketchStyleProps xmlns:ask="http://schemas.microsoft.com/office/drawing/2018/sketchyshapes" sd="1813216532">
                  <a:prstGeom prst="stripedRightArrow">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r"/>
            <a:r>
              <a:rPr lang="es-ES" sz="4000" dirty="0">
                <a:solidFill>
                  <a:schemeClr val="accent6">
                    <a:lumMod val="50000"/>
                  </a:schemeClr>
                </a:solidFill>
              </a:rPr>
              <a:t>Transformación digital</a:t>
            </a:r>
          </a:p>
        </p:txBody>
      </p:sp>
      <p:pic>
        <p:nvPicPr>
          <p:cNvPr id="10" name="Imagen 9">
            <a:extLst>
              <a:ext uri="{FF2B5EF4-FFF2-40B4-BE49-F238E27FC236}">
                <a16:creationId xmlns:a16="http://schemas.microsoft.com/office/drawing/2014/main" id="{2E59D55F-683F-4F7E-B008-72E311425E7C}"/>
              </a:ext>
            </a:extLst>
          </p:cNvPr>
          <p:cNvPicPr>
            <a:picLocks noChangeAspect="1"/>
          </p:cNvPicPr>
          <p:nvPr/>
        </p:nvPicPr>
        <p:blipFill>
          <a:blip r:embed="rId2">
            <a:clrChange>
              <a:clrFrom>
                <a:srgbClr val="F4F4F6"/>
              </a:clrFrom>
              <a:clrTo>
                <a:srgbClr val="F4F4F6">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622876" y="1667681"/>
            <a:ext cx="2314937" cy="2946283"/>
          </a:xfrm>
          <a:prstGeom prst="rect">
            <a:avLst/>
          </a:prstGeom>
        </p:spPr>
      </p:pic>
    </p:spTree>
    <p:extLst>
      <p:ext uri="{BB962C8B-B14F-4D97-AF65-F5344CB8AC3E}">
        <p14:creationId xmlns:p14="http://schemas.microsoft.com/office/powerpoint/2010/main" val="4084343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6"/>
            <a:ext cx="9840124" cy="1092200"/>
          </a:xfrm>
        </p:spPr>
        <p:txBody>
          <a:bodyPr/>
          <a:lstStyle/>
          <a:p>
            <a:r>
              <a:rPr lang="es-ES" noProof="0" dirty="0"/>
              <a:t>Industria 4.0 = Big Data + IOT +… otros</a:t>
            </a:r>
          </a:p>
        </p:txBody>
      </p:sp>
      <p:sp>
        <p:nvSpPr>
          <p:cNvPr id="3" name="Marcador de fecha 2">
            <a:extLst>
              <a:ext uri="{FF2B5EF4-FFF2-40B4-BE49-F238E27FC236}">
                <a16:creationId xmlns:a16="http://schemas.microsoft.com/office/drawing/2014/main" id="{C2124930-A3B7-4116-B69D-145B68054EB3}"/>
              </a:ext>
            </a:extLst>
          </p:cNvPr>
          <p:cNvSpPr>
            <a:spLocks noGrp="1"/>
          </p:cNvSpPr>
          <p:nvPr>
            <p:ph type="dt" sz="half" idx="10"/>
          </p:nvPr>
        </p:nvSpPr>
        <p:spPr>
          <a:xfrm>
            <a:off x="814650" y="6400379"/>
            <a:ext cx="3380278" cy="365125"/>
          </a:xfrm>
        </p:spPr>
        <p:txBody>
          <a:bodyPr/>
          <a:lstStyle/>
          <a:p>
            <a:fld id="{DE8CCF73-D22A-4020-8B3B-47BF22925F1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9F51152-346F-432D-A566-BABA883C1A9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B5E2924A-9D39-4FB1-9BFD-AE3D2E1B7D8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4</a:t>
            </a:fld>
            <a:endParaRPr lang="es-ES" dirty="0"/>
          </a:p>
        </p:txBody>
      </p:sp>
      <p:sp>
        <p:nvSpPr>
          <p:cNvPr id="6" name="Elipse 5"/>
          <p:cNvSpPr/>
          <p:nvPr/>
        </p:nvSpPr>
        <p:spPr>
          <a:xfrm>
            <a:off x="6918158" y="5485798"/>
            <a:ext cx="662940" cy="605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venir LT Std 35 Light" panose="020B0402020203020204" pitchFamily="34" charset="0"/>
            </a:endParaRPr>
          </a:p>
        </p:txBody>
      </p:sp>
      <p:grpSp>
        <p:nvGrpSpPr>
          <p:cNvPr id="15" name="14 Grupo"/>
          <p:cNvGrpSpPr/>
          <p:nvPr/>
        </p:nvGrpSpPr>
        <p:grpSpPr>
          <a:xfrm>
            <a:off x="2934638" y="1645659"/>
            <a:ext cx="4924281" cy="4755721"/>
            <a:chOff x="4253023" y="1749447"/>
            <a:chExt cx="4489917" cy="4326223"/>
          </a:xfrm>
        </p:grpSpPr>
        <p:pic>
          <p:nvPicPr>
            <p:cNvPr id="1026" name="Picture 2" descr="Imagen relacionada"/>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53023" y="1749447"/>
              <a:ext cx="4489917" cy="432622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n relacionada"/>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23959" b="29507"/>
            <a:stretch/>
          </p:blipFill>
          <p:spPr bwMode="auto">
            <a:xfrm>
              <a:off x="7531573" y="5019364"/>
              <a:ext cx="514350" cy="25818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769337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Jigsaw Puzzle Pieces Flat White Black And White Stock, 47% OFF">
            <a:extLst>
              <a:ext uri="{FF2B5EF4-FFF2-40B4-BE49-F238E27FC236}">
                <a16:creationId xmlns:a16="http://schemas.microsoft.com/office/drawing/2014/main" id="{022EE7D2-8483-C3A3-1B7E-6A506E738C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0" t="1895" r="-910" b="5835"/>
          <a:stretch/>
        </p:blipFill>
        <p:spPr bwMode="auto">
          <a:xfrm>
            <a:off x="2196684" y="1524124"/>
            <a:ext cx="7183283" cy="4758614"/>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E8E0C3E4-B740-91AA-555B-3848D3A5DECB}"/>
              </a:ext>
            </a:extLst>
          </p:cNvPr>
          <p:cNvSpPr>
            <a:spLocks noGrp="1"/>
          </p:cNvSpPr>
          <p:nvPr>
            <p:ph type="title"/>
          </p:nvPr>
        </p:nvSpPr>
        <p:spPr>
          <a:xfrm>
            <a:off x="838200" y="365126"/>
            <a:ext cx="9840124" cy="1092200"/>
          </a:xfrm>
        </p:spPr>
        <p:txBody>
          <a:bodyPr/>
          <a:lstStyle/>
          <a:p>
            <a:r>
              <a:rPr lang="es-ES" noProof="0" dirty="0"/>
              <a:t>En el vector técnico, la Transformación Digital se compone de muchas piezas…</a:t>
            </a:r>
          </a:p>
        </p:txBody>
      </p:sp>
      <p:sp>
        <p:nvSpPr>
          <p:cNvPr id="3" name="Marcador de fecha 2">
            <a:extLst>
              <a:ext uri="{FF2B5EF4-FFF2-40B4-BE49-F238E27FC236}">
                <a16:creationId xmlns:a16="http://schemas.microsoft.com/office/drawing/2014/main" id="{B403C7FF-EDA7-A2E8-93BB-928277951DD0}"/>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8D91ED6-2F86-CE1E-4C22-B8B29596825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1BDA4B1-E579-2EB0-AB26-ACEF6D64EB7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5</a:t>
            </a:fld>
            <a:endParaRPr lang="es-ES" dirty="0"/>
          </a:p>
        </p:txBody>
      </p:sp>
      <p:sp>
        <p:nvSpPr>
          <p:cNvPr id="6" name="CuadroTexto 5">
            <a:extLst>
              <a:ext uri="{FF2B5EF4-FFF2-40B4-BE49-F238E27FC236}">
                <a16:creationId xmlns:a16="http://schemas.microsoft.com/office/drawing/2014/main" id="{0DF9F279-69CB-48DA-84F2-04E432699C3B}"/>
              </a:ext>
            </a:extLst>
          </p:cNvPr>
          <p:cNvSpPr txBox="1"/>
          <p:nvPr/>
        </p:nvSpPr>
        <p:spPr>
          <a:xfrm>
            <a:off x="5434566" y="2067532"/>
            <a:ext cx="1001300" cy="276999"/>
          </a:xfrm>
          <a:prstGeom prst="rect">
            <a:avLst/>
          </a:prstGeom>
          <a:noFill/>
        </p:spPr>
        <p:txBody>
          <a:bodyPr wrap="none" lIns="0" tIns="0" rIns="0" bIns="0" rtlCol="0" anchor="ctr" anchorCtr="1">
            <a:spAutoFit/>
          </a:bodyPr>
          <a:lstStyle/>
          <a:p>
            <a:r>
              <a:rPr lang="es-ES" dirty="0"/>
              <a:t>Blockchain</a:t>
            </a:r>
          </a:p>
        </p:txBody>
      </p:sp>
      <p:sp>
        <p:nvSpPr>
          <p:cNvPr id="8" name="CuadroTexto 7">
            <a:extLst>
              <a:ext uri="{FF2B5EF4-FFF2-40B4-BE49-F238E27FC236}">
                <a16:creationId xmlns:a16="http://schemas.microsoft.com/office/drawing/2014/main" id="{49D40A54-7060-4AF0-B059-46FB163FE731}"/>
              </a:ext>
            </a:extLst>
          </p:cNvPr>
          <p:cNvSpPr txBox="1"/>
          <p:nvPr/>
        </p:nvSpPr>
        <p:spPr>
          <a:xfrm>
            <a:off x="3844560" y="2534829"/>
            <a:ext cx="822085" cy="276999"/>
          </a:xfrm>
          <a:prstGeom prst="rect">
            <a:avLst/>
          </a:prstGeom>
          <a:noFill/>
        </p:spPr>
        <p:txBody>
          <a:bodyPr wrap="none" lIns="0" tIns="0" rIns="0" bIns="0" rtlCol="0" anchor="ctr" anchorCtr="1">
            <a:spAutoFit/>
          </a:bodyPr>
          <a:lstStyle/>
          <a:p>
            <a:r>
              <a:rPr lang="es-ES" dirty="0"/>
              <a:t>Robótica</a:t>
            </a:r>
          </a:p>
        </p:txBody>
      </p:sp>
      <p:sp>
        <p:nvSpPr>
          <p:cNvPr id="9" name="CuadroTexto 8">
            <a:extLst>
              <a:ext uri="{FF2B5EF4-FFF2-40B4-BE49-F238E27FC236}">
                <a16:creationId xmlns:a16="http://schemas.microsoft.com/office/drawing/2014/main" id="{97975C2D-2FA9-47C6-B976-B3BCBC8FAD27}"/>
              </a:ext>
            </a:extLst>
          </p:cNvPr>
          <p:cNvSpPr txBox="1"/>
          <p:nvPr/>
        </p:nvSpPr>
        <p:spPr>
          <a:xfrm>
            <a:off x="5241551" y="3944660"/>
            <a:ext cx="1106969" cy="553998"/>
          </a:xfrm>
          <a:prstGeom prst="rect">
            <a:avLst/>
          </a:prstGeom>
          <a:noFill/>
        </p:spPr>
        <p:txBody>
          <a:bodyPr wrap="square" lIns="0" tIns="0" rIns="0" bIns="0" rtlCol="0" anchor="ctr" anchorCtr="1">
            <a:spAutoFit/>
          </a:bodyPr>
          <a:lstStyle/>
          <a:p>
            <a:r>
              <a:rPr lang="es-ES" dirty="0"/>
              <a:t>Realidad Mixta</a:t>
            </a:r>
          </a:p>
        </p:txBody>
      </p:sp>
      <p:sp>
        <p:nvSpPr>
          <p:cNvPr id="10" name="CuadroTexto 9">
            <a:extLst>
              <a:ext uri="{FF2B5EF4-FFF2-40B4-BE49-F238E27FC236}">
                <a16:creationId xmlns:a16="http://schemas.microsoft.com/office/drawing/2014/main" id="{923F1029-7285-4EBD-8A3B-8A5D935128EB}"/>
              </a:ext>
            </a:extLst>
          </p:cNvPr>
          <p:cNvSpPr txBox="1"/>
          <p:nvPr/>
        </p:nvSpPr>
        <p:spPr>
          <a:xfrm>
            <a:off x="7380725" y="2486495"/>
            <a:ext cx="298159" cy="276999"/>
          </a:xfrm>
          <a:prstGeom prst="rect">
            <a:avLst/>
          </a:prstGeom>
          <a:noFill/>
        </p:spPr>
        <p:txBody>
          <a:bodyPr wrap="none" lIns="0" tIns="0" rIns="0" bIns="0" rtlCol="0" anchor="ctr" anchorCtr="1">
            <a:spAutoFit/>
          </a:bodyPr>
          <a:lstStyle/>
          <a:p>
            <a:r>
              <a:rPr lang="es-ES" b="1" dirty="0"/>
              <a:t>IoT</a:t>
            </a:r>
          </a:p>
        </p:txBody>
      </p:sp>
      <p:sp>
        <p:nvSpPr>
          <p:cNvPr id="12" name="CuadroTexto 11">
            <a:extLst>
              <a:ext uri="{FF2B5EF4-FFF2-40B4-BE49-F238E27FC236}">
                <a16:creationId xmlns:a16="http://schemas.microsoft.com/office/drawing/2014/main" id="{E5ADCC2E-D0D6-4992-8E1B-646E115270A3}"/>
              </a:ext>
            </a:extLst>
          </p:cNvPr>
          <p:cNvSpPr txBox="1"/>
          <p:nvPr/>
        </p:nvSpPr>
        <p:spPr>
          <a:xfrm>
            <a:off x="3988515" y="4374475"/>
            <a:ext cx="1253036" cy="553998"/>
          </a:xfrm>
          <a:prstGeom prst="rect">
            <a:avLst/>
          </a:prstGeom>
          <a:noFill/>
        </p:spPr>
        <p:txBody>
          <a:bodyPr wrap="square" lIns="0" tIns="0" rIns="0" bIns="0" rtlCol="0" anchor="ctr" anchorCtr="1">
            <a:spAutoFit/>
          </a:bodyPr>
          <a:lstStyle/>
          <a:p>
            <a:r>
              <a:rPr lang="es-ES" dirty="0"/>
              <a:t>Business Intelligence</a:t>
            </a:r>
          </a:p>
        </p:txBody>
      </p:sp>
      <p:sp>
        <p:nvSpPr>
          <p:cNvPr id="13" name="CuadroTexto 12">
            <a:extLst>
              <a:ext uri="{FF2B5EF4-FFF2-40B4-BE49-F238E27FC236}">
                <a16:creationId xmlns:a16="http://schemas.microsoft.com/office/drawing/2014/main" id="{63D185DA-0E2B-47A4-B26A-07DBAFD6D762}"/>
              </a:ext>
            </a:extLst>
          </p:cNvPr>
          <p:cNvSpPr txBox="1"/>
          <p:nvPr/>
        </p:nvSpPr>
        <p:spPr>
          <a:xfrm>
            <a:off x="1490145" y="2067532"/>
            <a:ext cx="1413079" cy="276999"/>
          </a:xfrm>
          <a:prstGeom prst="rect">
            <a:avLst/>
          </a:prstGeom>
          <a:noFill/>
        </p:spPr>
        <p:txBody>
          <a:bodyPr wrap="none" lIns="0" tIns="0" rIns="0" bIns="0" rtlCol="0" anchor="ctr" anchorCtr="1">
            <a:spAutoFit/>
          </a:bodyPr>
          <a:lstStyle/>
          <a:p>
            <a:r>
              <a:rPr lang="es-ES" dirty="0"/>
              <a:t>Ciberseguridad</a:t>
            </a:r>
          </a:p>
        </p:txBody>
      </p:sp>
      <p:sp>
        <p:nvSpPr>
          <p:cNvPr id="14" name="CuadroTexto 13">
            <a:extLst>
              <a:ext uri="{FF2B5EF4-FFF2-40B4-BE49-F238E27FC236}">
                <a16:creationId xmlns:a16="http://schemas.microsoft.com/office/drawing/2014/main" id="{76FE9A60-0881-4EFE-BC69-5E9B80E7CD06}"/>
              </a:ext>
            </a:extLst>
          </p:cNvPr>
          <p:cNvSpPr txBox="1"/>
          <p:nvPr/>
        </p:nvSpPr>
        <p:spPr>
          <a:xfrm>
            <a:off x="8713132" y="1944572"/>
            <a:ext cx="508152" cy="276999"/>
          </a:xfrm>
          <a:prstGeom prst="rect">
            <a:avLst/>
          </a:prstGeom>
          <a:noFill/>
        </p:spPr>
        <p:txBody>
          <a:bodyPr wrap="none" lIns="0" tIns="0" rIns="0" bIns="0" rtlCol="0" anchor="ctr" anchorCtr="1">
            <a:spAutoFit/>
          </a:bodyPr>
          <a:lstStyle/>
          <a:p>
            <a:r>
              <a:rPr lang="es-ES" dirty="0"/>
              <a:t>Nube</a:t>
            </a:r>
          </a:p>
        </p:txBody>
      </p:sp>
      <p:sp>
        <p:nvSpPr>
          <p:cNvPr id="16" name="CuadroTexto 15">
            <a:extLst>
              <a:ext uri="{FF2B5EF4-FFF2-40B4-BE49-F238E27FC236}">
                <a16:creationId xmlns:a16="http://schemas.microsoft.com/office/drawing/2014/main" id="{74605C64-8039-40EE-980E-3DA552310706}"/>
              </a:ext>
            </a:extLst>
          </p:cNvPr>
          <p:cNvSpPr txBox="1"/>
          <p:nvPr/>
        </p:nvSpPr>
        <p:spPr>
          <a:xfrm>
            <a:off x="4221010" y="5639656"/>
            <a:ext cx="445635" cy="276999"/>
          </a:xfrm>
          <a:prstGeom prst="rect">
            <a:avLst/>
          </a:prstGeom>
          <a:noFill/>
        </p:spPr>
        <p:txBody>
          <a:bodyPr wrap="none" lIns="0" tIns="0" rIns="0" bIns="0" rtlCol="0" anchor="ctr" anchorCtr="1">
            <a:spAutoFit/>
          </a:bodyPr>
          <a:lstStyle/>
          <a:p>
            <a:r>
              <a:rPr lang="es-ES" dirty="0"/>
              <a:t>CRM</a:t>
            </a:r>
          </a:p>
        </p:txBody>
      </p:sp>
      <p:sp>
        <p:nvSpPr>
          <p:cNvPr id="18" name="CuadroTexto 17">
            <a:extLst>
              <a:ext uri="{FF2B5EF4-FFF2-40B4-BE49-F238E27FC236}">
                <a16:creationId xmlns:a16="http://schemas.microsoft.com/office/drawing/2014/main" id="{23EFD84F-52FD-4B9F-9503-EF023EFA4DB0}"/>
              </a:ext>
            </a:extLst>
          </p:cNvPr>
          <p:cNvSpPr txBox="1"/>
          <p:nvPr/>
        </p:nvSpPr>
        <p:spPr>
          <a:xfrm>
            <a:off x="6787436" y="5350920"/>
            <a:ext cx="1566173" cy="553998"/>
          </a:xfrm>
          <a:prstGeom prst="rect">
            <a:avLst/>
          </a:prstGeom>
          <a:noFill/>
        </p:spPr>
        <p:txBody>
          <a:bodyPr wrap="square" lIns="0" tIns="0" rIns="0" bIns="0" rtlCol="0" anchor="ctr" anchorCtr="1">
            <a:spAutoFit/>
          </a:bodyPr>
          <a:lstStyle/>
          <a:p>
            <a:r>
              <a:rPr lang="es-ES" dirty="0"/>
              <a:t>Marketing Automation</a:t>
            </a:r>
          </a:p>
        </p:txBody>
      </p:sp>
      <p:sp>
        <p:nvSpPr>
          <p:cNvPr id="20" name="CuadroTexto 19">
            <a:extLst>
              <a:ext uri="{FF2B5EF4-FFF2-40B4-BE49-F238E27FC236}">
                <a16:creationId xmlns:a16="http://schemas.microsoft.com/office/drawing/2014/main" id="{3E068635-210D-4818-AD20-1B21DFAA87B9}"/>
              </a:ext>
            </a:extLst>
          </p:cNvPr>
          <p:cNvSpPr txBox="1"/>
          <p:nvPr/>
        </p:nvSpPr>
        <p:spPr>
          <a:xfrm>
            <a:off x="7104486" y="3437817"/>
            <a:ext cx="1116000" cy="792000"/>
          </a:xfrm>
          <a:prstGeom prst="rect">
            <a:avLst/>
          </a:prstGeom>
          <a:solidFill>
            <a:schemeClr val="accent4">
              <a:lumMod val="60000"/>
              <a:lumOff val="40000"/>
            </a:schemeClr>
          </a:solidFill>
        </p:spPr>
        <p:txBody>
          <a:bodyPr wrap="square" lIns="0" tIns="0" rIns="0" bIns="0" rtlCol="0" anchor="ctr" anchorCtr="1">
            <a:noAutofit/>
          </a:bodyPr>
          <a:lstStyle/>
          <a:p>
            <a:pPr algn="ctr"/>
            <a:r>
              <a:rPr lang="es-ES" dirty="0"/>
              <a:t>Big Data e Inteligencia artificial</a:t>
            </a:r>
          </a:p>
        </p:txBody>
      </p:sp>
      <p:sp>
        <p:nvSpPr>
          <p:cNvPr id="22" name="CuadroTexto 21">
            <a:extLst>
              <a:ext uri="{FF2B5EF4-FFF2-40B4-BE49-F238E27FC236}">
                <a16:creationId xmlns:a16="http://schemas.microsoft.com/office/drawing/2014/main" id="{81DF61E8-B237-4FF5-A7DE-A746F305ED70}"/>
              </a:ext>
            </a:extLst>
          </p:cNvPr>
          <p:cNvSpPr txBox="1"/>
          <p:nvPr/>
        </p:nvSpPr>
        <p:spPr>
          <a:xfrm>
            <a:off x="6677583" y="1468485"/>
            <a:ext cx="1704441" cy="276999"/>
          </a:xfrm>
          <a:prstGeom prst="rect">
            <a:avLst/>
          </a:prstGeom>
          <a:noFill/>
        </p:spPr>
        <p:txBody>
          <a:bodyPr wrap="none" lIns="0" tIns="0" rIns="0" bIns="0" rtlCol="0" anchor="ctr" anchorCtr="1">
            <a:spAutoFit/>
          </a:bodyPr>
          <a:lstStyle/>
          <a:p>
            <a:r>
              <a:rPr lang="es-ES" dirty="0"/>
              <a:t>Gobierno del dato</a:t>
            </a:r>
          </a:p>
        </p:txBody>
      </p:sp>
      <p:sp>
        <p:nvSpPr>
          <p:cNvPr id="21" name="CuadroTexto 20">
            <a:extLst>
              <a:ext uri="{FF2B5EF4-FFF2-40B4-BE49-F238E27FC236}">
                <a16:creationId xmlns:a16="http://schemas.microsoft.com/office/drawing/2014/main" id="{3D61459B-483B-4FAD-BAB2-157FFF3309B2}"/>
              </a:ext>
            </a:extLst>
          </p:cNvPr>
          <p:cNvSpPr txBox="1"/>
          <p:nvPr/>
        </p:nvSpPr>
        <p:spPr>
          <a:xfrm>
            <a:off x="7923777" y="3980593"/>
            <a:ext cx="1566173" cy="276999"/>
          </a:xfrm>
          <a:prstGeom prst="rect">
            <a:avLst/>
          </a:prstGeom>
          <a:noFill/>
        </p:spPr>
        <p:txBody>
          <a:bodyPr wrap="square" lIns="0" tIns="0" rIns="0" bIns="0" rtlCol="0" anchor="ctr" anchorCtr="1">
            <a:spAutoFit/>
          </a:bodyPr>
          <a:lstStyle/>
          <a:p>
            <a:r>
              <a:rPr lang="es-ES" dirty="0"/>
              <a:t>Movilidad</a:t>
            </a:r>
          </a:p>
        </p:txBody>
      </p:sp>
      <p:sp>
        <p:nvSpPr>
          <p:cNvPr id="23" name="CuadroTexto 22">
            <a:extLst>
              <a:ext uri="{FF2B5EF4-FFF2-40B4-BE49-F238E27FC236}">
                <a16:creationId xmlns:a16="http://schemas.microsoft.com/office/drawing/2014/main" id="{C60E7DDB-CCFD-45CB-91AD-384FAB86FDD6}"/>
              </a:ext>
            </a:extLst>
          </p:cNvPr>
          <p:cNvSpPr txBox="1"/>
          <p:nvPr/>
        </p:nvSpPr>
        <p:spPr>
          <a:xfrm>
            <a:off x="2196684" y="3950456"/>
            <a:ext cx="1566173" cy="553998"/>
          </a:xfrm>
          <a:prstGeom prst="rect">
            <a:avLst/>
          </a:prstGeom>
          <a:noFill/>
        </p:spPr>
        <p:txBody>
          <a:bodyPr wrap="square" lIns="0" tIns="0" rIns="0" bIns="0" rtlCol="0" anchor="ctr" anchorCtr="1">
            <a:spAutoFit/>
          </a:bodyPr>
          <a:lstStyle/>
          <a:p>
            <a:r>
              <a:rPr lang="es-ES" dirty="0"/>
              <a:t>Herramientas colaborativas</a:t>
            </a:r>
          </a:p>
        </p:txBody>
      </p:sp>
      <p:sp>
        <p:nvSpPr>
          <p:cNvPr id="24" name="CuadroTexto 23">
            <a:extLst>
              <a:ext uri="{FF2B5EF4-FFF2-40B4-BE49-F238E27FC236}">
                <a16:creationId xmlns:a16="http://schemas.microsoft.com/office/drawing/2014/main" id="{C7E07EA9-919D-4E0D-A8E7-A8A9FF62AD84}"/>
              </a:ext>
            </a:extLst>
          </p:cNvPr>
          <p:cNvSpPr txBox="1"/>
          <p:nvPr/>
        </p:nvSpPr>
        <p:spPr>
          <a:xfrm>
            <a:off x="8184121" y="5021341"/>
            <a:ext cx="1566173" cy="276999"/>
          </a:xfrm>
          <a:prstGeom prst="rect">
            <a:avLst/>
          </a:prstGeom>
          <a:noFill/>
        </p:spPr>
        <p:txBody>
          <a:bodyPr wrap="square" lIns="0" tIns="0" rIns="0" bIns="0" rtlCol="0" anchor="ctr" anchorCtr="1">
            <a:spAutoFit/>
          </a:bodyPr>
          <a:lstStyle/>
          <a:p>
            <a:r>
              <a:rPr lang="es-ES" dirty="0"/>
              <a:t>BPM</a:t>
            </a:r>
          </a:p>
        </p:txBody>
      </p:sp>
      <p:sp>
        <p:nvSpPr>
          <p:cNvPr id="7" name="CuadroTexto 6">
            <a:extLst>
              <a:ext uri="{FF2B5EF4-FFF2-40B4-BE49-F238E27FC236}">
                <a16:creationId xmlns:a16="http://schemas.microsoft.com/office/drawing/2014/main" id="{C49999FB-8750-04A5-ADD7-46F9443DB7CD}"/>
              </a:ext>
            </a:extLst>
          </p:cNvPr>
          <p:cNvSpPr txBox="1"/>
          <p:nvPr/>
        </p:nvSpPr>
        <p:spPr>
          <a:xfrm>
            <a:off x="5595716" y="5085101"/>
            <a:ext cx="1020279" cy="276999"/>
          </a:xfrm>
          <a:prstGeom prst="rect">
            <a:avLst/>
          </a:prstGeom>
          <a:noFill/>
        </p:spPr>
        <p:txBody>
          <a:bodyPr wrap="none" lIns="0" tIns="0" rIns="0" bIns="0" rtlCol="0" anchor="ctr" anchorCtr="1">
            <a:spAutoFit/>
          </a:bodyPr>
          <a:lstStyle/>
          <a:p>
            <a:r>
              <a:rPr lang="es-ES" dirty="0"/>
              <a:t>Metaverso</a:t>
            </a:r>
          </a:p>
        </p:txBody>
      </p:sp>
    </p:spTree>
    <p:extLst>
      <p:ext uri="{BB962C8B-B14F-4D97-AF65-F5344CB8AC3E}">
        <p14:creationId xmlns:p14="http://schemas.microsoft.com/office/powerpoint/2010/main" val="2415639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2494698842"/>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6</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2240" y="182562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627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E1DBD9-0905-0D45-8292-67AFF21B6EED}"/>
              </a:ext>
            </a:extLst>
          </p:cNvPr>
          <p:cNvSpPr>
            <a:spLocks noGrp="1"/>
          </p:cNvSpPr>
          <p:nvPr>
            <p:ph type="title"/>
          </p:nvPr>
        </p:nvSpPr>
        <p:spPr>
          <a:xfrm>
            <a:off x="838200" y="365126"/>
            <a:ext cx="9840124" cy="1092200"/>
          </a:xfrm>
        </p:spPr>
        <p:txBody>
          <a:bodyPr/>
          <a:lstStyle/>
          <a:p>
            <a:r>
              <a:rPr lang="es-ES" noProof="0" dirty="0"/>
              <a:t>Almacenamiento lógico. Las diferencias entre data Warehouse y Data lake 1/2 </a:t>
            </a:r>
          </a:p>
        </p:txBody>
      </p:sp>
      <p:graphicFrame>
        <p:nvGraphicFramePr>
          <p:cNvPr id="7" name="Marcador de contenido 6">
            <a:extLst>
              <a:ext uri="{FF2B5EF4-FFF2-40B4-BE49-F238E27FC236}">
                <a16:creationId xmlns:a16="http://schemas.microsoft.com/office/drawing/2014/main" id="{AAF4FA3E-884B-5162-BEBB-A330B80F2145}"/>
              </a:ext>
            </a:extLst>
          </p:cNvPr>
          <p:cNvGraphicFramePr>
            <a:graphicFrameLocks noGrp="1"/>
          </p:cNvGraphicFramePr>
          <p:nvPr>
            <p:ph idx="1"/>
            <p:extLst>
              <p:ext uri="{D42A27DB-BD31-4B8C-83A1-F6EECF244321}">
                <p14:modId xmlns:p14="http://schemas.microsoft.com/office/powerpoint/2010/main" val="1134407223"/>
              </p:ext>
            </p:extLst>
          </p:nvPr>
        </p:nvGraphicFramePr>
        <p:xfrm>
          <a:off x="88938" y="1700213"/>
          <a:ext cx="12014123" cy="4211320"/>
        </p:xfrm>
        <a:graphic>
          <a:graphicData uri="http://schemas.openxmlformats.org/drawingml/2006/table">
            <a:tbl>
              <a:tblPr firstRow="1" firstCol="1" bandRow="1">
                <a:tableStyleId>{5C22544A-7EE6-4342-B048-85BDC9FD1C3A}</a:tableStyleId>
              </a:tblPr>
              <a:tblGrid>
                <a:gridCol w="1934123">
                  <a:extLst>
                    <a:ext uri="{9D8B030D-6E8A-4147-A177-3AD203B41FA5}">
                      <a16:colId xmlns:a16="http://schemas.microsoft.com/office/drawing/2014/main" val="416255966"/>
                    </a:ext>
                  </a:extLst>
                </a:gridCol>
                <a:gridCol w="5040000">
                  <a:extLst>
                    <a:ext uri="{9D8B030D-6E8A-4147-A177-3AD203B41FA5}">
                      <a16:colId xmlns:a16="http://schemas.microsoft.com/office/drawing/2014/main" val="3786867300"/>
                    </a:ext>
                  </a:extLst>
                </a:gridCol>
                <a:gridCol w="5040000">
                  <a:extLst>
                    <a:ext uri="{9D8B030D-6E8A-4147-A177-3AD203B41FA5}">
                      <a16:colId xmlns:a16="http://schemas.microsoft.com/office/drawing/2014/main" val="3967317541"/>
                    </a:ext>
                  </a:extLst>
                </a:gridCol>
              </a:tblGrid>
              <a:tr h="370840">
                <a:tc>
                  <a:txBody>
                    <a:bodyPr/>
                    <a:lstStyle/>
                    <a:p>
                      <a:endParaRPr lang="es-ES"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dirty="0"/>
                        <a:t>Data Warehous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dirty="0"/>
                        <a:t>Data Lake</a:t>
                      </a:r>
                    </a:p>
                  </a:txBody>
                  <a:tcPr/>
                </a:tc>
                <a:extLst>
                  <a:ext uri="{0D108BD9-81ED-4DB2-BD59-A6C34878D82A}">
                    <a16:rowId xmlns:a16="http://schemas.microsoft.com/office/drawing/2014/main" val="29846159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t>Estructura de Datos:</a:t>
                      </a:r>
                    </a:p>
                    <a:p>
                      <a:endParaRPr lang="es-ES" sz="1800" dirty="0"/>
                    </a:p>
                  </a:txBody>
                  <a:tcPr anchor="ctr"/>
                </a:tc>
                <a:tc>
                  <a:txBody>
                    <a:bodyPr/>
                    <a:lstStyle/>
                    <a:p>
                      <a:pPr marL="373063" lvl="1" indent="-285750">
                        <a:buFont typeface="Arial" panose="020B0604020202020204" pitchFamily="34" charset="0"/>
                        <a:buChar char="•"/>
                      </a:pPr>
                      <a:r>
                        <a:rPr lang="es-ES" sz="1800" dirty="0"/>
                        <a:t>Almacena datos estructurados.</a:t>
                      </a:r>
                    </a:p>
                    <a:p>
                      <a:pPr marL="373063" lvl="1" indent="-285750">
                        <a:buFont typeface="Arial" panose="020B0604020202020204" pitchFamily="34" charset="0"/>
                        <a:buChar char="•"/>
                      </a:pPr>
                      <a:r>
                        <a:rPr lang="es-ES" sz="1800" dirty="0"/>
                        <a:t>Datos organizados en tablas y columnas, como una base de datos relacional.</a:t>
                      </a:r>
                    </a:p>
                    <a:p>
                      <a:pPr marL="373063" lvl="1" indent="-285750">
                        <a:buFont typeface="Arial" panose="020B0604020202020204" pitchFamily="34" charset="0"/>
                        <a:buChar char="•"/>
                      </a:pPr>
                      <a:r>
                        <a:rPr lang="es-ES" sz="1800" dirty="0"/>
                        <a:t>Normalmente se usa para datos que han sido limpiados y procesados previamente.</a:t>
                      </a:r>
                    </a:p>
                  </a:txBody>
                  <a:tcP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Almacena datos en su forma cruda y nativa, lo que incluye datos estructurados, semi-estructurados y no estructurados.</a:t>
                      </a:r>
                    </a:p>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Los datos se pueden almacenar en cualquier formato: JSON, CSV, logs, videos, imágenes, etc.</a:t>
                      </a:r>
                    </a:p>
                  </a:txBody>
                  <a:tcPr/>
                </a:tc>
                <a:extLst>
                  <a:ext uri="{0D108BD9-81ED-4DB2-BD59-A6C34878D82A}">
                    <a16:rowId xmlns:a16="http://schemas.microsoft.com/office/drawing/2014/main" val="4494451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t>Propósito:</a:t>
                      </a:r>
                    </a:p>
                  </a:txBody>
                  <a:tcPr anchor="ct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Optimizado para el análisis de datos, informes y la generación de inteligencia empresarial (Business Intelligence, BI).</a:t>
                      </a:r>
                    </a:p>
                  </a:txBody>
                  <a:tcP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Flexible y escalable para almacenar grandes volúmenes de datos provenientes de diversas fuentes.</a:t>
                      </a:r>
                    </a:p>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Utilizado para análisis de big data, aprendizaje automático y ciencia de datos.</a:t>
                      </a:r>
                    </a:p>
                  </a:txBody>
                  <a:tcPr/>
                </a:tc>
                <a:extLst>
                  <a:ext uri="{0D108BD9-81ED-4DB2-BD59-A6C34878D82A}">
                    <a16:rowId xmlns:a16="http://schemas.microsoft.com/office/drawing/2014/main" val="28593257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t>Carga de datos</a:t>
                      </a:r>
                    </a:p>
                  </a:txBody>
                  <a:tcPr anchor="ct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Los datos se cargan en un data warehouse después de pasar por un proceso de ETL (Extracción, Transformación y Carga).</a:t>
                      </a:r>
                    </a:p>
                  </a:txBody>
                  <a:tcPr/>
                </a:tc>
                <a:tc>
                  <a:txBody>
                    <a:bodyPr/>
                    <a:lstStyle/>
                    <a:p>
                      <a:pPr marL="373063"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kern="1200" dirty="0">
                          <a:solidFill>
                            <a:schemeClr val="dk1"/>
                          </a:solidFill>
                          <a:latin typeface="+mn-lt"/>
                          <a:ea typeface="+mn-ea"/>
                          <a:cs typeface="+mn-cs"/>
                        </a:rPr>
                        <a:t>Los datos se cargan en su forma bruta y se procesan cuando son necesarios (proceso ELT: Extracción, Carga y Transformación).</a:t>
                      </a:r>
                    </a:p>
                  </a:txBody>
                  <a:tcPr/>
                </a:tc>
                <a:extLst>
                  <a:ext uri="{0D108BD9-81ED-4DB2-BD59-A6C34878D82A}">
                    <a16:rowId xmlns:a16="http://schemas.microsoft.com/office/drawing/2014/main" val="2753343469"/>
                  </a:ext>
                </a:extLst>
              </a:tr>
            </a:tbl>
          </a:graphicData>
        </a:graphic>
      </p:graphicFrame>
      <p:sp>
        <p:nvSpPr>
          <p:cNvPr id="4" name="Marcador de fecha 3">
            <a:extLst>
              <a:ext uri="{FF2B5EF4-FFF2-40B4-BE49-F238E27FC236}">
                <a16:creationId xmlns:a16="http://schemas.microsoft.com/office/drawing/2014/main" id="{820008C6-9C94-5F0A-64B2-CC10F9EF9867}"/>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3209A447-A0BE-14A0-835F-BCD10582F38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40F6C79-82AF-9591-7FFA-C2C8E53BFE6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7</a:t>
            </a:fld>
            <a:endParaRPr lang="es-ES" dirty="0"/>
          </a:p>
        </p:txBody>
      </p:sp>
    </p:spTree>
    <p:extLst>
      <p:ext uri="{BB962C8B-B14F-4D97-AF65-F5344CB8AC3E}">
        <p14:creationId xmlns:p14="http://schemas.microsoft.com/office/powerpoint/2010/main" val="2226260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E1DBD9-0905-0D45-8292-67AFF21B6EED}"/>
              </a:ext>
            </a:extLst>
          </p:cNvPr>
          <p:cNvSpPr>
            <a:spLocks noGrp="1"/>
          </p:cNvSpPr>
          <p:nvPr>
            <p:ph type="title"/>
          </p:nvPr>
        </p:nvSpPr>
        <p:spPr>
          <a:xfrm>
            <a:off x="838200" y="365126"/>
            <a:ext cx="9840124" cy="1092200"/>
          </a:xfrm>
        </p:spPr>
        <p:txBody>
          <a:bodyPr/>
          <a:lstStyle/>
          <a:p>
            <a:r>
              <a:rPr lang="es-ES" noProof="0" dirty="0"/>
              <a:t>Almacenamiento lógico. Las diferencias entre data Warehouse y Data lake 1/2</a:t>
            </a:r>
          </a:p>
        </p:txBody>
      </p:sp>
      <p:graphicFrame>
        <p:nvGraphicFramePr>
          <p:cNvPr id="7" name="Marcador de contenido 6">
            <a:extLst>
              <a:ext uri="{FF2B5EF4-FFF2-40B4-BE49-F238E27FC236}">
                <a16:creationId xmlns:a16="http://schemas.microsoft.com/office/drawing/2014/main" id="{AAF4FA3E-884B-5162-BEBB-A330B80F2145}"/>
              </a:ext>
            </a:extLst>
          </p:cNvPr>
          <p:cNvGraphicFramePr>
            <a:graphicFrameLocks noGrp="1"/>
          </p:cNvGraphicFramePr>
          <p:nvPr>
            <p:ph idx="1"/>
            <p:extLst>
              <p:ext uri="{D42A27DB-BD31-4B8C-83A1-F6EECF244321}">
                <p14:modId xmlns:p14="http://schemas.microsoft.com/office/powerpoint/2010/main" val="1110087949"/>
              </p:ext>
            </p:extLst>
          </p:nvPr>
        </p:nvGraphicFramePr>
        <p:xfrm>
          <a:off x="88938" y="2205646"/>
          <a:ext cx="12014123" cy="3845560"/>
        </p:xfrm>
        <a:graphic>
          <a:graphicData uri="http://schemas.openxmlformats.org/drawingml/2006/table">
            <a:tbl>
              <a:tblPr firstRow="1" firstCol="1" bandRow="1">
                <a:tableStyleId>{5C22544A-7EE6-4342-B048-85BDC9FD1C3A}</a:tableStyleId>
              </a:tblPr>
              <a:tblGrid>
                <a:gridCol w="2095138">
                  <a:extLst>
                    <a:ext uri="{9D8B030D-6E8A-4147-A177-3AD203B41FA5}">
                      <a16:colId xmlns:a16="http://schemas.microsoft.com/office/drawing/2014/main" val="416255966"/>
                    </a:ext>
                  </a:extLst>
                </a:gridCol>
                <a:gridCol w="4878985">
                  <a:extLst>
                    <a:ext uri="{9D8B030D-6E8A-4147-A177-3AD203B41FA5}">
                      <a16:colId xmlns:a16="http://schemas.microsoft.com/office/drawing/2014/main" val="3786867300"/>
                    </a:ext>
                  </a:extLst>
                </a:gridCol>
                <a:gridCol w="5040000">
                  <a:extLst>
                    <a:ext uri="{9D8B030D-6E8A-4147-A177-3AD203B41FA5}">
                      <a16:colId xmlns:a16="http://schemas.microsoft.com/office/drawing/2014/main" val="3967317541"/>
                    </a:ext>
                  </a:extLst>
                </a:gridCol>
              </a:tblGrid>
              <a:tr h="370840">
                <a:tc>
                  <a:txBody>
                    <a:bodyPr/>
                    <a:lstStyle/>
                    <a:p>
                      <a:endParaRPr lang="es-ES"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dirty="0"/>
                        <a:t>Data Warehous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dirty="0"/>
                        <a:t>Data Lake</a:t>
                      </a:r>
                    </a:p>
                  </a:txBody>
                  <a:tcPr/>
                </a:tc>
                <a:extLst>
                  <a:ext uri="{0D108BD9-81ED-4DB2-BD59-A6C34878D82A}">
                    <a16:rowId xmlns:a16="http://schemas.microsoft.com/office/drawing/2014/main" val="29846159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t>Almacenamiento:</a:t>
                      </a:r>
                    </a:p>
                    <a:p>
                      <a:endParaRPr lang="es-ES" sz="1800" dirty="0"/>
                    </a:p>
                  </a:txBody>
                  <a:tcPr anchor="ct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Suelen tener una capacidad de almacenamiento menor en comparación con un data lake, ya que solo se almacenan los datos necesarios y procesados.</a:t>
                      </a:r>
                    </a:p>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Coste por almacenamiento puede ser mayor debido a la necesidad de mantener la estructura y optimización para consultas rápidas.</a:t>
                      </a:r>
                    </a:p>
                  </a:txBody>
                  <a:tcPr/>
                </a:tc>
                <a:tc>
                  <a:txBody>
                    <a:bodyPr/>
                    <a:lstStyle/>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Gran capacidad de almacenamiento a un coste relativamente bajo.</a:t>
                      </a:r>
                    </a:p>
                    <a:p>
                      <a:pPr marL="373063" lvl="1" indent="-285750" algn="l" defTabSz="914400" rtl="0" eaLnBrk="1" latinLnBrk="0" hangingPunct="1">
                        <a:buFont typeface="Arial" panose="020B0604020202020204" pitchFamily="34" charset="0"/>
                        <a:buChar char="•"/>
                      </a:pPr>
                      <a:r>
                        <a:rPr lang="es-ES" sz="1800" kern="1200" dirty="0">
                          <a:solidFill>
                            <a:schemeClr val="dk1"/>
                          </a:solidFill>
                          <a:latin typeface="+mn-lt"/>
                          <a:ea typeface="+mn-ea"/>
                          <a:cs typeface="+mn-cs"/>
                        </a:rPr>
                        <a:t>Diseñado para manejar cantidades masivas de datos sin necesidad de una estructura rígida.</a:t>
                      </a:r>
                    </a:p>
                  </a:txBody>
                  <a:tcPr/>
                </a:tc>
                <a:extLst>
                  <a:ext uri="{0D108BD9-81ED-4DB2-BD59-A6C34878D82A}">
                    <a16:rowId xmlns:a16="http://schemas.microsoft.com/office/drawing/2014/main" val="60849323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t>Usuarios Principales:</a:t>
                      </a:r>
                    </a:p>
                    <a:p>
                      <a:endParaRPr lang="es-ES" sz="1800" dirty="0"/>
                    </a:p>
                  </a:txBody>
                  <a:tcPr anchor="ctr"/>
                </a:tc>
                <a:tc>
                  <a:txBody>
                    <a:bodyPr/>
                    <a:lstStyle/>
                    <a:p>
                      <a:pPr marL="360363" lvl="1" indent="-198438">
                        <a:buFont typeface="Arial" panose="020B0604020202020204" pitchFamily="34" charset="0"/>
                        <a:buChar char="•"/>
                      </a:pPr>
                      <a:r>
                        <a:rPr lang="es-ES" sz="1800" kern="1200" dirty="0">
                          <a:solidFill>
                            <a:schemeClr val="dk1"/>
                          </a:solidFill>
                          <a:latin typeface="+mn-lt"/>
                          <a:ea typeface="+mn-ea"/>
                          <a:cs typeface="+mn-cs"/>
                        </a:rPr>
                        <a:t>Analistas de datos, equipos de BI y ejecutivos que necesitan reportes y análisis basados en datos consolidados</a:t>
                      </a:r>
                      <a:r>
                        <a:rPr lang="es-ES" sz="1800" dirty="0"/>
                        <a:t>.</a:t>
                      </a:r>
                    </a:p>
                  </a:txBody>
                  <a:tcPr/>
                </a:tc>
                <a:tc>
                  <a:txBody>
                    <a:bodyPr/>
                    <a:lstStyle/>
                    <a:p>
                      <a:pPr marL="373063"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kern="1200" dirty="0">
                          <a:solidFill>
                            <a:schemeClr val="dk1"/>
                          </a:solidFill>
                          <a:latin typeface="+mn-lt"/>
                          <a:ea typeface="+mn-ea"/>
                          <a:cs typeface="+mn-cs"/>
                        </a:rPr>
                        <a:t>Científicos de datos, ingenieros de datos y analistas de Big Data que necesitan acceso a datos en bruto para análisis complejos y experimentación.</a:t>
                      </a:r>
                    </a:p>
                  </a:txBody>
                  <a:tcPr/>
                </a:tc>
                <a:extLst>
                  <a:ext uri="{0D108BD9-81ED-4DB2-BD59-A6C34878D82A}">
                    <a16:rowId xmlns:a16="http://schemas.microsoft.com/office/drawing/2014/main" val="3336563157"/>
                  </a:ext>
                </a:extLst>
              </a:tr>
            </a:tbl>
          </a:graphicData>
        </a:graphic>
      </p:graphicFrame>
      <p:sp>
        <p:nvSpPr>
          <p:cNvPr id="4" name="Marcador de fecha 3">
            <a:extLst>
              <a:ext uri="{FF2B5EF4-FFF2-40B4-BE49-F238E27FC236}">
                <a16:creationId xmlns:a16="http://schemas.microsoft.com/office/drawing/2014/main" id="{820008C6-9C94-5F0A-64B2-CC10F9EF9867}"/>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3209A447-A0BE-14A0-835F-BCD10582F38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40F6C79-82AF-9591-7FFA-C2C8E53BFE6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28</a:t>
            </a:fld>
            <a:endParaRPr lang="es-ES" dirty="0"/>
          </a:p>
        </p:txBody>
      </p:sp>
    </p:spTree>
    <p:extLst>
      <p:ext uri="{BB962C8B-B14F-4D97-AF65-F5344CB8AC3E}">
        <p14:creationId xmlns:p14="http://schemas.microsoft.com/office/powerpoint/2010/main" val="24605350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746D6B-25AE-F2C5-0F0F-204DE3CFB0D6}"/>
              </a:ext>
            </a:extLst>
          </p:cNvPr>
          <p:cNvSpPr>
            <a:spLocks noGrp="1"/>
          </p:cNvSpPr>
          <p:nvPr>
            <p:ph type="title"/>
          </p:nvPr>
        </p:nvSpPr>
        <p:spPr>
          <a:xfrm>
            <a:off x="838200" y="365126"/>
            <a:ext cx="9840124" cy="1092200"/>
          </a:xfrm>
        </p:spPr>
        <p:txBody>
          <a:bodyPr/>
          <a:lstStyle/>
          <a:p>
            <a:r>
              <a:rPr lang="es-ES" noProof="0" dirty="0"/>
              <a:t>Data Warehouse</a:t>
            </a:r>
          </a:p>
        </p:txBody>
      </p:sp>
      <p:pic>
        <p:nvPicPr>
          <p:cNvPr id="1026" name="Picture 2" descr="Data warehouse icon logo design. Vector illustration technology solution  tend concept design. vector de Stock | Adobe Stock">
            <a:extLst>
              <a:ext uri="{FF2B5EF4-FFF2-40B4-BE49-F238E27FC236}">
                <a16:creationId xmlns:a16="http://schemas.microsoft.com/office/drawing/2014/main" id="{8BF327A3-3230-0A6B-DE05-4273645A5FA1}"/>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sp>
        <p:nvSpPr>
          <p:cNvPr id="3" name="Marcador de contenido 2">
            <a:extLst>
              <a:ext uri="{FF2B5EF4-FFF2-40B4-BE49-F238E27FC236}">
                <a16:creationId xmlns:a16="http://schemas.microsoft.com/office/drawing/2014/main" id="{DC107FA7-95EA-4B30-A6AE-D40E72D9EEF6}"/>
              </a:ext>
            </a:extLst>
          </p:cNvPr>
          <p:cNvSpPr>
            <a:spLocks noGrp="1"/>
          </p:cNvSpPr>
          <p:nvPr>
            <p:ph sz="quarter" idx="14"/>
          </p:nvPr>
        </p:nvSpPr>
        <p:spPr>
          <a:xfrm>
            <a:off x="3533775" y="1657350"/>
            <a:ext cx="7843838" cy="4457700"/>
          </a:xfrm>
        </p:spPr>
        <p:txBody>
          <a:bodyPr>
            <a:normAutofit fontScale="62500" lnSpcReduction="20000"/>
          </a:bodyPr>
          <a:lstStyle/>
          <a:p>
            <a:r>
              <a:rPr lang="es-ES" noProof="0" dirty="0"/>
              <a:t>Tablas Relacionales:</a:t>
            </a:r>
          </a:p>
          <a:p>
            <a:pPr lvl="1"/>
            <a:r>
              <a:rPr lang="es-ES" noProof="0" dirty="0"/>
              <a:t>Los datos se organizan en tablas con filas y columnas, similar a una base de datos relacional.</a:t>
            </a:r>
          </a:p>
          <a:p>
            <a:pPr lvl="1"/>
            <a:r>
              <a:rPr lang="es-ES" noProof="0" dirty="0"/>
              <a:t>Cada tabla tiene una estructura definida con tipos de datos específicos (números, cadenas, fechas, etc.).</a:t>
            </a:r>
          </a:p>
          <a:p>
            <a:r>
              <a:rPr lang="es-ES" noProof="0" dirty="0"/>
              <a:t>Esquemas de Bases de Datos:</a:t>
            </a:r>
          </a:p>
          <a:p>
            <a:pPr lvl="1"/>
            <a:r>
              <a:rPr lang="es-ES" noProof="0" dirty="0"/>
              <a:t>Esquema Estrella (Star Schema): Una tabla central de hechos (fact table) rodeada de tablas dimension (dimension tables) que contienen detalles adicionales. Ideal para consultas rápidas y simples.</a:t>
            </a:r>
          </a:p>
          <a:p>
            <a:pPr lvl="1"/>
            <a:r>
              <a:rPr lang="es-ES" noProof="0" dirty="0"/>
              <a:t>Esquema Copo de Nieve (Snowflake Schema): Similar al esquema estrella, pero las tablas de dimensiones están normalizadas en múltiples tablas relacionadas, lo que reduce la redundancia de datos.</a:t>
            </a:r>
          </a:p>
          <a:p>
            <a:pPr lvl="1"/>
            <a:r>
              <a:rPr lang="es-ES" noProof="0" dirty="0"/>
              <a:t>Esquema de Concha de Ostra (Galaxy Schema): Combina múltiples esquemas estrella o copo de nieve para representar sistemas de datos complejos.</a:t>
            </a:r>
          </a:p>
          <a:p>
            <a:r>
              <a:rPr lang="es-ES" noProof="0" dirty="0"/>
              <a:t>Índices y Particiones:</a:t>
            </a:r>
          </a:p>
          <a:p>
            <a:pPr lvl="1"/>
            <a:r>
              <a:rPr lang="es-ES" noProof="0" dirty="0"/>
              <a:t>Se utilizan índices para acelerar las consultas y mejorar el rendimiento.</a:t>
            </a:r>
          </a:p>
          <a:p>
            <a:pPr lvl="1"/>
            <a:r>
              <a:rPr lang="es-ES" noProof="0" dirty="0"/>
              <a:t>Los datos pueden particionarse por rangos de valores, como fechas, para mejorar la eficiencia en consultas específicas.</a:t>
            </a:r>
          </a:p>
          <a:p>
            <a:r>
              <a:rPr lang="es-ES" noProof="0" dirty="0"/>
              <a:t>Cubos OLAP:</a:t>
            </a:r>
          </a:p>
          <a:p>
            <a:pPr lvl="1"/>
            <a:r>
              <a:rPr lang="es-ES" noProof="0" dirty="0"/>
              <a:t>Almacenamiento multidimensional que permite análisis rápido y flexible de grandes volúmenes de datos a través de dimensiones múltiples.</a:t>
            </a:r>
          </a:p>
        </p:txBody>
      </p:sp>
      <p:sp>
        <p:nvSpPr>
          <p:cNvPr id="4" name="Marcador de fecha 3">
            <a:extLst>
              <a:ext uri="{FF2B5EF4-FFF2-40B4-BE49-F238E27FC236}">
                <a16:creationId xmlns:a16="http://schemas.microsoft.com/office/drawing/2014/main" id="{CB3257F8-51A5-98A8-20E7-D83B271062F6}"/>
              </a:ext>
            </a:extLst>
          </p:cNvPr>
          <p:cNvSpPr>
            <a:spLocks noGrp="1"/>
          </p:cNvSpPr>
          <p:nvPr>
            <p:ph type="dt" sz="half" idx="15"/>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66D1415B-36E0-AC3C-2A90-2D9934626BB5}"/>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102CB964-7F20-8612-043E-B255F76CD6F4}"/>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29</a:t>
            </a:fld>
            <a:endParaRPr lang="es-ES" dirty="0"/>
          </a:p>
        </p:txBody>
      </p:sp>
    </p:spTree>
    <p:extLst>
      <p:ext uri="{BB962C8B-B14F-4D97-AF65-F5344CB8AC3E}">
        <p14:creationId xmlns:p14="http://schemas.microsoft.com/office/powerpoint/2010/main" val="3656441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3640958554"/>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3040" y="182562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1099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7639CC-8A6D-6F92-E9E8-0F66A5FDB439}"/>
              </a:ext>
            </a:extLst>
          </p:cNvPr>
          <p:cNvSpPr>
            <a:spLocks noGrp="1"/>
          </p:cNvSpPr>
          <p:nvPr>
            <p:ph type="title"/>
          </p:nvPr>
        </p:nvSpPr>
        <p:spPr>
          <a:xfrm>
            <a:off x="838200" y="365126"/>
            <a:ext cx="9840124" cy="1092200"/>
          </a:xfrm>
        </p:spPr>
        <p:txBody>
          <a:bodyPr/>
          <a:lstStyle/>
          <a:p>
            <a:r>
              <a:rPr lang="es-ES" noProof="0" dirty="0"/>
              <a:t>Data Lake</a:t>
            </a:r>
          </a:p>
        </p:txBody>
      </p:sp>
      <p:pic>
        <p:nvPicPr>
          <p:cNvPr id="2050" name="Picture 2" descr="Data lake - Free electronics icons">
            <a:extLst>
              <a:ext uri="{FF2B5EF4-FFF2-40B4-BE49-F238E27FC236}">
                <a16:creationId xmlns:a16="http://schemas.microsoft.com/office/drawing/2014/main" id="{2F2CAA3D-95DF-28A0-E15C-18C50EFC705E}"/>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a:stretch/>
        </p:blipFill>
        <p:spPr bwMode="auto">
          <a:xfrm>
            <a:off x="728662" y="2533649"/>
            <a:ext cx="2736000" cy="2736000"/>
          </a:xfrm>
          <a:noFill/>
          <a:extLst>
            <a:ext uri="{909E8E84-426E-40DD-AFC4-6F175D3DCCD1}">
              <a14:hiddenFill xmlns:a14="http://schemas.microsoft.com/office/drawing/2010/main">
                <a:solidFill>
                  <a:srgbClr val="FFFFFF"/>
                </a:solidFill>
              </a14:hiddenFill>
            </a:ext>
          </a:extLst>
        </p:spPr>
      </p:pic>
      <p:sp>
        <p:nvSpPr>
          <p:cNvPr id="3" name="Marcador de contenido 2">
            <a:extLst>
              <a:ext uri="{FF2B5EF4-FFF2-40B4-BE49-F238E27FC236}">
                <a16:creationId xmlns:a16="http://schemas.microsoft.com/office/drawing/2014/main" id="{E9CD8DC3-F1A1-4B9B-C4BC-13D087F53E93}"/>
              </a:ext>
            </a:extLst>
          </p:cNvPr>
          <p:cNvSpPr>
            <a:spLocks noGrp="1"/>
          </p:cNvSpPr>
          <p:nvPr>
            <p:ph sz="quarter" idx="14"/>
          </p:nvPr>
        </p:nvSpPr>
        <p:spPr>
          <a:xfrm>
            <a:off x="3533775" y="1657350"/>
            <a:ext cx="7843838" cy="4457700"/>
          </a:xfrm>
        </p:spPr>
        <p:txBody>
          <a:bodyPr>
            <a:normAutofit fontScale="62500" lnSpcReduction="20000"/>
          </a:bodyPr>
          <a:lstStyle/>
          <a:p>
            <a:pPr lvl="0"/>
            <a:r>
              <a:rPr lang="es-ES" altLang="es-ES" noProof="0" dirty="0"/>
              <a:t>Almacenamiento de Archivos en Crudo:</a:t>
            </a:r>
          </a:p>
          <a:p>
            <a:pPr lvl="1"/>
            <a:r>
              <a:rPr lang="es-ES" altLang="es-ES" noProof="0" dirty="0"/>
              <a:t>Datos se almacenan en su formato original y bruto, sin procesar. Puede incluir archivos JSON, CSV, XML, logs, imágenes, videos, etc.</a:t>
            </a:r>
          </a:p>
          <a:p>
            <a:pPr lvl="1"/>
            <a:r>
              <a:rPr lang="es-ES" altLang="es-ES" noProof="0" dirty="0"/>
              <a:t>Los datos se organizan en carpetas y subcarpetas en un sistema de archivos distribuido, como HDFS (Hadoop Distributed File System) o en almacenamiento en la nube como Amazon S3, Azure Data Lake Storage o Google Cloud Storage.</a:t>
            </a:r>
          </a:p>
          <a:p>
            <a:pPr lvl="0"/>
            <a:r>
              <a:rPr lang="es-ES" altLang="es-ES" noProof="0" dirty="0"/>
              <a:t>Estructuras de Datos Semi-estructurados y No Estructurados:</a:t>
            </a:r>
          </a:p>
          <a:p>
            <a:pPr lvl="1"/>
            <a:r>
              <a:rPr lang="es-ES" altLang="es-ES" noProof="0" dirty="0"/>
              <a:t>Los datos semi-estructurados (JSON, XML) y no estructurados (imágenes, videos, archivos de texto) se almacenan en su forma nativa.</a:t>
            </a:r>
          </a:p>
          <a:p>
            <a:pPr lvl="1"/>
            <a:r>
              <a:rPr lang="es-ES" altLang="es-ES" noProof="0" dirty="0"/>
              <a:t>No requieren un esquema predefinido, lo que permite gran flexibilidad y escalabilidad.</a:t>
            </a:r>
          </a:p>
          <a:p>
            <a:pPr lvl="0"/>
            <a:r>
              <a:rPr lang="es-ES" altLang="es-ES" noProof="0" dirty="0"/>
              <a:t>Metadatos y Catálogo de Datos:</a:t>
            </a:r>
          </a:p>
          <a:p>
            <a:pPr lvl="1"/>
            <a:r>
              <a:rPr lang="es-ES" altLang="es-ES" noProof="0" dirty="0"/>
              <a:t>Los data lakes utilizan catálogos de datos (como Apache Hive Metastore o AWS Glue) para mantener metadatos sobre los archivos almacenados.</a:t>
            </a:r>
          </a:p>
          <a:p>
            <a:pPr lvl="1"/>
            <a:r>
              <a:rPr lang="es-ES" altLang="es-ES" noProof="0" dirty="0"/>
              <a:t>Los metadatos incluyen información sobre la estructura de los datos, su ubicación, y detalles para facilitar su descubrimiento y gestión.</a:t>
            </a:r>
          </a:p>
          <a:p>
            <a:pPr lvl="0"/>
            <a:r>
              <a:rPr lang="es-ES" altLang="es-ES" noProof="0" dirty="0"/>
              <a:t>Herramientas de Procesamiento:</a:t>
            </a:r>
          </a:p>
          <a:p>
            <a:pPr lvl="1"/>
            <a:r>
              <a:rPr lang="es-ES" altLang="es-ES" noProof="0" dirty="0"/>
              <a:t>Se utilizan herramientas y frameworks de procesamiento distribuido como Apache Spark, Hadoop, Presto o Databricks para leer, procesar y analizar los datos.</a:t>
            </a:r>
          </a:p>
          <a:p>
            <a:pPr lvl="1"/>
            <a:r>
              <a:rPr lang="es-ES" altLang="es-ES" noProof="0" dirty="0"/>
              <a:t>Permiten realizar transformaciones y análisis de datos en su forma bruta.</a:t>
            </a:r>
          </a:p>
        </p:txBody>
      </p:sp>
      <p:sp>
        <p:nvSpPr>
          <p:cNvPr id="4" name="Marcador de fecha 3">
            <a:extLst>
              <a:ext uri="{FF2B5EF4-FFF2-40B4-BE49-F238E27FC236}">
                <a16:creationId xmlns:a16="http://schemas.microsoft.com/office/drawing/2014/main" id="{D5312A64-27D1-E771-A253-D2BB2F041993}"/>
              </a:ext>
            </a:extLst>
          </p:cNvPr>
          <p:cNvSpPr>
            <a:spLocks noGrp="1"/>
          </p:cNvSpPr>
          <p:nvPr>
            <p:ph type="dt" sz="half" idx="15"/>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EB440175-7148-3072-49D6-A5907689AF6E}"/>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42350661-F96E-F794-FB55-C972B3C65E50}"/>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30</a:t>
            </a:fld>
            <a:endParaRPr lang="es-ES" dirty="0"/>
          </a:p>
        </p:txBody>
      </p:sp>
    </p:spTree>
    <p:extLst>
      <p:ext uri="{BB962C8B-B14F-4D97-AF65-F5344CB8AC3E}">
        <p14:creationId xmlns:p14="http://schemas.microsoft.com/office/powerpoint/2010/main" val="833914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CF9DB239-B261-C9A4-C079-5E8CE400F508}"/>
              </a:ext>
            </a:extLst>
          </p:cNvPr>
          <p:cNvSpPr>
            <a:spLocks noGrp="1"/>
          </p:cNvSpPr>
          <p:nvPr>
            <p:ph type="body" idx="1"/>
          </p:nvPr>
        </p:nvSpPr>
        <p:spPr>
          <a:xfrm>
            <a:off x="839788" y="1623758"/>
            <a:ext cx="5157787" cy="800356"/>
          </a:xfrm>
        </p:spPr>
        <p:txBody>
          <a:bodyPr/>
          <a:lstStyle/>
          <a:p>
            <a:r>
              <a:rPr lang="es-ES" noProof="0" dirty="0"/>
              <a:t>Datawarehouse</a:t>
            </a:r>
          </a:p>
        </p:txBody>
      </p:sp>
      <p:pic>
        <p:nvPicPr>
          <p:cNvPr id="11" name="Marcador de contenido 10">
            <a:extLst>
              <a:ext uri="{FF2B5EF4-FFF2-40B4-BE49-F238E27FC236}">
                <a16:creationId xmlns:a16="http://schemas.microsoft.com/office/drawing/2014/main" id="{16522940-3CE5-7BCD-0E76-2C692D179040}"/>
              </a:ext>
            </a:extLst>
          </p:cNvPr>
          <p:cNvPicPr>
            <a:picLocks noGrp="1" noChangeAspect="1"/>
          </p:cNvPicPr>
          <p:nvPr>
            <p:ph sz="half" idx="2"/>
          </p:nvPr>
        </p:nvPicPr>
        <p:blipFill>
          <a:blip r:embed="rId2"/>
          <a:stretch>
            <a:fillRect/>
          </a:stretch>
        </p:blipFill>
        <p:spPr>
          <a:xfrm>
            <a:off x="839788" y="3049279"/>
            <a:ext cx="5157787" cy="2616818"/>
          </a:xfrm>
        </p:spPr>
      </p:pic>
      <p:sp>
        <p:nvSpPr>
          <p:cNvPr id="4" name="Marcador de texto 3">
            <a:extLst>
              <a:ext uri="{FF2B5EF4-FFF2-40B4-BE49-F238E27FC236}">
                <a16:creationId xmlns:a16="http://schemas.microsoft.com/office/drawing/2014/main" id="{608EA82F-843A-516A-B08F-37D051CFA630}"/>
              </a:ext>
            </a:extLst>
          </p:cNvPr>
          <p:cNvSpPr>
            <a:spLocks noGrp="1"/>
          </p:cNvSpPr>
          <p:nvPr>
            <p:ph type="body" sz="quarter" idx="3"/>
          </p:nvPr>
        </p:nvSpPr>
        <p:spPr>
          <a:xfrm>
            <a:off x="6172200" y="1623758"/>
            <a:ext cx="5183188" cy="800356"/>
          </a:xfrm>
        </p:spPr>
        <p:txBody>
          <a:bodyPr/>
          <a:lstStyle/>
          <a:p>
            <a:r>
              <a:rPr lang="es-ES" noProof="0" dirty="0"/>
              <a:t>Datalake</a:t>
            </a:r>
          </a:p>
        </p:txBody>
      </p:sp>
      <p:pic>
        <p:nvPicPr>
          <p:cNvPr id="13" name="Marcador de contenido 12">
            <a:extLst>
              <a:ext uri="{FF2B5EF4-FFF2-40B4-BE49-F238E27FC236}">
                <a16:creationId xmlns:a16="http://schemas.microsoft.com/office/drawing/2014/main" id="{FDFAFA96-CAEA-1058-7CA3-9E584A5074CF}"/>
              </a:ext>
            </a:extLst>
          </p:cNvPr>
          <p:cNvPicPr>
            <a:picLocks noGrp="1" noChangeAspect="1"/>
          </p:cNvPicPr>
          <p:nvPr>
            <p:ph sz="quarter" idx="4"/>
          </p:nvPr>
        </p:nvPicPr>
        <p:blipFill>
          <a:blip r:embed="rId3"/>
          <a:stretch>
            <a:fillRect/>
          </a:stretch>
        </p:blipFill>
        <p:spPr>
          <a:xfrm>
            <a:off x="6229790" y="3024002"/>
            <a:ext cx="5068007" cy="2667372"/>
          </a:xfrm>
        </p:spPr>
      </p:pic>
      <p:sp>
        <p:nvSpPr>
          <p:cNvPr id="6" name="Marcador de fecha 5">
            <a:extLst>
              <a:ext uri="{FF2B5EF4-FFF2-40B4-BE49-F238E27FC236}">
                <a16:creationId xmlns:a16="http://schemas.microsoft.com/office/drawing/2014/main" id="{6B4C450B-904C-8825-16FF-1D733CAC16EE}"/>
              </a:ext>
            </a:extLst>
          </p:cNvPr>
          <p:cNvSpPr>
            <a:spLocks noGrp="1"/>
          </p:cNvSpPr>
          <p:nvPr>
            <p:ph type="dt" sz="half" idx="10"/>
          </p:nvPr>
        </p:nvSpPr>
        <p:spPr>
          <a:xfrm>
            <a:off x="814650" y="6400379"/>
            <a:ext cx="3380278" cy="365125"/>
          </a:xfrm>
        </p:spPr>
        <p:txBody>
          <a:bodyPr/>
          <a:lstStyle/>
          <a:p>
            <a:fld id="{EDDE0A68-2960-41F3-A9AF-BEEDA5DD32E0}"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49C35EB1-292C-4D96-DD09-740B610BBBC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DDE5B782-2707-94CA-7ECC-15464016A78E}"/>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1</a:t>
            </a:fld>
            <a:endParaRPr lang="es-ES" dirty="0"/>
          </a:p>
        </p:txBody>
      </p:sp>
      <p:sp>
        <p:nvSpPr>
          <p:cNvPr id="9" name="Título 8">
            <a:extLst>
              <a:ext uri="{FF2B5EF4-FFF2-40B4-BE49-F238E27FC236}">
                <a16:creationId xmlns:a16="http://schemas.microsoft.com/office/drawing/2014/main" id="{E27FAA36-4BF4-0D13-8EF6-DE0C911FE73A}"/>
              </a:ext>
            </a:extLst>
          </p:cNvPr>
          <p:cNvSpPr>
            <a:spLocks noGrp="1"/>
          </p:cNvSpPr>
          <p:nvPr>
            <p:ph type="title"/>
          </p:nvPr>
        </p:nvSpPr>
        <p:spPr>
          <a:xfrm>
            <a:off x="838200" y="365126"/>
            <a:ext cx="9840124" cy="1092200"/>
          </a:xfrm>
        </p:spPr>
        <p:txBody>
          <a:bodyPr/>
          <a:lstStyle/>
          <a:p>
            <a:r>
              <a:rPr lang="es-ES" noProof="0" dirty="0"/>
              <a:t>Representación visual Datawarehouse y Datalake</a:t>
            </a:r>
          </a:p>
        </p:txBody>
      </p:sp>
    </p:spTree>
    <p:extLst>
      <p:ext uri="{BB962C8B-B14F-4D97-AF65-F5344CB8AC3E}">
        <p14:creationId xmlns:p14="http://schemas.microsoft.com/office/powerpoint/2010/main" val="4090602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8">
            <a:extLst>
              <a:ext uri="{FF2B5EF4-FFF2-40B4-BE49-F238E27FC236}">
                <a16:creationId xmlns:a16="http://schemas.microsoft.com/office/drawing/2014/main" id="{AE891268-87B9-AC8D-F859-323BF0EF9F2A}"/>
              </a:ext>
            </a:extLst>
          </p:cNvPr>
          <p:cNvSpPr>
            <a:spLocks noGrp="1"/>
          </p:cNvSpPr>
          <p:nvPr>
            <p:ph type="title"/>
          </p:nvPr>
        </p:nvSpPr>
        <p:spPr>
          <a:xfrm>
            <a:off x="838200" y="365126"/>
            <a:ext cx="9840124" cy="1092200"/>
          </a:xfrm>
        </p:spPr>
        <p:txBody>
          <a:bodyPr anchor="b">
            <a:normAutofit/>
          </a:bodyPr>
          <a:lstStyle/>
          <a:p>
            <a:r>
              <a:rPr lang="es-ES" noProof="0" dirty="0"/>
              <a:t>Resumen</a:t>
            </a:r>
          </a:p>
        </p:txBody>
      </p:sp>
      <p:graphicFrame>
        <p:nvGraphicFramePr>
          <p:cNvPr id="31" name="Marcador de contenido 30">
            <a:extLst>
              <a:ext uri="{FF2B5EF4-FFF2-40B4-BE49-F238E27FC236}">
                <a16:creationId xmlns:a16="http://schemas.microsoft.com/office/drawing/2014/main" id="{D5D8B67F-B571-6C1B-E62C-5BF21FD61D3F}"/>
              </a:ext>
            </a:extLst>
          </p:cNvPr>
          <p:cNvGraphicFramePr>
            <a:graphicFrameLocks noGrp="1"/>
          </p:cNvGraphicFramePr>
          <p:nvPr>
            <p:ph sz="half" idx="1"/>
            <p:extLst>
              <p:ext uri="{D42A27DB-BD31-4B8C-83A1-F6EECF244321}">
                <p14:modId xmlns:p14="http://schemas.microsoft.com/office/powerpoint/2010/main" val="1756229194"/>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Marcador de contenido 10">
            <a:extLst>
              <a:ext uri="{FF2B5EF4-FFF2-40B4-BE49-F238E27FC236}">
                <a16:creationId xmlns:a16="http://schemas.microsoft.com/office/drawing/2014/main" id="{4C342AE5-16FC-1306-A83E-A48783CB8CDF}"/>
              </a:ext>
            </a:extLst>
          </p:cNvPr>
          <p:cNvSpPr>
            <a:spLocks noGrp="1"/>
          </p:cNvSpPr>
          <p:nvPr>
            <p:ph sz="quarter" idx="13"/>
          </p:nvPr>
        </p:nvSpPr>
        <p:spPr/>
        <p:txBody>
          <a:bodyPr/>
          <a:lstStyle/>
          <a:p>
            <a:endParaRPr lang="es-ES" dirty="0"/>
          </a:p>
        </p:txBody>
      </p:sp>
      <p:sp>
        <p:nvSpPr>
          <p:cNvPr id="6" name="Marcador de fecha 5">
            <a:extLst>
              <a:ext uri="{FF2B5EF4-FFF2-40B4-BE49-F238E27FC236}">
                <a16:creationId xmlns:a16="http://schemas.microsoft.com/office/drawing/2014/main" id="{1E6CE124-AD6B-B2E4-8D87-BADC0E92CD45}"/>
              </a:ext>
            </a:extLst>
          </p:cNvPr>
          <p:cNvSpPr>
            <a:spLocks noGrp="1"/>
          </p:cNvSpPr>
          <p:nvPr>
            <p:ph type="dt" sz="half" idx="14"/>
          </p:nvPr>
        </p:nvSpPr>
        <p:spPr>
          <a:xfrm>
            <a:off x="814650" y="6400379"/>
            <a:ext cx="3380278" cy="365125"/>
          </a:xfrm>
        </p:spPr>
        <p:txBody>
          <a:bodyPr anchor="ctr">
            <a:normAutofit/>
          </a:bodyPr>
          <a:lstStyle/>
          <a:p>
            <a:fld id="{EDDE0A68-2960-41F3-A9AF-BEEDA5DD32E0}"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19C0EC18-84B5-2B6B-4717-F5F0595431FB}"/>
              </a:ext>
            </a:extLst>
          </p:cNvPr>
          <p:cNvSpPr>
            <a:spLocks noGrp="1"/>
          </p:cNvSpPr>
          <p:nvPr>
            <p:ph type="ftr" sz="quarter" idx="15"/>
          </p:nvPr>
        </p:nvSpPr>
        <p:spPr>
          <a:xfrm>
            <a:off x="4622986" y="6421474"/>
            <a:ext cx="5989596" cy="365125"/>
          </a:xfrm>
        </p:spPr>
        <p:txBody>
          <a:bodyPr anchor="ctr">
            <a:normAutofit/>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614A1E1B-0C1C-5842-1094-F58D54359F3E}"/>
              </a:ext>
            </a:extLst>
          </p:cNvPr>
          <p:cNvSpPr>
            <a:spLocks noGrp="1"/>
          </p:cNvSpPr>
          <p:nvPr>
            <p:ph type="sldNum" sz="quarter" idx="16"/>
          </p:nvPr>
        </p:nvSpPr>
        <p:spPr>
          <a:xfrm>
            <a:off x="10801350" y="6421474"/>
            <a:ext cx="576000" cy="365125"/>
          </a:xfrm>
        </p:spPr>
        <p:txBody>
          <a:bodyPr anchor="ctr">
            <a:normAutofit/>
          </a:bodyPr>
          <a:lstStyle/>
          <a:p>
            <a:fld id="{55440F6C-613C-488D-819E-DA6065366E0E}" type="slidenum">
              <a:rPr lang="es-ES" smtClean="0"/>
              <a:pPr/>
              <a:t>32</a:t>
            </a:fld>
            <a:endParaRPr lang="es-ES" dirty="0"/>
          </a:p>
        </p:txBody>
      </p:sp>
      <p:pic>
        <p:nvPicPr>
          <p:cNvPr id="19" name="Picture 2" descr="Data warehouse icon logo design. Vector illustration technology solution  tend concept design. vector de Stock | Adobe Stock">
            <a:extLst>
              <a:ext uri="{FF2B5EF4-FFF2-40B4-BE49-F238E27FC236}">
                <a16:creationId xmlns:a16="http://schemas.microsoft.com/office/drawing/2014/main" id="{369E13EC-A001-AF03-0EFB-885E7AE400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625" y="1385963"/>
            <a:ext cx="2736000" cy="2736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Data lake - Free electronics icons">
            <a:extLst>
              <a:ext uri="{FF2B5EF4-FFF2-40B4-BE49-F238E27FC236}">
                <a16:creationId xmlns:a16="http://schemas.microsoft.com/office/drawing/2014/main" id="{EF79D8B4-0A63-793B-682E-2AE2ED7822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2862" y="3800242"/>
            <a:ext cx="1907775" cy="190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76523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B96DDF6-C9BC-56C5-CD39-7031323D5E6F}"/>
              </a:ext>
            </a:extLst>
          </p:cNvPr>
          <p:cNvSpPr>
            <a:spLocks noGrp="1"/>
          </p:cNvSpPr>
          <p:nvPr>
            <p:ph type="title"/>
          </p:nvPr>
        </p:nvSpPr>
        <p:spPr>
          <a:xfrm>
            <a:off x="838200" y="365126"/>
            <a:ext cx="9840124" cy="1092200"/>
          </a:xfrm>
        </p:spPr>
        <p:txBody>
          <a:bodyPr/>
          <a:lstStyle/>
          <a:p>
            <a:r>
              <a:rPr lang="es-ES" noProof="0" dirty="0"/>
              <a:t>Almacenamiento físico: On premise, Nube, Mixto</a:t>
            </a:r>
          </a:p>
        </p:txBody>
      </p:sp>
      <p:pic>
        <p:nvPicPr>
          <p:cNvPr id="9" name="Marcador de posición de imagen 8">
            <a:extLst>
              <a:ext uri="{FF2B5EF4-FFF2-40B4-BE49-F238E27FC236}">
                <a16:creationId xmlns:a16="http://schemas.microsoft.com/office/drawing/2014/main" id="{3E4ED532-BD9B-CED3-A6C7-38E80D6857F7}"/>
              </a:ext>
            </a:extLst>
          </p:cNvPr>
          <p:cNvPicPr>
            <a:picLocks noGrp="1" noChangeAspect="1"/>
          </p:cNvPicPr>
          <p:nvPr>
            <p:ph type="pic" sz="quarter" idx="13"/>
          </p:nvPr>
        </p:nvPicPr>
        <p:blipFill>
          <a:blip r:embed="rId2">
            <a:clrChange>
              <a:clrFrom>
                <a:srgbClr val="F4F4F6"/>
              </a:clrFrom>
              <a:clrTo>
                <a:srgbClr val="F4F4F6">
                  <a:alpha val="0"/>
                </a:srgbClr>
              </a:clrTo>
            </a:clrChange>
            <a:duotone>
              <a:schemeClr val="accent1">
                <a:shade val="45000"/>
                <a:satMod val="135000"/>
              </a:schemeClr>
              <a:prstClr val="white"/>
            </a:duotone>
          </a:blip>
          <a:srcRect l="2402" r="2402"/>
          <a:stretch/>
        </p:blipFill>
        <p:spPr>
          <a:xfrm>
            <a:off x="728662" y="2533649"/>
            <a:ext cx="2736000" cy="2736000"/>
          </a:xfrm>
        </p:spPr>
      </p:pic>
      <p:graphicFrame>
        <p:nvGraphicFramePr>
          <p:cNvPr id="17" name="Marcador de contenido 16">
            <a:extLst>
              <a:ext uri="{FF2B5EF4-FFF2-40B4-BE49-F238E27FC236}">
                <a16:creationId xmlns:a16="http://schemas.microsoft.com/office/drawing/2014/main" id="{FC821B47-3542-D0D4-EF48-2F8C5106A829}"/>
              </a:ext>
            </a:extLst>
          </p:cNvPr>
          <p:cNvGraphicFramePr>
            <a:graphicFrameLocks noGrp="1"/>
          </p:cNvGraphicFramePr>
          <p:nvPr>
            <p:ph sz="quarter" idx="14"/>
            <p:extLst>
              <p:ext uri="{D42A27DB-BD31-4B8C-83A1-F6EECF244321}">
                <p14:modId xmlns:p14="http://schemas.microsoft.com/office/powerpoint/2010/main" val="1062954331"/>
              </p:ext>
            </p:extLst>
          </p:nvPr>
        </p:nvGraphicFramePr>
        <p:xfrm>
          <a:off x="3533775" y="1657350"/>
          <a:ext cx="7843838" cy="445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Marcador de fecha 3">
            <a:extLst>
              <a:ext uri="{FF2B5EF4-FFF2-40B4-BE49-F238E27FC236}">
                <a16:creationId xmlns:a16="http://schemas.microsoft.com/office/drawing/2014/main" id="{7343DAEA-0CD3-76D3-7EDC-E66F320F0335}"/>
              </a:ext>
            </a:extLst>
          </p:cNvPr>
          <p:cNvSpPr>
            <a:spLocks noGrp="1"/>
          </p:cNvSpPr>
          <p:nvPr>
            <p:ph type="dt" sz="half" idx="15"/>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54242069-6176-43E8-F59F-622F34820A22}"/>
              </a:ext>
            </a:extLst>
          </p:cNvPr>
          <p:cNvSpPr>
            <a:spLocks noGrp="1"/>
          </p:cNvSpPr>
          <p:nvPr>
            <p:ph type="ftr" sz="quarter" idx="16"/>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278B40D0-E766-DFE9-0C8D-36176706CBD4}"/>
              </a:ext>
            </a:extLst>
          </p:cNvPr>
          <p:cNvSpPr>
            <a:spLocks noGrp="1"/>
          </p:cNvSpPr>
          <p:nvPr>
            <p:ph type="sldNum" sz="quarter" idx="17"/>
          </p:nvPr>
        </p:nvSpPr>
        <p:spPr>
          <a:xfrm>
            <a:off x="10801350" y="6421474"/>
            <a:ext cx="576000" cy="365125"/>
          </a:xfrm>
        </p:spPr>
        <p:txBody>
          <a:bodyPr/>
          <a:lstStyle/>
          <a:p>
            <a:fld id="{55440F6C-613C-488D-819E-DA6065366E0E}" type="slidenum">
              <a:rPr lang="es-ES" smtClean="0"/>
              <a:pPr/>
              <a:t>33</a:t>
            </a:fld>
            <a:endParaRPr lang="es-ES" dirty="0"/>
          </a:p>
        </p:txBody>
      </p:sp>
    </p:spTree>
    <p:extLst>
      <p:ext uri="{BB962C8B-B14F-4D97-AF65-F5344CB8AC3E}">
        <p14:creationId xmlns:p14="http://schemas.microsoft.com/office/powerpoint/2010/main" val="7999142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46BE55F1-8F3C-525D-9962-3D9BEBA1F628}"/>
              </a:ext>
            </a:extLst>
          </p:cNvPr>
          <p:cNvSpPr>
            <a:spLocks noGrp="1"/>
          </p:cNvSpPr>
          <p:nvPr>
            <p:ph type="title"/>
          </p:nvPr>
        </p:nvSpPr>
        <p:spPr>
          <a:xfrm>
            <a:off x="838200" y="365126"/>
            <a:ext cx="9840124" cy="1092200"/>
          </a:xfrm>
        </p:spPr>
        <p:txBody>
          <a:bodyPr/>
          <a:lstStyle/>
          <a:p>
            <a:r>
              <a:rPr lang="es-ES" noProof="0" dirty="0"/>
              <a:t>Comparativa de los tres sistemas de almacenamiento físico 1/2</a:t>
            </a:r>
          </a:p>
        </p:txBody>
      </p:sp>
      <p:graphicFrame>
        <p:nvGraphicFramePr>
          <p:cNvPr id="8" name="Marcador de contenido 7">
            <a:extLst>
              <a:ext uri="{FF2B5EF4-FFF2-40B4-BE49-F238E27FC236}">
                <a16:creationId xmlns:a16="http://schemas.microsoft.com/office/drawing/2014/main" id="{290B82BE-6FEE-4D90-04D5-317F8AA6C0F2}"/>
              </a:ext>
            </a:extLst>
          </p:cNvPr>
          <p:cNvGraphicFramePr>
            <a:graphicFrameLocks noGrp="1"/>
          </p:cNvGraphicFramePr>
          <p:nvPr>
            <p:ph idx="1"/>
            <p:extLst>
              <p:ext uri="{D42A27DB-BD31-4B8C-83A1-F6EECF244321}">
                <p14:modId xmlns:p14="http://schemas.microsoft.com/office/powerpoint/2010/main" val="3601286223"/>
              </p:ext>
            </p:extLst>
          </p:nvPr>
        </p:nvGraphicFramePr>
        <p:xfrm>
          <a:off x="144930" y="1407370"/>
          <a:ext cx="11787560" cy="4487359"/>
        </p:xfrm>
        <a:graphic>
          <a:graphicData uri="http://schemas.openxmlformats.org/drawingml/2006/table">
            <a:tbl>
              <a:tblPr firstRow="1" firstCol="1" bandRow="1">
                <a:tableStyleId>{5C22544A-7EE6-4342-B048-85BDC9FD1C3A}</a:tableStyleId>
              </a:tblPr>
              <a:tblGrid>
                <a:gridCol w="2067560">
                  <a:extLst>
                    <a:ext uri="{9D8B030D-6E8A-4147-A177-3AD203B41FA5}">
                      <a16:colId xmlns:a16="http://schemas.microsoft.com/office/drawing/2014/main" val="2289421613"/>
                    </a:ext>
                  </a:extLst>
                </a:gridCol>
                <a:gridCol w="3240000">
                  <a:extLst>
                    <a:ext uri="{9D8B030D-6E8A-4147-A177-3AD203B41FA5}">
                      <a16:colId xmlns:a16="http://schemas.microsoft.com/office/drawing/2014/main" val="367068440"/>
                    </a:ext>
                  </a:extLst>
                </a:gridCol>
                <a:gridCol w="3240000">
                  <a:extLst>
                    <a:ext uri="{9D8B030D-6E8A-4147-A177-3AD203B41FA5}">
                      <a16:colId xmlns:a16="http://schemas.microsoft.com/office/drawing/2014/main" val="2452114841"/>
                    </a:ext>
                  </a:extLst>
                </a:gridCol>
                <a:gridCol w="3240000">
                  <a:extLst>
                    <a:ext uri="{9D8B030D-6E8A-4147-A177-3AD203B41FA5}">
                      <a16:colId xmlns:a16="http://schemas.microsoft.com/office/drawing/2014/main" val="1495412290"/>
                    </a:ext>
                  </a:extLst>
                </a:gridCol>
              </a:tblGrid>
              <a:tr h="372559">
                <a:tc>
                  <a:txBody>
                    <a:bodyPr/>
                    <a:lstStyle/>
                    <a:p>
                      <a:endParaRPr lang="es-ES" sz="1800" dirty="0"/>
                    </a:p>
                  </a:txBody>
                  <a:tcPr/>
                </a:tc>
                <a:tc>
                  <a:txBody>
                    <a:bodyPr/>
                    <a:lstStyle/>
                    <a:p>
                      <a:pPr algn="ctr"/>
                      <a:r>
                        <a:rPr lang="es-ES" sz="1800" dirty="0"/>
                        <a:t>On premise</a:t>
                      </a:r>
                    </a:p>
                  </a:txBody>
                  <a:tcPr/>
                </a:tc>
                <a:tc>
                  <a:txBody>
                    <a:bodyPr/>
                    <a:lstStyle/>
                    <a:p>
                      <a:pPr algn="ctr"/>
                      <a:r>
                        <a:rPr lang="es-ES" sz="1800" dirty="0"/>
                        <a:t>Nube</a:t>
                      </a:r>
                    </a:p>
                  </a:txBody>
                  <a:tcPr/>
                </a:tc>
                <a:tc>
                  <a:txBody>
                    <a:bodyPr/>
                    <a:lstStyle/>
                    <a:p>
                      <a:pPr algn="ctr"/>
                      <a:r>
                        <a:rPr lang="es-ES" sz="1800" dirty="0"/>
                        <a:t>Mixto</a:t>
                      </a:r>
                    </a:p>
                  </a:txBody>
                  <a:tcPr/>
                </a:tc>
                <a:extLst>
                  <a:ext uri="{0D108BD9-81ED-4DB2-BD59-A6C34878D82A}">
                    <a16:rowId xmlns:a16="http://schemas.microsoft.com/office/drawing/2014/main" val="1000105492"/>
                  </a:ext>
                </a:extLst>
              </a:tr>
              <a:tr h="731520">
                <a:tc>
                  <a:txBody>
                    <a:bodyPr/>
                    <a:lstStyle/>
                    <a:p>
                      <a:r>
                        <a:rPr lang="es-ES" sz="1800" dirty="0"/>
                        <a:t>Control</a:t>
                      </a:r>
                    </a:p>
                  </a:txBody>
                  <a:tcPr anchor="ctr"/>
                </a:tc>
                <a:tc>
                  <a:txBody>
                    <a:bodyPr/>
                    <a:lstStyle/>
                    <a:p>
                      <a:r>
                        <a:rPr lang="es-ES" sz="1800" dirty="0"/>
                        <a:t>La organización tiene control total sobre hardware, software, seguridad y mantenimiento.</a:t>
                      </a:r>
                    </a:p>
                  </a:txBody>
                  <a:tcPr/>
                </a:tc>
                <a:tc>
                  <a:txBody>
                    <a:bodyPr/>
                    <a:lstStyle/>
                    <a:p>
                      <a:r>
                        <a:rPr lang="es-ES" sz="1800" dirty="0"/>
                        <a:t>Lo delegado por el proveedor de la nube que no suele ser mucho</a:t>
                      </a:r>
                    </a:p>
                  </a:txBody>
                  <a:tcPr/>
                </a:tc>
                <a:tc>
                  <a:txBody>
                    <a:bodyPr/>
                    <a:lstStyle/>
                    <a:p>
                      <a:r>
                        <a:rPr lang="es-ES" sz="1800" dirty="0"/>
                        <a:t>La gestión de un entorno híbrido es más compleja, ya que implica coordinar entre diferentes sistemas y plataformas.</a:t>
                      </a:r>
                    </a:p>
                  </a:txBody>
                  <a:tcPr/>
                </a:tc>
                <a:extLst>
                  <a:ext uri="{0D108BD9-81ED-4DB2-BD59-A6C34878D82A}">
                    <a16:rowId xmlns:a16="http://schemas.microsoft.com/office/drawing/2014/main" val="4161269383"/>
                  </a:ext>
                </a:extLst>
              </a:tr>
              <a:tr h="762000">
                <a:tc>
                  <a:txBody>
                    <a:bodyPr/>
                    <a:lstStyle/>
                    <a:p>
                      <a:r>
                        <a:rPr lang="es-ES" sz="1800" dirty="0"/>
                        <a:t>Costes iniciales - Kapex</a:t>
                      </a:r>
                    </a:p>
                  </a:txBody>
                  <a:tcPr anchor="ctr"/>
                </a:tc>
                <a:tc>
                  <a:txBody>
                    <a:bodyPr/>
                    <a:lstStyle/>
                    <a:p>
                      <a:r>
                        <a:rPr lang="es-ES" sz="1800" dirty="0"/>
                        <a:t>Requiere una inversión significativa en hardware, infraestructura física y personal para el mantenimiento.</a:t>
                      </a:r>
                    </a:p>
                  </a:txBody>
                  <a:tcPr/>
                </a:tc>
                <a:tc>
                  <a:txBody>
                    <a:bodyPr/>
                    <a:lstStyle/>
                    <a:p>
                      <a:r>
                        <a:rPr lang="es-ES" sz="1800" dirty="0"/>
                        <a:t>Bajo</a:t>
                      </a:r>
                    </a:p>
                  </a:txBody>
                  <a:tcPr/>
                </a:tc>
                <a:tc>
                  <a:txBody>
                    <a:bodyPr/>
                    <a:lstStyle/>
                    <a:p>
                      <a:r>
                        <a:rPr lang="es-ES" sz="1800" dirty="0"/>
                        <a:t>Moderado, la conjunción de los dos mundos.</a:t>
                      </a:r>
                    </a:p>
                  </a:txBody>
                  <a:tcPr/>
                </a:tc>
                <a:extLst>
                  <a:ext uri="{0D108BD9-81ED-4DB2-BD59-A6C34878D82A}">
                    <a16:rowId xmlns:a16="http://schemas.microsoft.com/office/drawing/2014/main" val="2084971364"/>
                  </a:ext>
                </a:extLst>
              </a:tr>
              <a:tr h="701040">
                <a:tc>
                  <a:txBody>
                    <a:bodyPr/>
                    <a:lstStyle/>
                    <a:p>
                      <a:r>
                        <a:rPr lang="es-ES" sz="1800" dirty="0"/>
                        <a:t>Costes operativos - Opex</a:t>
                      </a:r>
                    </a:p>
                  </a:txBody>
                  <a:tcPr anchor="ctr"/>
                </a:tc>
                <a:tc>
                  <a:txBody>
                    <a:bodyPr/>
                    <a:lstStyle/>
                    <a:p>
                      <a:r>
                        <a:rPr lang="es-ES" sz="1800" dirty="0"/>
                        <a:t>Alto, la empresa se lo mantiene.</a:t>
                      </a:r>
                    </a:p>
                  </a:txBody>
                  <a:tcPr/>
                </a:tc>
                <a:tc>
                  <a:txBody>
                    <a:bodyPr/>
                    <a:lstStyle/>
                    <a:p>
                      <a:r>
                        <a:rPr lang="es-ES" sz="1800" dirty="0"/>
                        <a:t>Medio. El proveedor de la nube se encarga del mantenimiento, actualizaciones y gestión de la infraestructura.</a:t>
                      </a:r>
                    </a:p>
                  </a:txBody>
                  <a:tcPr/>
                </a:tc>
                <a:tc>
                  <a:txBody>
                    <a:bodyPr/>
                    <a:lstStyle/>
                    <a:p>
                      <a:r>
                        <a:rPr lang="es-ES" sz="1800" dirty="0"/>
                        <a:t>Medio – Alto. Algunos, utilizan almacenamiento on-premise para datos críticos y sensibles, y la nube para datos menos sensibles o para necesidades de expansión temporales.</a:t>
                      </a:r>
                    </a:p>
                  </a:txBody>
                  <a:tcPr/>
                </a:tc>
                <a:extLst>
                  <a:ext uri="{0D108BD9-81ED-4DB2-BD59-A6C34878D82A}">
                    <a16:rowId xmlns:a16="http://schemas.microsoft.com/office/drawing/2014/main" val="243693225"/>
                  </a:ext>
                </a:extLst>
              </a:tr>
            </a:tbl>
          </a:graphicData>
        </a:graphic>
      </p:graphicFrame>
      <p:sp>
        <p:nvSpPr>
          <p:cNvPr id="3" name="Marcador de fecha 2">
            <a:extLst>
              <a:ext uri="{FF2B5EF4-FFF2-40B4-BE49-F238E27FC236}">
                <a16:creationId xmlns:a16="http://schemas.microsoft.com/office/drawing/2014/main" id="{9658774B-6814-485C-4D6C-61E1BC728666}"/>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DB02808-A39F-033D-9FB1-6E6A7B88B5B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0F63DF8-8FE3-F87E-2A6C-F0B5E472D79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4</a:t>
            </a:fld>
            <a:endParaRPr lang="es-ES" dirty="0"/>
          </a:p>
        </p:txBody>
      </p:sp>
    </p:spTree>
    <p:extLst>
      <p:ext uri="{BB962C8B-B14F-4D97-AF65-F5344CB8AC3E}">
        <p14:creationId xmlns:p14="http://schemas.microsoft.com/office/powerpoint/2010/main" val="4082981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46BE55F1-8F3C-525D-9962-3D9BEBA1F628}"/>
              </a:ext>
            </a:extLst>
          </p:cNvPr>
          <p:cNvSpPr>
            <a:spLocks noGrp="1"/>
          </p:cNvSpPr>
          <p:nvPr>
            <p:ph type="title"/>
          </p:nvPr>
        </p:nvSpPr>
        <p:spPr>
          <a:xfrm>
            <a:off x="838200" y="365126"/>
            <a:ext cx="9840124" cy="1092200"/>
          </a:xfrm>
        </p:spPr>
        <p:txBody>
          <a:bodyPr/>
          <a:lstStyle/>
          <a:p>
            <a:r>
              <a:rPr lang="es-ES" noProof="0" dirty="0"/>
              <a:t>Comparativa de los tres sistemas de almacenamiento físico 2/2</a:t>
            </a:r>
          </a:p>
        </p:txBody>
      </p:sp>
      <p:graphicFrame>
        <p:nvGraphicFramePr>
          <p:cNvPr id="8" name="Marcador de contenido 7">
            <a:extLst>
              <a:ext uri="{FF2B5EF4-FFF2-40B4-BE49-F238E27FC236}">
                <a16:creationId xmlns:a16="http://schemas.microsoft.com/office/drawing/2014/main" id="{290B82BE-6FEE-4D90-04D5-317F8AA6C0F2}"/>
              </a:ext>
            </a:extLst>
          </p:cNvPr>
          <p:cNvGraphicFramePr>
            <a:graphicFrameLocks noGrp="1"/>
          </p:cNvGraphicFramePr>
          <p:nvPr>
            <p:ph idx="1"/>
            <p:extLst>
              <p:ext uri="{D42A27DB-BD31-4B8C-83A1-F6EECF244321}">
                <p14:modId xmlns:p14="http://schemas.microsoft.com/office/powerpoint/2010/main" val="3801662459"/>
              </p:ext>
            </p:extLst>
          </p:nvPr>
        </p:nvGraphicFramePr>
        <p:xfrm>
          <a:off x="61259" y="1566320"/>
          <a:ext cx="11787560" cy="4121599"/>
        </p:xfrm>
        <a:graphic>
          <a:graphicData uri="http://schemas.openxmlformats.org/drawingml/2006/table">
            <a:tbl>
              <a:tblPr firstRow="1" firstCol="1" bandRow="1">
                <a:tableStyleId>{5C22544A-7EE6-4342-B048-85BDC9FD1C3A}</a:tableStyleId>
              </a:tblPr>
              <a:tblGrid>
                <a:gridCol w="2067560">
                  <a:extLst>
                    <a:ext uri="{9D8B030D-6E8A-4147-A177-3AD203B41FA5}">
                      <a16:colId xmlns:a16="http://schemas.microsoft.com/office/drawing/2014/main" val="2289421613"/>
                    </a:ext>
                  </a:extLst>
                </a:gridCol>
                <a:gridCol w="3240000">
                  <a:extLst>
                    <a:ext uri="{9D8B030D-6E8A-4147-A177-3AD203B41FA5}">
                      <a16:colId xmlns:a16="http://schemas.microsoft.com/office/drawing/2014/main" val="367068440"/>
                    </a:ext>
                  </a:extLst>
                </a:gridCol>
                <a:gridCol w="3240000">
                  <a:extLst>
                    <a:ext uri="{9D8B030D-6E8A-4147-A177-3AD203B41FA5}">
                      <a16:colId xmlns:a16="http://schemas.microsoft.com/office/drawing/2014/main" val="2452114841"/>
                    </a:ext>
                  </a:extLst>
                </a:gridCol>
                <a:gridCol w="3240000">
                  <a:extLst>
                    <a:ext uri="{9D8B030D-6E8A-4147-A177-3AD203B41FA5}">
                      <a16:colId xmlns:a16="http://schemas.microsoft.com/office/drawing/2014/main" val="1495412290"/>
                    </a:ext>
                  </a:extLst>
                </a:gridCol>
              </a:tblGrid>
              <a:tr h="372559">
                <a:tc>
                  <a:txBody>
                    <a:bodyPr/>
                    <a:lstStyle/>
                    <a:p>
                      <a:endParaRPr lang="es-ES" sz="1800" dirty="0"/>
                    </a:p>
                  </a:txBody>
                  <a:tcPr/>
                </a:tc>
                <a:tc>
                  <a:txBody>
                    <a:bodyPr/>
                    <a:lstStyle/>
                    <a:p>
                      <a:pPr algn="ctr"/>
                      <a:r>
                        <a:rPr lang="es-ES" sz="1800" dirty="0"/>
                        <a:t>On premise</a:t>
                      </a:r>
                    </a:p>
                  </a:txBody>
                  <a:tcPr/>
                </a:tc>
                <a:tc>
                  <a:txBody>
                    <a:bodyPr/>
                    <a:lstStyle/>
                    <a:p>
                      <a:pPr algn="ctr"/>
                      <a:r>
                        <a:rPr lang="es-ES" sz="1800" dirty="0"/>
                        <a:t>Nube</a:t>
                      </a:r>
                    </a:p>
                  </a:txBody>
                  <a:tcPr/>
                </a:tc>
                <a:tc>
                  <a:txBody>
                    <a:bodyPr/>
                    <a:lstStyle/>
                    <a:p>
                      <a:pPr algn="ctr"/>
                      <a:r>
                        <a:rPr lang="es-ES" sz="1800" dirty="0"/>
                        <a:t>Mixto</a:t>
                      </a:r>
                    </a:p>
                  </a:txBody>
                  <a:tcPr/>
                </a:tc>
                <a:extLst>
                  <a:ext uri="{0D108BD9-81ED-4DB2-BD59-A6C34878D82A}">
                    <a16:rowId xmlns:a16="http://schemas.microsoft.com/office/drawing/2014/main" val="1000105492"/>
                  </a:ext>
                </a:extLst>
              </a:tr>
              <a:tr h="746160">
                <a:tc>
                  <a:txBody>
                    <a:bodyPr/>
                    <a:lstStyle/>
                    <a:p>
                      <a:r>
                        <a:rPr lang="es-ES" sz="1800" dirty="0"/>
                        <a:t>Personalización</a:t>
                      </a:r>
                    </a:p>
                  </a:txBody>
                  <a:tcPr anchor="ctr"/>
                </a:tc>
                <a:tc>
                  <a:txBody>
                    <a:bodyPr/>
                    <a:lstStyle/>
                    <a:p>
                      <a:r>
                        <a:rPr lang="es-ES" sz="1800" dirty="0"/>
                        <a:t>Puede personalizarse completamente según las necesidades específicas de la empresa.</a:t>
                      </a:r>
                    </a:p>
                  </a:txBody>
                  <a:tcPr/>
                </a:tc>
                <a:tc>
                  <a:txBody>
                    <a:bodyPr/>
                    <a:lstStyle/>
                    <a:p>
                      <a:r>
                        <a:rPr lang="es-ES" sz="1800" dirty="0"/>
                        <a:t>Depende mucho del proveedor de la nube</a:t>
                      </a:r>
                    </a:p>
                  </a:txBody>
                  <a:tcPr/>
                </a:tc>
                <a:tc>
                  <a:txBody>
                    <a:bodyPr/>
                    <a:lstStyle/>
                    <a:p>
                      <a:r>
                        <a:rPr lang="es-ES" sz="1800" dirty="0"/>
                        <a:t>Permite equilibrar la necesidad de control y seguridad del almacenamiento on-premise con la escalabilidad y flexibilidad de la nube.</a:t>
                      </a:r>
                    </a:p>
                  </a:txBody>
                  <a:tcPr/>
                </a:tc>
                <a:extLst>
                  <a:ext uri="{0D108BD9-81ED-4DB2-BD59-A6C34878D82A}">
                    <a16:rowId xmlns:a16="http://schemas.microsoft.com/office/drawing/2014/main" val="1692571064"/>
                  </a:ext>
                </a:extLst>
              </a:tr>
              <a:tr h="1403173">
                <a:tc>
                  <a:txBody>
                    <a:bodyPr/>
                    <a:lstStyle/>
                    <a:p>
                      <a:r>
                        <a:rPr lang="es-ES" sz="1800" dirty="0"/>
                        <a:t>Seguridad</a:t>
                      </a:r>
                    </a:p>
                  </a:txBody>
                  <a:tcPr anchor="ctr"/>
                </a:tc>
                <a:tc>
                  <a:txBody>
                    <a:bodyPr/>
                    <a:lstStyle/>
                    <a:p>
                      <a:r>
                        <a:rPr lang="es-ES" sz="1800" dirty="0"/>
                        <a:t>Ofrece control directo sobre las medidas de seguridad, lo que puede ser ventajoso para empresas con altos requisitos de confidencialidad y cumplimiento normativo.</a:t>
                      </a:r>
                    </a:p>
                  </a:txBody>
                  <a:tcPr/>
                </a:tc>
                <a:tc>
                  <a:txBody>
                    <a:bodyPr/>
                    <a:lstStyle/>
                    <a:p>
                      <a:r>
                        <a:rPr lang="es-ES" sz="1800" dirty="0"/>
                        <a:t>Los proveedores suelen ofrecer altos niveles de seguridad y cumplimiento con normativas internacionales, aunque la responsabilidad compartida implica que la organización también debe implementar ciertas medidas de seguridad.</a:t>
                      </a:r>
                    </a:p>
                  </a:txBody>
                  <a:tcPr/>
                </a:tc>
                <a:tc>
                  <a:txBody>
                    <a:bodyPr/>
                    <a:lstStyle/>
                    <a:p>
                      <a:r>
                        <a:rPr lang="es-ES" sz="1800" dirty="0"/>
                        <a:t>Mejora la redundancia y la capacidad de recuperación ante desastres al disponer de múltiples ubicaciones de almacenamiento.</a:t>
                      </a:r>
                    </a:p>
                  </a:txBody>
                  <a:tcPr/>
                </a:tc>
                <a:extLst>
                  <a:ext uri="{0D108BD9-81ED-4DB2-BD59-A6C34878D82A}">
                    <a16:rowId xmlns:a16="http://schemas.microsoft.com/office/drawing/2014/main" val="1325377026"/>
                  </a:ext>
                </a:extLst>
              </a:tr>
            </a:tbl>
          </a:graphicData>
        </a:graphic>
      </p:graphicFrame>
      <p:sp>
        <p:nvSpPr>
          <p:cNvPr id="3" name="Marcador de fecha 2">
            <a:extLst>
              <a:ext uri="{FF2B5EF4-FFF2-40B4-BE49-F238E27FC236}">
                <a16:creationId xmlns:a16="http://schemas.microsoft.com/office/drawing/2014/main" id="{9658774B-6814-485C-4D6C-61E1BC728666}"/>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DB02808-A39F-033D-9FB1-6E6A7B88B5B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0F63DF8-8FE3-F87E-2A6C-F0B5E472D79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5</a:t>
            </a:fld>
            <a:endParaRPr lang="es-ES" dirty="0"/>
          </a:p>
        </p:txBody>
      </p:sp>
    </p:spTree>
    <p:extLst>
      <p:ext uri="{BB962C8B-B14F-4D97-AF65-F5344CB8AC3E}">
        <p14:creationId xmlns:p14="http://schemas.microsoft.com/office/powerpoint/2010/main" val="30254880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46BE55F1-8F3C-525D-9962-3D9BEBA1F628}"/>
              </a:ext>
            </a:extLst>
          </p:cNvPr>
          <p:cNvSpPr>
            <a:spLocks noGrp="1"/>
          </p:cNvSpPr>
          <p:nvPr>
            <p:ph type="title"/>
          </p:nvPr>
        </p:nvSpPr>
        <p:spPr>
          <a:xfrm>
            <a:off x="838200" y="365126"/>
            <a:ext cx="9840124" cy="1092200"/>
          </a:xfrm>
        </p:spPr>
        <p:txBody>
          <a:bodyPr/>
          <a:lstStyle/>
          <a:p>
            <a:r>
              <a:rPr lang="es-ES" noProof="0" dirty="0"/>
              <a:t>Comparativa de los tres sistemas de almacenamiento físico 2/2</a:t>
            </a:r>
          </a:p>
        </p:txBody>
      </p:sp>
      <p:graphicFrame>
        <p:nvGraphicFramePr>
          <p:cNvPr id="8" name="Marcador de contenido 7">
            <a:extLst>
              <a:ext uri="{FF2B5EF4-FFF2-40B4-BE49-F238E27FC236}">
                <a16:creationId xmlns:a16="http://schemas.microsoft.com/office/drawing/2014/main" id="{290B82BE-6FEE-4D90-04D5-317F8AA6C0F2}"/>
              </a:ext>
            </a:extLst>
          </p:cNvPr>
          <p:cNvGraphicFramePr>
            <a:graphicFrameLocks noGrp="1"/>
          </p:cNvGraphicFramePr>
          <p:nvPr>
            <p:ph idx="1"/>
            <p:extLst>
              <p:ext uri="{D42A27DB-BD31-4B8C-83A1-F6EECF244321}">
                <p14:modId xmlns:p14="http://schemas.microsoft.com/office/powerpoint/2010/main" val="3419262091"/>
              </p:ext>
            </p:extLst>
          </p:nvPr>
        </p:nvGraphicFramePr>
        <p:xfrm>
          <a:off x="202220" y="1519272"/>
          <a:ext cx="11787560" cy="3969199"/>
        </p:xfrm>
        <a:graphic>
          <a:graphicData uri="http://schemas.openxmlformats.org/drawingml/2006/table">
            <a:tbl>
              <a:tblPr firstRow="1" firstCol="1" bandRow="1">
                <a:tableStyleId>{5C22544A-7EE6-4342-B048-85BDC9FD1C3A}</a:tableStyleId>
              </a:tblPr>
              <a:tblGrid>
                <a:gridCol w="2067560">
                  <a:extLst>
                    <a:ext uri="{9D8B030D-6E8A-4147-A177-3AD203B41FA5}">
                      <a16:colId xmlns:a16="http://schemas.microsoft.com/office/drawing/2014/main" val="2289421613"/>
                    </a:ext>
                  </a:extLst>
                </a:gridCol>
                <a:gridCol w="3240000">
                  <a:extLst>
                    <a:ext uri="{9D8B030D-6E8A-4147-A177-3AD203B41FA5}">
                      <a16:colId xmlns:a16="http://schemas.microsoft.com/office/drawing/2014/main" val="367068440"/>
                    </a:ext>
                  </a:extLst>
                </a:gridCol>
                <a:gridCol w="3240000">
                  <a:extLst>
                    <a:ext uri="{9D8B030D-6E8A-4147-A177-3AD203B41FA5}">
                      <a16:colId xmlns:a16="http://schemas.microsoft.com/office/drawing/2014/main" val="2452114841"/>
                    </a:ext>
                  </a:extLst>
                </a:gridCol>
                <a:gridCol w="3240000">
                  <a:extLst>
                    <a:ext uri="{9D8B030D-6E8A-4147-A177-3AD203B41FA5}">
                      <a16:colId xmlns:a16="http://schemas.microsoft.com/office/drawing/2014/main" val="1495412290"/>
                    </a:ext>
                  </a:extLst>
                </a:gridCol>
              </a:tblGrid>
              <a:tr h="372559">
                <a:tc>
                  <a:txBody>
                    <a:bodyPr/>
                    <a:lstStyle/>
                    <a:p>
                      <a:endParaRPr lang="es-ES" sz="1600" dirty="0"/>
                    </a:p>
                  </a:txBody>
                  <a:tcPr/>
                </a:tc>
                <a:tc>
                  <a:txBody>
                    <a:bodyPr/>
                    <a:lstStyle/>
                    <a:p>
                      <a:pPr algn="ctr"/>
                      <a:r>
                        <a:rPr lang="es-ES" sz="1600" dirty="0"/>
                        <a:t>On premise</a:t>
                      </a:r>
                    </a:p>
                  </a:txBody>
                  <a:tcPr/>
                </a:tc>
                <a:tc>
                  <a:txBody>
                    <a:bodyPr/>
                    <a:lstStyle/>
                    <a:p>
                      <a:pPr algn="ctr"/>
                      <a:r>
                        <a:rPr lang="es-ES" sz="1600" dirty="0"/>
                        <a:t>Nube</a:t>
                      </a:r>
                    </a:p>
                  </a:txBody>
                  <a:tcPr/>
                </a:tc>
                <a:tc>
                  <a:txBody>
                    <a:bodyPr/>
                    <a:lstStyle/>
                    <a:p>
                      <a:pPr algn="ctr"/>
                      <a:r>
                        <a:rPr lang="es-ES" sz="1600" dirty="0"/>
                        <a:t>Mixto</a:t>
                      </a:r>
                    </a:p>
                  </a:txBody>
                  <a:tcPr/>
                </a:tc>
                <a:extLst>
                  <a:ext uri="{0D108BD9-81ED-4DB2-BD59-A6C34878D82A}">
                    <a16:rowId xmlns:a16="http://schemas.microsoft.com/office/drawing/2014/main" val="1000105492"/>
                  </a:ext>
                </a:extLst>
              </a:tr>
              <a:tr h="1574800">
                <a:tc>
                  <a:txBody>
                    <a:bodyPr/>
                    <a:lstStyle/>
                    <a:p>
                      <a:r>
                        <a:rPr lang="es-ES" sz="1600" dirty="0"/>
                        <a:t>Escalabilidad</a:t>
                      </a:r>
                    </a:p>
                  </a:txBody>
                  <a:tcPr anchor="ctr"/>
                </a:tc>
                <a:tc>
                  <a:txBody>
                    <a:bodyPr/>
                    <a:lstStyle/>
                    <a:p>
                      <a:r>
                        <a:rPr lang="es-ES" sz="1600" dirty="0"/>
                        <a:t>La expansión de la capacidad de almacenamiento puede ser compleja y costosa, ya que requiere adquisición de nuevo hardware.</a:t>
                      </a:r>
                    </a:p>
                  </a:txBody>
                  <a:tcPr/>
                </a:tc>
                <a:tc>
                  <a:txBody>
                    <a:bodyPr/>
                    <a:lstStyle/>
                    <a:p>
                      <a:r>
                        <a:rPr lang="es-ES" sz="1600" dirty="0"/>
                        <a:t>Altamente escalable, permite aumentar o reducir la capacidad de almacenamiento según sea necesario, generalmente con un coste proporcional al uso.</a:t>
                      </a:r>
                    </a:p>
                    <a:p>
                      <a:r>
                        <a:rPr lang="es-ES" sz="1600" dirty="0"/>
                        <a:t>Costes Operativos: Modelo de pago por uso, lo que puede reducir costes iniciales pero implica gastos operativos continuos.</a:t>
                      </a:r>
                    </a:p>
                  </a:txBody>
                  <a:tcPr/>
                </a:tc>
                <a:tc>
                  <a:txBody>
                    <a:bodyPr/>
                    <a:lstStyle/>
                    <a:p>
                      <a:pPr marL="285750" indent="-285750">
                        <a:buFont typeface="Arial" panose="020B0604020202020204" pitchFamily="34" charset="0"/>
                        <a:buChar char="•"/>
                      </a:pPr>
                      <a:r>
                        <a:rPr lang="es-ES" sz="1600" dirty="0"/>
                        <a:t>Alta para la nube.</a:t>
                      </a:r>
                    </a:p>
                    <a:p>
                      <a:pPr marL="285750" indent="-285750">
                        <a:buFont typeface="Arial" panose="020B0604020202020204" pitchFamily="34" charset="0"/>
                        <a:buChar char="•"/>
                      </a:pPr>
                      <a:r>
                        <a:rPr lang="es-ES" sz="1600" dirty="0"/>
                        <a:t>Media para la parte on-premise</a:t>
                      </a:r>
                    </a:p>
                  </a:txBody>
                  <a:tcPr/>
                </a:tc>
                <a:extLst>
                  <a:ext uri="{0D108BD9-81ED-4DB2-BD59-A6C34878D82A}">
                    <a16:rowId xmlns:a16="http://schemas.microsoft.com/office/drawing/2014/main" val="932982150"/>
                  </a:ext>
                </a:extLst>
              </a:tr>
              <a:tr h="520561">
                <a:tc>
                  <a:txBody>
                    <a:bodyPr/>
                    <a:lstStyle/>
                    <a:p>
                      <a:r>
                        <a:rPr lang="es-ES" sz="1600" dirty="0"/>
                        <a:t>Accesibilidad</a:t>
                      </a:r>
                    </a:p>
                  </a:txBody>
                  <a:tcPr anchor="ctr"/>
                </a:tc>
                <a:tc>
                  <a:txBody>
                    <a:bodyPr/>
                    <a:lstStyle/>
                    <a:p>
                      <a:r>
                        <a:rPr lang="es-ES" sz="1600" dirty="0"/>
                        <a:t>Hay que gestionarla y es cara</a:t>
                      </a:r>
                    </a:p>
                  </a:txBody>
                  <a:tcPr/>
                </a:tc>
                <a:tc>
                  <a:txBody>
                    <a:bodyPr/>
                    <a:lstStyle/>
                    <a:p>
                      <a:r>
                        <a:rPr lang="es-ES" sz="1600" dirty="0"/>
                        <a:t>Acceso a datos desde cualquier lugar con conexión a Internet.</a:t>
                      </a:r>
                    </a:p>
                  </a:txBody>
                  <a:tcPr/>
                </a:tc>
                <a:tc>
                  <a:txBody>
                    <a:bodyPr/>
                    <a:lstStyle/>
                    <a:p>
                      <a:r>
                        <a:rPr lang="es-ES" sz="1600" dirty="0"/>
                        <a:t>Requiere soluciones para la movilidad y la integración de datos entre on-premise y la nube, lo que puede incluir el uso de herramientas y plataformas de gestión híbrida.</a:t>
                      </a:r>
                    </a:p>
                  </a:txBody>
                  <a:tcPr/>
                </a:tc>
                <a:extLst>
                  <a:ext uri="{0D108BD9-81ED-4DB2-BD59-A6C34878D82A}">
                    <a16:rowId xmlns:a16="http://schemas.microsoft.com/office/drawing/2014/main" val="3652578268"/>
                  </a:ext>
                </a:extLst>
              </a:tr>
            </a:tbl>
          </a:graphicData>
        </a:graphic>
      </p:graphicFrame>
      <p:sp>
        <p:nvSpPr>
          <p:cNvPr id="3" name="Marcador de fecha 2">
            <a:extLst>
              <a:ext uri="{FF2B5EF4-FFF2-40B4-BE49-F238E27FC236}">
                <a16:creationId xmlns:a16="http://schemas.microsoft.com/office/drawing/2014/main" id="{9658774B-6814-485C-4D6C-61E1BC728666}"/>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DB02808-A39F-033D-9FB1-6E6A7B88B5B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0F63DF8-8FE3-F87E-2A6C-F0B5E472D79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6</a:t>
            </a:fld>
            <a:endParaRPr lang="es-ES" dirty="0"/>
          </a:p>
        </p:txBody>
      </p:sp>
      <p:sp>
        <p:nvSpPr>
          <p:cNvPr id="2" name="Rectángulo 1">
            <a:extLst>
              <a:ext uri="{FF2B5EF4-FFF2-40B4-BE49-F238E27FC236}">
                <a16:creationId xmlns:a16="http://schemas.microsoft.com/office/drawing/2014/main" id="{6115DDB5-9AF6-A447-AA8C-811F47E120E3}"/>
              </a:ext>
            </a:extLst>
          </p:cNvPr>
          <p:cNvSpPr/>
          <p:nvPr/>
        </p:nvSpPr>
        <p:spPr>
          <a:xfrm>
            <a:off x="4274438" y="5728047"/>
            <a:ext cx="3637534" cy="923330"/>
          </a:xfrm>
          <a:prstGeom prst="rect">
            <a:avLst/>
          </a:prstGeom>
          <a:noFill/>
        </p:spPr>
        <p:txBody>
          <a:bodyPr wrap="none" lIns="91440" tIns="45720" rIns="91440" bIns="45720">
            <a:spAutoFit/>
          </a:bodyPr>
          <a:lstStyle/>
          <a:p>
            <a:pPr algn="ctr"/>
            <a:r>
              <a:rPr lang="es-E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Conclusión?</a:t>
            </a:r>
          </a:p>
        </p:txBody>
      </p:sp>
    </p:spTree>
    <p:extLst>
      <p:ext uri="{BB962C8B-B14F-4D97-AF65-F5344CB8AC3E}">
        <p14:creationId xmlns:p14="http://schemas.microsoft.com/office/powerpoint/2010/main" val="20973711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ECB7D9ED-B0B8-4C45-38F4-4BCE4688F41C}"/>
              </a:ext>
            </a:extLst>
          </p:cNvPr>
          <p:cNvSpPr>
            <a:spLocks noGrp="1"/>
          </p:cNvSpPr>
          <p:nvPr>
            <p:ph type="title"/>
          </p:nvPr>
        </p:nvSpPr>
        <p:spPr/>
        <p:txBody>
          <a:bodyPr/>
          <a:lstStyle/>
          <a:p>
            <a:endParaRPr lang="es-ES" noProof="0" dirty="0"/>
          </a:p>
        </p:txBody>
      </p:sp>
      <p:sp>
        <p:nvSpPr>
          <p:cNvPr id="7" name="CuadroTexto 16">
            <a:extLst>
              <a:ext uri="{FF2B5EF4-FFF2-40B4-BE49-F238E27FC236}">
                <a16:creationId xmlns:a16="http://schemas.microsoft.com/office/drawing/2014/main" id="{732DAB7A-6417-D8EB-CE18-69E11AC1692A}"/>
              </a:ext>
            </a:extLst>
          </p:cNvPr>
          <p:cNvSpPr txBox="1">
            <a:spLocks noGrp="1"/>
          </p:cNvSpPr>
          <p:nvPr>
            <p:ph idx="1"/>
          </p:nvPr>
        </p:nvSpPr>
        <p:spPr>
          <a:xfrm>
            <a:off x="838200" y="1825625"/>
            <a:ext cx="10515600" cy="4351338"/>
          </a:xfrm>
          <a:noFill/>
        </p:spPr>
        <p:txBody>
          <a:bodyPr wrap="square">
            <a:spAutoFit/>
          </a:bodyPr>
          <a:lstStyle/>
          <a:p>
            <a:r>
              <a:rPr lang="es-ES" noProof="0" dirty="0"/>
              <a:t>Característica,	On-Premise,	Nube,	MixtoControl	Completo,	Limitado (dependiendo del proveedor),	Mixto, Coste Inicial,	Alto	Bajo	ModeradoCoste Operativo	Moderado/Alto	Pago por uso	VariableEscalabilidad	Limitada	Alta	AltaMantenimiento	Interno	Proveedor	MixtoSeguridad	Alta (directamente controlada)	Alta (responsabilidad compartida)	MixtaAccesibilidad	Local	Global	GlobalPersonalización	Alta	Limitada (según el proveedor)	MixtaRecuperación ante Desastres	Limitada a las capacidades internas	Alta (opciones de backup en la nube)	Alta</a:t>
            </a:r>
          </a:p>
        </p:txBody>
      </p:sp>
      <p:sp>
        <p:nvSpPr>
          <p:cNvPr id="4" name="Marcador de fecha 3">
            <a:extLst>
              <a:ext uri="{FF2B5EF4-FFF2-40B4-BE49-F238E27FC236}">
                <a16:creationId xmlns:a16="http://schemas.microsoft.com/office/drawing/2014/main" id="{42BC31D8-EA1C-F2AF-3BA0-E80880596D23}"/>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ADD1C3ED-8046-D81A-7DD7-DD45C4BB2D3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1BDB4B41-C367-A792-0FA8-549CBE02138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7</a:t>
            </a:fld>
            <a:endParaRPr lang="es-ES" dirty="0"/>
          </a:p>
        </p:txBody>
      </p:sp>
    </p:spTree>
    <p:extLst>
      <p:ext uri="{BB962C8B-B14F-4D97-AF65-F5344CB8AC3E}">
        <p14:creationId xmlns:p14="http://schemas.microsoft.com/office/powerpoint/2010/main" val="8961211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253184818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8</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28000" y="182562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6769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A1412-1B44-70DD-852C-32F720A142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32C22F-4179-946F-D179-3FB66A15101A}"/>
              </a:ext>
            </a:extLst>
          </p:cNvPr>
          <p:cNvSpPr>
            <a:spLocks noGrp="1"/>
          </p:cNvSpPr>
          <p:nvPr>
            <p:ph type="title"/>
          </p:nvPr>
        </p:nvSpPr>
        <p:spPr>
          <a:xfrm>
            <a:off x="838200" y="365126"/>
            <a:ext cx="9840124" cy="1092200"/>
          </a:xfrm>
        </p:spPr>
        <p:txBody>
          <a:bodyPr>
            <a:normAutofit/>
          </a:bodyPr>
          <a:lstStyle/>
          <a:p>
            <a:r>
              <a:rPr lang="es-ES" noProof="0" dirty="0"/>
              <a:t>La información estructurada y/o no estructurada en el mundo</a:t>
            </a:r>
          </a:p>
        </p:txBody>
      </p:sp>
      <p:sp>
        <p:nvSpPr>
          <p:cNvPr id="14" name="Marcador de fecha 5">
            <a:extLst>
              <a:ext uri="{FF2B5EF4-FFF2-40B4-BE49-F238E27FC236}">
                <a16:creationId xmlns:a16="http://schemas.microsoft.com/office/drawing/2014/main" id="{7149A942-6E83-C2E9-D3AE-B1D20C9E8E9D}"/>
              </a:ext>
            </a:extLst>
          </p:cNvPr>
          <p:cNvSpPr>
            <a:spLocks noGrp="1"/>
          </p:cNvSpPr>
          <p:nvPr>
            <p:ph type="dt" sz="half" idx="10"/>
          </p:nvPr>
        </p:nvSpPr>
        <p:spPr>
          <a:xfrm>
            <a:off x="814650" y="6400379"/>
            <a:ext cx="3380278" cy="365125"/>
          </a:xfrm>
        </p:spPr>
        <p:txBody>
          <a:bodyPr/>
          <a:lstStyle/>
          <a:p>
            <a:fld id="{3B7A96DF-1BF3-493A-9FA4-27BC9B20006D}" type="datetime2">
              <a:rPr lang="es-ES" smtClean="0"/>
              <a:pPr/>
              <a:t>jueves, 19 de septiembre de 2024</a:t>
            </a:fld>
            <a:endParaRPr lang="es-ES" dirty="0"/>
          </a:p>
        </p:txBody>
      </p:sp>
      <p:sp>
        <p:nvSpPr>
          <p:cNvPr id="15" name="Marcador de pie de página 6">
            <a:extLst>
              <a:ext uri="{FF2B5EF4-FFF2-40B4-BE49-F238E27FC236}">
                <a16:creationId xmlns:a16="http://schemas.microsoft.com/office/drawing/2014/main" id="{8082E34E-94A8-6C13-FB6C-099AC8FA004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6" name="Marcador de número de diapositiva 7">
            <a:extLst>
              <a:ext uri="{FF2B5EF4-FFF2-40B4-BE49-F238E27FC236}">
                <a16:creationId xmlns:a16="http://schemas.microsoft.com/office/drawing/2014/main" id="{23DFB474-FDF7-F237-6F7A-11EAECE0FF1E}"/>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39</a:t>
            </a:fld>
            <a:endParaRPr lang="es-ES" dirty="0"/>
          </a:p>
        </p:txBody>
      </p:sp>
      <p:sp>
        <p:nvSpPr>
          <p:cNvPr id="6" name="TextBox 5">
            <a:extLst>
              <a:ext uri="{FF2B5EF4-FFF2-40B4-BE49-F238E27FC236}">
                <a16:creationId xmlns:a16="http://schemas.microsoft.com/office/drawing/2014/main" id="{21413DC3-05ED-BA26-0595-4C41D23B5D8D}"/>
              </a:ext>
            </a:extLst>
          </p:cNvPr>
          <p:cNvSpPr txBox="1"/>
          <p:nvPr/>
        </p:nvSpPr>
        <p:spPr>
          <a:xfrm>
            <a:off x="1645694" y="5282568"/>
            <a:ext cx="3528000" cy="676824"/>
          </a:xfrm>
          <a:prstGeom prst="rect">
            <a:avLst/>
          </a:prstGeom>
          <a:solidFill>
            <a:schemeClr val="accent3">
              <a:lumMod val="75000"/>
            </a:schemeClr>
          </a:solidFill>
        </p:spPr>
        <p:txBody>
          <a:bodyPr wrap="square" lIns="60678" tIns="30339" rIns="60678" bIns="30339" rtlCol="0">
            <a:spAutoFit/>
          </a:bodyPr>
          <a:lstStyle/>
          <a:p>
            <a:pPr algn="ctr"/>
            <a:r>
              <a:rPr lang="es-ES" sz="2000" dirty="0">
                <a:solidFill>
                  <a:schemeClr val="bg1"/>
                </a:solidFill>
                <a:latin typeface="Avenir LT Std 35 Light" panose="020B0402020203020204" pitchFamily="34" charset="0"/>
              </a:rPr>
              <a:t>El 80% de los datos que existen son </a:t>
            </a:r>
            <a:r>
              <a:rPr lang="es-ES" sz="2000" dirty="0">
                <a:solidFill>
                  <a:schemeClr val="bg1"/>
                </a:solidFill>
                <a:highlight>
                  <a:srgbClr val="000000"/>
                </a:highlight>
                <a:latin typeface="Avenir LT Std 35 Light" panose="020B0402020203020204" pitchFamily="34" charset="0"/>
              </a:rPr>
              <a:t>No estructurados</a:t>
            </a:r>
          </a:p>
        </p:txBody>
      </p:sp>
      <p:sp>
        <p:nvSpPr>
          <p:cNvPr id="11" name="TextBox 10">
            <a:extLst>
              <a:ext uri="{FF2B5EF4-FFF2-40B4-BE49-F238E27FC236}">
                <a16:creationId xmlns:a16="http://schemas.microsoft.com/office/drawing/2014/main" id="{3EB737AF-BFA6-FD38-CBF4-0D5166749ED6}"/>
              </a:ext>
            </a:extLst>
          </p:cNvPr>
          <p:cNvSpPr txBox="1"/>
          <p:nvPr/>
        </p:nvSpPr>
        <p:spPr>
          <a:xfrm>
            <a:off x="7038620" y="5300678"/>
            <a:ext cx="3528000" cy="676824"/>
          </a:xfrm>
          <a:prstGeom prst="rect">
            <a:avLst/>
          </a:prstGeom>
          <a:solidFill>
            <a:schemeClr val="accent3">
              <a:lumMod val="75000"/>
            </a:schemeClr>
          </a:solidFill>
        </p:spPr>
        <p:txBody>
          <a:bodyPr wrap="square" lIns="60678" tIns="30339" rIns="60678" bIns="30339" rtlCol="0">
            <a:spAutoFit/>
          </a:bodyPr>
          <a:lstStyle/>
          <a:p>
            <a:pPr algn="ctr"/>
            <a:r>
              <a:rPr lang="es-ES" sz="2000" dirty="0">
                <a:solidFill>
                  <a:schemeClr val="bg1"/>
                </a:solidFill>
                <a:latin typeface="Avenir LT Std 35 Light" panose="020B0402020203020204" pitchFamily="34" charset="0"/>
              </a:rPr>
              <a:t>El 20% de los datos que existen son </a:t>
            </a:r>
            <a:r>
              <a:rPr lang="es-ES" sz="2000" dirty="0">
                <a:solidFill>
                  <a:schemeClr val="bg1"/>
                </a:solidFill>
                <a:highlight>
                  <a:srgbClr val="000000"/>
                </a:highlight>
                <a:latin typeface="Avenir LT Std 35 Light" panose="020B0402020203020204" pitchFamily="34" charset="0"/>
              </a:rPr>
              <a:t>estructurados</a:t>
            </a:r>
          </a:p>
        </p:txBody>
      </p:sp>
      <p:pic>
        <p:nvPicPr>
          <p:cNvPr id="2050" name="Picture 2">
            <a:extLst>
              <a:ext uri="{FF2B5EF4-FFF2-40B4-BE49-F238E27FC236}">
                <a16:creationId xmlns:a16="http://schemas.microsoft.com/office/drawing/2014/main" id="{BFEBCA66-6FFE-C8BF-0AD3-0B30481C1E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9018" y="2121620"/>
            <a:ext cx="3797300" cy="2980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a:extLst>
              <a:ext uri="{FF2B5EF4-FFF2-40B4-BE49-F238E27FC236}">
                <a16:creationId xmlns:a16="http://schemas.microsoft.com/office/drawing/2014/main" id="{07D4C496-60A3-E6F2-4CAF-69067B0B1C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1000" y="2121620"/>
            <a:ext cx="3829050" cy="2980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8128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ABA298-1947-1E3E-4928-6EC4953EC6F8}"/>
              </a:ext>
            </a:extLst>
          </p:cNvPr>
          <p:cNvSpPr>
            <a:spLocks noGrp="1"/>
          </p:cNvSpPr>
          <p:nvPr>
            <p:ph type="title"/>
          </p:nvPr>
        </p:nvSpPr>
        <p:spPr>
          <a:xfrm>
            <a:off x="341194" y="3814618"/>
            <a:ext cx="4932769" cy="1876594"/>
          </a:xfrm>
        </p:spPr>
        <p:txBody>
          <a:bodyPr/>
          <a:lstStyle/>
          <a:p>
            <a:r>
              <a:rPr lang="es-ES" noProof="0" dirty="0"/>
              <a:t>Está cambiando el mundo?</a:t>
            </a:r>
          </a:p>
        </p:txBody>
      </p:sp>
      <p:sp>
        <p:nvSpPr>
          <p:cNvPr id="3" name="Marcador de fecha 2">
            <a:extLst>
              <a:ext uri="{FF2B5EF4-FFF2-40B4-BE49-F238E27FC236}">
                <a16:creationId xmlns:a16="http://schemas.microsoft.com/office/drawing/2014/main" id="{2C4B5288-ABFF-3287-7796-40DD24697FA3}"/>
              </a:ext>
            </a:extLst>
          </p:cNvPr>
          <p:cNvSpPr>
            <a:spLocks noGrp="1"/>
          </p:cNvSpPr>
          <p:nvPr>
            <p:ph type="dt" sz="half" idx="10"/>
          </p:nvPr>
        </p:nvSpPr>
        <p:spPr>
          <a:xfrm>
            <a:off x="814650" y="6400379"/>
            <a:ext cx="3380278" cy="365125"/>
          </a:xfrm>
        </p:spPr>
        <p:txBody>
          <a:bodyPr/>
          <a:lstStyle/>
          <a:p>
            <a:fld id="{B6CA7D28-ED46-45BF-AA71-430D27E694EF}"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22C39B1-3CB6-842D-A9A2-12A0FFE9037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CEF470C-2F61-2CA2-A7D4-3AE1CBAC87D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a:t>
            </a:fld>
            <a:endParaRPr lang="es-ES" dirty="0"/>
          </a:p>
        </p:txBody>
      </p:sp>
    </p:spTree>
    <p:extLst>
      <p:ext uri="{BB962C8B-B14F-4D97-AF65-F5344CB8AC3E}">
        <p14:creationId xmlns:p14="http://schemas.microsoft.com/office/powerpoint/2010/main" val="6737703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7220B-9423-7CC1-EAF8-0996C2F0F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686A96-D441-46FD-FAA7-99ECA8E97D0B}"/>
              </a:ext>
            </a:extLst>
          </p:cNvPr>
          <p:cNvSpPr>
            <a:spLocks noGrp="1"/>
          </p:cNvSpPr>
          <p:nvPr>
            <p:ph type="title"/>
          </p:nvPr>
        </p:nvSpPr>
        <p:spPr>
          <a:xfrm>
            <a:off x="838200" y="365126"/>
            <a:ext cx="4444353" cy="1092200"/>
          </a:xfrm>
        </p:spPr>
        <p:txBody>
          <a:bodyPr>
            <a:normAutofit fontScale="90000"/>
          </a:bodyPr>
          <a:lstStyle/>
          <a:p>
            <a:r>
              <a:rPr lang="es-ES" noProof="0" dirty="0"/>
              <a:t>Lo qué pasa en 2023 un minuto en internet</a:t>
            </a:r>
          </a:p>
        </p:txBody>
      </p:sp>
      <p:sp>
        <p:nvSpPr>
          <p:cNvPr id="9" name="Marcador de fecha 5">
            <a:extLst>
              <a:ext uri="{FF2B5EF4-FFF2-40B4-BE49-F238E27FC236}">
                <a16:creationId xmlns:a16="http://schemas.microsoft.com/office/drawing/2014/main" id="{7EA8EBE5-2178-F21D-657A-E36295BE3ABB}"/>
              </a:ext>
            </a:extLst>
          </p:cNvPr>
          <p:cNvSpPr>
            <a:spLocks noGrp="1"/>
          </p:cNvSpPr>
          <p:nvPr>
            <p:ph type="dt" sz="half" idx="10"/>
          </p:nvPr>
        </p:nvSpPr>
        <p:spPr>
          <a:xfrm>
            <a:off x="814650" y="6400379"/>
            <a:ext cx="3380278" cy="365125"/>
          </a:xfrm>
        </p:spPr>
        <p:txBody>
          <a:bodyPr/>
          <a:lstStyle/>
          <a:p>
            <a:fld id="{6AF62248-4982-486C-B3E1-8EEFC0221A2F}" type="datetime2">
              <a:rPr lang="es-ES" smtClean="0"/>
              <a:pPr/>
              <a:t>jueves, 19 de septiembre de 2024</a:t>
            </a:fld>
            <a:endParaRPr lang="es-ES" dirty="0"/>
          </a:p>
        </p:txBody>
      </p:sp>
      <p:sp>
        <p:nvSpPr>
          <p:cNvPr id="13" name="Marcador de pie de página 6">
            <a:extLst>
              <a:ext uri="{FF2B5EF4-FFF2-40B4-BE49-F238E27FC236}">
                <a16:creationId xmlns:a16="http://schemas.microsoft.com/office/drawing/2014/main" id="{5F4E4763-22C4-BEF2-5FC3-273B62203F9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4" name="Marcador de número de diapositiva 7">
            <a:extLst>
              <a:ext uri="{FF2B5EF4-FFF2-40B4-BE49-F238E27FC236}">
                <a16:creationId xmlns:a16="http://schemas.microsoft.com/office/drawing/2014/main" id="{C7CD157B-2771-EB78-4050-7C697811E0C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0</a:t>
            </a:fld>
            <a:endParaRPr lang="es-ES" dirty="0"/>
          </a:p>
        </p:txBody>
      </p:sp>
      <p:pic>
        <p:nvPicPr>
          <p:cNvPr id="2050" name="Picture 2" descr="Qué pasa en Internet en un minuto (2023) #Infografía - acens blog">
            <a:extLst>
              <a:ext uri="{FF2B5EF4-FFF2-40B4-BE49-F238E27FC236}">
                <a16:creationId xmlns:a16="http://schemas.microsoft.com/office/drawing/2014/main" id="{B9A6376D-22FE-EAE3-9630-E1C747445EF7}"/>
              </a:ext>
            </a:extLst>
          </p:cNvPr>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0475" b="4250"/>
          <a:stretch/>
        </p:blipFill>
        <p:spPr bwMode="auto">
          <a:xfrm>
            <a:off x="5075221" y="74706"/>
            <a:ext cx="6278579" cy="6519688"/>
          </a:xfrm>
          <a:prstGeom prst="rect">
            <a:avLst/>
          </a:prstGeom>
          <a:noFill/>
          <a:extLst>
            <a:ext uri="{909E8E84-426E-40DD-AFC4-6F175D3DCCD1}">
              <a14:hiddenFill xmlns:a14="http://schemas.microsoft.com/office/drawing/2010/main">
                <a:solidFill>
                  <a:srgbClr val="FFFFFF"/>
                </a:solidFill>
              </a14:hiddenFill>
            </a:ext>
          </a:extLst>
        </p:spPr>
      </p:pic>
      <p:sp>
        <p:nvSpPr>
          <p:cNvPr id="3" name="Rectángulo 2">
            <a:extLst>
              <a:ext uri="{FF2B5EF4-FFF2-40B4-BE49-F238E27FC236}">
                <a16:creationId xmlns:a16="http://schemas.microsoft.com/office/drawing/2014/main" id="{8DB13E41-E569-7820-B474-1F37E060EE83}"/>
              </a:ext>
            </a:extLst>
          </p:cNvPr>
          <p:cNvSpPr/>
          <p:nvPr/>
        </p:nvSpPr>
        <p:spPr>
          <a:xfrm>
            <a:off x="273603" y="1592963"/>
            <a:ext cx="4571666" cy="4708981"/>
          </a:xfrm>
          <a:prstGeom prst="rect">
            <a:avLst/>
          </a:prstGeom>
          <a:noFill/>
        </p:spPr>
        <p:txBody>
          <a:bodyPr wrap="square" lIns="91440" tIns="45720" rIns="91440" bIns="45720">
            <a:spAutoFit/>
          </a:bodyPr>
          <a:lstStyle/>
          <a:p>
            <a:r>
              <a:rPr lang="es-ES" sz="3000" dirty="0">
                <a:ln w="0"/>
                <a:solidFill>
                  <a:schemeClr val="accent1">
                    <a:lumMod val="75000"/>
                  </a:schemeClr>
                </a:solidFill>
              </a:rPr>
              <a:t>La información almacenada caduca… la mejor base de datos es Internet.  Hay en la Red una ingente cantidad de información, actualizada al minuto por instituciones y particulares. </a:t>
            </a:r>
          </a:p>
          <a:p>
            <a:r>
              <a:rPr lang="es-ES" sz="3000" dirty="0">
                <a:ln w="0"/>
                <a:solidFill>
                  <a:schemeClr val="accent1">
                    <a:lumMod val="75000"/>
                  </a:schemeClr>
                </a:solidFill>
              </a:rPr>
              <a:t>	</a:t>
            </a:r>
            <a:r>
              <a:rPr lang="es-ES" sz="3000" b="1" dirty="0">
                <a:ln w="0"/>
                <a:solidFill>
                  <a:schemeClr val="accent1">
                    <a:lumMod val="75000"/>
                  </a:schemeClr>
                </a:solidFill>
              </a:rPr>
              <a:t>- Madiva BBVA-</a:t>
            </a:r>
            <a:endParaRPr lang="es-ES" sz="3000" b="0" cap="none" spc="0" dirty="0">
              <a:ln w="0"/>
              <a:solidFill>
                <a:schemeClr val="accent1">
                  <a:lumMod val="75000"/>
                </a:schemeClr>
              </a:solidFill>
            </a:endParaRPr>
          </a:p>
        </p:txBody>
      </p:sp>
    </p:spTree>
    <p:extLst>
      <p:ext uri="{BB962C8B-B14F-4D97-AF65-F5344CB8AC3E}">
        <p14:creationId xmlns:p14="http://schemas.microsoft.com/office/powerpoint/2010/main" val="1772428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a:spLocks noGrp="1" noChangeArrowheads="1"/>
          </p:cNvSpPr>
          <p:nvPr>
            <p:ph type="title"/>
          </p:nvPr>
        </p:nvSpPr>
        <p:spPr/>
        <p:txBody>
          <a:bodyPr/>
          <a:lstStyle/>
          <a:p>
            <a:r>
              <a:rPr lang="es-ES" noProof="0" dirty="0"/>
              <a:t>Un ejemplo del organigrama de un Banco </a:t>
            </a:r>
          </a:p>
        </p:txBody>
      </p:sp>
      <p:grpSp>
        <p:nvGrpSpPr>
          <p:cNvPr id="2" name="Organization Chart 2"/>
          <p:cNvGrpSpPr>
            <a:grpSpLocks noChangeAspect="1"/>
          </p:cNvGrpSpPr>
          <p:nvPr/>
        </p:nvGrpSpPr>
        <p:grpSpPr bwMode="auto">
          <a:xfrm>
            <a:off x="1981201" y="1479530"/>
            <a:ext cx="8229598" cy="5060997"/>
            <a:chOff x="1134" y="1202"/>
            <a:chExt cx="10504" cy="7081"/>
          </a:xfrm>
        </p:grpSpPr>
        <p:cxnSp>
          <p:nvCxnSpPr>
            <p:cNvPr id="206852" name="_s206852"/>
            <p:cNvCxnSpPr>
              <a:cxnSpLocks noChangeShapeType="1"/>
              <a:stCxn id="134" idx="1"/>
              <a:endCxn id="82" idx="2"/>
            </p:cNvCxnSpPr>
            <p:nvPr/>
          </p:nvCxnSpPr>
          <p:spPr bwMode="auto">
            <a:xfrm rot="10800000">
              <a:off x="10200" y="3655"/>
              <a:ext cx="143" cy="1120"/>
            </a:xfrm>
            <a:prstGeom prst="bentConnector2">
              <a:avLst/>
            </a:prstGeom>
            <a:noFill/>
            <a:ln w="28575">
              <a:solidFill>
                <a:schemeClr val="tx1"/>
              </a:solidFill>
              <a:miter lim="800000"/>
              <a:headEnd/>
              <a:tailEnd/>
            </a:ln>
          </p:spPr>
        </p:cxnSp>
        <p:cxnSp>
          <p:nvCxnSpPr>
            <p:cNvPr id="206853" name="_s206853"/>
            <p:cNvCxnSpPr>
              <a:cxnSpLocks noChangeShapeType="1"/>
              <a:stCxn id="133" idx="1"/>
              <a:endCxn id="82" idx="2"/>
            </p:cNvCxnSpPr>
            <p:nvPr/>
          </p:nvCxnSpPr>
          <p:spPr bwMode="auto">
            <a:xfrm rot="10800000">
              <a:off x="10200" y="3655"/>
              <a:ext cx="143" cy="698"/>
            </a:xfrm>
            <a:prstGeom prst="bentConnector2">
              <a:avLst/>
            </a:prstGeom>
            <a:noFill/>
            <a:ln w="28575">
              <a:solidFill>
                <a:schemeClr val="tx1"/>
              </a:solidFill>
              <a:miter lim="800000"/>
              <a:headEnd/>
              <a:tailEnd/>
            </a:ln>
          </p:spPr>
        </p:cxnSp>
        <p:cxnSp>
          <p:nvCxnSpPr>
            <p:cNvPr id="206854" name="_s206854"/>
            <p:cNvCxnSpPr>
              <a:cxnSpLocks noChangeShapeType="1"/>
              <a:stCxn id="132" idx="1"/>
              <a:endCxn id="82" idx="2"/>
            </p:cNvCxnSpPr>
            <p:nvPr/>
          </p:nvCxnSpPr>
          <p:spPr bwMode="auto">
            <a:xfrm rot="10800000">
              <a:off x="10200" y="3655"/>
              <a:ext cx="143" cy="276"/>
            </a:xfrm>
            <a:prstGeom prst="bentConnector2">
              <a:avLst/>
            </a:prstGeom>
            <a:noFill/>
            <a:ln w="28575">
              <a:solidFill>
                <a:schemeClr val="tx1"/>
              </a:solidFill>
              <a:miter lim="800000"/>
              <a:headEnd/>
              <a:tailEnd/>
            </a:ln>
          </p:spPr>
        </p:cxnSp>
        <p:cxnSp>
          <p:nvCxnSpPr>
            <p:cNvPr id="206855" name="_s206855"/>
            <p:cNvCxnSpPr>
              <a:cxnSpLocks noChangeShapeType="1"/>
              <a:stCxn id="131" idx="1"/>
              <a:endCxn id="81" idx="2"/>
            </p:cNvCxnSpPr>
            <p:nvPr/>
          </p:nvCxnSpPr>
          <p:spPr bwMode="auto">
            <a:xfrm rot="10800000">
              <a:off x="9048" y="3655"/>
              <a:ext cx="143" cy="3222"/>
            </a:xfrm>
            <a:prstGeom prst="bentConnector2">
              <a:avLst/>
            </a:prstGeom>
            <a:noFill/>
            <a:ln w="28575">
              <a:solidFill>
                <a:schemeClr val="tx1"/>
              </a:solidFill>
              <a:miter lim="800000"/>
              <a:headEnd/>
              <a:tailEnd/>
            </a:ln>
          </p:spPr>
        </p:cxnSp>
        <p:cxnSp>
          <p:nvCxnSpPr>
            <p:cNvPr id="206856" name="_s206856"/>
            <p:cNvCxnSpPr>
              <a:cxnSpLocks noChangeShapeType="1"/>
              <a:stCxn id="130" idx="1"/>
              <a:endCxn id="81" idx="2"/>
            </p:cNvCxnSpPr>
            <p:nvPr/>
          </p:nvCxnSpPr>
          <p:spPr bwMode="auto">
            <a:xfrm rot="10800000">
              <a:off x="9048" y="3655"/>
              <a:ext cx="143" cy="2802"/>
            </a:xfrm>
            <a:prstGeom prst="bentConnector2">
              <a:avLst/>
            </a:prstGeom>
            <a:noFill/>
            <a:ln w="28575">
              <a:solidFill>
                <a:schemeClr val="tx1"/>
              </a:solidFill>
              <a:miter lim="800000"/>
              <a:headEnd/>
              <a:tailEnd/>
            </a:ln>
          </p:spPr>
        </p:cxnSp>
        <p:cxnSp>
          <p:nvCxnSpPr>
            <p:cNvPr id="206857" name="_s206857"/>
            <p:cNvCxnSpPr>
              <a:cxnSpLocks noChangeShapeType="1"/>
              <a:stCxn id="129" idx="1"/>
              <a:endCxn id="81" idx="2"/>
            </p:cNvCxnSpPr>
            <p:nvPr/>
          </p:nvCxnSpPr>
          <p:spPr bwMode="auto">
            <a:xfrm rot="10800000">
              <a:off x="9048" y="3655"/>
              <a:ext cx="143" cy="2383"/>
            </a:xfrm>
            <a:prstGeom prst="bentConnector2">
              <a:avLst/>
            </a:prstGeom>
            <a:noFill/>
            <a:ln w="28575">
              <a:solidFill>
                <a:schemeClr val="tx1"/>
              </a:solidFill>
              <a:miter lim="800000"/>
              <a:headEnd/>
              <a:tailEnd/>
            </a:ln>
          </p:spPr>
        </p:cxnSp>
        <p:cxnSp>
          <p:nvCxnSpPr>
            <p:cNvPr id="206858" name="_s206858"/>
            <p:cNvCxnSpPr>
              <a:cxnSpLocks noChangeShapeType="1"/>
              <a:stCxn id="128" idx="1"/>
              <a:endCxn id="81" idx="2"/>
            </p:cNvCxnSpPr>
            <p:nvPr/>
          </p:nvCxnSpPr>
          <p:spPr bwMode="auto">
            <a:xfrm rot="10800000">
              <a:off x="9048" y="3655"/>
              <a:ext cx="143" cy="1961"/>
            </a:xfrm>
            <a:prstGeom prst="bentConnector2">
              <a:avLst/>
            </a:prstGeom>
            <a:noFill/>
            <a:ln w="28575">
              <a:solidFill>
                <a:schemeClr val="tx1"/>
              </a:solidFill>
              <a:miter lim="800000"/>
              <a:headEnd/>
              <a:tailEnd/>
            </a:ln>
          </p:spPr>
        </p:cxnSp>
        <p:cxnSp>
          <p:nvCxnSpPr>
            <p:cNvPr id="206859" name="_s206859"/>
            <p:cNvCxnSpPr>
              <a:cxnSpLocks noChangeShapeType="1"/>
              <a:stCxn id="127" idx="1"/>
              <a:endCxn id="81" idx="2"/>
            </p:cNvCxnSpPr>
            <p:nvPr/>
          </p:nvCxnSpPr>
          <p:spPr bwMode="auto">
            <a:xfrm rot="10800000">
              <a:off x="9048" y="3655"/>
              <a:ext cx="143" cy="1539"/>
            </a:xfrm>
            <a:prstGeom prst="bentConnector2">
              <a:avLst/>
            </a:prstGeom>
            <a:noFill/>
            <a:ln w="28575">
              <a:solidFill>
                <a:schemeClr val="tx1"/>
              </a:solidFill>
              <a:miter lim="800000"/>
              <a:headEnd/>
              <a:tailEnd/>
            </a:ln>
          </p:spPr>
        </p:cxnSp>
        <p:cxnSp>
          <p:nvCxnSpPr>
            <p:cNvPr id="206860" name="_s206860"/>
            <p:cNvCxnSpPr>
              <a:cxnSpLocks noChangeShapeType="1"/>
              <a:stCxn id="126" idx="1"/>
              <a:endCxn id="81" idx="2"/>
            </p:cNvCxnSpPr>
            <p:nvPr/>
          </p:nvCxnSpPr>
          <p:spPr bwMode="auto">
            <a:xfrm rot="10800000">
              <a:off x="9048" y="3655"/>
              <a:ext cx="143" cy="1120"/>
            </a:xfrm>
            <a:prstGeom prst="bentConnector2">
              <a:avLst/>
            </a:prstGeom>
            <a:noFill/>
            <a:ln w="28575">
              <a:solidFill>
                <a:schemeClr val="tx1"/>
              </a:solidFill>
              <a:miter lim="800000"/>
              <a:headEnd/>
              <a:tailEnd/>
            </a:ln>
          </p:spPr>
        </p:cxnSp>
        <p:cxnSp>
          <p:nvCxnSpPr>
            <p:cNvPr id="206861" name="_s206861"/>
            <p:cNvCxnSpPr>
              <a:cxnSpLocks noChangeShapeType="1"/>
              <a:stCxn id="125" idx="1"/>
              <a:endCxn id="81" idx="2"/>
            </p:cNvCxnSpPr>
            <p:nvPr/>
          </p:nvCxnSpPr>
          <p:spPr bwMode="auto">
            <a:xfrm rot="10800000">
              <a:off x="9048" y="3655"/>
              <a:ext cx="143" cy="698"/>
            </a:xfrm>
            <a:prstGeom prst="bentConnector2">
              <a:avLst/>
            </a:prstGeom>
            <a:noFill/>
            <a:ln w="28575">
              <a:solidFill>
                <a:schemeClr val="tx1"/>
              </a:solidFill>
              <a:miter lim="800000"/>
              <a:headEnd/>
              <a:tailEnd/>
            </a:ln>
          </p:spPr>
        </p:cxnSp>
        <p:cxnSp>
          <p:nvCxnSpPr>
            <p:cNvPr id="206862" name="_s206862"/>
            <p:cNvCxnSpPr>
              <a:cxnSpLocks noChangeShapeType="1"/>
              <a:stCxn id="124" idx="1"/>
              <a:endCxn id="81" idx="2"/>
            </p:cNvCxnSpPr>
            <p:nvPr/>
          </p:nvCxnSpPr>
          <p:spPr bwMode="auto">
            <a:xfrm rot="10800000">
              <a:off x="9048" y="3655"/>
              <a:ext cx="143" cy="276"/>
            </a:xfrm>
            <a:prstGeom prst="bentConnector2">
              <a:avLst/>
            </a:prstGeom>
            <a:noFill/>
            <a:ln w="28575">
              <a:solidFill>
                <a:schemeClr val="tx1"/>
              </a:solidFill>
              <a:miter lim="800000"/>
              <a:headEnd/>
              <a:tailEnd/>
            </a:ln>
          </p:spPr>
        </p:cxnSp>
        <p:cxnSp>
          <p:nvCxnSpPr>
            <p:cNvPr id="206863" name="_s206863"/>
            <p:cNvCxnSpPr>
              <a:cxnSpLocks noChangeShapeType="1"/>
              <a:stCxn id="123" idx="1"/>
              <a:endCxn id="115" idx="2"/>
            </p:cNvCxnSpPr>
            <p:nvPr/>
          </p:nvCxnSpPr>
          <p:spPr bwMode="auto">
            <a:xfrm rot="10800000">
              <a:off x="7897" y="5759"/>
              <a:ext cx="143" cy="2381"/>
            </a:xfrm>
            <a:prstGeom prst="bentConnector2">
              <a:avLst/>
            </a:prstGeom>
            <a:noFill/>
            <a:ln w="28575">
              <a:solidFill>
                <a:schemeClr val="tx1"/>
              </a:solidFill>
              <a:miter lim="800000"/>
              <a:headEnd/>
              <a:tailEnd/>
            </a:ln>
          </p:spPr>
        </p:cxnSp>
        <p:cxnSp>
          <p:nvCxnSpPr>
            <p:cNvPr id="206864" name="_s206864"/>
            <p:cNvCxnSpPr>
              <a:cxnSpLocks noChangeShapeType="1"/>
              <a:stCxn id="122" idx="1"/>
              <a:endCxn id="115" idx="2"/>
            </p:cNvCxnSpPr>
            <p:nvPr/>
          </p:nvCxnSpPr>
          <p:spPr bwMode="auto">
            <a:xfrm rot="10800000">
              <a:off x="7897" y="5759"/>
              <a:ext cx="143" cy="1960"/>
            </a:xfrm>
            <a:prstGeom prst="bentConnector2">
              <a:avLst/>
            </a:prstGeom>
            <a:noFill/>
            <a:ln w="28575">
              <a:solidFill>
                <a:schemeClr val="tx1"/>
              </a:solidFill>
              <a:miter lim="800000"/>
              <a:headEnd/>
              <a:tailEnd/>
            </a:ln>
          </p:spPr>
        </p:cxnSp>
        <p:cxnSp>
          <p:nvCxnSpPr>
            <p:cNvPr id="206865" name="_s206865"/>
            <p:cNvCxnSpPr>
              <a:cxnSpLocks noChangeShapeType="1"/>
              <a:stCxn id="121" idx="1"/>
              <a:endCxn id="115" idx="2"/>
            </p:cNvCxnSpPr>
            <p:nvPr/>
          </p:nvCxnSpPr>
          <p:spPr bwMode="auto">
            <a:xfrm rot="10800000">
              <a:off x="7897" y="5759"/>
              <a:ext cx="143" cy="1540"/>
            </a:xfrm>
            <a:prstGeom prst="bentConnector2">
              <a:avLst/>
            </a:prstGeom>
            <a:noFill/>
            <a:ln w="28575">
              <a:solidFill>
                <a:schemeClr val="tx1"/>
              </a:solidFill>
              <a:miter lim="800000"/>
              <a:headEnd/>
              <a:tailEnd/>
            </a:ln>
          </p:spPr>
        </p:cxnSp>
        <p:cxnSp>
          <p:nvCxnSpPr>
            <p:cNvPr id="206866" name="_s206866"/>
            <p:cNvCxnSpPr>
              <a:cxnSpLocks noChangeShapeType="1"/>
              <a:stCxn id="120" idx="1"/>
              <a:endCxn id="115" idx="2"/>
            </p:cNvCxnSpPr>
            <p:nvPr/>
          </p:nvCxnSpPr>
          <p:spPr bwMode="auto">
            <a:xfrm rot="10800000">
              <a:off x="7897" y="5759"/>
              <a:ext cx="143" cy="1119"/>
            </a:xfrm>
            <a:prstGeom prst="bentConnector2">
              <a:avLst/>
            </a:prstGeom>
            <a:noFill/>
            <a:ln w="28575">
              <a:solidFill>
                <a:schemeClr val="tx1"/>
              </a:solidFill>
              <a:miter lim="800000"/>
              <a:headEnd/>
              <a:tailEnd/>
            </a:ln>
          </p:spPr>
        </p:cxnSp>
        <p:cxnSp>
          <p:nvCxnSpPr>
            <p:cNvPr id="206867" name="_s206867"/>
            <p:cNvCxnSpPr>
              <a:cxnSpLocks noChangeShapeType="1"/>
              <a:stCxn id="119" idx="1"/>
              <a:endCxn id="115" idx="2"/>
            </p:cNvCxnSpPr>
            <p:nvPr/>
          </p:nvCxnSpPr>
          <p:spPr bwMode="auto">
            <a:xfrm rot="10800000">
              <a:off x="7897" y="5759"/>
              <a:ext cx="143" cy="698"/>
            </a:xfrm>
            <a:prstGeom prst="bentConnector2">
              <a:avLst/>
            </a:prstGeom>
            <a:noFill/>
            <a:ln w="28575">
              <a:solidFill>
                <a:schemeClr val="tx1"/>
              </a:solidFill>
              <a:miter lim="800000"/>
              <a:headEnd/>
              <a:tailEnd/>
            </a:ln>
          </p:spPr>
        </p:cxnSp>
        <p:cxnSp>
          <p:nvCxnSpPr>
            <p:cNvPr id="206868" name="_s206868"/>
            <p:cNvCxnSpPr>
              <a:cxnSpLocks noChangeShapeType="1"/>
              <a:stCxn id="118" idx="1"/>
              <a:endCxn id="115" idx="2"/>
            </p:cNvCxnSpPr>
            <p:nvPr/>
          </p:nvCxnSpPr>
          <p:spPr bwMode="auto">
            <a:xfrm rot="10800000">
              <a:off x="7897" y="5759"/>
              <a:ext cx="143" cy="278"/>
            </a:xfrm>
            <a:prstGeom prst="bentConnector2">
              <a:avLst/>
            </a:prstGeom>
            <a:noFill/>
            <a:ln w="28575">
              <a:solidFill>
                <a:schemeClr val="tx1"/>
              </a:solidFill>
              <a:miter lim="800000"/>
              <a:headEnd/>
              <a:tailEnd/>
            </a:ln>
          </p:spPr>
        </p:cxnSp>
        <p:cxnSp>
          <p:nvCxnSpPr>
            <p:cNvPr id="206869" name="_s206869"/>
            <p:cNvCxnSpPr>
              <a:cxnSpLocks noChangeShapeType="1"/>
              <a:stCxn id="117" idx="1"/>
              <a:endCxn id="114" idx="2"/>
            </p:cNvCxnSpPr>
            <p:nvPr/>
          </p:nvCxnSpPr>
          <p:spPr bwMode="auto">
            <a:xfrm rot="10800000">
              <a:off x="7898" y="4496"/>
              <a:ext cx="143" cy="698"/>
            </a:xfrm>
            <a:prstGeom prst="bentConnector2">
              <a:avLst/>
            </a:prstGeom>
            <a:noFill/>
            <a:ln w="28575">
              <a:solidFill>
                <a:schemeClr val="tx1"/>
              </a:solidFill>
              <a:miter lim="800000"/>
              <a:headEnd/>
              <a:tailEnd/>
            </a:ln>
          </p:spPr>
        </p:cxnSp>
        <p:cxnSp>
          <p:nvCxnSpPr>
            <p:cNvPr id="206870" name="_s206870"/>
            <p:cNvCxnSpPr>
              <a:cxnSpLocks noChangeShapeType="1"/>
              <a:stCxn id="116" idx="1"/>
              <a:endCxn id="114" idx="2"/>
            </p:cNvCxnSpPr>
            <p:nvPr/>
          </p:nvCxnSpPr>
          <p:spPr bwMode="auto">
            <a:xfrm rot="10800000">
              <a:off x="7898" y="4496"/>
              <a:ext cx="143" cy="279"/>
            </a:xfrm>
            <a:prstGeom prst="bentConnector2">
              <a:avLst/>
            </a:prstGeom>
            <a:noFill/>
            <a:ln w="28575">
              <a:solidFill>
                <a:schemeClr val="tx1"/>
              </a:solidFill>
              <a:miter lim="800000"/>
              <a:headEnd/>
              <a:tailEnd/>
            </a:ln>
          </p:spPr>
        </p:cxnSp>
        <p:cxnSp>
          <p:nvCxnSpPr>
            <p:cNvPr id="206871" name="_s206871"/>
            <p:cNvCxnSpPr>
              <a:cxnSpLocks noChangeShapeType="1"/>
              <a:stCxn id="115" idx="1"/>
              <a:endCxn id="80" idx="2"/>
            </p:cNvCxnSpPr>
            <p:nvPr/>
          </p:nvCxnSpPr>
          <p:spPr bwMode="auto">
            <a:xfrm rot="10800000">
              <a:off x="7322" y="3655"/>
              <a:ext cx="143" cy="1961"/>
            </a:xfrm>
            <a:prstGeom prst="bentConnector2">
              <a:avLst/>
            </a:prstGeom>
            <a:noFill/>
            <a:ln w="28575">
              <a:solidFill>
                <a:schemeClr val="tx1"/>
              </a:solidFill>
              <a:miter lim="800000"/>
              <a:headEnd/>
              <a:tailEnd/>
            </a:ln>
          </p:spPr>
        </p:cxnSp>
        <p:cxnSp>
          <p:nvCxnSpPr>
            <p:cNvPr id="206872" name="_s206872"/>
            <p:cNvCxnSpPr>
              <a:cxnSpLocks noChangeShapeType="1"/>
              <a:stCxn id="114" idx="1"/>
              <a:endCxn id="80" idx="2"/>
            </p:cNvCxnSpPr>
            <p:nvPr/>
          </p:nvCxnSpPr>
          <p:spPr bwMode="auto">
            <a:xfrm rot="10800000">
              <a:off x="7322" y="3655"/>
              <a:ext cx="143" cy="698"/>
            </a:xfrm>
            <a:prstGeom prst="bentConnector2">
              <a:avLst/>
            </a:prstGeom>
            <a:noFill/>
            <a:ln w="28575">
              <a:solidFill>
                <a:schemeClr val="tx1"/>
              </a:solidFill>
              <a:miter lim="800000"/>
              <a:headEnd/>
              <a:tailEnd/>
            </a:ln>
          </p:spPr>
        </p:cxnSp>
        <p:cxnSp>
          <p:nvCxnSpPr>
            <p:cNvPr id="206873" name="_s206873"/>
            <p:cNvCxnSpPr>
              <a:cxnSpLocks noChangeShapeType="1"/>
              <a:stCxn id="113" idx="1"/>
              <a:endCxn id="80" idx="2"/>
            </p:cNvCxnSpPr>
            <p:nvPr/>
          </p:nvCxnSpPr>
          <p:spPr bwMode="auto">
            <a:xfrm rot="10800000">
              <a:off x="7322" y="3655"/>
              <a:ext cx="143" cy="276"/>
            </a:xfrm>
            <a:prstGeom prst="bentConnector2">
              <a:avLst/>
            </a:prstGeom>
            <a:noFill/>
            <a:ln w="28575">
              <a:solidFill>
                <a:schemeClr val="tx1"/>
              </a:solidFill>
              <a:miter lim="800000"/>
              <a:headEnd/>
              <a:tailEnd/>
            </a:ln>
          </p:spPr>
        </p:cxnSp>
        <p:cxnSp>
          <p:nvCxnSpPr>
            <p:cNvPr id="206874" name="_s206874"/>
            <p:cNvCxnSpPr>
              <a:cxnSpLocks noChangeShapeType="1"/>
              <a:stCxn id="112" idx="1"/>
              <a:endCxn id="79" idx="2"/>
            </p:cNvCxnSpPr>
            <p:nvPr/>
          </p:nvCxnSpPr>
          <p:spPr bwMode="auto">
            <a:xfrm rot="10800000">
              <a:off x="6171" y="3655"/>
              <a:ext cx="143" cy="1120"/>
            </a:xfrm>
            <a:prstGeom prst="bentConnector2">
              <a:avLst/>
            </a:prstGeom>
            <a:noFill/>
            <a:ln w="28575">
              <a:solidFill>
                <a:schemeClr val="tx1"/>
              </a:solidFill>
              <a:miter lim="800000"/>
              <a:headEnd/>
              <a:tailEnd/>
            </a:ln>
          </p:spPr>
        </p:cxnSp>
        <p:cxnSp>
          <p:nvCxnSpPr>
            <p:cNvPr id="206875" name="_s206875"/>
            <p:cNvCxnSpPr>
              <a:cxnSpLocks noChangeShapeType="1"/>
              <a:stCxn id="111" idx="1"/>
              <a:endCxn id="79" idx="2"/>
            </p:cNvCxnSpPr>
            <p:nvPr/>
          </p:nvCxnSpPr>
          <p:spPr bwMode="auto">
            <a:xfrm rot="10800000">
              <a:off x="6171" y="3655"/>
              <a:ext cx="143" cy="698"/>
            </a:xfrm>
            <a:prstGeom prst="bentConnector2">
              <a:avLst/>
            </a:prstGeom>
            <a:noFill/>
            <a:ln w="28575">
              <a:solidFill>
                <a:schemeClr val="tx1"/>
              </a:solidFill>
              <a:miter lim="800000"/>
              <a:headEnd/>
              <a:tailEnd/>
            </a:ln>
          </p:spPr>
        </p:cxnSp>
        <p:cxnSp>
          <p:nvCxnSpPr>
            <p:cNvPr id="206876" name="_s206876"/>
            <p:cNvCxnSpPr>
              <a:cxnSpLocks noChangeShapeType="1"/>
              <a:stCxn id="110" idx="1"/>
              <a:endCxn id="79" idx="2"/>
            </p:cNvCxnSpPr>
            <p:nvPr/>
          </p:nvCxnSpPr>
          <p:spPr bwMode="auto">
            <a:xfrm rot="10800000">
              <a:off x="6171" y="3655"/>
              <a:ext cx="143" cy="276"/>
            </a:xfrm>
            <a:prstGeom prst="bentConnector2">
              <a:avLst/>
            </a:prstGeom>
            <a:noFill/>
            <a:ln w="28575">
              <a:solidFill>
                <a:schemeClr val="tx1"/>
              </a:solidFill>
              <a:miter lim="800000"/>
              <a:headEnd/>
              <a:tailEnd/>
            </a:ln>
          </p:spPr>
        </p:cxnSp>
        <p:cxnSp>
          <p:nvCxnSpPr>
            <p:cNvPr id="206877" name="_s206877"/>
            <p:cNvCxnSpPr>
              <a:cxnSpLocks noChangeShapeType="1"/>
              <a:stCxn id="109" idx="1"/>
              <a:endCxn id="78" idx="2"/>
            </p:cNvCxnSpPr>
            <p:nvPr/>
          </p:nvCxnSpPr>
          <p:spPr bwMode="auto">
            <a:xfrm rot="10800000">
              <a:off x="5019" y="3655"/>
              <a:ext cx="143" cy="1120"/>
            </a:xfrm>
            <a:prstGeom prst="bentConnector2">
              <a:avLst/>
            </a:prstGeom>
            <a:noFill/>
            <a:ln w="28575">
              <a:solidFill>
                <a:schemeClr val="tx1"/>
              </a:solidFill>
              <a:miter lim="800000"/>
              <a:headEnd/>
              <a:tailEnd/>
            </a:ln>
          </p:spPr>
        </p:cxnSp>
        <p:cxnSp>
          <p:nvCxnSpPr>
            <p:cNvPr id="206878" name="_s206878"/>
            <p:cNvCxnSpPr>
              <a:cxnSpLocks noChangeShapeType="1"/>
              <a:stCxn id="108" idx="1"/>
              <a:endCxn id="78" idx="2"/>
            </p:cNvCxnSpPr>
            <p:nvPr/>
          </p:nvCxnSpPr>
          <p:spPr bwMode="auto">
            <a:xfrm rot="10800000">
              <a:off x="5019" y="3655"/>
              <a:ext cx="143" cy="698"/>
            </a:xfrm>
            <a:prstGeom prst="bentConnector2">
              <a:avLst/>
            </a:prstGeom>
            <a:noFill/>
            <a:ln w="28575">
              <a:solidFill>
                <a:schemeClr val="tx1"/>
              </a:solidFill>
              <a:miter lim="800000"/>
              <a:headEnd/>
              <a:tailEnd/>
            </a:ln>
          </p:spPr>
        </p:cxnSp>
        <p:cxnSp>
          <p:nvCxnSpPr>
            <p:cNvPr id="206879" name="_s206879"/>
            <p:cNvCxnSpPr>
              <a:cxnSpLocks noChangeShapeType="1"/>
              <a:stCxn id="107" idx="1"/>
              <a:endCxn id="78" idx="2"/>
            </p:cNvCxnSpPr>
            <p:nvPr/>
          </p:nvCxnSpPr>
          <p:spPr bwMode="auto">
            <a:xfrm rot="10800000">
              <a:off x="5019" y="3655"/>
              <a:ext cx="143" cy="276"/>
            </a:xfrm>
            <a:prstGeom prst="bentConnector2">
              <a:avLst/>
            </a:prstGeom>
            <a:noFill/>
            <a:ln w="28575">
              <a:solidFill>
                <a:schemeClr val="tx1"/>
              </a:solidFill>
              <a:miter lim="800000"/>
              <a:headEnd/>
              <a:tailEnd/>
            </a:ln>
          </p:spPr>
        </p:cxnSp>
        <p:cxnSp>
          <p:nvCxnSpPr>
            <p:cNvPr id="206880" name="_s206880"/>
            <p:cNvCxnSpPr>
              <a:cxnSpLocks noChangeShapeType="1"/>
              <a:stCxn id="106" idx="1"/>
              <a:endCxn id="98" idx="2"/>
            </p:cNvCxnSpPr>
            <p:nvPr/>
          </p:nvCxnSpPr>
          <p:spPr bwMode="auto">
            <a:xfrm rot="10800000">
              <a:off x="3867" y="6600"/>
              <a:ext cx="143" cy="1120"/>
            </a:xfrm>
            <a:prstGeom prst="bentConnector2">
              <a:avLst/>
            </a:prstGeom>
            <a:noFill/>
            <a:ln w="28575">
              <a:solidFill>
                <a:schemeClr val="tx1"/>
              </a:solidFill>
              <a:miter lim="800000"/>
              <a:headEnd/>
              <a:tailEnd/>
            </a:ln>
          </p:spPr>
        </p:cxnSp>
        <p:cxnSp>
          <p:nvCxnSpPr>
            <p:cNvPr id="206881" name="_s206881"/>
            <p:cNvCxnSpPr>
              <a:cxnSpLocks noChangeShapeType="1"/>
              <a:stCxn id="105" idx="1"/>
              <a:endCxn id="98" idx="2"/>
            </p:cNvCxnSpPr>
            <p:nvPr/>
          </p:nvCxnSpPr>
          <p:spPr bwMode="auto">
            <a:xfrm rot="10800000">
              <a:off x="3867" y="6600"/>
              <a:ext cx="143" cy="698"/>
            </a:xfrm>
            <a:prstGeom prst="bentConnector2">
              <a:avLst/>
            </a:prstGeom>
            <a:noFill/>
            <a:ln w="28575">
              <a:solidFill>
                <a:schemeClr val="tx1"/>
              </a:solidFill>
              <a:miter lim="800000"/>
              <a:headEnd/>
              <a:tailEnd/>
            </a:ln>
          </p:spPr>
        </p:cxnSp>
        <p:cxnSp>
          <p:nvCxnSpPr>
            <p:cNvPr id="206882" name="_s206882"/>
            <p:cNvCxnSpPr>
              <a:cxnSpLocks noChangeShapeType="1"/>
              <a:stCxn id="104" idx="1"/>
              <a:endCxn id="98" idx="2"/>
            </p:cNvCxnSpPr>
            <p:nvPr/>
          </p:nvCxnSpPr>
          <p:spPr bwMode="auto">
            <a:xfrm rot="10800000">
              <a:off x="3867" y="6600"/>
              <a:ext cx="143" cy="279"/>
            </a:xfrm>
            <a:prstGeom prst="bentConnector2">
              <a:avLst/>
            </a:prstGeom>
            <a:noFill/>
            <a:ln w="28575">
              <a:solidFill>
                <a:schemeClr val="tx1"/>
              </a:solidFill>
              <a:miter lim="800000"/>
              <a:headEnd/>
              <a:tailEnd/>
            </a:ln>
          </p:spPr>
        </p:cxnSp>
        <p:cxnSp>
          <p:nvCxnSpPr>
            <p:cNvPr id="206883" name="_s206883"/>
            <p:cNvCxnSpPr>
              <a:cxnSpLocks noChangeShapeType="1"/>
              <a:stCxn id="103" idx="1"/>
              <a:endCxn id="97" idx="2"/>
            </p:cNvCxnSpPr>
            <p:nvPr/>
          </p:nvCxnSpPr>
          <p:spPr bwMode="auto">
            <a:xfrm rot="10800000">
              <a:off x="3868" y="4076"/>
              <a:ext cx="143" cy="1960"/>
            </a:xfrm>
            <a:prstGeom prst="bentConnector2">
              <a:avLst/>
            </a:prstGeom>
            <a:noFill/>
            <a:ln w="28575">
              <a:solidFill>
                <a:schemeClr val="tx1"/>
              </a:solidFill>
              <a:miter lim="800000"/>
              <a:headEnd/>
              <a:tailEnd/>
            </a:ln>
          </p:spPr>
        </p:cxnSp>
        <p:cxnSp>
          <p:nvCxnSpPr>
            <p:cNvPr id="206884" name="_s206884"/>
            <p:cNvCxnSpPr>
              <a:cxnSpLocks noChangeShapeType="1"/>
              <a:stCxn id="102" idx="1"/>
              <a:endCxn id="97" idx="2"/>
            </p:cNvCxnSpPr>
            <p:nvPr/>
          </p:nvCxnSpPr>
          <p:spPr bwMode="auto">
            <a:xfrm rot="10800000">
              <a:off x="3868" y="4076"/>
              <a:ext cx="143" cy="1579"/>
            </a:xfrm>
            <a:prstGeom prst="bentConnector2">
              <a:avLst/>
            </a:prstGeom>
            <a:noFill/>
            <a:ln w="28575">
              <a:solidFill>
                <a:schemeClr val="tx1"/>
              </a:solidFill>
              <a:miter lim="800000"/>
              <a:headEnd/>
              <a:tailEnd/>
            </a:ln>
          </p:spPr>
        </p:cxnSp>
        <p:cxnSp>
          <p:nvCxnSpPr>
            <p:cNvPr id="206885" name="_s206885"/>
            <p:cNvCxnSpPr>
              <a:cxnSpLocks noChangeShapeType="1"/>
              <a:stCxn id="101" idx="1"/>
              <a:endCxn id="97" idx="2"/>
            </p:cNvCxnSpPr>
            <p:nvPr/>
          </p:nvCxnSpPr>
          <p:spPr bwMode="auto">
            <a:xfrm rot="10800000">
              <a:off x="3868" y="4076"/>
              <a:ext cx="143" cy="1196"/>
            </a:xfrm>
            <a:prstGeom prst="bentConnector2">
              <a:avLst/>
            </a:prstGeom>
            <a:noFill/>
            <a:ln w="28575">
              <a:solidFill>
                <a:schemeClr val="tx1"/>
              </a:solidFill>
              <a:miter lim="800000"/>
              <a:headEnd/>
              <a:tailEnd/>
            </a:ln>
          </p:spPr>
        </p:cxnSp>
        <p:cxnSp>
          <p:nvCxnSpPr>
            <p:cNvPr id="206886" name="_s206886"/>
            <p:cNvCxnSpPr>
              <a:cxnSpLocks noChangeShapeType="1"/>
              <a:stCxn id="100" idx="1"/>
              <a:endCxn id="97" idx="2"/>
            </p:cNvCxnSpPr>
            <p:nvPr/>
          </p:nvCxnSpPr>
          <p:spPr bwMode="auto">
            <a:xfrm rot="10800000">
              <a:off x="3868" y="4076"/>
              <a:ext cx="143" cy="780"/>
            </a:xfrm>
            <a:prstGeom prst="bentConnector2">
              <a:avLst/>
            </a:prstGeom>
            <a:noFill/>
            <a:ln w="28575">
              <a:solidFill>
                <a:schemeClr val="tx1"/>
              </a:solidFill>
              <a:miter lim="800000"/>
              <a:headEnd/>
              <a:tailEnd/>
            </a:ln>
          </p:spPr>
        </p:cxnSp>
        <p:cxnSp>
          <p:nvCxnSpPr>
            <p:cNvPr id="206887" name="_s206887"/>
            <p:cNvCxnSpPr>
              <a:cxnSpLocks noChangeShapeType="1"/>
              <a:stCxn id="99" idx="1"/>
              <a:endCxn id="97" idx="2"/>
            </p:cNvCxnSpPr>
            <p:nvPr/>
          </p:nvCxnSpPr>
          <p:spPr bwMode="auto">
            <a:xfrm rot="10800000">
              <a:off x="3868" y="4076"/>
              <a:ext cx="143" cy="309"/>
            </a:xfrm>
            <a:prstGeom prst="bentConnector2">
              <a:avLst/>
            </a:prstGeom>
            <a:noFill/>
            <a:ln w="28575">
              <a:solidFill>
                <a:schemeClr val="tx1"/>
              </a:solidFill>
              <a:miter lim="800000"/>
              <a:headEnd/>
              <a:tailEnd/>
            </a:ln>
          </p:spPr>
        </p:cxnSp>
        <p:cxnSp>
          <p:nvCxnSpPr>
            <p:cNvPr id="206888" name="_s206888"/>
            <p:cNvCxnSpPr>
              <a:cxnSpLocks noChangeShapeType="1"/>
              <a:stCxn id="98" idx="1"/>
              <a:endCxn id="77" idx="2"/>
            </p:cNvCxnSpPr>
            <p:nvPr/>
          </p:nvCxnSpPr>
          <p:spPr bwMode="auto">
            <a:xfrm rot="10800000">
              <a:off x="3293" y="3655"/>
              <a:ext cx="143" cy="2802"/>
            </a:xfrm>
            <a:prstGeom prst="bentConnector2">
              <a:avLst/>
            </a:prstGeom>
            <a:noFill/>
            <a:ln w="28575">
              <a:solidFill>
                <a:schemeClr val="tx1"/>
              </a:solidFill>
              <a:miter lim="800000"/>
              <a:headEnd/>
              <a:tailEnd/>
            </a:ln>
          </p:spPr>
        </p:cxnSp>
        <p:cxnSp>
          <p:nvCxnSpPr>
            <p:cNvPr id="206889" name="_s206889"/>
            <p:cNvCxnSpPr>
              <a:cxnSpLocks noChangeShapeType="1"/>
              <a:stCxn id="97" idx="1"/>
              <a:endCxn id="77" idx="2"/>
            </p:cNvCxnSpPr>
            <p:nvPr/>
          </p:nvCxnSpPr>
          <p:spPr bwMode="auto">
            <a:xfrm rot="10800000">
              <a:off x="3293" y="3655"/>
              <a:ext cx="143" cy="278"/>
            </a:xfrm>
            <a:prstGeom prst="bentConnector2">
              <a:avLst/>
            </a:prstGeom>
            <a:noFill/>
            <a:ln w="28575">
              <a:solidFill>
                <a:schemeClr val="tx1"/>
              </a:solidFill>
              <a:miter lim="800000"/>
              <a:headEnd/>
              <a:tailEnd/>
            </a:ln>
          </p:spPr>
        </p:cxnSp>
        <p:cxnSp>
          <p:nvCxnSpPr>
            <p:cNvPr id="206890" name="_s206890"/>
            <p:cNvCxnSpPr>
              <a:cxnSpLocks noChangeShapeType="1"/>
              <a:stCxn id="96" idx="1"/>
              <a:endCxn id="92" idx="2"/>
            </p:cNvCxnSpPr>
            <p:nvPr/>
          </p:nvCxnSpPr>
          <p:spPr bwMode="auto">
            <a:xfrm rot="10800000">
              <a:off x="2141" y="4077"/>
              <a:ext cx="143" cy="1119"/>
            </a:xfrm>
            <a:prstGeom prst="bentConnector2">
              <a:avLst/>
            </a:prstGeom>
            <a:noFill/>
            <a:ln w="28575">
              <a:solidFill>
                <a:schemeClr val="tx1"/>
              </a:solidFill>
              <a:miter lim="800000"/>
              <a:headEnd/>
              <a:tailEnd/>
            </a:ln>
          </p:spPr>
        </p:cxnSp>
        <p:cxnSp>
          <p:nvCxnSpPr>
            <p:cNvPr id="206891" name="_s206891"/>
            <p:cNvCxnSpPr>
              <a:cxnSpLocks noChangeShapeType="1"/>
              <a:stCxn id="95" idx="1"/>
              <a:endCxn id="92" idx="2"/>
            </p:cNvCxnSpPr>
            <p:nvPr/>
          </p:nvCxnSpPr>
          <p:spPr bwMode="auto">
            <a:xfrm rot="10800000">
              <a:off x="2141" y="4077"/>
              <a:ext cx="143" cy="698"/>
            </a:xfrm>
            <a:prstGeom prst="bentConnector2">
              <a:avLst/>
            </a:prstGeom>
            <a:noFill/>
            <a:ln w="28575">
              <a:solidFill>
                <a:schemeClr val="tx1"/>
              </a:solidFill>
              <a:miter lim="800000"/>
              <a:headEnd/>
              <a:tailEnd/>
            </a:ln>
          </p:spPr>
        </p:cxnSp>
        <p:cxnSp>
          <p:nvCxnSpPr>
            <p:cNvPr id="206892" name="_s206892"/>
            <p:cNvCxnSpPr>
              <a:cxnSpLocks noChangeShapeType="1"/>
              <a:stCxn id="94" idx="1"/>
              <a:endCxn id="92" idx="2"/>
            </p:cNvCxnSpPr>
            <p:nvPr/>
          </p:nvCxnSpPr>
          <p:spPr bwMode="auto">
            <a:xfrm rot="10800000">
              <a:off x="2141" y="4077"/>
              <a:ext cx="143" cy="276"/>
            </a:xfrm>
            <a:prstGeom prst="bentConnector2">
              <a:avLst/>
            </a:prstGeom>
            <a:noFill/>
            <a:ln w="28575">
              <a:solidFill>
                <a:schemeClr val="tx1"/>
              </a:solidFill>
              <a:miter lim="800000"/>
              <a:headEnd/>
              <a:tailEnd/>
            </a:ln>
          </p:spPr>
        </p:cxnSp>
        <p:cxnSp>
          <p:nvCxnSpPr>
            <p:cNvPr id="206893" name="_s206893"/>
            <p:cNvCxnSpPr>
              <a:cxnSpLocks noChangeShapeType="1"/>
              <a:stCxn id="93" idx="1"/>
              <a:endCxn id="76" idx="2"/>
            </p:cNvCxnSpPr>
            <p:nvPr/>
          </p:nvCxnSpPr>
          <p:spPr bwMode="auto">
            <a:xfrm rot="10800000">
              <a:off x="1567" y="3655"/>
              <a:ext cx="143" cy="1961"/>
            </a:xfrm>
            <a:prstGeom prst="bentConnector2">
              <a:avLst/>
            </a:prstGeom>
            <a:noFill/>
            <a:ln w="28575">
              <a:solidFill>
                <a:schemeClr val="tx1"/>
              </a:solidFill>
              <a:miter lim="800000"/>
              <a:headEnd/>
              <a:tailEnd/>
            </a:ln>
          </p:spPr>
        </p:cxnSp>
        <p:cxnSp>
          <p:nvCxnSpPr>
            <p:cNvPr id="206894" name="_s206894"/>
            <p:cNvCxnSpPr>
              <a:cxnSpLocks noChangeShapeType="1"/>
              <a:stCxn id="92" idx="1"/>
              <a:endCxn id="76" idx="2"/>
            </p:cNvCxnSpPr>
            <p:nvPr/>
          </p:nvCxnSpPr>
          <p:spPr bwMode="auto">
            <a:xfrm rot="10800000">
              <a:off x="1567" y="3655"/>
              <a:ext cx="143" cy="278"/>
            </a:xfrm>
            <a:prstGeom prst="bentConnector2">
              <a:avLst/>
            </a:prstGeom>
            <a:noFill/>
            <a:ln w="28575">
              <a:solidFill>
                <a:schemeClr val="tx1"/>
              </a:solidFill>
              <a:miter lim="800000"/>
              <a:headEnd/>
              <a:tailEnd/>
            </a:ln>
          </p:spPr>
        </p:cxnSp>
        <p:cxnSp>
          <p:nvCxnSpPr>
            <p:cNvPr id="206895" name="_s206895"/>
            <p:cNvCxnSpPr>
              <a:cxnSpLocks noChangeShapeType="1"/>
              <a:stCxn id="91" idx="1"/>
              <a:endCxn id="75" idx="2"/>
            </p:cNvCxnSpPr>
            <p:nvPr/>
          </p:nvCxnSpPr>
          <p:spPr bwMode="auto">
            <a:xfrm rot="10800000">
              <a:off x="6386" y="1490"/>
              <a:ext cx="144" cy="1540"/>
            </a:xfrm>
            <a:prstGeom prst="bentConnector2">
              <a:avLst/>
            </a:prstGeom>
            <a:noFill/>
            <a:ln w="28575">
              <a:solidFill>
                <a:schemeClr val="tx1"/>
              </a:solidFill>
              <a:miter lim="800000"/>
              <a:headEnd/>
              <a:tailEnd/>
            </a:ln>
          </p:spPr>
        </p:cxnSp>
        <p:cxnSp>
          <p:nvCxnSpPr>
            <p:cNvPr id="206896" name="_s206896"/>
            <p:cNvCxnSpPr>
              <a:cxnSpLocks noChangeShapeType="1"/>
              <a:stCxn id="90" idx="3"/>
              <a:endCxn id="75" idx="2"/>
            </p:cNvCxnSpPr>
            <p:nvPr/>
          </p:nvCxnSpPr>
          <p:spPr bwMode="auto">
            <a:xfrm flipV="1">
              <a:off x="6242" y="1490"/>
              <a:ext cx="144" cy="1540"/>
            </a:xfrm>
            <a:prstGeom prst="bentConnector2">
              <a:avLst/>
            </a:prstGeom>
            <a:noFill/>
            <a:ln w="28575">
              <a:solidFill>
                <a:schemeClr val="tx1"/>
              </a:solidFill>
              <a:miter lim="800000"/>
              <a:headEnd/>
              <a:tailEnd/>
            </a:ln>
          </p:spPr>
        </p:cxnSp>
        <p:cxnSp>
          <p:nvCxnSpPr>
            <p:cNvPr id="206897" name="_s206897"/>
            <p:cNvCxnSpPr>
              <a:cxnSpLocks noChangeShapeType="1"/>
              <a:stCxn id="89" idx="1"/>
              <a:endCxn id="75" idx="2"/>
            </p:cNvCxnSpPr>
            <p:nvPr/>
          </p:nvCxnSpPr>
          <p:spPr bwMode="auto">
            <a:xfrm rot="10800000">
              <a:off x="6386" y="1490"/>
              <a:ext cx="144" cy="1119"/>
            </a:xfrm>
            <a:prstGeom prst="bentConnector2">
              <a:avLst/>
            </a:prstGeom>
            <a:noFill/>
            <a:ln w="28575">
              <a:solidFill>
                <a:schemeClr val="tx1"/>
              </a:solidFill>
              <a:miter lim="800000"/>
              <a:headEnd/>
              <a:tailEnd/>
            </a:ln>
          </p:spPr>
        </p:cxnSp>
        <p:cxnSp>
          <p:nvCxnSpPr>
            <p:cNvPr id="206898" name="_s206898"/>
            <p:cNvCxnSpPr>
              <a:cxnSpLocks noChangeShapeType="1"/>
              <a:stCxn id="88" idx="3"/>
              <a:endCxn id="75" idx="2"/>
            </p:cNvCxnSpPr>
            <p:nvPr/>
          </p:nvCxnSpPr>
          <p:spPr bwMode="auto">
            <a:xfrm flipV="1">
              <a:off x="6242" y="1490"/>
              <a:ext cx="144" cy="1119"/>
            </a:xfrm>
            <a:prstGeom prst="bentConnector2">
              <a:avLst/>
            </a:prstGeom>
            <a:noFill/>
            <a:ln w="28575">
              <a:solidFill>
                <a:schemeClr val="tx1"/>
              </a:solidFill>
              <a:miter lim="800000"/>
              <a:headEnd/>
              <a:tailEnd/>
            </a:ln>
          </p:spPr>
        </p:cxnSp>
        <p:cxnSp>
          <p:nvCxnSpPr>
            <p:cNvPr id="206899" name="_s206899"/>
            <p:cNvCxnSpPr>
              <a:cxnSpLocks noChangeShapeType="1"/>
              <a:stCxn id="87" idx="1"/>
              <a:endCxn id="75" idx="2"/>
            </p:cNvCxnSpPr>
            <p:nvPr/>
          </p:nvCxnSpPr>
          <p:spPr bwMode="auto">
            <a:xfrm rot="10800000">
              <a:off x="6386" y="1490"/>
              <a:ext cx="144" cy="698"/>
            </a:xfrm>
            <a:prstGeom prst="bentConnector2">
              <a:avLst/>
            </a:prstGeom>
            <a:noFill/>
            <a:ln w="28575">
              <a:solidFill>
                <a:schemeClr val="tx1"/>
              </a:solidFill>
              <a:miter lim="800000"/>
              <a:headEnd/>
              <a:tailEnd/>
            </a:ln>
          </p:spPr>
        </p:cxnSp>
        <p:cxnSp>
          <p:nvCxnSpPr>
            <p:cNvPr id="206900" name="_s206900"/>
            <p:cNvCxnSpPr>
              <a:cxnSpLocks noChangeShapeType="1"/>
              <a:stCxn id="86" idx="3"/>
              <a:endCxn id="75" idx="2"/>
            </p:cNvCxnSpPr>
            <p:nvPr/>
          </p:nvCxnSpPr>
          <p:spPr bwMode="auto">
            <a:xfrm flipV="1">
              <a:off x="6242" y="1490"/>
              <a:ext cx="144" cy="698"/>
            </a:xfrm>
            <a:prstGeom prst="bentConnector2">
              <a:avLst/>
            </a:prstGeom>
            <a:noFill/>
            <a:ln w="28575">
              <a:solidFill>
                <a:schemeClr val="tx1"/>
              </a:solidFill>
              <a:miter lim="800000"/>
              <a:headEnd/>
              <a:tailEnd/>
            </a:ln>
          </p:spPr>
        </p:cxnSp>
        <p:cxnSp>
          <p:nvCxnSpPr>
            <p:cNvPr id="206901" name="_s206901"/>
            <p:cNvCxnSpPr>
              <a:cxnSpLocks noChangeShapeType="1"/>
              <a:stCxn id="85" idx="1"/>
              <a:endCxn id="75" idx="2"/>
            </p:cNvCxnSpPr>
            <p:nvPr/>
          </p:nvCxnSpPr>
          <p:spPr bwMode="auto">
            <a:xfrm rot="10800000">
              <a:off x="6386" y="1490"/>
              <a:ext cx="144" cy="277"/>
            </a:xfrm>
            <a:prstGeom prst="bentConnector2">
              <a:avLst/>
            </a:prstGeom>
            <a:noFill/>
            <a:ln w="28575">
              <a:solidFill>
                <a:schemeClr val="tx1"/>
              </a:solidFill>
              <a:miter lim="800000"/>
              <a:headEnd/>
              <a:tailEnd/>
            </a:ln>
          </p:spPr>
        </p:cxnSp>
        <p:cxnSp>
          <p:nvCxnSpPr>
            <p:cNvPr id="206902" name="_s206902"/>
            <p:cNvCxnSpPr>
              <a:cxnSpLocks noChangeShapeType="1"/>
              <a:stCxn id="84" idx="3"/>
              <a:endCxn id="75" idx="2"/>
            </p:cNvCxnSpPr>
            <p:nvPr/>
          </p:nvCxnSpPr>
          <p:spPr bwMode="auto">
            <a:xfrm flipV="1">
              <a:off x="6242" y="1490"/>
              <a:ext cx="144" cy="277"/>
            </a:xfrm>
            <a:prstGeom prst="bentConnector2">
              <a:avLst/>
            </a:prstGeom>
            <a:noFill/>
            <a:ln w="28575">
              <a:solidFill>
                <a:schemeClr val="tx1"/>
              </a:solidFill>
              <a:miter lim="800000"/>
              <a:headEnd/>
              <a:tailEnd/>
            </a:ln>
          </p:spPr>
        </p:cxnSp>
        <p:cxnSp>
          <p:nvCxnSpPr>
            <p:cNvPr id="206903" name="_s206903"/>
            <p:cNvCxnSpPr>
              <a:cxnSpLocks noChangeShapeType="1"/>
              <a:stCxn id="83" idx="0"/>
              <a:endCxn id="75" idx="2"/>
            </p:cNvCxnSpPr>
            <p:nvPr/>
          </p:nvCxnSpPr>
          <p:spPr bwMode="auto">
            <a:xfrm rot="16200000" flipV="1">
              <a:off x="7857" y="18"/>
              <a:ext cx="1877" cy="4820"/>
            </a:xfrm>
            <a:prstGeom prst="bentConnector3">
              <a:avLst>
                <a:gd name="adj1" fmla="val 50000"/>
              </a:avLst>
            </a:prstGeom>
            <a:noFill/>
            <a:ln w="28575">
              <a:solidFill>
                <a:schemeClr val="tx1"/>
              </a:solidFill>
              <a:miter lim="800000"/>
              <a:headEnd/>
              <a:tailEnd/>
            </a:ln>
          </p:spPr>
        </p:cxnSp>
        <p:cxnSp>
          <p:nvCxnSpPr>
            <p:cNvPr id="206904" name="_s206904"/>
            <p:cNvCxnSpPr>
              <a:cxnSpLocks noChangeShapeType="1"/>
              <a:stCxn id="82" idx="0"/>
              <a:endCxn id="75" idx="2"/>
            </p:cNvCxnSpPr>
            <p:nvPr/>
          </p:nvCxnSpPr>
          <p:spPr bwMode="auto">
            <a:xfrm rot="16200000" flipV="1">
              <a:off x="7354" y="522"/>
              <a:ext cx="1877" cy="3813"/>
            </a:xfrm>
            <a:prstGeom prst="bentConnector3">
              <a:avLst>
                <a:gd name="adj1" fmla="val 50000"/>
              </a:avLst>
            </a:prstGeom>
            <a:noFill/>
            <a:ln w="28575">
              <a:solidFill>
                <a:schemeClr val="tx1"/>
              </a:solidFill>
              <a:miter lim="800000"/>
              <a:headEnd/>
              <a:tailEnd/>
            </a:ln>
          </p:spPr>
        </p:cxnSp>
        <p:cxnSp>
          <p:nvCxnSpPr>
            <p:cNvPr id="206905" name="_s206905"/>
            <p:cNvCxnSpPr>
              <a:cxnSpLocks noChangeShapeType="1"/>
              <a:stCxn id="81" idx="0"/>
              <a:endCxn id="75" idx="2"/>
            </p:cNvCxnSpPr>
            <p:nvPr/>
          </p:nvCxnSpPr>
          <p:spPr bwMode="auto">
            <a:xfrm rot="16200000" flipV="1">
              <a:off x="6778" y="1098"/>
              <a:ext cx="1877" cy="2661"/>
            </a:xfrm>
            <a:prstGeom prst="bentConnector3">
              <a:avLst>
                <a:gd name="adj1" fmla="val 50000"/>
              </a:avLst>
            </a:prstGeom>
            <a:noFill/>
            <a:ln w="28575">
              <a:solidFill>
                <a:schemeClr val="tx1"/>
              </a:solidFill>
              <a:miter lim="800000"/>
              <a:headEnd/>
              <a:tailEnd/>
            </a:ln>
          </p:spPr>
        </p:cxnSp>
        <p:cxnSp>
          <p:nvCxnSpPr>
            <p:cNvPr id="206906" name="_s206906"/>
            <p:cNvCxnSpPr>
              <a:cxnSpLocks noChangeShapeType="1"/>
              <a:stCxn id="80" idx="0"/>
              <a:endCxn id="75" idx="2"/>
            </p:cNvCxnSpPr>
            <p:nvPr/>
          </p:nvCxnSpPr>
          <p:spPr bwMode="auto">
            <a:xfrm rot="16200000" flipV="1">
              <a:off x="5915" y="1961"/>
              <a:ext cx="1877" cy="936"/>
            </a:xfrm>
            <a:prstGeom prst="bentConnector3">
              <a:avLst>
                <a:gd name="adj1" fmla="val 50000"/>
              </a:avLst>
            </a:prstGeom>
            <a:noFill/>
            <a:ln w="28575">
              <a:solidFill>
                <a:schemeClr val="tx1"/>
              </a:solidFill>
              <a:miter lim="800000"/>
              <a:headEnd/>
              <a:tailEnd/>
            </a:ln>
          </p:spPr>
        </p:cxnSp>
        <p:cxnSp>
          <p:nvCxnSpPr>
            <p:cNvPr id="206907" name="_s206907"/>
            <p:cNvCxnSpPr>
              <a:cxnSpLocks noChangeShapeType="1"/>
              <a:stCxn id="79" idx="0"/>
              <a:endCxn id="75" idx="2"/>
            </p:cNvCxnSpPr>
            <p:nvPr/>
          </p:nvCxnSpPr>
          <p:spPr bwMode="auto">
            <a:xfrm rot="5400000" flipH="1" flipV="1">
              <a:off x="5339" y="2320"/>
              <a:ext cx="1877" cy="216"/>
            </a:xfrm>
            <a:prstGeom prst="bentConnector3">
              <a:avLst>
                <a:gd name="adj1" fmla="val 50000"/>
              </a:avLst>
            </a:prstGeom>
            <a:noFill/>
            <a:ln w="28575">
              <a:solidFill>
                <a:schemeClr val="tx1"/>
              </a:solidFill>
              <a:miter lim="800000"/>
              <a:headEnd/>
              <a:tailEnd/>
            </a:ln>
          </p:spPr>
        </p:cxnSp>
        <p:cxnSp>
          <p:nvCxnSpPr>
            <p:cNvPr id="206908" name="_s206908"/>
            <p:cNvCxnSpPr>
              <a:cxnSpLocks noChangeShapeType="1"/>
              <a:stCxn id="78" idx="0"/>
              <a:endCxn id="75" idx="2"/>
            </p:cNvCxnSpPr>
            <p:nvPr/>
          </p:nvCxnSpPr>
          <p:spPr bwMode="auto">
            <a:xfrm rot="5400000" flipH="1" flipV="1">
              <a:off x="4763" y="1744"/>
              <a:ext cx="1877" cy="1368"/>
            </a:xfrm>
            <a:prstGeom prst="bentConnector3">
              <a:avLst>
                <a:gd name="adj1" fmla="val 50000"/>
              </a:avLst>
            </a:prstGeom>
            <a:noFill/>
            <a:ln w="28575">
              <a:solidFill>
                <a:schemeClr val="tx1"/>
              </a:solidFill>
              <a:miter lim="800000"/>
              <a:headEnd/>
              <a:tailEnd/>
            </a:ln>
          </p:spPr>
        </p:cxnSp>
        <p:cxnSp>
          <p:nvCxnSpPr>
            <p:cNvPr id="206909" name="_s206909"/>
            <p:cNvCxnSpPr>
              <a:cxnSpLocks noChangeShapeType="1"/>
              <a:stCxn id="77" idx="0"/>
              <a:endCxn id="75" idx="2"/>
            </p:cNvCxnSpPr>
            <p:nvPr/>
          </p:nvCxnSpPr>
          <p:spPr bwMode="auto">
            <a:xfrm rot="5400000" flipH="1" flipV="1">
              <a:off x="3900" y="881"/>
              <a:ext cx="1877" cy="3094"/>
            </a:xfrm>
            <a:prstGeom prst="bentConnector3">
              <a:avLst>
                <a:gd name="adj1" fmla="val 50000"/>
              </a:avLst>
            </a:prstGeom>
            <a:noFill/>
            <a:ln w="28575">
              <a:solidFill>
                <a:schemeClr val="tx1"/>
              </a:solidFill>
              <a:miter lim="800000"/>
              <a:headEnd/>
              <a:tailEnd/>
            </a:ln>
          </p:spPr>
        </p:cxnSp>
        <p:cxnSp>
          <p:nvCxnSpPr>
            <p:cNvPr id="206910" name="_s206910"/>
            <p:cNvCxnSpPr>
              <a:cxnSpLocks noChangeShapeType="1"/>
              <a:stCxn id="76" idx="0"/>
              <a:endCxn id="75" idx="2"/>
            </p:cNvCxnSpPr>
            <p:nvPr/>
          </p:nvCxnSpPr>
          <p:spPr bwMode="auto">
            <a:xfrm rot="5400000" flipH="1" flipV="1">
              <a:off x="3037" y="18"/>
              <a:ext cx="1877" cy="4820"/>
            </a:xfrm>
            <a:prstGeom prst="bentConnector3">
              <a:avLst>
                <a:gd name="adj1" fmla="val 50000"/>
              </a:avLst>
            </a:prstGeom>
            <a:noFill/>
            <a:ln w="28575">
              <a:solidFill>
                <a:schemeClr val="tx1"/>
              </a:solidFill>
              <a:miter lim="800000"/>
              <a:headEnd/>
              <a:tailEnd/>
            </a:ln>
          </p:spPr>
        </p:cxnSp>
        <p:sp>
          <p:nvSpPr>
            <p:cNvPr id="75" name="_s206911"/>
            <p:cNvSpPr>
              <a:spLocks noChangeArrowheads="1"/>
            </p:cNvSpPr>
            <p:nvPr/>
          </p:nvSpPr>
          <p:spPr bwMode="auto">
            <a:xfrm>
              <a:off x="5954" y="1202"/>
              <a:ext cx="864" cy="288"/>
            </a:xfrm>
            <a:prstGeom prst="roundRect">
              <a:avLst>
                <a:gd name="adj" fmla="val 16667"/>
              </a:avLst>
            </a:prstGeom>
            <a:solidFill>
              <a:srgbClr val="9E0400"/>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b="1" dirty="0">
                  <a:solidFill>
                    <a:schemeClr val="bg1"/>
                  </a:solidFill>
                  <a:cs typeface="Arial" pitchFamily="34" charset="0"/>
                </a:rPr>
                <a:t>Dirección General</a:t>
              </a:r>
            </a:p>
          </p:txBody>
        </p:sp>
        <p:sp>
          <p:nvSpPr>
            <p:cNvPr id="76" name="_s206912"/>
            <p:cNvSpPr>
              <a:spLocks noChangeArrowheads="1"/>
            </p:cNvSpPr>
            <p:nvPr/>
          </p:nvSpPr>
          <p:spPr bwMode="auto">
            <a:xfrm>
              <a:off x="1134"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de Riesgos</a:t>
              </a:r>
            </a:p>
          </p:txBody>
        </p:sp>
        <p:sp>
          <p:nvSpPr>
            <p:cNvPr id="77" name="_s206913"/>
            <p:cNvSpPr>
              <a:spLocks noChangeArrowheads="1"/>
            </p:cNvSpPr>
            <p:nvPr/>
          </p:nvSpPr>
          <p:spPr bwMode="auto">
            <a:xfrm>
              <a:off x="2860"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Comercial</a:t>
              </a:r>
            </a:p>
          </p:txBody>
        </p:sp>
        <p:sp>
          <p:nvSpPr>
            <p:cNvPr id="78" name="_s206914"/>
            <p:cNvSpPr>
              <a:spLocks noChangeArrowheads="1"/>
            </p:cNvSpPr>
            <p:nvPr/>
          </p:nvSpPr>
          <p:spPr bwMode="auto">
            <a:xfrm>
              <a:off x="4586"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Financiera</a:t>
              </a:r>
            </a:p>
          </p:txBody>
        </p:sp>
        <p:sp>
          <p:nvSpPr>
            <p:cNvPr id="79" name="_s206915"/>
            <p:cNvSpPr>
              <a:spLocks noChangeArrowheads="1"/>
            </p:cNvSpPr>
            <p:nvPr/>
          </p:nvSpPr>
          <p:spPr bwMode="auto">
            <a:xfrm>
              <a:off x="5738"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de Control</a:t>
              </a:r>
            </a:p>
          </p:txBody>
        </p:sp>
        <p:sp>
          <p:nvSpPr>
            <p:cNvPr id="80" name="_s206916"/>
            <p:cNvSpPr>
              <a:spLocks noChangeArrowheads="1"/>
            </p:cNvSpPr>
            <p:nvPr/>
          </p:nvSpPr>
          <p:spPr bwMode="auto">
            <a:xfrm>
              <a:off x="6890" y="3367"/>
              <a:ext cx="863"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Técnica</a:t>
              </a:r>
            </a:p>
          </p:txBody>
        </p:sp>
        <p:sp>
          <p:nvSpPr>
            <p:cNvPr id="81" name="_s206917"/>
            <p:cNvSpPr>
              <a:spLocks noChangeArrowheads="1"/>
            </p:cNvSpPr>
            <p:nvPr/>
          </p:nvSpPr>
          <p:spPr bwMode="auto">
            <a:xfrm>
              <a:off x="8615"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Dirección de Medios</a:t>
              </a:r>
            </a:p>
          </p:txBody>
        </p:sp>
        <p:sp>
          <p:nvSpPr>
            <p:cNvPr id="82" name="_s206918"/>
            <p:cNvSpPr>
              <a:spLocks noChangeArrowheads="1"/>
            </p:cNvSpPr>
            <p:nvPr/>
          </p:nvSpPr>
          <p:spPr bwMode="auto">
            <a:xfrm>
              <a:off x="9767" y="3367"/>
              <a:ext cx="863"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Obra Social</a:t>
              </a:r>
            </a:p>
          </p:txBody>
        </p:sp>
        <p:sp>
          <p:nvSpPr>
            <p:cNvPr id="83" name="_s206919"/>
            <p:cNvSpPr>
              <a:spLocks noChangeArrowheads="1"/>
            </p:cNvSpPr>
            <p:nvPr/>
          </p:nvSpPr>
          <p:spPr bwMode="auto">
            <a:xfrm>
              <a:off x="10774" y="3367"/>
              <a:ext cx="864" cy="288"/>
            </a:xfrm>
            <a:prstGeom prst="roundRect">
              <a:avLst>
                <a:gd name="adj" fmla="val 16667"/>
              </a:avLst>
            </a:prstGeom>
            <a:solidFill>
              <a:srgbClr val="625B4A"/>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solidFill>
                    <a:schemeClr val="bg1"/>
                  </a:solidFill>
                  <a:cs typeface="Arial" pitchFamily="34" charset="0"/>
                </a:rPr>
                <a:t>Participadas y Filiales</a:t>
              </a:r>
            </a:p>
          </p:txBody>
        </p:sp>
        <p:sp>
          <p:nvSpPr>
            <p:cNvPr id="84" name="_s206920"/>
            <p:cNvSpPr>
              <a:spLocks noChangeArrowheads="1"/>
            </p:cNvSpPr>
            <p:nvPr/>
          </p:nvSpPr>
          <p:spPr bwMode="auto">
            <a:xfrm>
              <a:off x="5379" y="1623"/>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ecretaría General</a:t>
              </a:r>
            </a:p>
          </p:txBody>
        </p:sp>
        <p:sp>
          <p:nvSpPr>
            <p:cNvPr id="85" name="_s206921"/>
            <p:cNvSpPr>
              <a:spLocks noChangeArrowheads="1"/>
            </p:cNvSpPr>
            <p:nvPr/>
          </p:nvSpPr>
          <p:spPr bwMode="auto">
            <a:xfrm>
              <a:off x="6530" y="1623"/>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sesoría Jurídica</a:t>
              </a:r>
            </a:p>
          </p:txBody>
        </p:sp>
        <p:sp>
          <p:nvSpPr>
            <p:cNvPr id="86" name="_s206922"/>
            <p:cNvSpPr>
              <a:spLocks noChangeArrowheads="1"/>
            </p:cNvSpPr>
            <p:nvPr/>
          </p:nvSpPr>
          <p:spPr bwMode="auto">
            <a:xfrm>
              <a:off x="5379" y="2044"/>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Gabinete Presidencia</a:t>
              </a:r>
            </a:p>
          </p:txBody>
        </p:sp>
        <p:sp>
          <p:nvSpPr>
            <p:cNvPr id="87" name="_s206923"/>
            <p:cNvSpPr>
              <a:spLocks noChangeArrowheads="1"/>
            </p:cNvSpPr>
            <p:nvPr/>
          </p:nvSpPr>
          <p:spPr bwMode="auto">
            <a:xfrm>
              <a:off x="6530" y="2044"/>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Relaciones </a:t>
              </a:r>
            </a:p>
            <a:p>
              <a:pPr algn="ctr" fontAlgn="base">
                <a:lnSpc>
                  <a:spcPct val="80000"/>
                </a:lnSpc>
                <a:spcBef>
                  <a:spcPct val="0"/>
                </a:spcBef>
                <a:spcAft>
                  <a:spcPct val="0"/>
                </a:spcAft>
              </a:pPr>
              <a:r>
                <a:rPr lang="es-ES_tradnl" sz="800" dirty="0">
                  <a:cs typeface="Arial" pitchFamily="34" charset="0"/>
                </a:rPr>
                <a:t>Institucionales</a:t>
              </a:r>
            </a:p>
          </p:txBody>
        </p:sp>
        <p:sp>
          <p:nvSpPr>
            <p:cNvPr id="88" name="_s206924"/>
            <p:cNvSpPr>
              <a:spLocks noChangeArrowheads="1"/>
            </p:cNvSpPr>
            <p:nvPr/>
          </p:nvSpPr>
          <p:spPr bwMode="auto">
            <a:xfrm>
              <a:off x="5379" y="2465"/>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alidad</a:t>
              </a:r>
            </a:p>
          </p:txBody>
        </p:sp>
        <p:sp>
          <p:nvSpPr>
            <p:cNvPr id="89" name="_s206925"/>
            <p:cNvSpPr>
              <a:spLocks noChangeArrowheads="1"/>
            </p:cNvSpPr>
            <p:nvPr/>
          </p:nvSpPr>
          <p:spPr bwMode="auto">
            <a:xfrm>
              <a:off x="6530" y="2465"/>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sesoría Fiscal</a:t>
              </a:r>
            </a:p>
          </p:txBody>
        </p:sp>
        <p:sp>
          <p:nvSpPr>
            <p:cNvPr id="90" name="_s206926"/>
            <p:cNvSpPr>
              <a:spLocks noChangeArrowheads="1"/>
            </p:cNvSpPr>
            <p:nvPr/>
          </p:nvSpPr>
          <p:spPr bwMode="auto">
            <a:xfrm>
              <a:off x="5379" y="2886"/>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uditoría Interna</a:t>
              </a:r>
            </a:p>
          </p:txBody>
        </p:sp>
        <p:sp>
          <p:nvSpPr>
            <p:cNvPr id="91" name="_s206927"/>
            <p:cNvSpPr>
              <a:spLocks noChangeArrowheads="1"/>
            </p:cNvSpPr>
            <p:nvPr/>
          </p:nvSpPr>
          <p:spPr bwMode="auto">
            <a:xfrm>
              <a:off x="6530" y="2886"/>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Estrategia</a:t>
              </a:r>
            </a:p>
          </p:txBody>
        </p:sp>
        <p:sp>
          <p:nvSpPr>
            <p:cNvPr id="92" name="_s206928"/>
            <p:cNvSpPr>
              <a:spLocks noChangeArrowheads="1"/>
            </p:cNvSpPr>
            <p:nvPr/>
          </p:nvSpPr>
          <p:spPr bwMode="auto">
            <a:xfrm>
              <a:off x="1710" y="3788"/>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Riesgo Crediticio</a:t>
              </a:r>
            </a:p>
          </p:txBody>
        </p:sp>
        <p:sp>
          <p:nvSpPr>
            <p:cNvPr id="93" name="_s206929"/>
            <p:cNvSpPr>
              <a:spLocks noChangeArrowheads="1"/>
            </p:cNvSpPr>
            <p:nvPr/>
          </p:nvSpPr>
          <p:spPr bwMode="auto">
            <a:xfrm>
              <a:off x="1710" y="5472"/>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Riesgo de Mercado</a:t>
              </a:r>
            </a:p>
          </p:txBody>
        </p:sp>
        <p:sp>
          <p:nvSpPr>
            <p:cNvPr id="94" name="_s206930"/>
            <p:cNvSpPr>
              <a:spLocks noChangeArrowheads="1"/>
            </p:cNvSpPr>
            <p:nvPr/>
          </p:nvSpPr>
          <p:spPr bwMode="auto">
            <a:xfrm>
              <a:off x="2285" y="4209"/>
              <a:ext cx="863"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dmisión</a:t>
              </a:r>
            </a:p>
          </p:txBody>
        </p:sp>
        <p:sp>
          <p:nvSpPr>
            <p:cNvPr id="95" name="_s206931"/>
            <p:cNvSpPr>
              <a:spLocks noChangeArrowheads="1"/>
            </p:cNvSpPr>
            <p:nvPr/>
          </p:nvSpPr>
          <p:spPr bwMode="auto">
            <a:xfrm>
              <a:off x="2285" y="4630"/>
              <a:ext cx="863"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eguimiento</a:t>
              </a:r>
            </a:p>
          </p:txBody>
        </p:sp>
        <p:sp>
          <p:nvSpPr>
            <p:cNvPr id="96" name="_s206932"/>
            <p:cNvSpPr>
              <a:spLocks noChangeArrowheads="1"/>
            </p:cNvSpPr>
            <p:nvPr/>
          </p:nvSpPr>
          <p:spPr bwMode="auto">
            <a:xfrm>
              <a:off x="2285" y="5051"/>
              <a:ext cx="863"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Recuperación</a:t>
              </a:r>
            </a:p>
          </p:txBody>
        </p:sp>
        <p:sp>
          <p:nvSpPr>
            <p:cNvPr id="97" name="_s206933"/>
            <p:cNvSpPr>
              <a:spLocks noChangeArrowheads="1"/>
            </p:cNvSpPr>
            <p:nvPr/>
          </p:nvSpPr>
          <p:spPr bwMode="auto">
            <a:xfrm>
              <a:off x="3436" y="3788"/>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Marketing</a:t>
              </a:r>
            </a:p>
          </p:txBody>
        </p:sp>
        <p:sp>
          <p:nvSpPr>
            <p:cNvPr id="98" name="_s206934"/>
            <p:cNvSpPr>
              <a:spLocks noChangeArrowheads="1"/>
            </p:cNvSpPr>
            <p:nvPr/>
          </p:nvSpPr>
          <p:spPr bwMode="auto">
            <a:xfrm>
              <a:off x="3436" y="6313"/>
              <a:ext cx="863" cy="288"/>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mercial</a:t>
              </a:r>
            </a:p>
          </p:txBody>
        </p:sp>
        <p:sp>
          <p:nvSpPr>
            <p:cNvPr id="99" name="_s206935"/>
            <p:cNvSpPr>
              <a:spLocks noChangeArrowheads="1"/>
            </p:cNvSpPr>
            <p:nvPr/>
          </p:nvSpPr>
          <p:spPr bwMode="auto">
            <a:xfrm>
              <a:off x="4011" y="4185"/>
              <a:ext cx="919" cy="400"/>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nocimiento </a:t>
              </a:r>
            </a:p>
            <a:p>
              <a:pPr algn="ctr" fontAlgn="base">
                <a:lnSpc>
                  <a:spcPct val="80000"/>
                </a:lnSpc>
                <a:spcBef>
                  <a:spcPct val="0"/>
                </a:spcBef>
                <a:spcAft>
                  <a:spcPct val="0"/>
                </a:spcAft>
              </a:pPr>
              <a:r>
                <a:rPr lang="es-ES_tradnl" sz="800" dirty="0">
                  <a:cs typeface="Arial" pitchFamily="34" charset="0"/>
                </a:rPr>
                <a:t>cliente/mercad.</a:t>
              </a:r>
            </a:p>
          </p:txBody>
        </p:sp>
        <p:sp>
          <p:nvSpPr>
            <p:cNvPr id="100" name="_s206936"/>
            <p:cNvSpPr>
              <a:spLocks noChangeArrowheads="1"/>
            </p:cNvSpPr>
            <p:nvPr/>
          </p:nvSpPr>
          <p:spPr bwMode="auto">
            <a:xfrm>
              <a:off x="4011" y="4679"/>
              <a:ext cx="919" cy="355"/>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Desarrollo de</a:t>
              </a:r>
            </a:p>
            <a:p>
              <a:pPr algn="ctr" fontAlgn="base">
                <a:lnSpc>
                  <a:spcPct val="80000"/>
                </a:lnSpc>
                <a:spcBef>
                  <a:spcPct val="0"/>
                </a:spcBef>
                <a:spcAft>
                  <a:spcPct val="0"/>
                </a:spcAft>
              </a:pPr>
              <a:r>
                <a:rPr lang="es-ES_tradnl" sz="800" dirty="0">
                  <a:cs typeface="Arial" pitchFamily="34" charset="0"/>
                </a:rPr>
                <a:t>productos</a:t>
              </a:r>
            </a:p>
          </p:txBody>
        </p:sp>
        <p:sp>
          <p:nvSpPr>
            <p:cNvPr id="101" name="_s206937"/>
            <p:cNvSpPr>
              <a:spLocks noChangeArrowheads="1"/>
            </p:cNvSpPr>
            <p:nvPr/>
          </p:nvSpPr>
          <p:spPr bwMode="auto">
            <a:xfrm>
              <a:off x="4011" y="5128"/>
              <a:ext cx="919"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Publicidad</a:t>
              </a:r>
            </a:p>
          </p:txBody>
        </p:sp>
        <p:sp>
          <p:nvSpPr>
            <p:cNvPr id="102" name="_s206938"/>
            <p:cNvSpPr>
              <a:spLocks noChangeArrowheads="1"/>
            </p:cNvSpPr>
            <p:nvPr/>
          </p:nvSpPr>
          <p:spPr bwMode="auto">
            <a:xfrm>
              <a:off x="4011" y="5511"/>
              <a:ext cx="919"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anales alternativos</a:t>
              </a:r>
            </a:p>
          </p:txBody>
        </p:sp>
        <p:sp>
          <p:nvSpPr>
            <p:cNvPr id="103" name="_s206939"/>
            <p:cNvSpPr>
              <a:spLocks noChangeArrowheads="1"/>
            </p:cNvSpPr>
            <p:nvPr/>
          </p:nvSpPr>
          <p:spPr bwMode="auto">
            <a:xfrm>
              <a:off x="4011" y="5893"/>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Planificación </a:t>
              </a:r>
            </a:p>
            <a:p>
              <a:pPr algn="ctr" fontAlgn="base">
                <a:lnSpc>
                  <a:spcPct val="80000"/>
                </a:lnSpc>
                <a:spcBef>
                  <a:spcPct val="0"/>
                </a:spcBef>
                <a:spcAft>
                  <a:spcPct val="0"/>
                </a:spcAft>
              </a:pPr>
              <a:r>
                <a:rPr lang="es-ES_tradnl" sz="800" dirty="0">
                  <a:cs typeface="Arial" pitchFamily="34" charset="0"/>
                </a:rPr>
                <a:t>comercial</a:t>
              </a:r>
            </a:p>
          </p:txBody>
        </p:sp>
        <p:sp>
          <p:nvSpPr>
            <p:cNvPr id="104" name="_s206940"/>
            <p:cNvSpPr>
              <a:spLocks noChangeArrowheads="1"/>
            </p:cNvSpPr>
            <p:nvPr/>
          </p:nvSpPr>
          <p:spPr bwMode="auto">
            <a:xfrm>
              <a:off x="4011" y="6734"/>
              <a:ext cx="863"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Direcciones</a:t>
              </a:r>
            </a:p>
            <a:p>
              <a:pPr algn="ctr" fontAlgn="base">
                <a:lnSpc>
                  <a:spcPct val="80000"/>
                </a:lnSpc>
                <a:spcBef>
                  <a:spcPct val="0"/>
                </a:spcBef>
                <a:spcAft>
                  <a:spcPct val="0"/>
                </a:spcAft>
              </a:pPr>
              <a:r>
                <a:rPr lang="es-ES_tradnl" sz="800" dirty="0">
                  <a:cs typeface="Arial" pitchFamily="34" charset="0"/>
                </a:rPr>
                <a:t>Comerciales</a:t>
              </a:r>
            </a:p>
          </p:txBody>
        </p:sp>
        <p:sp>
          <p:nvSpPr>
            <p:cNvPr id="105" name="_s206941"/>
            <p:cNvSpPr>
              <a:spLocks noChangeArrowheads="1"/>
            </p:cNvSpPr>
            <p:nvPr/>
          </p:nvSpPr>
          <p:spPr bwMode="auto">
            <a:xfrm>
              <a:off x="4011" y="7155"/>
              <a:ext cx="863"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Direcciones </a:t>
              </a:r>
            </a:p>
            <a:p>
              <a:pPr algn="ctr" fontAlgn="base">
                <a:lnSpc>
                  <a:spcPct val="80000"/>
                </a:lnSpc>
                <a:spcBef>
                  <a:spcPct val="0"/>
                </a:spcBef>
                <a:spcAft>
                  <a:spcPct val="0"/>
                </a:spcAft>
              </a:pPr>
              <a:r>
                <a:rPr lang="es-ES_tradnl" sz="800" dirty="0">
                  <a:cs typeface="Arial" pitchFamily="34" charset="0"/>
                </a:rPr>
                <a:t>Territoriales</a:t>
              </a:r>
            </a:p>
          </p:txBody>
        </p:sp>
        <p:sp>
          <p:nvSpPr>
            <p:cNvPr id="106" name="_s206942"/>
            <p:cNvSpPr>
              <a:spLocks noChangeArrowheads="1"/>
            </p:cNvSpPr>
            <p:nvPr/>
          </p:nvSpPr>
          <p:spPr bwMode="auto">
            <a:xfrm>
              <a:off x="4011" y="7575"/>
              <a:ext cx="863" cy="288"/>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oporte Sucursales</a:t>
              </a:r>
            </a:p>
          </p:txBody>
        </p:sp>
        <p:sp>
          <p:nvSpPr>
            <p:cNvPr id="107" name="_s206943"/>
            <p:cNvSpPr>
              <a:spLocks noChangeArrowheads="1"/>
            </p:cNvSpPr>
            <p:nvPr/>
          </p:nvSpPr>
          <p:spPr bwMode="auto">
            <a:xfrm>
              <a:off x="5162" y="3788"/>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T &amp; MC</a:t>
              </a:r>
            </a:p>
          </p:txBody>
        </p:sp>
        <p:sp>
          <p:nvSpPr>
            <p:cNvPr id="108" name="_s206944"/>
            <p:cNvSpPr>
              <a:spLocks noChangeArrowheads="1"/>
            </p:cNvSpPr>
            <p:nvPr/>
          </p:nvSpPr>
          <p:spPr bwMode="auto">
            <a:xfrm>
              <a:off x="5162" y="4209"/>
              <a:ext cx="864"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Banca Corporativa</a:t>
              </a:r>
            </a:p>
          </p:txBody>
        </p:sp>
        <p:sp>
          <p:nvSpPr>
            <p:cNvPr id="109" name="_s206945"/>
            <p:cNvSpPr>
              <a:spLocks noChangeArrowheads="1"/>
            </p:cNvSpPr>
            <p:nvPr/>
          </p:nvSpPr>
          <p:spPr bwMode="auto">
            <a:xfrm>
              <a:off x="5162" y="4630"/>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Banca Privada</a:t>
              </a:r>
            </a:p>
          </p:txBody>
        </p:sp>
        <p:sp>
          <p:nvSpPr>
            <p:cNvPr id="110" name="_s206946"/>
            <p:cNvSpPr>
              <a:spLocks noChangeArrowheads="1"/>
            </p:cNvSpPr>
            <p:nvPr/>
          </p:nvSpPr>
          <p:spPr bwMode="auto">
            <a:xfrm>
              <a:off x="6314" y="3788"/>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Intervención</a:t>
              </a:r>
            </a:p>
          </p:txBody>
        </p:sp>
        <p:sp>
          <p:nvSpPr>
            <p:cNvPr id="111" name="_s206947"/>
            <p:cNvSpPr>
              <a:spLocks noChangeArrowheads="1"/>
            </p:cNvSpPr>
            <p:nvPr/>
          </p:nvSpPr>
          <p:spPr bwMode="auto">
            <a:xfrm>
              <a:off x="6314" y="4209"/>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ntabilidad</a:t>
              </a:r>
            </a:p>
          </p:txBody>
        </p:sp>
        <p:sp>
          <p:nvSpPr>
            <p:cNvPr id="112" name="_s206948"/>
            <p:cNvSpPr>
              <a:spLocks noChangeArrowheads="1"/>
            </p:cNvSpPr>
            <p:nvPr/>
          </p:nvSpPr>
          <p:spPr bwMode="auto">
            <a:xfrm>
              <a:off x="6314" y="4630"/>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ntrol de Gestión</a:t>
              </a:r>
            </a:p>
          </p:txBody>
        </p:sp>
        <p:sp>
          <p:nvSpPr>
            <p:cNvPr id="113" name="_s206949"/>
            <p:cNvSpPr>
              <a:spLocks noChangeArrowheads="1"/>
            </p:cNvSpPr>
            <p:nvPr/>
          </p:nvSpPr>
          <p:spPr bwMode="auto">
            <a:xfrm>
              <a:off x="7465" y="3788"/>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istemas</a:t>
              </a:r>
            </a:p>
          </p:txBody>
        </p:sp>
        <p:sp>
          <p:nvSpPr>
            <p:cNvPr id="114" name="_s206950"/>
            <p:cNvSpPr>
              <a:spLocks noChangeArrowheads="1"/>
            </p:cNvSpPr>
            <p:nvPr/>
          </p:nvSpPr>
          <p:spPr bwMode="auto">
            <a:xfrm>
              <a:off x="7465" y="4209"/>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Organización</a:t>
              </a:r>
            </a:p>
          </p:txBody>
        </p:sp>
        <p:sp>
          <p:nvSpPr>
            <p:cNvPr id="115" name="_s206951"/>
            <p:cNvSpPr>
              <a:spLocks noChangeArrowheads="1"/>
            </p:cNvSpPr>
            <p:nvPr/>
          </p:nvSpPr>
          <p:spPr bwMode="auto">
            <a:xfrm>
              <a:off x="7465" y="5472"/>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Operaciones</a:t>
              </a:r>
            </a:p>
          </p:txBody>
        </p:sp>
        <p:sp>
          <p:nvSpPr>
            <p:cNvPr id="116" name="_s206952"/>
            <p:cNvSpPr>
              <a:spLocks noChangeArrowheads="1"/>
            </p:cNvSpPr>
            <p:nvPr/>
          </p:nvSpPr>
          <p:spPr bwMode="auto">
            <a:xfrm>
              <a:off x="8040" y="4630"/>
              <a:ext cx="863"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Métodos y Normativa</a:t>
              </a:r>
            </a:p>
          </p:txBody>
        </p:sp>
        <p:sp>
          <p:nvSpPr>
            <p:cNvPr id="117" name="_s206953"/>
            <p:cNvSpPr>
              <a:spLocks noChangeArrowheads="1"/>
            </p:cNvSpPr>
            <p:nvPr/>
          </p:nvSpPr>
          <p:spPr bwMode="auto">
            <a:xfrm>
              <a:off x="8040" y="5051"/>
              <a:ext cx="863"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Eficiencia Operativa</a:t>
              </a:r>
            </a:p>
          </p:txBody>
        </p:sp>
        <p:sp>
          <p:nvSpPr>
            <p:cNvPr id="118" name="_s206954"/>
            <p:cNvSpPr>
              <a:spLocks noChangeArrowheads="1"/>
            </p:cNvSpPr>
            <p:nvPr/>
          </p:nvSpPr>
          <p:spPr bwMode="auto">
            <a:xfrm>
              <a:off x="8040" y="5893"/>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mpensación</a:t>
              </a:r>
            </a:p>
          </p:txBody>
        </p:sp>
        <p:sp>
          <p:nvSpPr>
            <p:cNvPr id="119" name="_s206955"/>
            <p:cNvSpPr>
              <a:spLocks noChangeArrowheads="1"/>
            </p:cNvSpPr>
            <p:nvPr/>
          </p:nvSpPr>
          <p:spPr bwMode="auto">
            <a:xfrm>
              <a:off x="8040" y="6313"/>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ervicios</a:t>
              </a:r>
            </a:p>
          </p:txBody>
        </p:sp>
        <p:sp>
          <p:nvSpPr>
            <p:cNvPr id="120" name="_s206956"/>
            <p:cNvSpPr>
              <a:spLocks noChangeArrowheads="1"/>
            </p:cNvSpPr>
            <p:nvPr/>
          </p:nvSpPr>
          <p:spPr bwMode="auto">
            <a:xfrm>
              <a:off x="8040" y="6734"/>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ctivo</a:t>
              </a:r>
            </a:p>
          </p:txBody>
        </p:sp>
        <p:sp>
          <p:nvSpPr>
            <p:cNvPr id="121" name="_s206957"/>
            <p:cNvSpPr>
              <a:spLocks noChangeArrowheads="1"/>
            </p:cNvSpPr>
            <p:nvPr/>
          </p:nvSpPr>
          <p:spPr bwMode="auto">
            <a:xfrm>
              <a:off x="8040" y="7155"/>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Pasivo</a:t>
              </a:r>
            </a:p>
          </p:txBody>
        </p:sp>
        <p:sp>
          <p:nvSpPr>
            <p:cNvPr id="122" name="_s206958"/>
            <p:cNvSpPr>
              <a:spLocks noChangeArrowheads="1"/>
            </p:cNvSpPr>
            <p:nvPr/>
          </p:nvSpPr>
          <p:spPr bwMode="auto">
            <a:xfrm>
              <a:off x="8040" y="7575"/>
              <a:ext cx="919" cy="287"/>
            </a:xfrm>
            <a:prstGeom prst="roundRect">
              <a:avLst>
                <a:gd name="adj" fmla="val 16667"/>
              </a:avLst>
            </a:prstGeom>
            <a:solidFill>
              <a:srgbClr val="FFFDA1"/>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Valores</a:t>
              </a:r>
            </a:p>
          </p:txBody>
        </p:sp>
        <p:sp>
          <p:nvSpPr>
            <p:cNvPr id="123" name="_s206959"/>
            <p:cNvSpPr>
              <a:spLocks noChangeArrowheads="1"/>
            </p:cNvSpPr>
            <p:nvPr/>
          </p:nvSpPr>
          <p:spPr bwMode="auto">
            <a:xfrm>
              <a:off x="8040" y="7996"/>
              <a:ext cx="919" cy="287"/>
            </a:xfrm>
            <a:prstGeom prst="roundRect">
              <a:avLst>
                <a:gd name="adj" fmla="val 16667"/>
              </a:avLst>
            </a:prstGeom>
            <a:solidFill>
              <a:srgbClr val="FFFDA1"/>
            </a:solidFill>
            <a:ln w="9525">
              <a:solidFill>
                <a:schemeClr val="tx1"/>
              </a:solidFill>
              <a:round/>
              <a:headEnd/>
              <a:tailEnd/>
            </a:ln>
          </p:spPr>
          <p:txBody>
            <a:bodyPr vert="horz" wrap="non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Extranjero</a:t>
              </a:r>
            </a:p>
          </p:txBody>
        </p:sp>
        <p:sp>
          <p:nvSpPr>
            <p:cNvPr id="124" name="_s206960"/>
            <p:cNvSpPr>
              <a:spLocks noChangeArrowheads="1"/>
            </p:cNvSpPr>
            <p:nvPr/>
          </p:nvSpPr>
          <p:spPr bwMode="auto">
            <a:xfrm>
              <a:off x="9191" y="3788"/>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RRHH</a:t>
              </a:r>
            </a:p>
          </p:txBody>
        </p:sp>
        <p:sp>
          <p:nvSpPr>
            <p:cNvPr id="125" name="_s206961"/>
            <p:cNvSpPr>
              <a:spLocks noChangeArrowheads="1"/>
            </p:cNvSpPr>
            <p:nvPr/>
          </p:nvSpPr>
          <p:spPr bwMode="auto">
            <a:xfrm>
              <a:off x="9191" y="4209"/>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eguridad</a:t>
              </a:r>
            </a:p>
          </p:txBody>
        </p:sp>
        <p:sp>
          <p:nvSpPr>
            <p:cNvPr id="126" name="_s206962"/>
            <p:cNvSpPr>
              <a:spLocks noChangeArrowheads="1"/>
            </p:cNvSpPr>
            <p:nvPr/>
          </p:nvSpPr>
          <p:spPr bwMode="auto">
            <a:xfrm>
              <a:off x="9191" y="4630"/>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Servicios Generales</a:t>
              </a:r>
            </a:p>
          </p:txBody>
        </p:sp>
        <p:sp>
          <p:nvSpPr>
            <p:cNvPr id="127" name="_s206963"/>
            <p:cNvSpPr>
              <a:spLocks noChangeArrowheads="1"/>
            </p:cNvSpPr>
            <p:nvPr/>
          </p:nvSpPr>
          <p:spPr bwMode="auto">
            <a:xfrm>
              <a:off x="9191" y="5051"/>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Compras</a:t>
              </a:r>
            </a:p>
          </p:txBody>
        </p:sp>
        <p:sp>
          <p:nvSpPr>
            <p:cNvPr id="128" name="_s206964"/>
            <p:cNvSpPr>
              <a:spLocks noChangeArrowheads="1"/>
            </p:cNvSpPr>
            <p:nvPr/>
          </p:nvSpPr>
          <p:spPr bwMode="auto">
            <a:xfrm>
              <a:off x="9191" y="5472"/>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Obras e Instalaciones</a:t>
              </a:r>
            </a:p>
          </p:txBody>
        </p:sp>
        <p:sp>
          <p:nvSpPr>
            <p:cNvPr id="129" name="_s206965"/>
            <p:cNvSpPr>
              <a:spLocks noChangeArrowheads="1"/>
            </p:cNvSpPr>
            <p:nvPr/>
          </p:nvSpPr>
          <p:spPr bwMode="auto">
            <a:xfrm>
              <a:off x="9191" y="5893"/>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Inmuebles </a:t>
              </a:r>
            </a:p>
            <a:p>
              <a:pPr algn="ctr" fontAlgn="base">
                <a:lnSpc>
                  <a:spcPct val="80000"/>
                </a:lnSpc>
                <a:spcBef>
                  <a:spcPct val="0"/>
                </a:spcBef>
                <a:spcAft>
                  <a:spcPct val="0"/>
                </a:spcAft>
              </a:pPr>
              <a:r>
                <a:rPr lang="es-ES_tradnl" sz="800" dirty="0">
                  <a:cs typeface="Arial" pitchFamily="34" charset="0"/>
                </a:rPr>
                <a:t>adjudicados</a:t>
              </a:r>
            </a:p>
          </p:txBody>
        </p:sp>
        <p:sp>
          <p:nvSpPr>
            <p:cNvPr id="130" name="_s206966"/>
            <p:cNvSpPr>
              <a:spLocks noChangeArrowheads="1"/>
            </p:cNvSpPr>
            <p:nvPr/>
          </p:nvSpPr>
          <p:spPr bwMode="auto">
            <a:xfrm>
              <a:off x="9191" y="6313"/>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Archivo central</a:t>
              </a:r>
            </a:p>
          </p:txBody>
        </p:sp>
        <p:sp>
          <p:nvSpPr>
            <p:cNvPr id="131" name="_s206967"/>
            <p:cNvSpPr>
              <a:spLocks noChangeArrowheads="1"/>
            </p:cNvSpPr>
            <p:nvPr/>
          </p:nvSpPr>
          <p:spPr bwMode="auto">
            <a:xfrm>
              <a:off x="9191" y="6734"/>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Gestión de efectivo</a:t>
              </a:r>
            </a:p>
          </p:txBody>
        </p:sp>
        <p:sp>
          <p:nvSpPr>
            <p:cNvPr id="132" name="_s206968"/>
            <p:cNvSpPr>
              <a:spLocks noChangeArrowheads="1"/>
            </p:cNvSpPr>
            <p:nvPr/>
          </p:nvSpPr>
          <p:spPr bwMode="auto">
            <a:xfrm>
              <a:off x="10342" y="3788"/>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Gestión Social</a:t>
              </a:r>
            </a:p>
          </p:txBody>
        </p:sp>
        <p:sp>
          <p:nvSpPr>
            <p:cNvPr id="133" name="_s206969"/>
            <p:cNvSpPr>
              <a:spLocks noChangeArrowheads="1"/>
            </p:cNvSpPr>
            <p:nvPr/>
          </p:nvSpPr>
          <p:spPr bwMode="auto">
            <a:xfrm>
              <a:off x="10342" y="4209"/>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Gestión Cultural</a:t>
              </a:r>
            </a:p>
          </p:txBody>
        </p:sp>
        <p:sp>
          <p:nvSpPr>
            <p:cNvPr id="134" name="_s206970"/>
            <p:cNvSpPr>
              <a:spLocks noChangeArrowheads="1"/>
            </p:cNvSpPr>
            <p:nvPr/>
          </p:nvSpPr>
          <p:spPr bwMode="auto">
            <a:xfrm>
              <a:off x="10342" y="4630"/>
              <a:ext cx="863" cy="287"/>
            </a:xfrm>
            <a:prstGeom prst="roundRect">
              <a:avLst>
                <a:gd name="adj" fmla="val 16667"/>
              </a:avLst>
            </a:prstGeom>
            <a:solidFill>
              <a:srgbClr val="CE9E4E"/>
            </a:solidFill>
            <a:ln w="9525">
              <a:solidFill>
                <a:schemeClr val="tx1"/>
              </a:solidFill>
              <a:round/>
              <a:headEnd/>
              <a:tailEnd/>
            </a:ln>
          </p:spPr>
          <p:txBody>
            <a:bodyPr vert="horz" wrap="square" lIns="0" tIns="0" rIns="0" bIns="0" numCol="1" anchor="ctr" anchorCtr="0" compatLnSpc="1">
              <a:prstTxWarp prst="textNoShape">
                <a:avLst/>
              </a:prstTxWarp>
            </a:bodyPr>
            <a:lstStyle/>
            <a:p>
              <a:pPr algn="ctr" fontAlgn="base">
                <a:lnSpc>
                  <a:spcPct val="80000"/>
                </a:lnSpc>
                <a:spcBef>
                  <a:spcPct val="0"/>
                </a:spcBef>
                <a:spcAft>
                  <a:spcPct val="0"/>
                </a:spcAft>
              </a:pPr>
              <a:r>
                <a:rPr lang="es-ES_tradnl" sz="800" dirty="0">
                  <a:cs typeface="Arial" pitchFamily="34" charset="0"/>
                </a:rPr>
                <a:t>Estudios Económicos</a:t>
              </a:r>
            </a:p>
          </p:txBody>
        </p:sp>
      </p:grpSp>
      <p:grpSp>
        <p:nvGrpSpPr>
          <p:cNvPr id="3" name="Group 147"/>
          <p:cNvGrpSpPr>
            <a:grpSpLocks/>
          </p:cNvGrpSpPr>
          <p:nvPr/>
        </p:nvGrpSpPr>
        <p:grpSpPr bwMode="auto">
          <a:xfrm>
            <a:off x="8776944" y="1164754"/>
            <a:ext cx="1285877" cy="700088"/>
            <a:chOff x="4590" y="3521"/>
            <a:chExt cx="810" cy="441"/>
          </a:xfrm>
        </p:grpSpPr>
        <p:sp>
          <p:nvSpPr>
            <p:cNvPr id="370830" name="Rectangle 142"/>
            <p:cNvSpPr>
              <a:spLocks noChangeArrowheads="1"/>
            </p:cNvSpPr>
            <p:nvPr/>
          </p:nvSpPr>
          <p:spPr bwMode="auto">
            <a:xfrm>
              <a:off x="4815" y="3702"/>
              <a:ext cx="363" cy="68"/>
            </a:xfrm>
            <a:prstGeom prst="rect">
              <a:avLst/>
            </a:prstGeom>
            <a:solidFill>
              <a:srgbClr val="625B4A"/>
            </a:solidFill>
            <a:ln w="9525" algn="ctr">
              <a:solidFill>
                <a:schemeClr val="tx1"/>
              </a:solidFill>
              <a:miter lim="800000"/>
              <a:headEnd/>
              <a:tailEnd/>
            </a:ln>
            <a:effectLst/>
          </p:spPr>
          <p:txBody>
            <a:bodyPr wrap="none" anchor="ctr" anchorCtr="0"/>
            <a:lstStyle/>
            <a:p>
              <a:pPr>
                <a:lnSpc>
                  <a:spcPts val="500"/>
                </a:lnSpc>
              </a:pPr>
              <a:endParaRPr lang="es-ES" dirty="0"/>
            </a:p>
          </p:txBody>
        </p:sp>
        <p:sp>
          <p:nvSpPr>
            <p:cNvPr id="370831" name="Rectangle 143"/>
            <p:cNvSpPr>
              <a:spLocks noChangeArrowheads="1"/>
            </p:cNvSpPr>
            <p:nvPr/>
          </p:nvSpPr>
          <p:spPr bwMode="auto">
            <a:xfrm>
              <a:off x="4815" y="3785"/>
              <a:ext cx="363" cy="68"/>
            </a:xfrm>
            <a:prstGeom prst="rect">
              <a:avLst/>
            </a:prstGeom>
            <a:solidFill>
              <a:srgbClr val="CE9E4E"/>
            </a:solidFill>
            <a:ln w="9525" algn="ctr">
              <a:solidFill>
                <a:schemeClr val="tx1"/>
              </a:solidFill>
              <a:miter lim="800000"/>
              <a:headEnd/>
              <a:tailEnd/>
            </a:ln>
            <a:effectLst/>
          </p:spPr>
          <p:txBody>
            <a:bodyPr wrap="none" anchor="ctr" anchorCtr="0"/>
            <a:lstStyle/>
            <a:p>
              <a:pPr>
                <a:lnSpc>
                  <a:spcPts val="500"/>
                </a:lnSpc>
              </a:pPr>
              <a:endParaRPr lang="es-ES" dirty="0"/>
            </a:p>
          </p:txBody>
        </p:sp>
        <p:sp>
          <p:nvSpPr>
            <p:cNvPr id="370832" name="Rectangle 144"/>
            <p:cNvSpPr>
              <a:spLocks noChangeArrowheads="1"/>
            </p:cNvSpPr>
            <p:nvPr/>
          </p:nvSpPr>
          <p:spPr bwMode="auto">
            <a:xfrm>
              <a:off x="4818" y="3867"/>
              <a:ext cx="363" cy="68"/>
            </a:xfrm>
            <a:prstGeom prst="rect">
              <a:avLst/>
            </a:prstGeom>
            <a:solidFill>
              <a:srgbClr val="FFFDA1"/>
            </a:solidFill>
            <a:ln w="9525" algn="ctr">
              <a:solidFill>
                <a:schemeClr val="tx1"/>
              </a:solidFill>
              <a:miter lim="800000"/>
              <a:headEnd/>
              <a:tailEnd/>
            </a:ln>
            <a:effectLst/>
          </p:spPr>
          <p:txBody>
            <a:bodyPr wrap="none" anchor="ctr" anchorCtr="0"/>
            <a:lstStyle/>
            <a:p>
              <a:pPr>
                <a:lnSpc>
                  <a:spcPts val="500"/>
                </a:lnSpc>
              </a:pPr>
              <a:endParaRPr lang="es-ES" dirty="0"/>
            </a:p>
          </p:txBody>
        </p:sp>
        <p:sp>
          <p:nvSpPr>
            <p:cNvPr id="370833" name="Rectangle 145"/>
            <p:cNvSpPr>
              <a:spLocks noChangeArrowheads="1"/>
            </p:cNvSpPr>
            <p:nvPr/>
          </p:nvSpPr>
          <p:spPr bwMode="auto">
            <a:xfrm>
              <a:off x="4815" y="3620"/>
              <a:ext cx="363" cy="68"/>
            </a:xfrm>
            <a:prstGeom prst="rect">
              <a:avLst/>
            </a:prstGeom>
            <a:solidFill>
              <a:srgbClr val="9E0400"/>
            </a:solidFill>
            <a:ln w="9525" algn="ctr">
              <a:solidFill>
                <a:schemeClr val="tx1"/>
              </a:solidFill>
              <a:miter lim="800000"/>
              <a:headEnd/>
              <a:tailEnd/>
            </a:ln>
            <a:effectLst/>
          </p:spPr>
          <p:txBody>
            <a:bodyPr wrap="none" anchor="ctr" anchorCtr="0"/>
            <a:lstStyle/>
            <a:p>
              <a:pPr>
                <a:lnSpc>
                  <a:spcPts val="500"/>
                </a:lnSpc>
              </a:pPr>
              <a:endParaRPr lang="es-ES" dirty="0"/>
            </a:p>
          </p:txBody>
        </p:sp>
        <p:sp>
          <p:nvSpPr>
            <p:cNvPr id="370828" name="Text Box 140"/>
            <p:cNvSpPr txBox="1">
              <a:spLocks noChangeArrowheads="1"/>
            </p:cNvSpPr>
            <p:nvPr/>
          </p:nvSpPr>
          <p:spPr bwMode="auto">
            <a:xfrm>
              <a:off x="4590" y="3521"/>
              <a:ext cx="810" cy="441"/>
            </a:xfrm>
            <a:prstGeom prst="rect">
              <a:avLst/>
            </a:prstGeom>
            <a:noFill/>
            <a:ln w="9525" algn="ctr">
              <a:solidFill>
                <a:srgbClr val="625B4A"/>
              </a:solidFill>
              <a:prstDash val="dash"/>
              <a:miter lim="800000"/>
              <a:headEnd/>
              <a:tailEnd/>
            </a:ln>
            <a:effectLst/>
          </p:spPr>
          <p:txBody>
            <a:bodyPr wrap="square" anchor="ctr" anchorCtr="0">
              <a:spAutoFit/>
            </a:bodyPr>
            <a:lstStyle/>
            <a:p>
              <a:pPr algn="ctr">
                <a:lnSpc>
                  <a:spcPts val="500"/>
                </a:lnSpc>
                <a:spcBef>
                  <a:spcPct val="50000"/>
                </a:spcBef>
              </a:pPr>
              <a:r>
                <a:rPr lang="es-ES_tradnl" sz="800" b="1" u="sng" dirty="0"/>
                <a:t>NIVELES</a:t>
              </a:r>
              <a:endParaRPr lang="es-ES_tradnl" sz="600" u="sng" dirty="0"/>
            </a:p>
            <a:p>
              <a:pPr algn="ctr">
                <a:lnSpc>
                  <a:spcPts val="700"/>
                </a:lnSpc>
                <a:spcBef>
                  <a:spcPct val="50000"/>
                </a:spcBef>
              </a:pPr>
              <a:r>
                <a:rPr lang="es-ES_tradnl" sz="600" b="1" dirty="0">
                  <a:solidFill>
                    <a:schemeClr val="bg1"/>
                  </a:solidFill>
                </a:rPr>
                <a:t>Entidad</a:t>
              </a:r>
            </a:p>
            <a:p>
              <a:pPr algn="ctr">
                <a:lnSpc>
                  <a:spcPts val="700"/>
                </a:lnSpc>
                <a:spcBef>
                  <a:spcPct val="50000"/>
                </a:spcBef>
              </a:pPr>
              <a:r>
                <a:rPr lang="es-ES_tradnl" sz="600" b="1" dirty="0"/>
                <a:t>Dirección</a:t>
              </a:r>
            </a:p>
            <a:p>
              <a:pPr algn="ctr">
                <a:lnSpc>
                  <a:spcPts val="700"/>
                </a:lnSpc>
                <a:spcBef>
                  <a:spcPct val="50000"/>
                </a:spcBef>
              </a:pPr>
              <a:r>
                <a:rPr lang="es-ES_tradnl" sz="600" b="1" dirty="0"/>
                <a:t>Área</a:t>
              </a:r>
            </a:p>
            <a:p>
              <a:pPr algn="ctr">
                <a:lnSpc>
                  <a:spcPts val="700"/>
                </a:lnSpc>
                <a:spcBef>
                  <a:spcPct val="50000"/>
                </a:spcBef>
              </a:pPr>
              <a:r>
                <a:rPr lang="es-ES_tradnl" sz="600" b="1" dirty="0"/>
                <a:t>  Departamento</a:t>
              </a:r>
            </a:p>
          </p:txBody>
        </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4FB687-256B-4E31-A119-8A89A5AB4CC0}"/>
              </a:ext>
            </a:extLst>
          </p:cNvPr>
          <p:cNvSpPr>
            <a:spLocks noGrp="1"/>
          </p:cNvSpPr>
          <p:nvPr>
            <p:ph type="title"/>
          </p:nvPr>
        </p:nvSpPr>
        <p:spPr>
          <a:xfrm>
            <a:off x="838200" y="365126"/>
            <a:ext cx="9840124" cy="1092200"/>
          </a:xfrm>
        </p:spPr>
        <p:txBody>
          <a:bodyPr>
            <a:normAutofit/>
          </a:bodyPr>
          <a:lstStyle/>
          <a:p>
            <a:r>
              <a:rPr lang="es-ES" noProof="0" dirty="0"/>
              <a:t>Ejemplo de Fuentes de Datos para alimentar un Data Lake</a:t>
            </a:r>
          </a:p>
        </p:txBody>
      </p:sp>
      <p:sp>
        <p:nvSpPr>
          <p:cNvPr id="12" name="Marcador de fecha 2">
            <a:extLst>
              <a:ext uri="{FF2B5EF4-FFF2-40B4-BE49-F238E27FC236}">
                <a16:creationId xmlns:a16="http://schemas.microsoft.com/office/drawing/2014/main" id="{DF4794DC-61D5-467F-B423-84294764D365}"/>
              </a:ext>
            </a:extLst>
          </p:cNvPr>
          <p:cNvSpPr>
            <a:spLocks noGrp="1"/>
          </p:cNvSpPr>
          <p:nvPr>
            <p:ph type="dt" sz="half" idx="10"/>
          </p:nvPr>
        </p:nvSpPr>
        <p:spPr>
          <a:xfrm>
            <a:off x="814650" y="6400379"/>
            <a:ext cx="3380278" cy="365125"/>
          </a:xfrm>
        </p:spPr>
        <p:txBody>
          <a:bodyPr/>
          <a:lstStyle/>
          <a:p>
            <a:fld id="{F1ACCA79-E484-4DB0-9413-10374C0B24EE}" type="datetime2">
              <a:rPr lang="es-ES" smtClean="0"/>
              <a:pPr/>
              <a:t>jueves, 19 de septiembre de 2024</a:t>
            </a:fld>
            <a:endParaRPr lang="es-ES" dirty="0"/>
          </a:p>
        </p:txBody>
      </p:sp>
      <p:sp>
        <p:nvSpPr>
          <p:cNvPr id="13" name="Marcador de pie de página 10">
            <a:extLst>
              <a:ext uri="{FF2B5EF4-FFF2-40B4-BE49-F238E27FC236}">
                <a16:creationId xmlns:a16="http://schemas.microsoft.com/office/drawing/2014/main" id="{440B496F-931B-4AA8-A87B-EB1A28ADCA7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4" name="Marcador de número de diapositiva 11">
            <a:extLst>
              <a:ext uri="{FF2B5EF4-FFF2-40B4-BE49-F238E27FC236}">
                <a16:creationId xmlns:a16="http://schemas.microsoft.com/office/drawing/2014/main" id="{950CC561-4332-41AA-8D32-C89A9BB2DAA5}"/>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2</a:t>
            </a:fld>
            <a:endParaRPr lang="es-ES" dirty="0"/>
          </a:p>
        </p:txBody>
      </p:sp>
      <p:graphicFrame>
        <p:nvGraphicFramePr>
          <p:cNvPr id="6" name="Diagrama 5">
            <a:extLst>
              <a:ext uri="{FF2B5EF4-FFF2-40B4-BE49-F238E27FC236}">
                <a16:creationId xmlns:a16="http://schemas.microsoft.com/office/drawing/2014/main" id="{B0E003E2-56B5-4728-8FEA-903F9058116D}"/>
              </a:ext>
            </a:extLst>
          </p:cNvPr>
          <p:cNvGraphicFramePr/>
          <p:nvPr>
            <p:extLst>
              <p:ext uri="{D42A27DB-BD31-4B8C-83A1-F6EECF244321}">
                <p14:modId xmlns:p14="http://schemas.microsoft.com/office/powerpoint/2010/main" val="2394574456"/>
              </p:ext>
            </p:extLst>
          </p:nvPr>
        </p:nvGraphicFramePr>
        <p:xfrm>
          <a:off x="-18431" y="1723816"/>
          <a:ext cx="12240000" cy="442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Globo: línea 8">
            <a:extLst>
              <a:ext uri="{FF2B5EF4-FFF2-40B4-BE49-F238E27FC236}">
                <a16:creationId xmlns:a16="http://schemas.microsoft.com/office/drawing/2014/main" id="{7F86E1FA-24B8-4CCD-9BB3-907A85CBFF08}"/>
              </a:ext>
            </a:extLst>
          </p:cNvPr>
          <p:cNvSpPr/>
          <p:nvPr/>
        </p:nvSpPr>
        <p:spPr>
          <a:xfrm>
            <a:off x="154110" y="1760899"/>
            <a:ext cx="1395128" cy="648000"/>
          </a:xfrm>
          <a:prstGeom prst="borderCallout1">
            <a:avLst>
              <a:gd name="adj1" fmla="val 42658"/>
              <a:gd name="adj2" fmla="val 100602"/>
              <a:gd name="adj3" fmla="val 55095"/>
              <a:gd name="adj4" fmla="val 187353"/>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accent1"/>
                </a:solidFill>
                <a:latin typeface="Avenir LT Std 35 Light" panose="020B0402020203020204" pitchFamily="34" charset="0"/>
              </a:rPr>
              <a:t>Web Scraping</a:t>
            </a:r>
          </a:p>
          <a:p>
            <a:pPr algn="ctr"/>
            <a:r>
              <a:rPr lang="es-ES" sz="1400" b="1" dirty="0">
                <a:solidFill>
                  <a:schemeClr val="accent1"/>
                </a:solidFill>
                <a:latin typeface="Avenir LT Std 35 Light" panose="020B0402020203020204" pitchFamily="34" charset="0"/>
              </a:rPr>
              <a:t>PLN</a:t>
            </a:r>
          </a:p>
          <a:p>
            <a:pPr algn="ctr"/>
            <a:r>
              <a:rPr lang="es-ES" sz="1400" b="1" dirty="0">
                <a:solidFill>
                  <a:schemeClr val="accent1"/>
                </a:solidFill>
                <a:latin typeface="Avenir LT Std 35 Light" panose="020B0402020203020204" pitchFamily="34" charset="0"/>
              </a:rPr>
              <a:t>API</a:t>
            </a:r>
          </a:p>
        </p:txBody>
      </p:sp>
    </p:spTree>
    <p:extLst>
      <p:ext uri="{BB962C8B-B14F-4D97-AF65-F5344CB8AC3E}">
        <p14:creationId xmlns:p14="http://schemas.microsoft.com/office/powerpoint/2010/main" val="4190830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EAAB33-9C71-490F-8BE6-0312A8B9F4B9}"/>
              </a:ext>
            </a:extLst>
          </p:cNvPr>
          <p:cNvSpPr>
            <a:spLocks noGrp="1"/>
          </p:cNvSpPr>
          <p:nvPr>
            <p:ph type="title"/>
          </p:nvPr>
        </p:nvSpPr>
        <p:spPr>
          <a:xfrm>
            <a:off x="838200" y="365126"/>
            <a:ext cx="9840124" cy="1092200"/>
          </a:xfrm>
        </p:spPr>
        <p:txBody>
          <a:bodyPr/>
          <a:lstStyle/>
          <a:p>
            <a:r>
              <a:rPr lang="es-ES" noProof="0" dirty="0"/>
              <a:t>Tres premisas con los datos</a:t>
            </a:r>
          </a:p>
        </p:txBody>
      </p:sp>
      <p:graphicFrame>
        <p:nvGraphicFramePr>
          <p:cNvPr id="12" name="Marcador de contenido 11">
            <a:extLst>
              <a:ext uri="{FF2B5EF4-FFF2-40B4-BE49-F238E27FC236}">
                <a16:creationId xmlns:a16="http://schemas.microsoft.com/office/drawing/2014/main" id="{A566C179-D270-4612-87B9-FD1512028BC8}"/>
              </a:ext>
            </a:extLst>
          </p:cNvPr>
          <p:cNvGraphicFramePr>
            <a:graphicFrameLocks noGrp="1"/>
          </p:cNvGraphicFramePr>
          <p:nvPr>
            <p:ph idx="1"/>
            <p:extLst>
              <p:ext uri="{D42A27DB-BD31-4B8C-83A1-F6EECF244321}">
                <p14:modId xmlns:p14="http://schemas.microsoft.com/office/powerpoint/2010/main" val="2052369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95474DAF-1263-4BE2-8E5F-A6D023BA7DE1}"/>
              </a:ext>
            </a:extLst>
          </p:cNvPr>
          <p:cNvSpPr>
            <a:spLocks noGrp="1"/>
          </p:cNvSpPr>
          <p:nvPr>
            <p:ph type="dt" sz="half" idx="10"/>
          </p:nvPr>
        </p:nvSpPr>
        <p:spPr>
          <a:xfrm>
            <a:off x="814650" y="6400379"/>
            <a:ext cx="3380278" cy="365125"/>
          </a:xfrm>
        </p:spPr>
        <p:txBody>
          <a:bodyPr/>
          <a:lstStyle/>
          <a:p>
            <a:fld id="{0D1360CD-450E-4D63-8082-F3381D793D9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95B3F99B-BF7C-4A71-B2BB-1CF590733AA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4A12551-9561-40D5-B2A5-ECB90FB0876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3</a:t>
            </a:fld>
            <a:endParaRPr lang="es-ES" dirty="0"/>
          </a:p>
        </p:txBody>
      </p:sp>
    </p:spTree>
    <p:extLst>
      <p:ext uri="{BB962C8B-B14F-4D97-AF65-F5344CB8AC3E}">
        <p14:creationId xmlns:p14="http://schemas.microsoft.com/office/powerpoint/2010/main" val="25450051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422209001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4</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560" y="372554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0519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A5782C2-B2FD-58A6-6969-8B5655519281}"/>
              </a:ext>
            </a:extLst>
          </p:cNvPr>
          <p:cNvSpPr>
            <a:spLocks noGrp="1"/>
          </p:cNvSpPr>
          <p:nvPr>
            <p:ph type="title"/>
          </p:nvPr>
        </p:nvSpPr>
        <p:spPr>
          <a:xfrm>
            <a:off x="838200" y="365126"/>
            <a:ext cx="9840124" cy="1092200"/>
          </a:xfrm>
        </p:spPr>
        <p:txBody>
          <a:bodyPr>
            <a:normAutofit/>
          </a:bodyPr>
          <a:lstStyle/>
          <a:p>
            <a:r>
              <a:rPr lang="es-ES" noProof="0" dirty="0"/>
              <a:t>La forma de prestar servicios en la nube de un proveedor a un cliente usuario</a:t>
            </a:r>
          </a:p>
        </p:txBody>
      </p:sp>
      <p:graphicFrame>
        <p:nvGraphicFramePr>
          <p:cNvPr id="20" name="Marcador de contenido 19">
            <a:extLst>
              <a:ext uri="{FF2B5EF4-FFF2-40B4-BE49-F238E27FC236}">
                <a16:creationId xmlns:a16="http://schemas.microsoft.com/office/drawing/2014/main" id="{0C7F0116-4F0E-12AB-BC7A-BC5A9035D66B}"/>
              </a:ext>
            </a:extLst>
          </p:cNvPr>
          <p:cNvGraphicFramePr>
            <a:graphicFrameLocks noGrp="1"/>
          </p:cNvGraphicFramePr>
          <p:nvPr>
            <p:ph sz="half" idx="1"/>
            <p:extLst>
              <p:ext uri="{D42A27DB-BD31-4B8C-83A1-F6EECF244321}">
                <p14:modId xmlns:p14="http://schemas.microsoft.com/office/powerpoint/2010/main" val="1632892420"/>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2" descr="IaaS, PaaS &amp; SaaS: Everything You Need To Know | IR">
            <a:extLst>
              <a:ext uri="{FF2B5EF4-FFF2-40B4-BE49-F238E27FC236}">
                <a16:creationId xmlns:a16="http://schemas.microsoft.com/office/drawing/2014/main" id="{CD33D4C4-8196-DD15-E2FA-D78F1122F3F7}"/>
              </a:ext>
            </a:extLst>
          </p:cNvPr>
          <p:cNvPicPr>
            <a:picLocks noGrp="1" noChangeAspect="1" noChangeArrowheads="1"/>
          </p:cNvPicPr>
          <p:nvPr>
            <p:ph sz="half" idx="2"/>
          </p:nvPr>
        </p:nvPicPr>
        <p:blipFill>
          <a:blip r:embed="rId7">
            <a:clrChange>
              <a:clrFrom>
                <a:srgbClr val="EFF0EB"/>
              </a:clrFrom>
              <a:clrTo>
                <a:srgbClr val="EFF0EB">
                  <a:alpha val="0"/>
                </a:srgbClr>
              </a:clrTo>
            </a:clrChange>
            <a:extLst>
              <a:ext uri="{28A0092B-C50C-407E-A947-70E740481C1C}">
                <a14:useLocalDpi xmlns:a14="http://schemas.microsoft.com/office/drawing/2010/main" val="0"/>
              </a:ext>
            </a:extLst>
          </a:blip>
          <a:stretch>
            <a:fillRect/>
          </a:stretch>
        </p:blipFill>
        <p:spPr bwMode="auto">
          <a:xfrm>
            <a:off x="6172200" y="2203596"/>
            <a:ext cx="5181600" cy="3595395"/>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460953D9-36F5-CD49-64B3-70EEF9652692}"/>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690D2D0-AF46-CE9A-CD27-31BB8191D97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DB28EF4-E93A-4FAD-25BB-5FB302DD7E3D}"/>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5</a:t>
            </a:fld>
            <a:endParaRPr lang="es-ES" dirty="0"/>
          </a:p>
        </p:txBody>
      </p:sp>
    </p:spTree>
    <p:extLst>
      <p:ext uri="{BB962C8B-B14F-4D97-AF65-F5344CB8AC3E}">
        <p14:creationId xmlns:p14="http://schemas.microsoft.com/office/powerpoint/2010/main" val="619104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E2694F2-680F-BCA7-DAFC-1EB1627727FF}"/>
              </a:ext>
            </a:extLst>
          </p:cNvPr>
          <p:cNvSpPr>
            <a:spLocks noGrp="1"/>
          </p:cNvSpPr>
          <p:nvPr>
            <p:ph type="title"/>
          </p:nvPr>
        </p:nvSpPr>
        <p:spPr>
          <a:xfrm>
            <a:off x="838200" y="365126"/>
            <a:ext cx="9840124" cy="1092200"/>
          </a:xfrm>
        </p:spPr>
        <p:txBody>
          <a:bodyPr/>
          <a:lstStyle/>
          <a:p>
            <a:r>
              <a:rPr lang="es-ES" noProof="0" dirty="0"/>
              <a:t>Comparativa entre Saas, Paas e Iaas</a:t>
            </a:r>
          </a:p>
        </p:txBody>
      </p:sp>
      <p:graphicFrame>
        <p:nvGraphicFramePr>
          <p:cNvPr id="7" name="Marcador de contenido 6">
            <a:extLst>
              <a:ext uri="{FF2B5EF4-FFF2-40B4-BE49-F238E27FC236}">
                <a16:creationId xmlns:a16="http://schemas.microsoft.com/office/drawing/2014/main" id="{756F3A8C-1498-79D8-72BD-E8CF69B05A14}"/>
              </a:ext>
            </a:extLst>
          </p:cNvPr>
          <p:cNvGraphicFramePr>
            <a:graphicFrameLocks noGrp="1"/>
          </p:cNvGraphicFramePr>
          <p:nvPr>
            <p:ph idx="1"/>
            <p:extLst>
              <p:ext uri="{D42A27DB-BD31-4B8C-83A1-F6EECF244321}">
                <p14:modId xmlns:p14="http://schemas.microsoft.com/office/powerpoint/2010/main" val="166993710"/>
              </p:ext>
            </p:extLst>
          </p:nvPr>
        </p:nvGraphicFramePr>
        <p:xfrm>
          <a:off x="261200" y="1640451"/>
          <a:ext cx="11669600" cy="4516120"/>
        </p:xfrm>
        <a:graphic>
          <a:graphicData uri="http://schemas.openxmlformats.org/drawingml/2006/table">
            <a:tbl>
              <a:tblPr firstRow="1" firstCol="1" bandRow="1">
                <a:tableStyleId>{7DF18680-E054-41AD-8BC1-D1AEF772440D}</a:tableStyleId>
              </a:tblPr>
              <a:tblGrid>
                <a:gridCol w="1244871">
                  <a:extLst>
                    <a:ext uri="{9D8B030D-6E8A-4147-A177-3AD203B41FA5}">
                      <a16:colId xmlns:a16="http://schemas.microsoft.com/office/drawing/2014/main" val="1465358371"/>
                    </a:ext>
                  </a:extLst>
                </a:gridCol>
                <a:gridCol w="3372915">
                  <a:extLst>
                    <a:ext uri="{9D8B030D-6E8A-4147-A177-3AD203B41FA5}">
                      <a16:colId xmlns:a16="http://schemas.microsoft.com/office/drawing/2014/main" val="47156206"/>
                    </a:ext>
                  </a:extLst>
                </a:gridCol>
                <a:gridCol w="3525907">
                  <a:extLst>
                    <a:ext uri="{9D8B030D-6E8A-4147-A177-3AD203B41FA5}">
                      <a16:colId xmlns:a16="http://schemas.microsoft.com/office/drawing/2014/main" val="1580082612"/>
                    </a:ext>
                  </a:extLst>
                </a:gridCol>
                <a:gridCol w="3525907">
                  <a:extLst>
                    <a:ext uri="{9D8B030D-6E8A-4147-A177-3AD203B41FA5}">
                      <a16:colId xmlns:a16="http://schemas.microsoft.com/office/drawing/2014/main" val="2839895737"/>
                    </a:ext>
                  </a:extLst>
                </a:gridCol>
              </a:tblGrid>
              <a:tr h="370840">
                <a:tc>
                  <a:txBody>
                    <a:bodyPr/>
                    <a:lstStyle/>
                    <a:p>
                      <a:endParaRPr lang="es-ES"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b="1" dirty="0"/>
                        <a:t>SaaS (Software as a Service)</a:t>
                      </a:r>
                    </a:p>
                  </a:txBody>
                  <a:tcPr/>
                </a:tc>
                <a:tc>
                  <a:txBody>
                    <a:bodyPr/>
                    <a:lstStyle/>
                    <a:p>
                      <a:pPr algn="ctr"/>
                      <a:r>
                        <a:rPr lang="es-ES" sz="1800" dirty="0"/>
                        <a:t>PaaS (Platform as a Service)</a:t>
                      </a:r>
                    </a:p>
                  </a:txBody>
                  <a:tcPr/>
                </a:tc>
                <a:tc>
                  <a:txBody>
                    <a:bodyPr/>
                    <a:lstStyle/>
                    <a:p>
                      <a:pPr algn="ctr"/>
                      <a:r>
                        <a:rPr lang="es-ES" sz="1800" dirty="0"/>
                        <a:t>IaaS (Infrastructure as a Service)</a:t>
                      </a:r>
                    </a:p>
                  </a:txBody>
                  <a:tcPr/>
                </a:tc>
                <a:extLst>
                  <a:ext uri="{0D108BD9-81ED-4DB2-BD59-A6C34878D82A}">
                    <a16:rowId xmlns:a16="http://schemas.microsoft.com/office/drawing/2014/main" val="144737390"/>
                  </a:ext>
                </a:extLst>
              </a:tr>
              <a:tr h="370840">
                <a:tc>
                  <a:txBody>
                    <a:bodyPr/>
                    <a:lstStyle/>
                    <a:p>
                      <a:r>
                        <a:rPr lang="es-ES" sz="1800" dirty="0"/>
                        <a:t>Ejemplos</a:t>
                      </a:r>
                    </a:p>
                  </a:txBody>
                  <a:tcPr anchor="ctr"/>
                </a:tc>
                <a:tc>
                  <a:txBody>
                    <a:bodyPr/>
                    <a:lstStyle/>
                    <a:p>
                      <a:pPr marL="285750" indent="-285750">
                        <a:spcAft>
                          <a:spcPts val="600"/>
                        </a:spcAft>
                        <a:buFont typeface="Arial" panose="020B0604020202020204" pitchFamily="34" charset="0"/>
                        <a:buChar char="•"/>
                      </a:pPr>
                      <a:r>
                        <a:rPr lang="en-US" sz="1800" dirty="0"/>
                        <a:t>Google Workspace (Gmail, Google Drive, Google Docs)</a:t>
                      </a:r>
                    </a:p>
                    <a:p>
                      <a:pPr marL="285750" indent="-285750">
                        <a:spcAft>
                          <a:spcPts val="600"/>
                        </a:spcAft>
                        <a:buFont typeface="Arial" panose="020B0604020202020204" pitchFamily="34" charset="0"/>
                        <a:buChar char="•"/>
                      </a:pPr>
                      <a:r>
                        <a:rPr lang="en-US" sz="1800" dirty="0"/>
                        <a:t>Microsoft Office 365</a:t>
                      </a:r>
                    </a:p>
                    <a:p>
                      <a:pPr marL="285750" indent="-285750">
                        <a:spcAft>
                          <a:spcPts val="600"/>
                        </a:spcAft>
                        <a:buFont typeface="Arial" panose="020B0604020202020204" pitchFamily="34" charset="0"/>
                        <a:buChar char="•"/>
                      </a:pPr>
                      <a:r>
                        <a:rPr lang="en-US" sz="1800" dirty="0"/>
                        <a:t>Salesforce</a:t>
                      </a:r>
                    </a:p>
                  </a:txBody>
                  <a:tcPr/>
                </a:tc>
                <a:tc>
                  <a:txBody>
                    <a:bodyPr/>
                    <a:lstStyle/>
                    <a:p>
                      <a:pPr marL="285750" indent="-285750">
                        <a:spcAft>
                          <a:spcPts val="600"/>
                        </a:spcAft>
                        <a:buFont typeface="Arial" panose="020B0604020202020204" pitchFamily="34" charset="0"/>
                        <a:buChar char="•"/>
                      </a:pPr>
                      <a:r>
                        <a:rPr lang="en-US" sz="1800" dirty="0"/>
                        <a:t>Google App Engine</a:t>
                      </a:r>
                    </a:p>
                    <a:p>
                      <a:pPr marL="285750" indent="-285750">
                        <a:spcAft>
                          <a:spcPts val="600"/>
                        </a:spcAft>
                        <a:buFont typeface="Arial" panose="020B0604020202020204" pitchFamily="34" charset="0"/>
                        <a:buChar char="•"/>
                      </a:pPr>
                      <a:r>
                        <a:rPr lang="en-US" sz="1800" dirty="0"/>
                        <a:t>Microsoft Azure App Services</a:t>
                      </a:r>
                    </a:p>
                    <a:p>
                      <a:pPr marL="285750" indent="-285750">
                        <a:spcAft>
                          <a:spcPts val="600"/>
                        </a:spcAft>
                        <a:buFont typeface="Arial" panose="020B0604020202020204" pitchFamily="34" charset="0"/>
                        <a:buChar char="•"/>
                      </a:pPr>
                      <a:r>
                        <a:rPr lang="en-US" sz="1800" dirty="0"/>
                        <a:t>Heroku</a:t>
                      </a:r>
                    </a:p>
                  </a:txBody>
                  <a:tcPr/>
                </a:tc>
                <a:tc>
                  <a:txBody>
                    <a:bodyPr/>
                    <a:lstStyle/>
                    <a:p>
                      <a:pPr marL="285750" indent="-285750">
                        <a:spcAft>
                          <a:spcPts val="600"/>
                        </a:spcAft>
                        <a:buFont typeface="Arial" panose="020B0604020202020204" pitchFamily="34" charset="0"/>
                        <a:buChar char="•"/>
                      </a:pPr>
                      <a:r>
                        <a:rPr lang="es-ES" sz="1800" dirty="0"/>
                        <a:t>Amazon Web Services (AWS)</a:t>
                      </a:r>
                    </a:p>
                    <a:p>
                      <a:pPr marL="285750" indent="-285750">
                        <a:spcAft>
                          <a:spcPts val="600"/>
                        </a:spcAft>
                        <a:buFont typeface="Arial" panose="020B0604020202020204" pitchFamily="34" charset="0"/>
                        <a:buChar char="•"/>
                      </a:pPr>
                      <a:r>
                        <a:rPr lang="es-ES" sz="1800" dirty="0"/>
                        <a:t>Microsoft Azure</a:t>
                      </a:r>
                    </a:p>
                    <a:p>
                      <a:pPr marL="285750" indent="-285750">
                        <a:spcAft>
                          <a:spcPts val="600"/>
                        </a:spcAft>
                        <a:buFont typeface="Arial" panose="020B0604020202020204" pitchFamily="34" charset="0"/>
                        <a:buChar char="•"/>
                      </a:pPr>
                      <a:r>
                        <a:rPr lang="es-ES" sz="1800" dirty="0"/>
                        <a:t>Google Cloud Platform (GCP)</a:t>
                      </a:r>
                    </a:p>
                  </a:txBody>
                  <a:tcPr/>
                </a:tc>
                <a:extLst>
                  <a:ext uri="{0D108BD9-81ED-4DB2-BD59-A6C34878D82A}">
                    <a16:rowId xmlns:a16="http://schemas.microsoft.com/office/drawing/2014/main" val="820445135"/>
                  </a:ext>
                </a:extLst>
              </a:tr>
              <a:tr h="370840">
                <a:tc>
                  <a:txBody>
                    <a:bodyPr/>
                    <a:lstStyle/>
                    <a:p>
                      <a:r>
                        <a:rPr lang="es-ES" sz="1800" dirty="0"/>
                        <a:t>Ventajas</a:t>
                      </a:r>
                    </a:p>
                  </a:txBody>
                  <a:tcPr anchor="ctr"/>
                </a:tc>
                <a:tc>
                  <a:txBody>
                    <a:bodyPr/>
                    <a:lstStyle/>
                    <a:p>
                      <a:pPr marL="285750" indent="-285750">
                        <a:spcAft>
                          <a:spcPts val="600"/>
                        </a:spcAft>
                        <a:buFont typeface="Arial" panose="020B0604020202020204" pitchFamily="34" charset="0"/>
                        <a:buChar char="•"/>
                      </a:pPr>
                      <a:r>
                        <a:rPr lang="es-ES" sz="1800" dirty="0"/>
                        <a:t>No requiere instalación o mantenimiento de software.</a:t>
                      </a:r>
                    </a:p>
                    <a:p>
                      <a:pPr marL="285750" indent="-285750">
                        <a:spcAft>
                          <a:spcPts val="600"/>
                        </a:spcAft>
                        <a:buFont typeface="Arial" panose="020B0604020202020204" pitchFamily="34" charset="0"/>
                        <a:buChar char="•"/>
                      </a:pPr>
                      <a:r>
                        <a:rPr lang="es-ES" sz="1800" dirty="0"/>
                        <a:t>Escalabilidad y accesibilidad global.</a:t>
                      </a:r>
                    </a:p>
                    <a:p>
                      <a:pPr marL="285750" indent="-285750">
                        <a:spcAft>
                          <a:spcPts val="600"/>
                        </a:spcAft>
                        <a:buFont typeface="Arial" panose="020B0604020202020204" pitchFamily="34" charset="0"/>
                        <a:buChar char="•"/>
                      </a:pPr>
                      <a:r>
                        <a:rPr lang="es-ES" sz="1800" dirty="0"/>
                        <a:t>Actualizaciones automáticas y manejo de seguridad.</a:t>
                      </a:r>
                    </a:p>
                  </a:txBody>
                  <a:tcPr/>
                </a:tc>
                <a:tc>
                  <a:txBody>
                    <a:bodyPr/>
                    <a:lstStyle/>
                    <a:p>
                      <a:pPr marL="285750" indent="-285750">
                        <a:spcAft>
                          <a:spcPts val="600"/>
                        </a:spcAft>
                        <a:buFont typeface="Arial" panose="020B0604020202020204" pitchFamily="34" charset="0"/>
                        <a:buChar char="•"/>
                      </a:pPr>
                      <a:r>
                        <a:rPr lang="es-ES" sz="1800" dirty="0"/>
                        <a:t>Facilita el desarrollo rápido de aplicaciones.</a:t>
                      </a:r>
                    </a:p>
                    <a:p>
                      <a:pPr marL="285750" indent="-285750">
                        <a:spcAft>
                          <a:spcPts val="600"/>
                        </a:spcAft>
                        <a:buFont typeface="Arial" panose="020B0604020202020204" pitchFamily="34" charset="0"/>
                        <a:buChar char="•"/>
                      </a:pPr>
                      <a:r>
                        <a:rPr lang="es-ES" sz="1800" dirty="0"/>
                        <a:t>Reduce la complejidad de la gestión de la infraestructura.</a:t>
                      </a:r>
                    </a:p>
                    <a:p>
                      <a:pPr marL="285750" indent="-285750">
                        <a:spcAft>
                          <a:spcPts val="600"/>
                        </a:spcAft>
                        <a:buFont typeface="Arial" panose="020B0604020202020204" pitchFamily="34" charset="0"/>
                        <a:buChar char="•"/>
                      </a:pPr>
                      <a:r>
                        <a:rPr lang="es-ES" sz="1800" dirty="0"/>
                        <a:t>Escalabilidad automática de las aplicaciones.</a:t>
                      </a:r>
                    </a:p>
                  </a:txBody>
                  <a:tcPr/>
                </a:tc>
                <a:tc>
                  <a:txBody>
                    <a:bodyPr/>
                    <a:lstStyle/>
                    <a:p>
                      <a:pPr marL="285750" indent="-285750">
                        <a:spcAft>
                          <a:spcPts val="600"/>
                        </a:spcAft>
                        <a:buFont typeface="Arial" panose="020B0604020202020204" pitchFamily="34" charset="0"/>
                        <a:buChar char="•"/>
                      </a:pPr>
                      <a:r>
                        <a:rPr lang="es-ES" sz="1800" dirty="0"/>
                        <a:t>Control total sobre la infraestructura.</a:t>
                      </a:r>
                    </a:p>
                    <a:p>
                      <a:pPr marL="285750" indent="-285750">
                        <a:spcAft>
                          <a:spcPts val="600"/>
                        </a:spcAft>
                        <a:buFont typeface="Arial" panose="020B0604020202020204" pitchFamily="34" charset="0"/>
                        <a:buChar char="•"/>
                      </a:pPr>
                      <a:r>
                        <a:rPr lang="es-ES" sz="1800" dirty="0"/>
                        <a:t>Alta flexibilidad y escalabilidad.</a:t>
                      </a:r>
                    </a:p>
                    <a:p>
                      <a:pPr marL="285750" indent="-285750">
                        <a:spcAft>
                          <a:spcPts val="600"/>
                        </a:spcAft>
                        <a:buFont typeface="Arial" panose="020B0604020202020204" pitchFamily="34" charset="0"/>
                        <a:buChar char="•"/>
                      </a:pPr>
                      <a:r>
                        <a:rPr lang="es-ES" sz="1800" dirty="0"/>
                        <a:t>Pago por uso, lo que puede reducir costos.</a:t>
                      </a:r>
                    </a:p>
                  </a:txBody>
                  <a:tcPr/>
                </a:tc>
                <a:extLst>
                  <a:ext uri="{0D108BD9-81ED-4DB2-BD59-A6C34878D82A}">
                    <a16:rowId xmlns:a16="http://schemas.microsoft.com/office/drawing/2014/main" val="1882173505"/>
                  </a:ext>
                </a:extLst>
              </a:tr>
              <a:tr h="370840">
                <a:tc>
                  <a:txBody>
                    <a:bodyPr/>
                    <a:lstStyle/>
                    <a:p>
                      <a:r>
                        <a:rPr lang="es-ES" sz="1800" dirty="0"/>
                        <a:t>Usuarios</a:t>
                      </a:r>
                    </a:p>
                  </a:txBody>
                  <a:tcPr anchor="ctr"/>
                </a:tc>
                <a:tc>
                  <a:txBody>
                    <a:bodyPr/>
                    <a:lstStyle/>
                    <a:p>
                      <a:r>
                        <a:rPr lang="es-ES" sz="1800" dirty="0"/>
                        <a:t>Para usuarios de aplicaciones que necesitan aplicaciones listas para usar</a:t>
                      </a:r>
                    </a:p>
                  </a:txBody>
                  <a:tcPr anchor="ctr"/>
                </a:tc>
                <a:tc>
                  <a:txBody>
                    <a:bodyPr/>
                    <a:lstStyle/>
                    <a:p>
                      <a:r>
                        <a:rPr lang="es-ES" sz="1800" dirty="0"/>
                        <a:t>Para desarrolladores que buscan una plataforma para crear aplicaciones rápidamente</a:t>
                      </a:r>
                    </a:p>
                  </a:txBody>
                  <a:tcPr anchor="ctr"/>
                </a:tc>
                <a:tc>
                  <a:txBody>
                    <a:bodyPr/>
                    <a:lstStyle/>
                    <a:p>
                      <a:r>
                        <a:rPr lang="es-ES" sz="1800" dirty="0"/>
                        <a:t>Para empresas que necesitan control total sobre su infraestructura.</a:t>
                      </a:r>
                      <a:endParaRPr lang="en-US" sz="1800" dirty="0"/>
                    </a:p>
                  </a:txBody>
                  <a:tcPr anchor="ctr"/>
                </a:tc>
                <a:extLst>
                  <a:ext uri="{0D108BD9-81ED-4DB2-BD59-A6C34878D82A}">
                    <a16:rowId xmlns:a16="http://schemas.microsoft.com/office/drawing/2014/main" val="197293959"/>
                  </a:ext>
                </a:extLst>
              </a:tr>
            </a:tbl>
          </a:graphicData>
        </a:graphic>
      </p:graphicFrame>
      <p:sp>
        <p:nvSpPr>
          <p:cNvPr id="4" name="Marcador de fecha 3">
            <a:extLst>
              <a:ext uri="{FF2B5EF4-FFF2-40B4-BE49-F238E27FC236}">
                <a16:creationId xmlns:a16="http://schemas.microsoft.com/office/drawing/2014/main" id="{4CF64030-D858-6B9D-A717-069970392BD6}"/>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0D836F1-1AA6-22AC-7723-597F9E868E78}"/>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B956A8E9-9A19-9126-F959-22B47734F832}"/>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6</a:t>
            </a:fld>
            <a:endParaRPr lang="es-ES" dirty="0"/>
          </a:p>
        </p:txBody>
      </p:sp>
    </p:spTree>
    <p:extLst>
      <p:ext uri="{BB962C8B-B14F-4D97-AF65-F5344CB8AC3E}">
        <p14:creationId xmlns:p14="http://schemas.microsoft.com/office/powerpoint/2010/main" val="37081765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26130140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7</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50160" y="372554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0366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6B6254-9804-F3E6-E0DC-E126C9C7EAD3}"/>
              </a:ext>
            </a:extLst>
          </p:cNvPr>
          <p:cNvSpPr>
            <a:spLocks noGrp="1"/>
          </p:cNvSpPr>
          <p:nvPr>
            <p:ph type="title"/>
          </p:nvPr>
        </p:nvSpPr>
        <p:spPr>
          <a:xfrm>
            <a:off x="838200" y="365126"/>
            <a:ext cx="9840124" cy="1092200"/>
          </a:xfrm>
        </p:spPr>
        <p:txBody>
          <a:bodyPr>
            <a:normAutofit fontScale="90000"/>
          </a:bodyPr>
          <a:lstStyle/>
          <a:p>
            <a:r>
              <a:rPr lang="es-ES" noProof="0" dirty="0"/>
              <a:t>Resumen de la planificación del master IA para el “Data-valuing engineer” objeto de este master</a:t>
            </a:r>
          </a:p>
        </p:txBody>
      </p:sp>
      <p:graphicFrame>
        <p:nvGraphicFramePr>
          <p:cNvPr id="14" name="Marcador de contenido 13">
            <a:extLst>
              <a:ext uri="{FF2B5EF4-FFF2-40B4-BE49-F238E27FC236}">
                <a16:creationId xmlns:a16="http://schemas.microsoft.com/office/drawing/2014/main" id="{70CCAF73-CA12-FB79-F97A-229D37756677}"/>
              </a:ext>
            </a:extLst>
          </p:cNvPr>
          <p:cNvGraphicFramePr>
            <a:graphicFrameLocks noGrp="1"/>
          </p:cNvGraphicFramePr>
          <p:nvPr>
            <p:ph idx="1"/>
            <p:extLst>
              <p:ext uri="{D42A27DB-BD31-4B8C-83A1-F6EECF244321}">
                <p14:modId xmlns:p14="http://schemas.microsoft.com/office/powerpoint/2010/main" val="28225827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Marcador de fecha 2">
            <a:extLst>
              <a:ext uri="{FF2B5EF4-FFF2-40B4-BE49-F238E27FC236}">
                <a16:creationId xmlns:a16="http://schemas.microsoft.com/office/drawing/2014/main" id="{DD5A5AA4-F10E-EEE0-E138-8D6BB6068DD2}"/>
              </a:ext>
            </a:extLst>
          </p:cNvPr>
          <p:cNvSpPr>
            <a:spLocks noGrp="1"/>
          </p:cNvSpPr>
          <p:nvPr>
            <p:ph type="dt" sz="half" idx="10"/>
          </p:nvPr>
        </p:nvSpPr>
        <p:spPr>
          <a:xfrm>
            <a:off x="814650" y="6400379"/>
            <a:ext cx="3380278" cy="365125"/>
          </a:xfrm>
        </p:spPr>
        <p:txBody>
          <a:bodyPr/>
          <a:lstStyle/>
          <a:p>
            <a:fld id="{9F9B8BD8-3913-46A9-B777-649289DBE63C}"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AAD1F65-A7F5-AF8B-C5C0-EFB23CB5BADF}"/>
              </a:ext>
            </a:extLst>
          </p:cNvPr>
          <p:cNvSpPr>
            <a:spLocks noGrp="1"/>
          </p:cNvSpPr>
          <p:nvPr>
            <p:ph type="ftr" sz="quarter" idx="11"/>
          </p:nvPr>
        </p:nvSpPr>
        <p:spPr>
          <a:xfrm>
            <a:off x="4622986" y="6421474"/>
            <a:ext cx="5989596" cy="365125"/>
          </a:xfrm>
        </p:spPr>
        <p:txBody>
          <a:bodyPr/>
          <a:lstStyle/>
          <a:p>
            <a:r>
              <a:rPr lang="es-ES" dirty="0"/>
              <a:t>V16 - Máster “Inteligencia artificial” - Tajamar Tech</a:t>
            </a:r>
          </a:p>
        </p:txBody>
      </p:sp>
      <p:sp>
        <p:nvSpPr>
          <p:cNvPr id="5" name="Marcador de número de diapositiva 4">
            <a:extLst>
              <a:ext uri="{FF2B5EF4-FFF2-40B4-BE49-F238E27FC236}">
                <a16:creationId xmlns:a16="http://schemas.microsoft.com/office/drawing/2014/main" id="{87CD48F9-291D-726E-950C-10C5DCC687D9}"/>
              </a:ext>
            </a:extLst>
          </p:cNvPr>
          <p:cNvSpPr>
            <a:spLocks noGrp="1"/>
          </p:cNvSpPr>
          <p:nvPr>
            <p:ph type="sldNum" sz="quarter" idx="12"/>
          </p:nvPr>
        </p:nvSpPr>
        <p:spPr>
          <a:xfrm>
            <a:off x="10801350" y="6421474"/>
            <a:ext cx="576000" cy="365125"/>
          </a:xfrm>
        </p:spPr>
        <p:txBody>
          <a:bodyPr/>
          <a:lstStyle/>
          <a:p>
            <a:fld id="{53024153-3610-4503-BC5A-5F42C52943E5}" type="slidenum">
              <a:rPr lang="es-ES" smtClean="0"/>
              <a:pPr/>
              <a:t>48</a:t>
            </a:fld>
            <a:endParaRPr lang="es-ES" dirty="0"/>
          </a:p>
        </p:txBody>
      </p:sp>
      <p:sp>
        <p:nvSpPr>
          <p:cNvPr id="12" name="CuadroTexto 11">
            <a:extLst>
              <a:ext uri="{FF2B5EF4-FFF2-40B4-BE49-F238E27FC236}">
                <a16:creationId xmlns:a16="http://schemas.microsoft.com/office/drawing/2014/main" id="{42D250C2-21AF-5CFC-5574-D668F0E4A22F}"/>
              </a:ext>
            </a:extLst>
          </p:cNvPr>
          <p:cNvSpPr txBox="1"/>
          <p:nvPr/>
        </p:nvSpPr>
        <p:spPr>
          <a:xfrm>
            <a:off x="7203440" y="1631146"/>
            <a:ext cx="4277359" cy="430887"/>
          </a:xfrm>
          <a:custGeom>
            <a:avLst/>
            <a:gdLst>
              <a:gd name="connsiteX0" fmla="*/ 0 w 4277359"/>
              <a:gd name="connsiteY0" fmla="*/ 215444 h 430887"/>
              <a:gd name="connsiteX1" fmla="*/ 107722 w 4277359"/>
              <a:gd name="connsiteY1" fmla="*/ 107722 h 430887"/>
              <a:gd name="connsiteX2" fmla="*/ 107722 w 4277359"/>
              <a:gd name="connsiteY2" fmla="*/ 161583 h 430887"/>
              <a:gd name="connsiteX3" fmla="*/ 543203 w 4277359"/>
              <a:gd name="connsiteY3" fmla="*/ 161583 h 430887"/>
              <a:gd name="connsiteX4" fmla="*/ 543203 w 4277359"/>
              <a:gd name="connsiteY4" fmla="*/ 0 h 430887"/>
              <a:gd name="connsiteX5" fmla="*/ 1245213 w 4277359"/>
              <a:gd name="connsiteY5" fmla="*/ 0 h 430887"/>
              <a:gd name="connsiteX6" fmla="*/ 1947222 w 4277359"/>
              <a:gd name="connsiteY6" fmla="*/ 0 h 430887"/>
              <a:gd name="connsiteX7" fmla="*/ 2553503 w 4277359"/>
              <a:gd name="connsiteY7" fmla="*/ 0 h 430887"/>
              <a:gd name="connsiteX8" fmla="*/ 3095965 w 4277359"/>
              <a:gd name="connsiteY8" fmla="*/ 0 h 430887"/>
              <a:gd name="connsiteX9" fmla="*/ 3734156 w 4277359"/>
              <a:gd name="connsiteY9" fmla="*/ 0 h 430887"/>
              <a:gd name="connsiteX10" fmla="*/ 3734156 w 4277359"/>
              <a:gd name="connsiteY10" fmla="*/ 161583 h 430887"/>
              <a:gd name="connsiteX11" fmla="*/ 4169637 w 4277359"/>
              <a:gd name="connsiteY11" fmla="*/ 161583 h 430887"/>
              <a:gd name="connsiteX12" fmla="*/ 4169637 w 4277359"/>
              <a:gd name="connsiteY12" fmla="*/ 107722 h 430887"/>
              <a:gd name="connsiteX13" fmla="*/ 4277359 w 4277359"/>
              <a:gd name="connsiteY13" fmla="*/ 215444 h 430887"/>
              <a:gd name="connsiteX14" fmla="*/ 4169637 w 4277359"/>
              <a:gd name="connsiteY14" fmla="*/ 323165 h 430887"/>
              <a:gd name="connsiteX15" fmla="*/ 4169637 w 4277359"/>
              <a:gd name="connsiteY15" fmla="*/ 269304 h 430887"/>
              <a:gd name="connsiteX16" fmla="*/ 3734156 w 4277359"/>
              <a:gd name="connsiteY16" fmla="*/ 269304 h 430887"/>
              <a:gd name="connsiteX17" fmla="*/ 3734156 w 4277359"/>
              <a:gd name="connsiteY17" fmla="*/ 430887 h 430887"/>
              <a:gd name="connsiteX18" fmla="*/ 3159784 w 4277359"/>
              <a:gd name="connsiteY18" fmla="*/ 430887 h 430887"/>
              <a:gd name="connsiteX19" fmla="*/ 2553503 w 4277359"/>
              <a:gd name="connsiteY19" fmla="*/ 430887 h 430887"/>
              <a:gd name="connsiteX20" fmla="*/ 1851494 w 4277359"/>
              <a:gd name="connsiteY20" fmla="*/ 430887 h 430887"/>
              <a:gd name="connsiteX21" fmla="*/ 1277122 w 4277359"/>
              <a:gd name="connsiteY21" fmla="*/ 430887 h 430887"/>
              <a:gd name="connsiteX22" fmla="*/ 543203 w 4277359"/>
              <a:gd name="connsiteY22" fmla="*/ 430887 h 430887"/>
              <a:gd name="connsiteX23" fmla="*/ 543203 w 4277359"/>
              <a:gd name="connsiteY23" fmla="*/ 269304 h 430887"/>
              <a:gd name="connsiteX24" fmla="*/ 107722 w 4277359"/>
              <a:gd name="connsiteY24" fmla="*/ 269304 h 430887"/>
              <a:gd name="connsiteX25" fmla="*/ 107722 w 4277359"/>
              <a:gd name="connsiteY25" fmla="*/ 323165 h 430887"/>
              <a:gd name="connsiteX26" fmla="*/ 0 w 4277359"/>
              <a:gd name="connsiteY26" fmla="*/ 215444 h 430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77359" h="430887" fill="none" extrusionOk="0">
                <a:moveTo>
                  <a:pt x="0" y="215444"/>
                </a:moveTo>
                <a:cubicBezTo>
                  <a:pt x="48499" y="176802"/>
                  <a:pt x="78291" y="135232"/>
                  <a:pt x="107722" y="107722"/>
                </a:cubicBezTo>
                <a:cubicBezTo>
                  <a:pt x="108063" y="134511"/>
                  <a:pt x="108103" y="145060"/>
                  <a:pt x="107722" y="161583"/>
                </a:cubicBezTo>
                <a:cubicBezTo>
                  <a:pt x="290515" y="173480"/>
                  <a:pt x="397594" y="157413"/>
                  <a:pt x="543203" y="161583"/>
                </a:cubicBezTo>
                <a:cubicBezTo>
                  <a:pt x="546294" y="126358"/>
                  <a:pt x="540397" y="74099"/>
                  <a:pt x="543203" y="0"/>
                </a:cubicBezTo>
                <a:cubicBezTo>
                  <a:pt x="793496" y="-30781"/>
                  <a:pt x="1100467" y="29965"/>
                  <a:pt x="1245213" y="0"/>
                </a:cubicBezTo>
                <a:cubicBezTo>
                  <a:pt x="1389959" y="-29965"/>
                  <a:pt x="1615844" y="33687"/>
                  <a:pt x="1947222" y="0"/>
                </a:cubicBezTo>
                <a:cubicBezTo>
                  <a:pt x="2278600" y="-33687"/>
                  <a:pt x="2393581" y="-4901"/>
                  <a:pt x="2553503" y="0"/>
                </a:cubicBezTo>
                <a:cubicBezTo>
                  <a:pt x="2713425" y="4901"/>
                  <a:pt x="2913225" y="-580"/>
                  <a:pt x="3095965" y="0"/>
                </a:cubicBezTo>
                <a:cubicBezTo>
                  <a:pt x="3278705" y="580"/>
                  <a:pt x="3421992" y="-3851"/>
                  <a:pt x="3734156" y="0"/>
                </a:cubicBezTo>
                <a:cubicBezTo>
                  <a:pt x="3734964" y="77008"/>
                  <a:pt x="3730523" y="103762"/>
                  <a:pt x="3734156" y="161583"/>
                </a:cubicBezTo>
                <a:cubicBezTo>
                  <a:pt x="3827718" y="161356"/>
                  <a:pt x="3960306" y="152258"/>
                  <a:pt x="4169637" y="161583"/>
                </a:cubicBezTo>
                <a:cubicBezTo>
                  <a:pt x="4171158" y="148560"/>
                  <a:pt x="4168671" y="120218"/>
                  <a:pt x="4169637" y="107722"/>
                </a:cubicBezTo>
                <a:cubicBezTo>
                  <a:pt x="4202942" y="133255"/>
                  <a:pt x="4256217" y="189349"/>
                  <a:pt x="4277359" y="215444"/>
                </a:cubicBezTo>
                <a:cubicBezTo>
                  <a:pt x="4254478" y="242294"/>
                  <a:pt x="4197222" y="301284"/>
                  <a:pt x="4169637" y="323165"/>
                </a:cubicBezTo>
                <a:cubicBezTo>
                  <a:pt x="4167048" y="298423"/>
                  <a:pt x="4167708" y="291597"/>
                  <a:pt x="4169637" y="269304"/>
                </a:cubicBezTo>
                <a:cubicBezTo>
                  <a:pt x="4047003" y="278296"/>
                  <a:pt x="3827372" y="287717"/>
                  <a:pt x="3734156" y="269304"/>
                </a:cubicBezTo>
                <a:cubicBezTo>
                  <a:pt x="3726752" y="334199"/>
                  <a:pt x="3741686" y="375597"/>
                  <a:pt x="3734156" y="430887"/>
                </a:cubicBezTo>
                <a:cubicBezTo>
                  <a:pt x="3613670" y="451011"/>
                  <a:pt x="3287040" y="430651"/>
                  <a:pt x="3159784" y="430887"/>
                </a:cubicBezTo>
                <a:cubicBezTo>
                  <a:pt x="3032528" y="431123"/>
                  <a:pt x="2797552" y="424402"/>
                  <a:pt x="2553503" y="430887"/>
                </a:cubicBezTo>
                <a:cubicBezTo>
                  <a:pt x="2309454" y="437372"/>
                  <a:pt x="2139410" y="435602"/>
                  <a:pt x="1851494" y="430887"/>
                </a:cubicBezTo>
                <a:cubicBezTo>
                  <a:pt x="1563578" y="426172"/>
                  <a:pt x="1543454" y="442097"/>
                  <a:pt x="1277122" y="430887"/>
                </a:cubicBezTo>
                <a:cubicBezTo>
                  <a:pt x="1010790" y="419677"/>
                  <a:pt x="872562" y="455458"/>
                  <a:pt x="543203" y="430887"/>
                </a:cubicBezTo>
                <a:cubicBezTo>
                  <a:pt x="548830" y="395137"/>
                  <a:pt x="545784" y="320036"/>
                  <a:pt x="543203" y="269304"/>
                </a:cubicBezTo>
                <a:cubicBezTo>
                  <a:pt x="451709" y="255830"/>
                  <a:pt x="225406" y="274497"/>
                  <a:pt x="107722" y="269304"/>
                </a:cubicBezTo>
                <a:cubicBezTo>
                  <a:pt x="106820" y="282358"/>
                  <a:pt x="105800" y="301782"/>
                  <a:pt x="107722" y="323165"/>
                </a:cubicBezTo>
                <a:cubicBezTo>
                  <a:pt x="56787" y="276434"/>
                  <a:pt x="40963" y="251423"/>
                  <a:pt x="0" y="215444"/>
                </a:cubicBezTo>
                <a:close/>
              </a:path>
              <a:path w="4277359" h="430887" stroke="0" extrusionOk="0">
                <a:moveTo>
                  <a:pt x="0" y="215444"/>
                </a:moveTo>
                <a:cubicBezTo>
                  <a:pt x="55197" y="164261"/>
                  <a:pt x="75481" y="137498"/>
                  <a:pt x="107722" y="107722"/>
                </a:cubicBezTo>
                <a:cubicBezTo>
                  <a:pt x="110069" y="128721"/>
                  <a:pt x="109619" y="149760"/>
                  <a:pt x="107722" y="161583"/>
                </a:cubicBezTo>
                <a:cubicBezTo>
                  <a:pt x="288744" y="180965"/>
                  <a:pt x="413463" y="178823"/>
                  <a:pt x="543203" y="161583"/>
                </a:cubicBezTo>
                <a:cubicBezTo>
                  <a:pt x="543803" y="122444"/>
                  <a:pt x="543703" y="66565"/>
                  <a:pt x="543203" y="0"/>
                </a:cubicBezTo>
                <a:cubicBezTo>
                  <a:pt x="767828" y="-16146"/>
                  <a:pt x="1012716" y="11096"/>
                  <a:pt x="1245213" y="0"/>
                </a:cubicBezTo>
                <a:cubicBezTo>
                  <a:pt x="1477710" y="-11096"/>
                  <a:pt x="1682359" y="-2442"/>
                  <a:pt x="1915313" y="0"/>
                </a:cubicBezTo>
                <a:cubicBezTo>
                  <a:pt x="2148267" y="2442"/>
                  <a:pt x="2235424" y="-16500"/>
                  <a:pt x="2489684" y="0"/>
                </a:cubicBezTo>
                <a:cubicBezTo>
                  <a:pt x="2743944" y="16500"/>
                  <a:pt x="2923629" y="-2473"/>
                  <a:pt x="3159784" y="0"/>
                </a:cubicBezTo>
                <a:cubicBezTo>
                  <a:pt x="3395939" y="2473"/>
                  <a:pt x="3595958" y="-12707"/>
                  <a:pt x="3734156" y="0"/>
                </a:cubicBezTo>
                <a:cubicBezTo>
                  <a:pt x="3736377" y="56787"/>
                  <a:pt x="3737616" y="127385"/>
                  <a:pt x="3734156" y="161583"/>
                </a:cubicBezTo>
                <a:cubicBezTo>
                  <a:pt x="3948503" y="154171"/>
                  <a:pt x="4016554" y="140605"/>
                  <a:pt x="4169637" y="161583"/>
                </a:cubicBezTo>
                <a:cubicBezTo>
                  <a:pt x="4169988" y="140137"/>
                  <a:pt x="4170813" y="132565"/>
                  <a:pt x="4169637" y="107722"/>
                </a:cubicBezTo>
                <a:cubicBezTo>
                  <a:pt x="4208769" y="156815"/>
                  <a:pt x="4248925" y="186431"/>
                  <a:pt x="4277359" y="215444"/>
                </a:cubicBezTo>
                <a:cubicBezTo>
                  <a:pt x="4238555" y="247707"/>
                  <a:pt x="4219523" y="276790"/>
                  <a:pt x="4169637" y="323165"/>
                </a:cubicBezTo>
                <a:cubicBezTo>
                  <a:pt x="4168685" y="301568"/>
                  <a:pt x="4169428" y="280214"/>
                  <a:pt x="4169637" y="269304"/>
                </a:cubicBezTo>
                <a:cubicBezTo>
                  <a:pt x="3986598" y="269971"/>
                  <a:pt x="3832660" y="254089"/>
                  <a:pt x="3734156" y="269304"/>
                </a:cubicBezTo>
                <a:cubicBezTo>
                  <a:pt x="3727389" y="338292"/>
                  <a:pt x="3727682" y="379094"/>
                  <a:pt x="3734156" y="430887"/>
                </a:cubicBezTo>
                <a:cubicBezTo>
                  <a:pt x="3518121" y="397183"/>
                  <a:pt x="3243744" y="438455"/>
                  <a:pt x="3032146" y="430887"/>
                </a:cubicBezTo>
                <a:cubicBezTo>
                  <a:pt x="2820548" y="423320"/>
                  <a:pt x="2611154" y="451598"/>
                  <a:pt x="2489684" y="430887"/>
                </a:cubicBezTo>
                <a:cubicBezTo>
                  <a:pt x="2368214" y="410176"/>
                  <a:pt x="2056231" y="414826"/>
                  <a:pt x="1947222" y="430887"/>
                </a:cubicBezTo>
                <a:cubicBezTo>
                  <a:pt x="1838213" y="446948"/>
                  <a:pt x="1595103" y="424820"/>
                  <a:pt x="1277122" y="430887"/>
                </a:cubicBezTo>
                <a:cubicBezTo>
                  <a:pt x="959141" y="436954"/>
                  <a:pt x="809605" y="413067"/>
                  <a:pt x="543203" y="430887"/>
                </a:cubicBezTo>
                <a:cubicBezTo>
                  <a:pt x="539702" y="367048"/>
                  <a:pt x="549993" y="332526"/>
                  <a:pt x="543203" y="269304"/>
                </a:cubicBezTo>
                <a:cubicBezTo>
                  <a:pt x="333453" y="267954"/>
                  <a:pt x="313679" y="278528"/>
                  <a:pt x="107722" y="269304"/>
                </a:cubicBezTo>
                <a:cubicBezTo>
                  <a:pt x="105608" y="293359"/>
                  <a:pt x="108802" y="308281"/>
                  <a:pt x="107722" y="323165"/>
                </a:cubicBezTo>
                <a:cubicBezTo>
                  <a:pt x="84134" y="297780"/>
                  <a:pt x="36183" y="249333"/>
                  <a:pt x="0" y="215444"/>
                </a:cubicBezTo>
                <a:close/>
              </a:path>
            </a:pathLst>
          </a:custGeom>
          <a:ln w="38100">
            <a:extLst>
              <a:ext uri="{C807C97D-BFC1-408E-A445-0C87EB9F89A2}">
                <ask:lineSketchStyleProps xmlns:ask="http://schemas.microsoft.com/office/drawing/2018/sketchyshapes" sd="3619324401">
                  <a:prstGeom prst="leftRightArrowCallout">
                    <a:avLst>
                      <a:gd name="adj1" fmla="val 25000"/>
                      <a:gd name="adj2" fmla="val 25000"/>
                      <a:gd name="adj3" fmla="val 25000"/>
                      <a:gd name="adj4" fmla="val 74601"/>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s-ES" sz="1100" b="1" dirty="0"/>
              <a:t>Extracción de valor de los datos convirtiéndolos en información (Inteligencia Artificial)</a:t>
            </a:r>
          </a:p>
        </p:txBody>
      </p:sp>
      <p:sp>
        <p:nvSpPr>
          <p:cNvPr id="8" name="CuadroTexto 7">
            <a:extLst>
              <a:ext uri="{FF2B5EF4-FFF2-40B4-BE49-F238E27FC236}">
                <a16:creationId xmlns:a16="http://schemas.microsoft.com/office/drawing/2014/main" id="{1AE268B2-3352-8429-5CEE-D24DB6D53699}"/>
              </a:ext>
            </a:extLst>
          </p:cNvPr>
          <p:cNvSpPr txBox="1"/>
          <p:nvPr/>
        </p:nvSpPr>
        <p:spPr>
          <a:xfrm>
            <a:off x="2965975" y="1643145"/>
            <a:ext cx="4146024" cy="391500"/>
          </a:xfrm>
          <a:custGeom>
            <a:avLst/>
            <a:gdLst>
              <a:gd name="connsiteX0" fmla="*/ 0 w 4146024"/>
              <a:gd name="connsiteY0" fmla="*/ 195750 h 391500"/>
              <a:gd name="connsiteX1" fmla="*/ 97875 w 4146024"/>
              <a:gd name="connsiteY1" fmla="*/ 97875 h 391500"/>
              <a:gd name="connsiteX2" fmla="*/ 97875 w 4146024"/>
              <a:gd name="connsiteY2" fmla="*/ 146813 h 391500"/>
              <a:gd name="connsiteX3" fmla="*/ 526524 w 4146024"/>
              <a:gd name="connsiteY3" fmla="*/ 146813 h 391500"/>
              <a:gd name="connsiteX4" fmla="*/ 526524 w 4146024"/>
              <a:gd name="connsiteY4" fmla="*/ 0 h 391500"/>
              <a:gd name="connsiteX5" fmla="*/ 1206979 w 4146024"/>
              <a:gd name="connsiteY5" fmla="*/ 0 h 391500"/>
              <a:gd name="connsiteX6" fmla="*/ 1887433 w 4146024"/>
              <a:gd name="connsiteY6" fmla="*/ 0 h 391500"/>
              <a:gd name="connsiteX7" fmla="*/ 2475099 w 4146024"/>
              <a:gd name="connsiteY7" fmla="*/ 0 h 391500"/>
              <a:gd name="connsiteX8" fmla="*/ 3000905 w 4146024"/>
              <a:gd name="connsiteY8" fmla="*/ 0 h 391500"/>
              <a:gd name="connsiteX9" fmla="*/ 3619500 w 4146024"/>
              <a:gd name="connsiteY9" fmla="*/ 0 h 391500"/>
              <a:gd name="connsiteX10" fmla="*/ 3619500 w 4146024"/>
              <a:gd name="connsiteY10" fmla="*/ 146813 h 391500"/>
              <a:gd name="connsiteX11" fmla="*/ 4048149 w 4146024"/>
              <a:gd name="connsiteY11" fmla="*/ 146813 h 391500"/>
              <a:gd name="connsiteX12" fmla="*/ 4048149 w 4146024"/>
              <a:gd name="connsiteY12" fmla="*/ 97875 h 391500"/>
              <a:gd name="connsiteX13" fmla="*/ 4146024 w 4146024"/>
              <a:gd name="connsiteY13" fmla="*/ 195750 h 391500"/>
              <a:gd name="connsiteX14" fmla="*/ 4048149 w 4146024"/>
              <a:gd name="connsiteY14" fmla="*/ 293625 h 391500"/>
              <a:gd name="connsiteX15" fmla="*/ 4048149 w 4146024"/>
              <a:gd name="connsiteY15" fmla="*/ 244688 h 391500"/>
              <a:gd name="connsiteX16" fmla="*/ 3619500 w 4146024"/>
              <a:gd name="connsiteY16" fmla="*/ 244688 h 391500"/>
              <a:gd name="connsiteX17" fmla="*/ 3619500 w 4146024"/>
              <a:gd name="connsiteY17" fmla="*/ 391500 h 391500"/>
              <a:gd name="connsiteX18" fmla="*/ 3062764 w 4146024"/>
              <a:gd name="connsiteY18" fmla="*/ 391500 h 391500"/>
              <a:gd name="connsiteX19" fmla="*/ 2475099 w 4146024"/>
              <a:gd name="connsiteY19" fmla="*/ 391500 h 391500"/>
              <a:gd name="connsiteX20" fmla="*/ 1794644 w 4146024"/>
              <a:gd name="connsiteY20" fmla="*/ 391500 h 391500"/>
              <a:gd name="connsiteX21" fmla="*/ 1237908 w 4146024"/>
              <a:gd name="connsiteY21" fmla="*/ 391500 h 391500"/>
              <a:gd name="connsiteX22" fmla="*/ 526524 w 4146024"/>
              <a:gd name="connsiteY22" fmla="*/ 391500 h 391500"/>
              <a:gd name="connsiteX23" fmla="*/ 526524 w 4146024"/>
              <a:gd name="connsiteY23" fmla="*/ 244688 h 391500"/>
              <a:gd name="connsiteX24" fmla="*/ 97875 w 4146024"/>
              <a:gd name="connsiteY24" fmla="*/ 244688 h 391500"/>
              <a:gd name="connsiteX25" fmla="*/ 97875 w 4146024"/>
              <a:gd name="connsiteY25" fmla="*/ 293625 h 391500"/>
              <a:gd name="connsiteX26" fmla="*/ 0 w 4146024"/>
              <a:gd name="connsiteY26" fmla="*/ 195750 h 39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46024" h="391500" fill="none" extrusionOk="0">
                <a:moveTo>
                  <a:pt x="0" y="195750"/>
                </a:moveTo>
                <a:cubicBezTo>
                  <a:pt x="39357" y="148761"/>
                  <a:pt x="50245" y="147423"/>
                  <a:pt x="97875" y="97875"/>
                </a:cubicBezTo>
                <a:cubicBezTo>
                  <a:pt x="97985" y="115506"/>
                  <a:pt x="96943" y="126773"/>
                  <a:pt x="97875" y="146813"/>
                </a:cubicBezTo>
                <a:cubicBezTo>
                  <a:pt x="258682" y="159009"/>
                  <a:pt x="316526" y="146392"/>
                  <a:pt x="526524" y="146813"/>
                </a:cubicBezTo>
                <a:cubicBezTo>
                  <a:pt x="526188" y="109067"/>
                  <a:pt x="529184" y="67986"/>
                  <a:pt x="526524" y="0"/>
                </a:cubicBezTo>
                <a:cubicBezTo>
                  <a:pt x="694495" y="-29457"/>
                  <a:pt x="886793" y="31926"/>
                  <a:pt x="1206979" y="0"/>
                </a:cubicBezTo>
                <a:cubicBezTo>
                  <a:pt x="1527165" y="-31926"/>
                  <a:pt x="1678667" y="8800"/>
                  <a:pt x="1887433" y="0"/>
                </a:cubicBezTo>
                <a:cubicBezTo>
                  <a:pt x="2096199" y="-8800"/>
                  <a:pt x="2278880" y="20070"/>
                  <a:pt x="2475099" y="0"/>
                </a:cubicBezTo>
                <a:cubicBezTo>
                  <a:pt x="2671318" y="-20070"/>
                  <a:pt x="2748060" y="431"/>
                  <a:pt x="3000905" y="0"/>
                </a:cubicBezTo>
                <a:cubicBezTo>
                  <a:pt x="3253750" y="-431"/>
                  <a:pt x="3402563" y="-2400"/>
                  <a:pt x="3619500" y="0"/>
                </a:cubicBezTo>
                <a:cubicBezTo>
                  <a:pt x="3616100" y="49770"/>
                  <a:pt x="3623375" y="115481"/>
                  <a:pt x="3619500" y="146813"/>
                </a:cubicBezTo>
                <a:cubicBezTo>
                  <a:pt x="3826999" y="137738"/>
                  <a:pt x="3909362" y="137170"/>
                  <a:pt x="4048149" y="146813"/>
                </a:cubicBezTo>
                <a:cubicBezTo>
                  <a:pt x="4047871" y="136608"/>
                  <a:pt x="4047751" y="112350"/>
                  <a:pt x="4048149" y="97875"/>
                </a:cubicBezTo>
                <a:cubicBezTo>
                  <a:pt x="4077272" y="129504"/>
                  <a:pt x="4112605" y="158790"/>
                  <a:pt x="4146024" y="195750"/>
                </a:cubicBezTo>
                <a:cubicBezTo>
                  <a:pt x="4112170" y="222990"/>
                  <a:pt x="4085138" y="255340"/>
                  <a:pt x="4048149" y="293625"/>
                </a:cubicBezTo>
                <a:cubicBezTo>
                  <a:pt x="4047793" y="276596"/>
                  <a:pt x="4048740" y="263905"/>
                  <a:pt x="4048149" y="244688"/>
                </a:cubicBezTo>
                <a:cubicBezTo>
                  <a:pt x="3858724" y="233216"/>
                  <a:pt x="3709859" y="230858"/>
                  <a:pt x="3619500" y="244688"/>
                </a:cubicBezTo>
                <a:cubicBezTo>
                  <a:pt x="3624373" y="301179"/>
                  <a:pt x="3622184" y="350250"/>
                  <a:pt x="3619500" y="391500"/>
                </a:cubicBezTo>
                <a:cubicBezTo>
                  <a:pt x="3430183" y="394658"/>
                  <a:pt x="3206475" y="382675"/>
                  <a:pt x="3062764" y="391500"/>
                </a:cubicBezTo>
                <a:cubicBezTo>
                  <a:pt x="2919053" y="400325"/>
                  <a:pt x="2624123" y="367688"/>
                  <a:pt x="2475099" y="391500"/>
                </a:cubicBezTo>
                <a:cubicBezTo>
                  <a:pt x="2326076" y="415312"/>
                  <a:pt x="2091366" y="369060"/>
                  <a:pt x="1794644" y="391500"/>
                </a:cubicBezTo>
                <a:cubicBezTo>
                  <a:pt x="1497922" y="413940"/>
                  <a:pt x="1354320" y="372381"/>
                  <a:pt x="1237908" y="391500"/>
                </a:cubicBezTo>
                <a:cubicBezTo>
                  <a:pt x="1121496" y="410619"/>
                  <a:pt x="833418" y="413029"/>
                  <a:pt x="526524" y="391500"/>
                </a:cubicBezTo>
                <a:cubicBezTo>
                  <a:pt x="530922" y="351019"/>
                  <a:pt x="520576" y="307601"/>
                  <a:pt x="526524" y="244688"/>
                </a:cubicBezTo>
                <a:cubicBezTo>
                  <a:pt x="312351" y="259347"/>
                  <a:pt x="193392" y="264719"/>
                  <a:pt x="97875" y="244688"/>
                </a:cubicBezTo>
                <a:cubicBezTo>
                  <a:pt x="96680" y="256058"/>
                  <a:pt x="97291" y="277541"/>
                  <a:pt x="97875" y="293625"/>
                </a:cubicBezTo>
                <a:cubicBezTo>
                  <a:pt x="71709" y="261681"/>
                  <a:pt x="39422" y="229675"/>
                  <a:pt x="0" y="195750"/>
                </a:cubicBezTo>
                <a:close/>
              </a:path>
              <a:path w="4146024" h="391500" stroke="0" extrusionOk="0">
                <a:moveTo>
                  <a:pt x="0" y="195750"/>
                </a:moveTo>
                <a:cubicBezTo>
                  <a:pt x="31666" y="154953"/>
                  <a:pt x="68771" y="120149"/>
                  <a:pt x="97875" y="97875"/>
                </a:cubicBezTo>
                <a:cubicBezTo>
                  <a:pt x="95462" y="116527"/>
                  <a:pt x="98218" y="124994"/>
                  <a:pt x="97875" y="146813"/>
                </a:cubicBezTo>
                <a:cubicBezTo>
                  <a:pt x="199448" y="127724"/>
                  <a:pt x="323066" y="152682"/>
                  <a:pt x="526524" y="146813"/>
                </a:cubicBezTo>
                <a:cubicBezTo>
                  <a:pt x="523400" y="96138"/>
                  <a:pt x="527054" y="61544"/>
                  <a:pt x="526524" y="0"/>
                </a:cubicBezTo>
                <a:cubicBezTo>
                  <a:pt x="816619" y="31690"/>
                  <a:pt x="1062899" y="-29485"/>
                  <a:pt x="1206979" y="0"/>
                </a:cubicBezTo>
                <a:cubicBezTo>
                  <a:pt x="1351059" y="29485"/>
                  <a:pt x="1623289" y="-3381"/>
                  <a:pt x="1856504" y="0"/>
                </a:cubicBezTo>
                <a:cubicBezTo>
                  <a:pt x="2089720" y="3381"/>
                  <a:pt x="2172058" y="12735"/>
                  <a:pt x="2413239" y="0"/>
                </a:cubicBezTo>
                <a:cubicBezTo>
                  <a:pt x="2654420" y="-12735"/>
                  <a:pt x="2829294" y="-13544"/>
                  <a:pt x="3062764" y="0"/>
                </a:cubicBezTo>
                <a:cubicBezTo>
                  <a:pt x="3296235" y="13544"/>
                  <a:pt x="3435691" y="5548"/>
                  <a:pt x="3619500" y="0"/>
                </a:cubicBezTo>
                <a:cubicBezTo>
                  <a:pt x="3626407" y="56998"/>
                  <a:pt x="3625238" y="110639"/>
                  <a:pt x="3619500" y="146813"/>
                </a:cubicBezTo>
                <a:cubicBezTo>
                  <a:pt x="3764485" y="132678"/>
                  <a:pt x="3857295" y="127641"/>
                  <a:pt x="4048149" y="146813"/>
                </a:cubicBezTo>
                <a:cubicBezTo>
                  <a:pt x="4050453" y="136524"/>
                  <a:pt x="4048909" y="108551"/>
                  <a:pt x="4048149" y="97875"/>
                </a:cubicBezTo>
                <a:cubicBezTo>
                  <a:pt x="4099057" y="141345"/>
                  <a:pt x="4116437" y="163212"/>
                  <a:pt x="4146024" y="195750"/>
                </a:cubicBezTo>
                <a:cubicBezTo>
                  <a:pt x="4101219" y="248238"/>
                  <a:pt x="4064711" y="269228"/>
                  <a:pt x="4048149" y="293625"/>
                </a:cubicBezTo>
                <a:cubicBezTo>
                  <a:pt x="4045728" y="269980"/>
                  <a:pt x="4046268" y="262746"/>
                  <a:pt x="4048149" y="244688"/>
                </a:cubicBezTo>
                <a:cubicBezTo>
                  <a:pt x="3891320" y="252445"/>
                  <a:pt x="3797345" y="232276"/>
                  <a:pt x="3619500" y="244688"/>
                </a:cubicBezTo>
                <a:cubicBezTo>
                  <a:pt x="3615965" y="316170"/>
                  <a:pt x="3619211" y="349628"/>
                  <a:pt x="3619500" y="391500"/>
                </a:cubicBezTo>
                <a:cubicBezTo>
                  <a:pt x="3468584" y="409054"/>
                  <a:pt x="3136230" y="396118"/>
                  <a:pt x="2939045" y="391500"/>
                </a:cubicBezTo>
                <a:cubicBezTo>
                  <a:pt x="2741861" y="386882"/>
                  <a:pt x="2543036" y="375546"/>
                  <a:pt x="2413239" y="391500"/>
                </a:cubicBezTo>
                <a:cubicBezTo>
                  <a:pt x="2283442" y="407454"/>
                  <a:pt x="2038034" y="416786"/>
                  <a:pt x="1887433" y="391500"/>
                </a:cubicBezTo>
                <a:cubicBezTo>
                  <a:pt x="1736832" y="366214"/>
                  <a:pt x="1528398" y="370744"/>
                  <a:pt x="1237908" y="391500"/>
                </a:cubicBezTo>
                <a:cubicBezTo>
                  <a:pt x="947419" y="412256"/>
                  <a:pt x="805602" y="363342"/>
                  <a:pt x="526524" y="391500"/>
                </a:cubicBezTo>
                <a:cubicBezTo>
                  <a:pt x="524861" y="322979"/>
                  <a:pt x="520412" y="316683"/>
                  <a:pt x="526524" y="244688"/>
                </a:cubicBezTo>
                <a:cubicBezTo>
                  <a:pt x="385510" y="238881"/>
                  <a:pt x="220490" y="227929"/>
                  <a:pt x="97875" y="244688"/>
                </a:cubicBezTo>
                <a:cubicBezTo>
                  <a:pt x="100203" y="268337"/>
                  <a:pt x="96353" y="275056"/>
                  <a:pt x="97875" y="293625"/>
                </a:cubicBezTo>
                <a:cubicBezTo>
                  <a:pt x="63043" y="260267"/>
                  <a:pt x="43296" y="240916"/>
                  <a:pt x="0" y="195750"/>
                </a:cubicBezTo>
                <a:close/>
              </a:path>
            </a:pathLst>
          </a:custGeom>
          <a:ln w="38100">
            <a:extLst>
              <a:ext uri="{C807C97D-BFC1-408E-A445-0C87EB9F89A2}">
                <ask:lineSketchStyleProps xmlns:ask="http://schemas.microsoft.com/office/drawing/2018/sketchyshapes" sd="3619324401">
                  <a:prstGeom prst="leftRightArrowCallout">
                    <a:avLst>
                      <a:gd name="adj1" fmla="val 25000"/>
                      <a:gd name="adj2" fmla="val 25000"/>
                      <a:gd name="adj3" fmla="val 25000"/>
                      <a:gd name="adj4" fmla="val 74601"/>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anchor="ctr" anchorCtr="1">
            <a:noAutofit/>
          </a:bodyPr>
          <a:lstStyle/>
          <a:p>
            <a:pPr algn="ctr"/>
            <a:r>
              <a:rPr lang="es-ES" sz="1100" b="1" dirty="0"/>
              <a:t>Obtención de los datos y limpieza</a:t>
            </a:r>
          </a:p>
        </p:txBody>
      </p:sp>
      <p:sp>
        <p:nvSpPr>
          <p:cNvPr id="9" name="CuadroTexto 8">
            <a:extLst>
              <a:ext uri="{FF2B5EF4-FFF2-40B4-BE49-F238E27FC236}">
                <a16:creationId xmlns:a16="http://schemas.microsoft.com/office/drawing/2014/main" id="{E979CBD0-12D2-54D0-CE01-DBB6E59C4DB6}"/>
              </a:ext>
            </a:extLst>
          </p:cNvPr>
          <p:cNvSpPr txBox="1"/>
          <p:nvPr/>
        </p:nvSpPr>
        <p:spPr>
          <a:xfrm>
            <a:off x="935240" y="1643145"/>
            <a:ext cx="1939294" cy="391500"/>
          </a:xfrm>
          <a:custGeom>
            <a:avLst/>
            <a:gdLst>
              <a:gd name="connsiteX0" fmla="*/ 0 w 1939294"/>
              <a:gd name="connsiteY0" fmla="*/ 195750 h 391500"/>
              <a:gd name="connsiteX1" fmla="*/ 97875 w 1939294"/>
              <a:gd name="connsiteY1" fmla="*/ 97875 h 391500"/>
              <a:gd name="connsiteX2" fmla="*/ 97875 w 1939294"/>
              <a:gd name="connsiteY2" fmla="*/ 146813 h 391500"/>
              <a:gd name="connsiteX3" fmla="*/ 246281 w 1939294"/>
              <a:gd name="connsiteY3" fmla="*/ 146813 h 391500"/>
              <a:gd name="connsiteX4" fmla="*/ 246281 w 1939294"/>
              <a:gd name="connsiteY4" fmla="*/ 0 h 391500"/>
              <a:gd name="connsiteX5" fmla="*/ 699590 w 1939294"/>
              <a:gd name="connsiteY5" fmla="*/ 0 h 391500"/>
              <a:gd name="connsiteX6" fmla="*/ 1152900 w 1939294"/>
              <a:gd name="connsiteY6" fmla="*/ 0 h 391500"/>
              <a:gd name="connsiteX7" fmla="*/ 1693013 w 1939294"/>
              <a:gd name="connsiteY7" fmla="*/ 0 h 391500"/>
              <a:gd name="connsiteX8" fmla="*/ 1693013 w 1939294"/>
              <a:gd name="connsiteY8" fmla="*/ 146813 h 391500"/>
              <a:gd name="connsiteX9" fmla="*/ 1841419 w 1939294"/>
              <a:gd name="connsiteY9" fmla="*/ 146813 h 391500"/>
              <a:gd name="connsiteX10" fmla="*/ 1841419 w 1939294"/>
              <a:gd name="connsiteY10" fmla="*/ 97875 h 391500"/>
              <a:gd name="connsiteX11" fmla="*/ 1939294 w 1939294"/>
              <a:gd name="connsiteY11" fmla="*/ 195750 h 391500"/>
              <a:gd name="connsiteX12" fmla="*/ 1841419 w 1939294"/>
              <a:gd name="connsiteY12" fmla="*/ 293625 h 391500"/>
              <a:gd name="connsiteX13" fmla="*/ 1841419 w 1939294"/>
              <a:gd name="connsiteY13" fmla="*/ 244688 h 391500"/>
              <a:gd name="connsiteX14" fmla="*/ 1693013 w 1939294"/>
              <a:gd name="connsiteY14" fmla="*/ 244688 h 391500"/>
              <a:gd name="connsiteX15" fmla="*/ 1693013 w 1939294"/>
              <a:gd name="connsiteY15" fmla="*/ 391500 h 391500"/>
              <a:gd name="connsiteX16" fmla="*/ 1254171 w 1939294"/>
              <a:gd name="connsiteY16" fmla="*/ 391500 h 391500"/>
              <a:gd name="connsiteX17" fmla="*/ 815329 w 1939294"/>
              <a:gd name="connsiteY17" fmla="*/ 391500 h 391500"/>
              <a:gd name="connsiteX18" fmla="*/ 246281 w 1939294"/>
              <a:gd name="connsiteY18" fmla="*/ 391500 h 391500"/>
              <a:gd name="connsiteX19" fmla="*/ 246281 w 1939294"/>
              <a:gd name="connsiteY19" fmla="*/ 244688 h 391500"/>
              <a:gd name="connsiteX20" fmla="*/ 97875 w 1939294"/>
              <a:gd name="connsiteY20" fmla="*/ 244688 h 391500"/>
              <a:gd name="connsiteX21" fmla="*/ 97875 w 1939294"/>
              <a:gd name="connsiteY21" fmla="*/ 293625 h 391500"/>
              <a:gd name="connsiteX22" fmla="*/ 0 w 1939294"/>
              <a:gd name="connsiteY22" fmla="*/ 195750 h 39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39294" h="391500" fill="none" extrusionOk="0">
                <a:moveTo>
                  <a:pt x="0" y="195750"/>
                </a:moveTo>
                <a:cubicBezTo>
                  <a:pt x="34657" y="164355"/>
                  <a:pt x="54772" y="146352"/>
                  <a:pt x="97875" y="97875"/>
                </a:cubicBezTo>
                <a:cubicBezTo>
                  <a:pt x="99971" y="116593"/>
                  <a:pt x="100123" y="134310"/>
                  <a:pt x="97875" y="146813"/>
                </a:cubicBezTo>
                <a:cubicBezTo>
                  <a:pt x="131114" y="145034"/>
                  <a:pt x="195337" y="143245"/>
                  <a:pt x="246281" y="146813"/>
                </a:cubicBezTo>
                <a:cubicBezTo>
                  <a:pt x="245881" y="78517"/>
                  <a:pt x="243443" y="51787"/>
                  <a:pt x="246281" y="0"/>
                </a:cubicBezTo>
                <a:cubicBezTo>
                  <a:pt x="457066" y="19460"/>
                  <a:pt x="588899" y="2360"/>
                  <a:pt x="699590" y="0"/>
                </a:cubicBezTo>
                <a:cubicBezTo>
                  <a:pt x="810281" y="-2360"/>
                  <a:pt x="1046496" y="1144"/>
                  <a:pt x="1152900" y="0"/>
                </a:cubicBezTo>
                <a:cubicBezTo>
                  <a:pt x="1259304" y="-1144"/>
                  <a:pt x="1444560" y="4867"/>
                  <a:pt x="1693013" y="0"/>
                </a:cubicBezTo>
                <a:cubicBezTo>
                  <a:pt x="1687516" y="31965"/>
                  <a:pt x="1694272" y="109196"/>
                  <a:pt x="1693013" y="146813"/>
                </a:cubicBezTo>
                <a:cubicBezTo>
                  <a:pt x="1748672" y="147683"/>
                  <a:pt x="1801198" y="141320"/>
                  <a:pt x="1841419" y="146813"/>
                </a:cubicBezTo>
                <a:cubicBezTo>
                  <a:pt x="1842001" y="124314"/>
                  <a:pt x="1840912" y="119508"/>
                  <a:pt x="1841419" y="97875"/>
                </a:cubicBezTo>
                <a:cubicBezTo>
                  <a:pt x="1879393" y="131741"/>
                  <a:pt x="1917696" y="176482"/>
                  <a:pt x="1939294" y="195750"/>
                </a:cubicBezTo>
                <a:cubicBezTo>
                  <a:pt x="1894808" y="241354"/>
                  <a:pt x="1870246" y="270445"/>
                  <a:pt x="1841419" y="293625"/>
                </a:cubicBezTo>
                <a:cubicBezTo>
                  <a:pt x="1841877" y="281334"/>
                  <a:pt x="1842283" y="266624"/>
                  <a:pt x="1841419" y="244688"/>
                </a:cubicBezTo>
                <a:cubicBezTo>
                  <a:pt x="1773133" y="248376"/>
                  <a:pt x="1739953" y="238720"/>
                  <a:pt x="1693013" y="244688"/>
                </a:cubicBezTo>
                <a:cubicBezTo>
                  <a:pt x="1699836" y="304562"/>
                  <a:pt x="1697325" y="344609"/>
                  <a:pt x="1693013" y="391500"/>
                </a:cubicBezTo>
                <a:cubicBezTo>
                  <a:pt x="1583396" y="388596"/>
                  <a:pt x="1437504" y="403922"/>
                  <a:pt x="1254171" y="391500"/>
                </a:cubicBezTo>
                <a:cubicBezTo>
                  <a:pt x="1070838" y="379078"/>
                  <a:pt x="1002797" y="375982"/>
                  <a:pt x="815329" y="391500"/>
                </a:cubicBezTo>
                <a:cubicBezTo>
                  <a:pt x="627861" y="407018"/>
                  <a:pt x="397207" y="397412"/>
                  <a:pt x="246281" y="391500"/>
                </a:cubicBezTo>
                <a:cubicBezTo>
                  <a:pt x="249713" y="344250"/>
                  <a:pt x="241408" y="290966"/>
                  <a:pt x="246281" y="244688"/>
                </a:cubicBezTo>
                <a:cubicBezTo>
                  <a:pt x="201689" y="248068"/>
                  <a:pt x="171615" y="251716"/>
                  <a:pt x="97875" y="244688"/>
                </a:cubicBezTo>
                <a:cubicBezTo>
                  <a:pt x="98941" y="257251"/>
                  <a:pt x="96381" y="277969"/>
                  <a:pt x="97875" y="293625"/>
                </a:cubicBezTo>
                <a:cubicBezTo>
                  <a:pt x="74759" y="262793"/>
                  <a:pt x="50843" y="240384"/>
                  <a:pt x="0" y="195750"/>
                </a:cubicBezTo>
                <a:close/>
              </a:path>
              <a:path w="1939294" h="391500" stroke="0" extrusionOk="0">
                <a:moveTo>
                  <a:pt x="0" y="195750"/>
                </a:moveTo>
                <a:cubicBezTo>
                  <a:pt x="31666" y="154953"/>
                  <a:pt x="68771" y="120149"/>
                  <a:pt x="97875" y="97875"/>
                </a:cubicBezTo>
                <a:cubicBezTo>
                  <a:pt x="95462" y="116527"/>
                  <a:pt x="98218" y="124994"/>
                  <a:pt x="97875" y="146813"/>
                </a:cubicBezTo>
                <a:cubicBezTo>
                  <a:pt x="148021" y="139921"/>
                  <a:pt x="176957" y="148808"/>
                  <a:pt x="246281" y="146813"/>
                </a:cubicBezTo>
                <a:cubicBezTo>
                  <a:pt x="243157" y="96138"/>
                  <a:pt x="246811" y="61544"/>
                  <a:pt x="246281" y="0"/>
                </a:cubicBezTo>
                <a:cubicBezTo>
                  <a:pt x="496391" y="18895"/>
                  <a:pt x="596448" y="-7919"/>
                  <a:pt x="757460" y="0"/>
                </a:cubicBezTo>
                <a:cubicBezTo>
                  <a:pt x="918472" y="7919"/>
                  <a:pt x="1121154" y="-18711"/>
                  <a:pt x="1254171" y="0"/>
                </a:cubicBezTo>
                <a:cubicBezTo>
                  <a:pt x="1387188" y="18711"/>
                  <a:pt x="1527620" y="7654"/>
                  <a:pt x="1693013" y="0"/>
                </a:cubicBezTo>
                <a:cubicBezTo>
                  <a:pt x="1691752" y="64580"/>
                  <a:pt x="1695682" y="89718"/>
                  <a:pt x="1693013" y="146813"/>
                </a:cubicBezTo>
                <a:cubicBezTo>
                  <a:pt x="1741439" y="142309"/>
                  <a:pt x="1768827" y="140489"/>
                  <a:pt x="1841419" y="146813"/>
                </a:cubicBezTo>
                <a:cubicBezTo>
                  <a:pt x="1842926" y="135322"/>
                  <a:pt x="1839087" y="111553"/>
                  <a:pt x="1841419" y="97875"/>
                </a:cubicBezTo>
                <a:cubicBezTo>
                  <a:pt x="1884524" y="133431"/>
                  <a:pt x="1914159" y="162490"/>
                  <a:pt x="1939294" y="195750"/>
                </a:cubicBezTo>
                <a:cubicBezTo>
                  <a:pt x="1896540" y="230088"/>
                  <a:pt x="1875604" y="259125"/>
                  <a:pt x="1841419" y="293625"/>
                </a:cubicBezTo>
                <a:cubicBezTo>
                  <a:pt x="1842477" y="283360"/>
                  <a:pt x="1841275" y="264742"/>
                  <a:pt x="1841419" y="244688"/>
                </a:cubicBezTo>
                <a:cubicBezTo>
                  <a:pt x="1784569" y="240138"/>
                  <a:pt x="1741302" y="243381"/>
                  <a:pt x="1693013" y="244688"/>
                </a:cubicBezTo>
                <a:cubicBezTo>
                  <a:pt x="1687224" y="288196"/>
                  <a:pt x="1687344" y="325509"/>
                  <a:pt x="1693013" y="391500"/>
                </a:cubicBezTo>
                <a:cubicBezTo>
                  <a:pt x="1528929" y="369569"/>
                  <a:pt x="1402758" y="413926"/>
                  <a:pt x="1239704" y="391500"/>
                </a:cubicBezTo>
                <a:cubicBezTo>
                  <a:pt x="1076650" y="369074"/>
                  <a:pt x="914591" y="390490"/>
                  <a:pt x="800862" y="391500"/>
                </a:cubicBezTo>
                <a:cubicBezTo>
                  <a:pt x="687133" y="392510"/>
                  <a:pt x="387684" y="391286"/>
                  <a:pt x="246281" y="391500"/>
                </a:cubicBezTo>
                <a:cubicBezTo>
                  <a:pt x="241340" y="326905"/>
                  <a:pt x="242406" y="293712"/>
                  <a:pt x="246281" y="244688"/>
                </a:cubicBezTo>
                <a:cubicBezTo>
                  <a:pt x="193589" y="251678"/>
                  <a:pt x="172047" y="239748"/>
                  <a:pt x="97875" y="244688"/>
                </a:cubicBezTo>
                <a:cubicBezTo>
                  <a:pt x="96433" y="264453"/>
                  <a:pt x="98137" y="276883"/>
                  <a:pt x="97875" y="293625"/>
                </a:cubicBezTo>
                <a:cubicBezTo>
                  <a:pt x="56824" y="253605"/>
                  <a:pt x="23085" y="221425"/>
                  <a:pt x="0" y="195750"/>
                </a:cubicBezTo>
                <a:close/>
              </a:path>
            </a:pathLst>
          </a:custGeom>
          <a:ln w="38100">
            <a:extLst>
              <a:ext uri="{C807C97D-BFC1-408E-A445-0C87EB9F89A2}">
                <ask:lineSketchStyleProps xmlns:ask="http://schemas.microsoft.com/office/drawing/2018/sketchyshapes" sd="3619324401">
                  <a:prstGeom prst="leftRightArrowCallout">
                    <a:avLst>
                      <a:gd name="adj1" fmla="val 25000"/>
                      <a:gd name="adj2" fmla="val 25000"/>
                      <a:gd name="adj3" fmla="val 25000"/>
                      <a:gd name="adj4" fmla="val 74601"/>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anchor="ctr" anchorCtr="1">
            <a:noAutofit/>
          </a:bodyPr>
          <a:lstStyle/>
          <a:p>
            <a:pPr algn="ctr"/>
            <a:r>
              <a:rPr lang="es-ES" sz="1100" b="1" dirty="0"/>
              <a:t>Encuadre</a:t>
            </a:r>
          </a:p>
        </p:txBody>
      </p:sp>
    </p:spTree>
    <p:extLst>
      <p:ext uri="{BB962C8B-B14F-4D97-AF65-F5344CB8AC3E}">
        <p14:creationId xmlns:p14="http://schemas.microsoft.com/office/powerpoint/2010/main" val="11062421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1AB15A-655A-CFD3-C566-91D45E8F1913}"/>
              </a:ext>
            </a:extLst>
          </p:cNvPr>
          <p:cNvSpPr>
            <a:spLocks noGrp="1"/>
          </p:cNvSpPr>
          <p:nvPr>
            <p:ph type="title"/>
          </p:nvPr>
        </p:nvSpPr>
        <p:spPr>
          <a:xfrm>
            <a:off x="341194" y="3814618"/>
            <a:ext cx="4932769" cy="1876594"/>
          </a:xfrm>
        </p:spPr>
        <p:txBody>
          <a:bodyPr/>
          <a:lstStyle/>
          <a:p>
            <a:r>
              <a:rPr lang="es-ES" noProof="0" dirty="0"/>
              <a:t>Big Data</a:t>
            </a:r>
          </a:p>
        </p:txBody>
      </p:sp>
      <p:sp>
        <p:nvSpPr>
          <p:cNvPr id="3" name="Marcador de fecha 2">
            <a:extLst>
              <a:ext uri="{FF2B5EF4-FFF2-40B4-BE49-F238E27FC236}">
                <a16:creationId xmlns:a16="http://schemas.microsoft.com/office/drawing/2014/main" id="{97D7566B-379C-FA2B-8488-DCD19822B4A3}"/>
              </a:ext>
            </a:extLst>
          </p:cNvPr>
          <p:cNvSpPr>
            <a:spLocks noGrp="1"/>
          </p:cNvSpPr>
          <p:nvPr>
            <p:ph type="dt" sz="half" idx="10"/>
          </p:nvPr>
        </p:nvSpPr>
        <p:spPr>
          <a:xfrm>
            <a:off x="814650" y="6400379"/>
            <a:ext cx="3380278" cy="365125"/>
          </a:xfrm>
        </p:spPr>
        <p:txBody>
          <a:bodyPr/>
          <a:lstStyle/>
          <a:p>
            <a:fld id="{40AF6C1B-551C-47FB-B59E-1F6C080ED0F2}"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BF5C906-A7AD-DBF3-AE0D-C941CEF6DD3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4B901F3-2AA9-E86C-755A-A7581B5D49AC}"/>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49</a:t>
            </a:fld>
            <a:endParaRPr lang="es-ES" dirty="0"/>
          </a:p>
        </p:txBody>
      </p:sp>
    </p:spTree>
    <p:extLst>
      <p:ext uri="{BB962C8B-B14F-4D97-AF65-F5344CB8AC3E}">
        <p14:creationId xmlns:p14="http://schemas.microsoft.com/office/powerpoint/2010/main" val="5508150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BB406FA-5C36-6B05-D77D-7550967D3E7E}"/>
              </a:ext>
            </a:extLst>
          </p:cNvPr>
          <p:cNvSpPr>
            <a:spLocks noGrp="1"/>
          </p:cNvSpPr>
          <p:nvPr>
            <p:ph type="title"/>
          </p:nvPr>
        </p:nvSpPr>
        <p:spPr>
          <a:xfrm>
            <a:off x="838200" y="365126"/>
            <a:ext cx="9840124" cy="1092200"/>
          </a:xfrm>
        </p:spPr>
        <p:txBody>
          <a:bodyPr/>
          <a:lstStyle/>
          <a:p>
            <a:r>
              <a:rPr lang="es-ES" noProof="0" dirty="0"/>
              <a:t>Así se ve la hora</a:t>
            </a:r>
          </a:p>
        </p:txBody>
      </p:sp>
      <p:sp>
        <p:nvSpPr>
          <p:cNvPr id="3" name="Marcador de fecha 2">
            <a:extLst>
              <a:ext uri="{FF2B5EF4-FFF2-40B4-BE49-F238E27FC236}">
                <a16:creationId xmlns:a16="http://schemas.microsoft.com/office/drawing/2014/main" id="{9EF00745-2918-57E0-07FC-36D63BC83164}"/>
              </a:ext>
            </a:extLst>
          </p:cNvPr>
          <p:cNvSpPr>
            <a:spLocks noGrp="1"/>
          </p:cNvSpPr>
          <p:nvPr>
            <p:ph type="dt" sz="half" idx="10"/>
          </p:nvPr>
        </p:nvSpPr>
        <p:spPr>
          <a:xfrm>
            <a:off x="814650" y="6400379"/>
            <a:ext cx="3380278" cy="365125"/>
          </a:xfrm>
        </p:spPr>
        <p:txBody>
          <a:bodyPr/>
          <a:lstStyle/>
          <a:p>
            <a:fld id="{1E673732-2C92-4926-B38D-676440F56D4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6F7F514-E8F8-4A1A-5901-1BA43AD605A5}"/>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0F35987-7360-03E4-92E6-E30407743D0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a:t>
            </a:fld>
            <a:endParaRPr lang="es-ES" dirty="0"/>
          </a:p>
        </p:txBody>
      </p:sp>
      <p:graphicFrame>
        <p:nvGraphicFramePr>
          <p:cNvPr id="6" name="Diagrama 5">
            <a:extLst>
              <a:ext uri="{FF2B5EF4-FFF2-40B4-BE49-F238E27FC236}">
                <a16:creationId xmlns:a16="http://schemas.microsoft.com/office/drawing/2014/main" id="{E37D0683-B250-E0AF-0EF8-C43C975ED0F1}"/>
              </a:ext>
            </a:extLst>
          </p:cNvPr>
          <p:cNvGraphicFramePr/>
          <p:nvPr>
            <p:extLst>
              <p:ext uri="{D42A27DB-BD31-4B8C-83A1-F6EECF244321}">
                <p14:modId xmlns:p14="http://schemas.microsoft.com/office/powerpoint/2010/main" val="2086661806"/>
              </p:ext>
            </p:extLst>
          </p:nvPr>
        </p:nvGraphicFramePr>
        <p:xfrm>
          <a:off x="838200" y="1930400"/>
          <a:ext cx="9725026" cy="4236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902895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DBA840-8A42-45B1-809A-BC7D3DD1EFF8}"/>
              </a:ext>
            </a:extLst>
          </p:cNvPr>
          <p:cNvSpPr>
            <a:spLocks noGrp="1"/>
          </p:cNvSpPr>
          <p:nvPr>
            <p:ph type="title"/>
          </p:nvPr>
        </p:nvSpPr>
        <p:spPr>
          <a:xfrm>
            <a:off x="838200" y="365126"/>
            <a:ext cx="9840124" cy="1092200"/>
          </a:xfrm>
        </p:spPr>
        <p:txBody>
          <a:bodyPr/>
          <a:lstStyle/>
          <a:p>
            <a:r>
              <a:rPr lang="es-ES" noProof="0" dirty="0"/>
              <a:t>Definición de Big Data</a:t>
            </a:r>
          </a:p>
        </p:txBody>
      </p:sp>
      <p:sp>
        <p:nvSpPr>
          <p:cNvPr id="3" name="Marcador de fecha 2">
            <a:extLst>
              <a:ext uri="{FF2B5EF4-FFF2-40B4-BE49-F238E27FC236}">
                <a16:creationId xmlns:a16="http://schemas.microsoft.com/office/drawing/2014/main" id="{EB1ABBE5-1FAA-440F-93A7-745E14350B2E}"/>
              </a:ext>
            </a:extLst>
          </p:cNvPr>
          <p:cNvSpPr>
            <a:spLocks noGrp="1"/>
          </p:cNvSpPr>
          <p:nvPr>
            <p:ph type="dt" sz="half" idx="10"/>
          </p:nvPr>
        </p:nvSpPr>
        <p:spPr>
          <a:xfrm>
            <a:off x="814650" y="6400379"/>
            <a:ext cx="3380278" cy="365125"/>
          </a:xfrm>
        </p:spPr>
        <p:txBody>
          <a:bodyPr/>
          <a:lstStyle/>
          <a:p>
            <a:fld id="{1D1B00A4-C729-45FA-A275-977771231A04}"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083105EC-33B5-4EF3-A4C0-EE4B143E311D}"/>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BC546E2-6265-4A99-9710-DB45F353607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0</a:t>
            </a:fld>
            <a:endParaRPr lang="es-ES" dirty="0"/>
          </a:p>
        </p:txBody>
      </p:sp>
      <p:graphicFrame>
        <p:nvGraphicFramePr>
          <p:cNvPr id="8" name="Diagrama 7">
            <a:extLst>
              <a:ext uri="{FF2B5EF4-FFF2-40B4-BE49-F238E27FC236}">
                <a16:creationId xmlns:a16="http://schemas.microsoft.com/office/drawing/2014/main" id="{D7549FD1-A48D-4E13-9A3B-B66A61553C5B}"/>
              </a:ext>
            </a:extLst>
          </p:cNvPr>
          <p:cNvGraphicFramePr/>
          <p:nvPr>
            <p:extLst>
              <p:ext uri="{D42A27DB-BD31-4B8C-83A1-F6EECF244321}">
                <p14:modId xmlns:p14="http://schemas.microsoft.com/office/powerpoint/2010/main" val="2235227286"/>
              </p:ext>
            </p:extLst>
          </p:nvPr>
        </p:nvGraphicFramePr>
        <p:xfrm>
          <a:off x="5187950" y="1483359"/>
          <a:ext cx="6851649" cy="48729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upo 8">
            <a:extLst>
              <a:ext uri="{FF2B5EF4-FFF2-40B4-BE49-F238E27FC236}">
                <a16:creationId xmlns:a16="http://schemas.microsoft.com/office/drawing/2014/main" id="{DA72DD84-60E3-48FA-8B7B-637F1CC9D417}"/>
              </a:ext>
            </a:extLst>
          </p:cNvPr>
          <p:cNvGrpSpPr/>
          <p:nvPr/>
        </p:nvGrpSpPr>
        <p:grpSpPr>
          <a:xfrm>
            <a:off x="694123" y="2333352"/>
            <a:ext cx="3769360" cy="3251200"/>
            <a:chOff x="1135780" y="1470989"/>
            <a:chExt cx="1979930" cy="1456451"/>
          </a:xfrm>
        </p:grpSpPr>
        <p:sp>
          <p:nvSpPr>
            <p:cNvPr id="10" name="Elipse 9">
              <a:extLst>
                <a:ext uri="{FF2B5EF4-FFF2-40B4-BE49-F238E27FC236}">
                  <a16:creationId xmlns:a16="http://schemas.microsoft.com/office/drawing/2014/main" id="{2E5C4E65-3209-4A9D-A453-DCFA7B40DEBF}"/>
                </a:ext>
              </a:extLst>
            </p:cNvPr>
            <p:cNvSpPr/>
            <p:nvPr/>
          </p:nvSpPr>
          <p:spPr>
            <a:xfrm>
              <a:off x="1135780" y="1470989"/>
              <a:ext cx="1979930" cy="1456451"/>
            </a:xfrm>
            <a:custGeom>
              <a:avLst/>
              <a:gdLst>
                <a:gd name="connsiteX0" fmla="*/ 0 w 1979930"/>
                <a:gd name="connsiteY0" fmla="*/ 728226 h 1456451"/>
                <a:gd name="connsiteX1" fmla="*/ 989965 w 1979930"/>
                <a:gd name="connsiteY1" fmla="*/ 0 h 1456451"/>
                <a:gd name="connsiteX2" fmla="*/ 1979930 w 1979930"/>
                <a:gd name="connsiteY2" fmla="*/ 728226 h 1456451"/>
                <a:gd name="connsiteX3" fmla="*/ 989965 w 1979930"/>
                <a:gd name="connsiteY3" fmla="*/ 1456452 h 1456451"/>
                <a:gd name="connsiteX4" fmla="*/ 0 w 1979930"/>
                <a:gd name="connsiteY4" fmla="*/ 728226 h 1456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930" h="1456451" extrusionOk="0">
                  <a:moveTo>
                    <a:pt x="0" y="728226"/>
                  </a:moveTo>
                  <a:cubicBezTo>
                    <a:pt x="17192" y="287437"/>
                    <a:pt x="324358" y="-54786"/>
                    <a:pt x="989965" y="0"/>
                  </a:cubicBezTo>
                  <a:cubicBezTo>
                    <a:pt x="1616099" y="-26270"/>
                    <a:pt x="2004026" y="315349"/>
                    <a:pt x="1979930" y="728226"/>
                  </a:cubicBezTo>
                  <a:cubicBezTo>
                    <a:pt x="1944852" y="1067677"/>
                    <a:pt x="1438718" y="1527816"/>
                    <a:pt x="989965" y="1456452"/>
                  </a:cubicBezTo>
                  <a:cubicBezTo>
                    <a:pt x="432910" y="1505327"/>
                    <a:pt x="-20549" y="1088048"/>
                    <a:pt x="0" y="728226"/>
                  </a:cubicBezTo>
                  <a:close/>
                </a:path>
              </a:pathLst>
            </a:custGeom>
            <a:noFill/>
            <a:ln w="47625" cmpd="dbl">
              <a:solidFill>
                <a:schemeClr val="bg2">
                  <a:lumMod val="10000"/>
                </a:schemeClr>
              </a:solidFill>
              <a:extLst>
                <a:ext uri="{C807C97D-BFC1-408E-A445-0C87EB9F89A2}">
                  <ask:lineSketchStyleProps xmlns:ask="http://schemas.microsoft.com/office/drawing/2018/sketchyshapes" sd="1820905691">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s-ES" sz="2000" dirty="0">
                  <a:solidFill>
                    <a:srgbClr val="44546A"/>
                  </a:solidFill>
                  <a:effectLst/>
                  <a:ea typeface="Times New Roman" panose="02020603050405020304" pitchFamily="18" charset="0"/>
                  <a:cs typeface="Calibri" panose="020F0502020204030204" pitchFamily="34" charset="0"/>
                </a:rPr>
                <a:t>Las técnicas de Big Data Analytic y Artificial Intelligence son fundamentales para convertir los datos en información</a:t>
              </a:r>
              <a:endParaRPr lang="es-ES" sz="2000" dirty="0">
                <a:effectLst/>
                <a:ea typeface="Times New Roman" panose="02020603050405020304" pitchFamily="18" charset="0"/>
                <a:cs typeface="Calibri" panose="020F0502020204030204" pitchFamily="34" charset="0"/>
              </a:endParaRPr>
            </a:p>
          </p:txBody>
        </p:sp>
        <p:sp>
          <p:nvSpPr>
            <p:cNvPr id="11" name="Rectángulo: esquinas redondeadas 10">
              <a:extLst>
                <a:ext uri="{FF2B5EF4-FFF2-40B4-BE49-F238E27FC236}">
                  <a16:creationId xmlns:a16="http://schemas.microsoft.com/office/drawing/2014/main" id="{63537127-EFE1-4053-B035-FDF4964DBD37}"/>
                </a:ext>
              </a:extLst>
            </p:cNvPr>
            <p:cNvSpPr/>
            <p:nvPr/>
          </p:nvSpPr>
          <p:spPr>
            <a:xfrm>
              <a:off x="1794307" y="2639432"/>
              <a:ext cx="662875" cy="288008"/>
            </a:xfrm>
            <a:custGeom>
              <a:avLst/>
              <a:gdLst>
                <a:gd name="connsiteX0" fmla="*/ 0 w 662875"/>
                <a:gd name="connsiteY0" fmla="*/ 28801 h 288008"/>
                <a:gd name="connsiteX1" fmla="*/ 28801 w 662875"/>
                <a:gd name="connsiteY1" fmla="*/ 0 h 288008"/>
                <a:gd name="connsiteX2" fmla="*/ 634074 w 662875"/>
                <a:gd name="connsiteY2" fmla="*/ 0 h 288008"/>
                <a:gd name="connsiteX3" fmla="*/ 662875 w 662875"/>
                <a:gd name="connsiteY3" fmla="*/ 28801 h 288008"/>
                <a:gd name="connsiteX4" fmla="*/ 662875 w 662875"/>
                <a:gd name="connsiteY4" fmla="*/ 259207 h 288008"/>
                <a:gd name="connsiteX5" fmla="*/ 634074 w 662875"/>
                <a:gd name="connsiteY5" fmla="*/ 288008 h 288008"/>
                <a:gd name="connsiteX6" fmla="*/ 28801 w 662875"/>
                <a:gd name="connsiteY6" fmla="*/ 288008 h 288008"/>
                <a:gd name="connsiteX7" fmla="*/ 0 w 662875"/>
                <a:gd name="connsiteY7" fmla="*/ 259207 h 288008"/>
                <a:gd name="connsiteX8" fmla="*/ 0 w 662875"/>
                <a:gd name="connsiteY8" fmla="*/ 28801 h 28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875" h="288008" fill="none" extrusionOk="0">
                  <a:moveTo>
                    <a:pt x="0" y="28801"/>
                  </a:moveTo>
                  <a:cubicBezTo>
                    <a:pt x="1130" y="14658"/>
                    <a:pt x="15670" y="-1412"/>
                    <a:pt x="28801" y="0"/>
                  </a:cubicBezTo>
                  <a:cubicBezTo>
                    <a:pt x="192224" y="8406"/>
                    <a:pt x="402038" y="18465"/>
                    <a:pt x="634074" y="0"/>
                  </a:cubicBezTo>
                  <a:cubicBezTo>
                    <a:pt x="649473" y="-2166"/>
                    <a:pt x="663020" y="8971"/>
                    <a:pt x="662875" y="28801"/>
                  </a:cubicBezTo>
                  <a:cubicBezTo>
                    <a:pt x="651546" y="97680"/>
                    <a:pt x="666783" y="199682"/>
                    <a:pt x="662875" y="259207"/>
                  </a:cubicBezTo>
                  <a:cubicBezTo>
                    <a:pt x="661011" y="272782"/>
                    <a:pt x="649446" y="287485"/>
                    <a:pt x="634074" y="288008"/>
                  </a:cubicBezTo>
                  <a:cubicBezTo>
                    <a:pt x="447748" y="258545"/>
                    <a:pt x="275373" y="262957"/>
                    <a:pt x="28801" y="288008"/>
                  </a:cubicBezTo>
                  <a:cubicBezTo>
                    <a:pt x="15903" y="286738"/>
                    <a:pt x="-1463" y="274619"/>
                    <a:pt x="0" y="259207"/>
                  </a:cubicBezTo>
                  <a:cubicBezTo>
                    <a:pt x="9131" y="148752"/>
                    <a:pt x="5696" y="132482"/>
                    <a:pt x="0" y="28801"/>
                  </a:cubicBezTo>
                  <a:close/>
                </a:path>
                <a:path w="662875" h="288008" stroke="0" extrusionOk="0">
                  <a:moveTo>
                    <a:pt x="0" y="28801"/>
                  </a:moveTo>
                  <a:cubicBezTo>
                    <a:pt x="-793" y="11708"/>
                    <a:pt x="15329" y="-1429"/>
                    <a:pt x="28801" y="0"/>
                  </a:cubicBezTo>
                  <a:cubicBezTo>
                    <a:pt x="187465" y="-3523"/>
                    <a:pt x="404228" y="-15064"/>
                    <a:pt x="634074" y="0"/>
                  </a:cubicBezTo>
                  <a:cubicBezTo>
                    <a:pt x="650540" y="2264"/>
                    <a:pt x="663470" y="14976"/>
                    <a:pt x="662875" y="28801"/>
                  </a:cubicBezTo>
                  <a:cubicBezTo>
                    <a:pt x="666290" y="117554"/>
                    <a:pt x="661534" y="184836"/>
                    <a:pt x="662875" y="259207"/>
                  </a:cubicBezTo>
                  <a:cubicBezTo>
                    <a:pt x="662315" y="277415"/>
                    <a:pt x="648978" y="287372"/>
                    <a:pt x="634074" y="288008"/>
                  </a:cubicBezTo>
                  <a:cubicBezTo>
                    <a:pt x="452671" y="261994"/>
                    <a:pt x="160522" y="308171"/>
                    <a:pt x="28801" y="288008"/>
                  </a:cubicBezTo>
                  <a:cubicBezTo>
                    <a:pt x="12346" y="290850"/>
                    <a:pt x="2611" y="276390"/>
                    <a:pt x="0" y="259207"/>
                  </a:cubicBezTo>
                  <a:cubicBezTo>
                    <a:pt x="-8437" y="207266"/>
                    <a:pt x="-4799" y="136194"/>
                    <a:pt x="0" y="28801"/>
                  </a:cubicBezTo>
                  <a:close/>
                </a:path>
              </a:pathLst>
            </a:custGeom>
            <a:blipFill rotWithShape="1">
              <a:blip r:embed="rId7">
                <a:extLst>
                  <a:ext uri="{28A0092B-C50C-407E-A947-70E740481C1C}">
                    <a14:useLocalDpi xmlns:a14="http://schemas.microsoft.com/office/drawing/2010/main" val="0"/>
                  </a:ext>
                </a:extLst>
              </a:blip>
              <a:srcRect/>
              <a:stretch>
                <a:fillRect/>
              </a:stretch>
            </a:blipFill>
            <a:ln>
              <a:extLst>
                <a:ext uri="{C807C97D-BFC1-408E-A445-0C87EB9F89A2}">
                  <ask:lineSketchStyleProps xmlns:ask="http://schemas.microsoft.com/office/drawing/2018/sketchyshapes" sd="1256588908">
                    <a:prstGeom prst="roundRect">
                      <a:avLst>
                        <a:gd name="adj" fmla="val 10000"/>
                      </a:avLst>
                    </a:prstGeom>
                    <ask:type>
                      <ask:lineSketchFreehand/>
                    </ask:type>
                  </ask:lineSketchStyleProps>
                </a:ext>
              </a:extLst>
            </a:ln>
          </p:spPr>
          <p:style>
            <a:lnRef idx="2">
              <a:schemeClr val="dk2">
                <a:shade val="80000"/>
                <a:hueOff val="0"/>
                <a:satOff val="0"/>
                <a:lumOff val="0"/>
                <a:alphaOff val="0"/>
              </a:schemeClr>
            </a:lnRef>
            <a:fillRef idx="1">
              <a:scrgbClr r="0" g="0" b="0"/>
            </a:fillRef>
            <a:effectRef idx="0">
              <a:schemeClr val="dk2">
                <a:tint val="40000"/>
                <a:hueOff val="0"/>
                <a:satOff val="0"/>
                <a:lumOff val="0"/>
                <a:alphaOff val="0"/>
              </a:schemeClr>
            </a:effectRef>
            <a:fontRef idx="minor">
              <a:schemeClr val="lt1">
                <a:hueOff val="0"/>
                <a:satOff val="0"/>
                <a:lumOff val="0"/>
                <a:alphaOff val="0"/>
              </a:schemeClr>
            </a:fontRef>
          </p:style>
          <p:txBody>
            <a:bodyPr/>
            <a:lstStyle/>
            <a:p>
              <a:endParaRPr lang="es-ES" sz="2000" dirty="0"/>
            </a:p>
          </p:txBody>
        </p:sp>
      </p:grpSp>
      <p:pic>
        <p:nvPicPr>
          <p:cNvPr id="1026" name="Picture 2" descr="Pinocho: Un cuento que no pasa de moda | Washington Hispanic">
            <a:extLst>
              <a:ext uri="{FF2B5EF4-FFF2-40B4-BE49-F238E27FC236}">
                <a16:creationId xmlns:a16="http://schemas.microsoft.com/office/drawing/2014/main" id="{B4B81878-2CC3-7FD1-47B3-15B613E961EE}"/>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5250" r="23000"/>
          <a:stretch/>
        </p:blipFill>
        <p:spPr bwMode="auto">
          <a:xfrm>
            <a:off x="10866891" y="4976428"/>
            <a:ext cx="1261971" cy="1216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439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62EAE47E-6B2C-4464-B6B7-7D56B3FE7062}"/>
              </a:ext>
            </a:extLst>
          </p:cNvPr>
          <p:cNvSpPr>
            <a:spLocks noGrp="1"/>
          </p:cNvSpPr>
          <p:nvPr>
            <p:ph type="body" idx="1"/>
          </p:nvPr>
        </p:nvSpPr>
        <p:spPr>
          <a:xfrm>
            <a:off x="839788" y="1623758"/>
            <a:ext cx="5157787" cy="800356"/>
          </a:xfrm>
        </p:spPr>
        <p:txBody>
          <a:bodyPr>
            <a:normAutofit lnSpcReduction="10000"/>
          </a:bodyPr>
          <a:lstStyle/>
          <a:p>
            <a:r>
              <a:rPr lang="es-ES" noProof="0" dirty="0"/>
              <a:t>Supercomputador, Precio HW / SW alto</a:t>
            </a:r>
          </a:p>
        </p:txBody>
      </p:sp>
      <p:pic>
        <p:nvPicPr>
          <p:cNvPr id="1028" name="Picture 4" descr="Resultado de imagen de computacion centralizada&quot;"/>
          <p:cNvPicPr>
            <a:picLocks noGrp="1" noChangeAspect="1" noChangeArrowheads="1"/>
          </p:cNvPicPr>
          <p:nvPr>
            <p:ph sz="half" idx="2"/>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91474" y="2500313"/>
            <a:ext cx="4654414" cy="3714750"/>
          </a:xfrm>
        </p:spPr>
      </p:pic>
      <p:sp>
        <p:nvSpPr>
          <p:cNvPr id="9" name="Marcador de texto 8">
            <a:extLst>
              <a:ext uri="{FF2B5EF4-FFF2-40B4-BE49-F238E27FC236}">
                <a16:creationId xmlns:a16="http://schemas.microsoft.com/office/drawing/2014/main" id="{2CE86970-D988-4C8A-B130-DFAC2BCE55C0}"/>
              </a:ext>
            </a:extLst>
          </p:cNvPr>
          <p:cNvSpPr>
            <a:spLocks noGrp="1"/>
          </p:cNvSpPr>
          <p:nvPr>
            <p:ph type="body" sz="quarter" idx="3"/>
          </p:nvPr>
        </p:nvSpPr>
        <p:spPr>
          <a:xfrm>
            <a:off x="6172200" y="1623758"/>
            <a:ext cx="5183188" cy="800356"/>
          </a:xfrm>
        </p:spPr>
        <p:txBody>
          <a:bodyPr>
            <a:normAutofit lnSpcReduction="10000"/>
          </a:bodyPr>
          <a:lstStyle/>
          <a:p>
            <a:r>
              <a:rPr lang="es-ES" noProof="0" dirty="0"/>
              <a:t>Computación distribuida, Precio HW / SW bajo</a:t>
            </a:r>
          </a:p>
        </p:txBody>
      </p:sp>
      <p:pic>
        <p:nvPicPr>
          <p:cNvPr id="1026" name="Picture 2" descr="Resultado de imagen de computacion distribuida&quot;"/>
          <p:cNvPicPr>
            <a:picLocks noGrp="1" noChangeAspect="1" noChangeArrowheads="1"/>
          </p:cNvPicPr>
          <p:nvPr>
            <p:ph sz="quarter" idx="4"/>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77794" y="2690813"/>
            <a:ext cx="4572000" cy="3333750"/>
          </a:xfrm>
        </p:spPr>
      </p:pic>
      <p:sp>
        <p:nvSpPr>
          <p:cNvPr id="21" name="Marcador de fecha 2">
            <a:extLst>
              <a:ext uri="{FF2B5EF4-FFF2-40B4-BE49-F238E27FC236}">
                <a16:creationId xmlns:a16="http://schemas.microsoft.com/office/drawing/2014/main" id="{7F076342-D29E-421E-905F-E76B9AA08B95}"/>
              </a:ext>
            </a:extLst>
          </p:cNvPr>
          <p:cNvSpPr>
            <a:spLocks noGrp="1"/>
          </p:cNvSpPr>
          <p:nvPr>
            <p:ph type="dt" sz="half" idx="10"/>
          </p:nvPr>
        </p:nvSpPr>
        <p:spPr>
          <a:xfrm>
            <a:off x="814650" y="6400379"/>
            <a:ext cx="3380278" cy="365125"/>
          </a:xfrm>
        </p:spPr>
        <p:txBody>
          <a:bodyPr/>
          <a:lstStyle/>
          <a:p>
            <a:fld id="{5B3F1A8C-18E5-4982-B96F-5653EBB384A5}" type="datetime2">
              <a:rPr lang="es-ES" smtClean="0"/>
              <a:pPr/>
              <a:t>jueves, 19 de septiembre de 2024</a:t>
            </a:fld>
            <a:endParaRPr lang="es-ES" dirty="0"/>
          </a:p>
        </p:txBody>
      </p:sp>
      <p:sp>
        <p:nvSpPr>
          <p:cNvPr id="22" name="Marcador de pie de página 10">
            <a:extLst>
              <a:ext uri="{FF2B5EF4-FFF2-40B4-BE49-F238E27FC236}">
                <a16:creationId xmlns:a16="http://schemas.microsoft.com/office/drawing/2014/main" id="{93386B9B-4B4A-46C3-B4C9-DA6093431A6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23" name="Marcador de número de diapositiva 11">
            <a:extLst>
              <a:ext uri="{FF2B5EF4-FFF2-40B4-BE49-F238E27FC236}">
                <a16:creationId xmlns:a16="http://schemas.microsoft.com/office/drawing/2014/main" id="{6CFA8483-F961-4CE2-93E1-272B751F8EA0}"/>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1</a:t>
            </a:fld>
            <a:endParaRPr lang="es-ES" dirty="0"/>
          </a:p>
        </p:txBody>
      </p:sp>
      <p:sp>
        <p:nvSpPr>
          <p:cNvPr id="2" name="Título 1">
            <a:extLst>
              <a:ext uri="{FF2B5EF4-FFF2-40B4-BE49-F238E27FC236}">
                <a16:creationId xmlns:a16="http://schemas.microsoft.com/office/drawing/2014/main" id="{D601A298-46A1-46CB-8640-1F3F59AE9DAD}"/>
              </a:ext>
            </a:extLst>
          </p:cNvPr>
          <p:cNvSpPr>
            <a:spLocks noGrp="1"/>
          </p:cNvSpPr>
          <p:nvPr>
            <p:ph type="title"/>
          </p:nvPr>
        </p:nvSpPr>
        <p:spPr>
          <a:xfrm>
            <a:off x="838200" y="365126"/>
            <a:ext cx="9840124" cy="1092200"/>
          </a:xfrm>
        </p:spPr>
        <p:txBody>
          <a:bodyPr>
            <a:normAutofit fontScale="90000"/>
          </a:bodyPr>
          <a:lstStyle/>
          <a:p>
            <a:r>
              <a:rPr lang="es-ES" noProof="0" dirty="0"/>
              <a:t>la computación distribuida y la paralelización proporcionan potencia de cálculo y almacenamiento baratos</a:t>
            </a:r>
          </a:p>
        </p:txBody>
      </p:sp>
      <p:pic>
        <p:nvPicPr>
          <p:cNvPr id="8" name="Imagen 21">
            <a:extLst>
              <a:ext uri="{FF2B5EF4-FFF2-40B4-BE49-F238E27FC236}">
                <a16:creationId xmlns:a16="http://schemas.microsoft.com/office/drawing/2014/main" id="{26A847BD-0C31-4606-BD5A-FE750A7ECDE2}"/>
              </a:ext>
            </a:extLst>
          </p:cNvPr>
          <p:cNvPicPr/>
          <p:nvPr/>
        </p:nvPicPr>
        <p:blipFill rotWithShape="1">
          <a:blip r:embed="rId4" cstate="email">
            <a:extLst>
              <a:ext uri="{28A0092B-C50C-407E-A947-70E740481C1C}">
                <a14:useLocalDpi xmlns:a14="http://schemas.microsoft.com/office/drawing/2010/main" val="0"/>
              </a:ext>
            </a:extLst>
          </a:blip>
          <a:srcRect/>
          <a:stretch/>
        </p:blipFill>
        <p:spPr>
          <a:xfrm>
            <a:off x="5565035" y="2157151"/>
            <a:ext cx="1058400" cy="693328"/>
          </a:xfrm>
          <a:prstGeom prst="rect">
            <a:avLst/>
          </a:prstGeom>
          <a:solidFill>
            <a:srgbClr val="FFFFFF">
              <a:alpha val="50196"/>
            </a:srgbClr>
          </a:solidFill>
          <a:ln>
            <a:noFill/>
          </a:ln>
        </p:spPr>
      </p:pic>
      <p:pic>
        <p:nvPicPr>
          <p:cNvPr id="25" name="Picture 17" descr="Databas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11992" y="3594436"/>
            <a:ext cx="684000" cy="653050"/>
          </a:xfrm>
          <a:prstGeom prst="rect">
            <a:avLst/>
          </a:prstGeom>
          <a:noFill/>
        </p:spPr>
      </p:pic>
      <p:pic>
        <p:nvPicPr>
          <p:cNvPr id="26" name="Picture 18" descr="MainFrameServe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88352" y="2734638"/>
            <a:ext cx="684000" cy="931529"/>
          </a:xfrm>
          <a:prstGeom prst="rect">
            <a:avLst/>
          </a:prstGeom>
          <a:noFill/>
        </p:spPr>
      </p:pic>
      <p:pic>
        <p:nvPicPr>
          <p:cNvPr id="2050" name="Picture 2" descr="Ilustraciones, imágenes y vectores de stock sobre Dedo+hacia+ ...">
            <a:extLst>
              <a:ext uri="{FF2B5EF4-FFF2-40B4-BE49-F238E27FC236}">
                <a16:creationId xmlns:a16="http://schemas.microsoft.com/office/drawing/2014/main" id="{2B7879F3-EDD3-427F-B818-4330F5E1E50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rot="5400000" flipH="1">
            <a:off x="115958" y="1655803"/>
            <a:ext cx="818183" cy="87784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lustraciones, imágenes y vectores de stock sobre Dedo+hacia+ ...">
            <a:extLst>
              <a:ext uri="{FF2B5EF4-FFF2-40B4-BE49-F238E27FC236}">
                <a16:creationId xmlns:a16="http://schemas.microsoft.com/office/drawing/2014/main" id="{26F8135C-8C20-4DB4-AE78-542339EBC40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1310887" y="1363234"/>
            <a:ext cx="881113" cy="880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1986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n relacionada">
            <a:extLst>
              <a:ext uri="{FF2B5EF4-FFF2-40B4-BE49-F238E27FC236}">
                <a16:creationId xmlns:a16="http://schemas.microsoft.com/office/drawing/2014/main" id="{BEE3B7C0-02EB-40CF-B4D9-4121DF9171D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332509" y="1652155"/>
            <a:ext cx="11664293" cy="44407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14691F33-1F4E-4084-AAA7-5FABD3EF731F}"/>
              </a:ext>
            </a:extLst>
          </p:cNvPr>
          <p:cNvSpPr>
            <a:spLocks noGrp="1"/>
          </p:cNvSpPr>
          <p:nvPr>
            <p:ph type="title"/>
          </p:nvPr>
        </p:nvSpPr>
        <p:spPr>
          <a:xfrm>
            <a:off x="838200" y="365126"/>
            <a:ext cx="9840124" cy="1092200"/>
          </a:xfrm>
        </p:spPr>
        <p:txBody>
          <a:bodyPr/>
          <a:lstStyle/>
          <a:p>
            <a:r>
              <a:rPr lang="es-ES" noProof="0" dirty="0"/>
              <a:t>Resumen de conceptos Big Data</a:t>
            </a:r>
          </a:p>
        </p:txBody>
      </p:sp>
      <p:sp>
        <p:nvSpPr>
          <p:cNvPr id="3" name="Marcador de fecha 2">
            <a:extLst>
              <a:ext uri="{FF2B5EF4-FFF2-40B4-BE49-F238E27FC236}">
                <a16:creationId xmlns:a16="http://schemas.microsoft.com/office/drawing/2014/main" id="{6831456A-99CB-49C0-81D5-823F1ECB11BE}"/>
              </a:ext>
            </a:extLst>
          </p:cNvPr>
          <p:cNvSpPr>
            <a:spLocks noGrp="1"/>
          </p:cNvSpPr>
          <p:nvPr>
            <p:ph type="dt" sz="half" idx="10"/>
          </p:nvPr>
        </p:nvSpPr>
        <p:spPr>
          <a:xfrm>
            <a:off x="814650" y="6400379"/>
            <a:ext cx="3380278" cy="365125"/>
          </a:xfrm>
        </p:spPr>
        <p:txBody>
          <a:bodyPr/>
          <a:lstStyle/>
          <a:p>
            <a:fld id="{BD698BEE-7B41-49E5-9015-7E0A1ADB0627}"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3707821-66F5-47FC-A721-057575FB174A}"/>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7235540-0894-49B2-835C-49BBF720605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2</a:t>
            </a:fld>
            <a:endParaRPr lang="es-ES" dirty="0"/>
          </a:p>
        </p:txBody>
      </p:sp>
      <p:graphicFrame>
        <p:nvGraphicFramePr>
          <p:cNvPr id="6" name="Diagrama 5">
            <a:extLst>
              <a:ext uri="{FF2B5EF4-FFF2-40B4-BE49-F238E27FC236}">
                <a16:creationId xmlns:a16="http://schemas.microsoft.com/office/drawing/2014/main" id="{307F0217-EC69-4137-BA17-E6E988A74C19}"/>
              </a:ext>
            </a:extLst>
          </p:cNvPr>
          <p:cNvGraphicFramePr/>
          <p:nvPr>
            <p:extLst>
              <p:ext uri="{D42A27DB-BD31-4B8C-83A1-F6EECF244321}">
                <p14:modId xmlns:p14="http://schemas.microsoft.com/office/powerpoint/2010/main" val="1356783045"/>
              </p:ext>
            </p:extLst>
          </p:nvPr>
        </p:nvGraphicFramePr>
        <p:xfrm>
          <a:off x="1170707" y="1987420"/>
          <a:ext cx="10165773" cy="41054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12409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7DEB3-43EC-A078-7424-F7C8D72C634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0171F31-1618-CF6B-4120-8DCB0B7C251F}"/>
              </a:ext>
            </a:extLst>
          </p:cNvPr>
          <p:cNvSpPr>
            <a:spLocks noGrp="1"/>
          </p:cNvSpPr>
          <p:nvPr>
            <p:ph type="title"/>
          </p:nvPr>
        </p:nvSpPr>
        <p:spPr>
          <a:xfrm>
            <a:off x="341194" y="3814618"/>
            <a:ext cx="4932769" cy="1876594"/>
          </a:xfrm>
        </p:spPr>
        <p:txBody>
          <a:bodyPr/>
          <a:lstStyle/>
          <a:p>
            <a:r>
              <a:rPr lang="es-ES" noProof="0" dirty="0"/>
              <a:t>Casos de uso Big Data e Inteligencia Artificial</a:t>
            </a:r>
          </a:p>
        </p:txBody>
      </p:sp>
      <p:sp>
        <p:nvSpPr>
          <p:cNvPr id="3" name="Marcador de fecha 2">
            <a:extLst>
              <a:ext uri="{FF2B5EF4-FFF2-40B4-BE49-F238E27FC236}">
                <a16:creationId xmlns:a16="http://schemas.microsoft.com/office/drawing/2014/main" id="{C31BE410-351A-B11E-1CCC-949591A954C0}"/>
              </a:ext>
            </a:extLst>
          </p:cNvPr>
          <p:cNvSpPr>
            <a:spLocks noGrp="1"/>
          </p:cNvSpPr>
          <p:nvPr>
            <p:ph type="dt" sz="half" idx="10"/>
          </p:nvPr>
        </p:nvSpPr>
        <p:spPr>
          <a:xfrm>
            <a:off x="814650" y="6400379"/>
            <a:ext cx="3380278" cy="365125"/>
          </a:xfrm>
        </p:spPr>
        <p:txBody>
          <a:bodyPr/>
          <a:lstStyle/>
          <a:p>
            <a:fld id="{6564F669-7F33-4597-ACBB-04D3677BBFDB}"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1F142DA-3803-3BF9-3647-59992DC6FE3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3E86D2F2-5C50-C73E-80DD-77AE7EA22D09}"/>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3</a:t>
            </a:fld>
            <a:endParaRPr lang="es-ES" dirty="0"/>
          </a:p>
        </p:txBody>
      </p:sp>
      <p:pic>
        <p:nvPicPr>
          <p:cNvPr id="3074" name="Picture 2" descr="Big Data e Inteligencia Artificial 🔝">
            <a:extLst>
              <a:ext uri="{FF2B5EF4-FFF2-40B4-BE49-F238E27FC236}">
                <a16:creationId xmlns:a16="http://schemas.microsoft.com/office/drawing/2014/main" id="{388EEA36-BCD3-AF44-07E0-C1043652E3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0"/>
            <a:ext cx="49911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6707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FB01B-B26B-170E-32EE-BA9BB2063CC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8E2A17B-9C26-C0A9-472B-92788AE00DB2}"/>
              </a:ext>
            </a:extLst>
          </p:cNvPr>
          <p:cNvSpPr>
            <a:spLocks noGrp="1"/>
          </p:cNvSpPr>
          <p:nvPr>
            <p:ph type="title"/>
          </p:nvPr>
        </p:nvSpPr>
        <p:spPr>
          <a:xfrm>
            <a:off x="838200" y="365126"/>
            <a:ext cx="9840124" cy="1092200"/>
          </a:xfrm>
        </p:spPr>
        <p:txBody>
          <a:bodyPr/>
          <a:lstStyle/>
          <a:p>
            <a:r>
              <a:rPr lang="es-ES" noProof="0" dirty="0"/>
              <a:t>El impacto de la reacción de las personas en las redes sociales, foros y blogs </a:t>
            </a:r>
          </a:p>
        </p:txBody>
      </p:sp>
      <p:sp>
        <p:nvSpPr>
          <p:cNvPr id="8" name="Marcador de contenido 7">
            <a:extLst>
              <a:ext uri="{FF2B5EF4-FFF2-40B4-BE49-F238E27FC236}">
                <a16:creationId xmlns:a16="http://schemas.microsoft.com/office/drawing/2014/main" id="{91A4C372-EA07-08F5-1012-3BF67DAFAC04}"/>
              </a:ext>
            </a:extLst>
          </p:cNvPr>
          <p:cNvSpPr>
            <a:spLocks noGrp="1"/>
          </p:cNvSpPr>
          <p:nvPr>
            <p:ph idx="1"/>
          </p:nvPr>
        </p:nvSpPr>
        <p:spPr>
          <a:xfrm>
            <a:off x="838200" y="1825625"/>
            <a:ext cx="10515600" cy="4351338"/>
          </a:xfrm>
        </p:spPr>
        <p:txBody>
          <a:bodyPr>
            <a:normAutofit/>
          </a:bodyPr>
          <a:lstStyle/>
          <a:p>
            <a:r>
              <a:rPr lang="es-ES" noProof="0" dirty="0"/>
              <a:t>Un cuestionario psicológico, que rellenamos (voluntaria o involuntariamente)  todos los días.</a:t>
            </a:r>
          </a:p>
          <a:p>
            <a:r>
              <a:rPr lang="es-ES" noProof="0" dirty="0"/>
              <a:t>Los "me gusta“, a quién sigues, que tipo de información ves, seguidores, comentarios conforma un perfil que es similar a las huellas digitales.</a:t>
            </a:r>
          </a:p>
        </p:txBody>
      </p:sp>
      <p:sp>
        <p:nvSpPr>
          <p:cNvPr id="3" name="Marcador de fecha 2">
            <a:extLst>
              <a:ext uri="{FF2B5EF4-FFF2-40B4-BE49-F238E27FC236}">
                <a16:creationId xmlns:a16="http://schemas.microsoft.com/office/drawing/2014/main" id="{AF18826D-3750-95C4-4F17-F0CA50B0C06B}"/>
              </a:ext>
            </a:extLst>
          </p:cNvPr>
          <p:cNvSpPr>
            <a:spLocks noGrp="1"/>
          </p:cNvSpPr>
          <p:nvPr>
            <p:ph type="dt" sz="half" idx="10"/>
          </p:nvPr>
        </p:nvSpPr>
        <p:spPr>
          <a:xfrm>
            <a:off x="814650" y="6400379"/>
            <a:ext cx="3380278" cy="365125"/>
          </a:xfrm>
        </p:spPr>
        <p:txBody>
          <a:bodyPr/>
          <a:lstStyle/>
          <a:p>
            <a:fld id="{0F9FAF30-C784-4F68-A075-BAA35AE3884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6A9521E-8EAD-F7B4-4318-E9F44C3224A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732C327-8AA0-4B64-1DD8-3F849F80DAA2}"/>
              </a:ext>
            </a:extLst>
          </p:cNvPr>
          <p:cNvSpPr>
            <a:spLocks noGrp="1"/>
          </p:cNvSpPr>
          <p:nvPr>
            <p:ph type="sldNum" sz="quarter" idx="12"/>
          </p:nvPr>
        </p:nvSpPr>
        <p:spPr>
          <a:xfrm>
            <a:off x="10801350" y="6421474"/>
            <a:ext cx="576000" cy="365125"/>
          </a:xfrm>
        </p:spPr>
        <p:txBody>
          <a:bodyPr/>
          <a:lstStyle/>
          <a:p>
            <a:fld id="{60C2D6D0-BB61-4192-9E39-15A42AC492C2}" type="slidenum">
              <a:rPr lang="es-ES" smtClean="0"/>
              <a:pPr/>
              <a:t>54</a:t>
            </a:fld>
            <a:endParaRPr lang="es-ES" dirty="0"/>
          </a:p>
        </p:txBody>
      </p:sp>
      <p:graphicFrame>
        <p:nvGraphicFramePr>
          <p:cNvPr id="15" name="Tabla 7">
            <a:extLst>
              <a:ext uri="{FF2B5EF4-FFF2-40B4-BE49-F238E27FC236}">
                <a16:creationId xmlns:a16="http://schemas.microsoft.com/office/drawing/2014/main" id="{B7EE22FC-01D9-07A2-3834-E7B15E22A131}"/>
              </a:ext>
            </a:extLst>
          </p:cNvPr>
          <p:cNvGraphicFramePr>
            <a:graphicFrameLocks noGrp="1"/>
          </p:cNvGraphicFramePr>
          <p:nvPr>
            <p:extLst>
              <p:ext uri="{D42A27DB-BD31-4B8C-83A1-F6EECF244321}">
                <p14:modId xmlns:p14="http://schemas.microsoft.com/office/powerpoint/2010/main" val="2783153599"/>
              </p:ext>
            </p:extLst>
          </p:nvPr>
        </p:nvGraphicFramePr>
        <p:xfrm>
          <a:off x="863599" y="3574626"/>
          <a:ext cx="10652125" cy="2590800"/>
        </p:xfrm>
        <a:graphic>
          <a:graphicData uri="http://schemas.openxmlformats.org/drawingml/2006/table">
            <a:tbl>
              <a:tblPr firstRow="1" bandRow="1">
                <a:tableStyleId>{5C22544A-7EE6-4342-B048-85BDC9FD1C3A}</a:tableStyleId>
              </a:tblPr>
              <a:tblGrid>
                <a:gridCol w="1797546">
                  <a:extLst>
                    <a:ext uri="{9D8B030D-6E8A-4147-A177-3AD203B41FA5}">
                      <a16:colId xmlns:a16="http://schemas.microsoft.com/office/drawing/2014/main" val="745846841"/>
                    </a:ext>
                  </a:extLst>
                </a:gridCol>
                <a:gridCol w="8854579">
                  <a:extLst>
                    <a:ext uri="{9D8B030D-6E8A-4147-A177-3AD203B41FA5}">
                      <a16:colId xmlns:a16="http://schemas.microsoft.com/office/drawing/2014/main" val="1026402564"/>
                    </a:ext>
                  </a:extLst>
                </a:gridCol>
              </a:tblGrid>
              <a:tr h="370840">
                <a:tc>
                  <a:txBody>
                    <a:bodyPr/>
                    <a:lstStyle/>
                    <a:p>
                      <a:pPr algn="ctr"/>
                      <a:r>
                        <a:rPr lang="es-ES" sz="2000" dirty="0"/>
                        <a:t>Tras estos likes</a:t>
                      </a:r>
                    </a:p>
                  </a:txBody>
                  <a:tcPr/>
                </a:tc>
                <a:tc>
                  <a:txBody>
                    <a:bodyPr/>
                    <a:lstStyle/>
                    <a:p>
                      <a:r>
                        <a:rPr lang="es-ES" sz="2000" dirty="0"/>
                        <a:t>Conocidos mejor que:</a:t>
                      </a:r>
                    </a:p>
                  </a:txBody>
                  <a:tcPr/>
                </a:tc>
                <a:extLst>
                  <a:ext uri="{0D108BD9-81ED-4DB2-BD59-A6C34878D82A}">
                    <a16:rowId xmlns:a16="http://schemas.microsoft.com/office/drawing/2014/main" val="2890102966"/>
                  </a:ext>
                </a:extLst>
              </a:tr>
              <a:tr h="370840">
                <a:tc>
                  <a:txBody>
                    <a:bodyPr/>
                    <a:lstStyle/>
                    <a:p>
                      <a:pPr algn="ctr"/>
                      <a:r>
                        <a:rPr lang="es-ES" sz="2000" b="1" dirty="0"/>
                        <a:t>5</a:t>
                      </a:r>
                    </a:p>
                  </a:txBody>
                  <a:tcPr anchor="ctr"/>
                </a:tc>
                <a:tc>
                  <a:txBody>
                    <a:bodyPr/>
                    <a:lstStyle/>
                    <a:p>
                      <a:r>
                        <a:rPr lang="es-ES" sz="2000" dirty="0"/>
                        <a:t>Amigos superficiales.</a:t>
                      </a:r>
                    </a:p>
                  </a:txBody>
                  <a:tcPr/>
                </a:tc>
                <a:extLst>
                  <a:ext uri="{0D108BD9-81ED-4DB2-BD59-A6C34878D82A}">
                    <a16:rowId xmlns:a16="http://schemas.microsoft.com/office/drawing/2014/main" val="1335963618"/>
                  </a:ext>
                </a:extLst>
              </a:tr>
              <a:tr h="370840">
                <a:tc>
                  <a:txBody>
                    <a:bodyPr/>
                    <a:lstStyle/>
                    <a:p>
                      <a:pPr algn="ctr"/>
                      <a:r>
                        <a:rPr lang="es-ES" sz="2000" b="1" dirty="0"/>
                        <a:t>20</a:t>
                      </a:r>
                    </a:p>
                  </a:txBody>
                  <a:tcPr anchor="ctr"/>
                </a:tc>
                <a:tc>
                  <a:txBody>
                    <a:bodyPr/>
                    <a:lstStyle/>
                    <a:p>
                      <a:pPr marL="285750" lvl="0" indent="-285750">
                        <a:buFont typeface="Arial" panose="020B0604020202020204" pitchFamily="34" charset="0"/>
                        <a:buChar char="•"/>
                      </a:pPr>
                      <a:r>
                        <a:rPr lang="es-ES" sz="2000" dirty="0"/>
                        <a:t>Determinar la raza de las personas estudiadas (95% de probabilidad de acierto)</a:t>
                      </a:r>
                    </a:p>
                    <a:p>
                      <a:pPr marL="285750" lvl="0" indent="-285750">
                        <a:buFont typeface="Arial" panose="020B0604020202020204" pitchFamily="34" charset="0"/>
                        <a:buChar char="•"/>
                      </a:pPr>
                      <a:r>
                        <a:rPr lang="es-ES" sz="2000" dirty="0"/>
                        <a:t>Su homosexualidad (88% de probabilidad de acierto)</a:t>
                      </a:r>
                    </a:p>
                    <a:p>
                      <a:pPr marL="285750" lvl="0" indent="-285750">
                        <a:buFont typeface="Arial" panose="020B0604020202020204" pitchFamily="34" charset="0"/>
                        <a:buChar char="•"/>
                      </a:pPr>
                      <a:r>
                        <a:rPr lang="es-ES" sz="2000" dirty="0"/>
                        <a:t>Su compromiso político.</a:t>
                      </a:r>
                    </a:p>
                  </a:txBody>
                  <a:tcPr/>
                </a:tc>
                <a:extLst>
                  <a:ext uri="{0D108BD9-81ED-4DB2-BD59-A6C34878D82A}">
                    <a16:rowId xmlns:a16="http://schemas.microsoft.com/office/drawing/2014/main" val="828453414"/>
                  </a:ext>
                </a:extLst>
              </a:tr>
              <a:tr h="370840">
                <a:tc>
                  <a:txBody>
                    <a:bodyPr/>
                    <a:lstStyle/>
                    <a:p>
                      <a:pPr algn="ctr"/>
                      <a:r>
                        <a:rPr lang="es-ES" sz="2000" b="1" dirty="0"/>
                        <a:t>30</a:t>
                      </a:r>
                    </a:p>
                  </a:txBody>
                  <a:tcPr anchor="ctr"/>
                </a:tc>
                <a:tc>
                  <a:txBody>
                    <a:bodyPr/>
                    <a:lstStyle/>
                    <a:p>
                      <a:r>
                        <a:rPr lang="es-ES" sz="2000" dirty="0"/>
                        <a:t>Un amigo</a:t>
                      </a:r>
                    </a:p>
                  </a:txBody>
                  <a:tcPr/>
                </a:tc>
                <a:extLst>
                  <a:ext uri="{0D108BD9-81ED-4DB2-BD59-A6C34878D82A}">
                    <a16:rowId xmlns:a16="http://schemas.microsoft.com/office/drawing/2014/main" val="1952923571"/>
                  </a:ext>
                </a:extLst>
              </a:tr>
              <a:tr h="370840">
                <a:tc>
                  <a:txBody>
                    <a:bodyPr/>
                    <a:lstStyle/>
                    <a:p>
                      <a:pPr algn="ctr"/>
                      <a:r>
                        <a:rPr lang="es-ES" sz="2000" b="1" dirty="0"/>
                        <a:t>35</a:t>
                      </a:r>
                    </a:p>
                  </a:txBody>
                  <a:tcPr anchor="ctr"/>
                </a:tc>
                <a:tc>
                  <a:txBody>
                    <a:bodyPr/>
                    <a:lstStyle/>
                    <a:p>
                      <a:r>
                        <a:rPr lang="es-ES" sz="2000" dirty="0"/>
                        <a:t>Los padres</a:t>
                      </a:r>
                    </a:p>
                  </a:txBody>
                  <a:tcPr/>
                </a:tc>
                <a:extLst>
                  <a:ext uri="{0D108BD9-81ED-4DB2-BD59-A6C34878D82A}">
                    <a16:rowId xmlns:a16="http://schemas.microsoft.com/office/drawing/2014/main" val="4106867148"/>
                  </a:ext>
                </a:extLst>
              </a:tr>
            </a:tbl>
          </a:graphicData>
        </a:graphic>
      </p:graphicFrame>
    </p:spTree>
    <p:extLst>
      <p:ext uri="{BB962C8B-B14F-4D97-AF65-F5344CB8AC3E}">
        <p14:creationId xmlns:p14="http://schemas.microsoft.com/office/powerpoint/2010/main" val="16335130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29F7A33-C16C-CB30-5ABD-D618705694B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1084FDF-CAA2-6FD4-4F3B-11D41119910E}"/>
              </a:ext>
            </a:extLst>
          </p:cNvPr>
          <p:cNvSpPr>
            <a:spLocks noGrp="1"/>
          </p:cNvSpPr>
          <p:nvPr>
            <p:ph type="title"/>
          </p:nvPr>
        </p:nvSpPr>
        <p:spPr>
          <a:xfrm>
            <a:off x="838200" y="365126"/>
            <a:ext cx="9840124" cy="1092200"/>
          </a:xfrm>
        </p:spPr>
        <p:txBody>
          <a:bodyPr>
            <a:normAutofit/>
          </a:bodyPr>
          <a:lstStyle/>
          <a:p>
            <a:r>
              <a:rPr lang="es-ES" noProof="0" dirty="0"/>
              <a:t>2016 el Brexit, las elecciones USA y Cambridge analytic. Los personajes</a:t>
            </a:r>
          </a:p>
        </p:txBody>
      </p:sp>
      <p:sp>
        <p:nvSpPr>
          <p:cNvPr id="3" name="Marcador de fecha 2">
            <a:extLst>
              <a:ext uri="{FF2B5EF4-FFF2-40B4-BE49-F238E27FC236}">
                <a16:creationId xmlns:a16="http://schemas.microsoft.com/office/drawing/2014/main" id="{9FD429AE-79D7-5687-CBEF-BE6B7F8BBF36}"/>
              </a:ext>
            </a:extLst>
          </p:cNvPr>
          <p:cNvSpPr>
            <a:spLocks noGrp="1"/>
          </p:cNvSpPr>
          <p:nvPr>
            <p:ph type="dt" sz="half" idx="10"/>
          </p:nvPr>
        </p:nvSpPr>
        <p:spPr>
          <a:xfrm>
            <a:off x="814650" y="6400379"/>
            <a:ext cx="3380278" cy="365125"/>
          </a:xfrm>
        </p:spPr>
        <p:txBody>
          <a:bodyPr/>
          <a:lstStyle/>
          <a:p>
            <a:fld id="{AE7BA79D-F9C4-4A4D-9F77-4793119BAC7A}"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0F1DDBD-B30A-7149-4035-B8CE8C25DEB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D6F17B6-4DE0-636B-2CB9-14FFA066480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5</a:t>
            </a:fld>
            <a:endParaRPr lang="es-ES" dirty="0"/>
          </a:p>
        </p:txBody>
      </p:sp>
      <p:graphicFrame>
        <p:nvGraphicFramePr>
          <p:cNvPr id="6" name="Diagrama 5">
            <a:extLst>
              <a:ext uri="{FF2B5EF4-FFF2-40B4-BE49-F238E27FC236}">
                <a16:creationId xmlns:a16="http://schemas.microsoft.com/office/drawing/2014/main" id="{33312641-8E01-38B3-2B85-C66AE3F7B680}"/>
              </a:ext>
            </a:extLst>
          </p:cNvPr>
          <p:cNvGraphicFramePr/>
          <p:nvPr/>
        </p:nvGraphicFramePr>
        <p:xfrm>
          <a:off x="200967" y="1785045"/>
          <a:ext cx="11867103" cy="44650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80" name="Picture 8" descr="Símbolos nacionales de los Estados Unidos (con imágenes) | Bandera ...">
            <a:extLst>
              <a:ext uri="{FF2B5EF4-FFF2-40B4-BE49-F238E27FC236}">
                <a16:creationId xmlns:a16="http://schemas.microsoft.com/office/drawing/2014/main" id="{7A4668CA-6A74-954D-377F-486DF7D9FAD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0454" y="1879335"/>
            <a:ext cx="54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2x3 British Flag UK United Kingdom Banner Britain Union Jack ...">
            <a:extLst>
              <a:ext uri="{FF2B5EF4-FFF2-40B4-BE49-F238E27FC236}">
                <a16:creationId xmlns:a16="http://schemas.microsoft.com/office/drawing/2014/main" id="{5845CF06-A7F1-C423-A30B-E94A0641B5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821546" y="1914342"/>
            <a:ext cx="540000" cy="3249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Símbolos nacionales de los Estados Unidos (con imágenes) | Bandera ...">
            <a:extLst>
              <a:ext uri="{FF2B5EF4-FFF2-40B4-BE49-F238E27FC236}">
                <a16:creationId xmlns:a16="http://schemas.microsoft.com/office/drawing/2014/main" id="{DE6E075B-48C5-0FA1-2286-E7146703D1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0454" y="3410730"/>
            <a:ext cx="54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2x3 British Flag UK United Kingdom Banner Britain Union Jack ...">
            <a:extLst>
              <a:ext uri="{FF2B5EF4-FFF2-40B4-BE49-F238E27FC236}">
                <a16:creationId xmlns:a16="http://schemas.microsoft.com/office/drawing/2014/main" id="{B159E61E-C5C0-0EC1-BFFA-4042067A610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01866" y="5043622"/>
            <a:ext cx="540000" cy="32499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2x3 British Flag UK United Kingdom Banner Britain Union Jack ...">
            <a:extLst>
              <a:ext uri="{FF2B5EF4-FFF2-40B4-BE49-F238E27FC236}">
                <a16:creationId xmlns:a16="http://schemas.microsoft.com/office/drawing/2014/main" id="{39FB17D4-D583-C362-0E39-2E3E459B40F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821546" y="3470192"/>
            <a:ext cx="540000" cy="3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972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86FA97C-6BEA-5763-054A-53A26F5DC31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E78BE03-2A14-3317-5EB7-BFA08365C7B5}"/>
              </a:ext>
            </a:extLst>
          </p:cNvPr>
          <p:cNvSpPr>
            <a:spLocks noGrp="1"/>
          </p:cNvSpPr>
          <p:nvPr>
            <p:ph type="title"/>
          </p:nvPr>
        </p:nvSpPr>
        <p:spPr>
          <a:xfrm>
            <a:off x="838200" y="365126"/>
            <a:ext cx="9840124" cy="1092200"/>
          </a:xfrm>
        </p:spPr>
        <p:txBody>
          <a:bodyPr>
            <a:normAutofit/>
          </a:bodyPr>
          <a:lstStyle/>
          <a:p>
            <a:r>
              <a:rPr lang="es-ES" noProof="0" dirty="0"/>
              <a:t>Cambridge analytic. Común</a:t>
            </a:r>
            <a:br>
              <a:rPr lang="es-ES" noProof="0" dirty="0"/>
            </a:br>
            <a:r>
              <a:rPr lang="es-ES" noProof="0" dirty="0"/>
              <a:t>brexit 23.Jun.2016 | Usa 8.Nov.2016</a:t>
            </a:r>
          </a:p>
        </p:txBody>
      </p:sp>
      <p:sp>
        <p:nvSpPr>
          <p:cNvPr id="3" name="Marcador de fecha 2">
            <a:extLst>
              <a:ext uri="{FF2B5EF4-FFF2-40B4-BE49-F238E27FC236}">
                <a16:creationId xmlns:a16="http://schemas.microsoft.com/office/drawing/2014/main" id="{54FA1FC5-5079-9823-B061-46D52B5150D8}"/>
              </a:ext>
            </a:extLst>
          </p:cNvPr>
          <p:cNvSpPr>
            <a:spLocks noGrp="1"/>
          </p:cNvSpPr>
          <p:nvPr>
            <p:ph type="dt" sz="half" idx="10"/>
          </p:nvPr>
        </p:nvSpPr>
        <p:spPr>
          <a:xfrm>
            <a:off x="814650" y="6400379"/>
            <a:ext cx="3380278" cy="365125"/>
          </a:xfrm>
        </p:spPr>
        <p:txBody>
          <a:bodyPr/>
          <a:lstStyle/>
          <a:p>
            <a:fld id="{71BDD732-B64F-4087-9177-B0FA19E1B31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121D1051-CBAE-A8F9-B3ED-F24F78B734D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EB7950FB-5FB9-A108-5A37-9A327F7131B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6</a:t>
            </a:fld>
            <a:endParaRPr lang="es-ES" dirty="0"/>
          </a:p>
        </p:txBody>
      </p:sp>
      <p:graphicFrame>
        <p:nvGraphicFramePr>
          <p:cNvPr id="6" name="Diagrama 5">
            <a:extLst>
              <a:ext uri="{FF2B5EF4-FFF2-40B4-BE49-F238E27FC236}">
                <a16:creationId xmlns:a16="http://schemas.microsoft.com/office/drawing/2014/main" id="{AAE87FE3-AE86-76A7-C285-7EC2571CE621}"/>
              </a:ext>
            </a:extLst>
          </p:cNvPr>
          <p:cNvGraphicFramePr/>
          <p:nvPr/>
        </p:nvGraphicFramePr>
        <p:xfrm>
          <a:off x="231112" y="1959428"/>
          <a:ext cx="11734688" cy="42504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Elipse 8">
            <a:extLst>
              <a:ext uri="{FF2B5EF4-FFF2-40B4-BE49-F238E27FC236}">
                <a16:creationId xmlns:a16="http://schemas.microsoft.com/office/drawing/2014/main" id="{B66C1BDA-4C7D-2076-EB91-F6E9C1F7CD91}"/>
              </a:ext>
            </a:extLst>
          </p:cNvPr>
          <p:cNvSpPr/>
          <p:nvPr/>
        </p:nvSpPr>
        <p:spPr>
          <a:xfrm>
            <a:off x="163864" y="2070433"/>
            <a:ext cx="720381" cy="720381"/>
          </a:xfrm>
          <a:prstGeom prst="ellipse">
            <a:avLst/>
          </a:prstGeom>
          <a:blipFill rotWithShape="1">
            <a:blip r:embed="rId7">
              <a:extLst>
                <a:ext uri="{28A0092B-C50C-407E-A947-70E740481C1C}">
                  <a14:useLocalDpi xmlns:a14="http://schemas.microsoft.com/office/drawing/2010/main" val="0"/>
                </a:ext>
              </a:extLst>
            </a:blip>
            <a:srcRect/>
            <a:stretch>
              <a:fillRect/>
            </a:stretch>
          </a:blipFill>
        </p:spPr>
        <p:style>
          <a:lnRef idx="2">
            <a:schemeClr val="dk2">
              <a:alpha val="90000"/>
              <a:hueOff val="0"/>
              <a:satOff val="0"/>
              <a:lumOff val="0"/>
              <a:alphaOff val="0"/>
            </a:schemeClr>
          </a:lnRef>
          <a:fillRef idx="1">
            <a:scrgbClr r="0" g="0" b="0"/>
          </a:fillRef>
          <a:effectRef idx="0">
            <a:schemeClr val="lt1">
              <a:alpha val="90000"/>
              <a:tint val="40000"/>
              <a:hueOff val="0"/>
              <a:satOff val="0"/>
              <a:lumOff val="0"/>
              <a:alphaOff val="0"/>
            </a:schemeClr>
          </a:effectRef>
          <a:fontRef idx="minor">
            <a:schemeClr val="dk2">
              <a:hueOff val="0"/>
              <a:satOff val="0"/>
              <a:lumOff val="0"/>
              <a:alphaOff val="0"/>
            </a:schemeClr>
          </a:fontRef>
        </p:style>
        <p:txBody>
          <a:bodyPr/>
          <a:lstStyle/>
          <a:p>
            <a:endParaRPr lang="es-ES" dirty="0"/>
          </a:p>
        </p:txBody>
      </p:sp>
      <p:sp>
        <p:nvSpPr>
          <p:cNvPr id="11" name="Elipse 10">
            <a:extLst>
              <a:ext uri="{FF2B5EF4-FFF2-40B4-BE49-F238E27FC236}">
                <a16:creationId xmlns:a16="http://schemas.microsoft.com/office/drawing/2014/main" id="{9EA4E8BA-F848-CD73-538F-C050859E32BD}"/>
              </a:ext>
            </a:extLst>
          </p:cNvPr>
          <p:cNvSpPr/>
          <p:nvPr/>
        </p:nvSpPr>
        <p:spPr>
          <a:xfrm>
            <a:off x="6230332" y="2135748"/>
            <a:ext cx="720381" cy="720381"/>
          </a:xfrm>
          <a:prstGeom prst="ellipse">
            <a:avLst/>
          </a:prstGeom>
          <a:blipFill rotWithShape="1">
            <a:blip r:embed="rId8">
              <a:extLst>
                <a:ext uri="{28A0092B-C50C-407E-A947-70E740481C1C}">
                  <a14:useLocalDpi xmlns:a14="http://schemas.microsoft.com/office/drawing/2010/main" val="0"/>
                </a:ext>
              </a:extLst>
            </a:blip>
            <a:srcRect/>
            <a:stretch>
              <a:fillRect/>
            </a:stretch>
          </a:blipFill>
        </p:spPr>
        <p:style>
          <a:lnRef idx="2">
            <a:schemeClr val="dk2">
              <a:alpha val="90000"/>
              <a:hueOff val="0"/>
              <a:satOff val="0"/>
              <a:lumOff val="0"/>
              <a:alphaOff val="0"/>
            </a:schemeClr>
          </a:lnRef>
          <a:fillRef idx="1">
            <a:scrgbClr r="0" g="0" b="0"/>
          </a:fillRef>
          <a:effectRef idx="0">
            <a:schemeClr val="lt1">
              <a:alpha val="90000"/>
              <a:tint val="40000"/>
              <a:hueOff val="0"/>
              <a:satOff val="0"/>
              <a:lumOff val="0"/>
              <a:alphaOff val="0"/>
            </a:schemeClr>
          </a:effectRef>
          <a:fontRef idx="minor">
            <a:schemeClr val="dk2">
              <a:hueOff val="0"/>
              <a:satOff val="0"/>
              <a:lumOff val="0"/>
              <a:alphaOff val="0"/>
            </a:schemeClr>
          </a:fontRef>
        </p:style>
        <p:txBody>
          <a:bodyPr/>
          <a:lstStyle/>
          <a:p>
            <a:endParaRPr lang="es-ES" dirty="0"/>
          </a:p>
        </p:txBody>
      </p:sp>
    </p:spTree>
    <p:extLst>
      <p:ext uri="{BB962C8B-B14F-4D97-AF65-F5344CB8AC3E}">
        <p14:creationId xmlns:p14="http://schemas.microsoft.com/office/powerpoint/2010/main" val="20617337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4510955-77F9-2109-74B6-FE390C059CE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AD956EA-C898-2915-0A02-66B60692BCF3}"/>
              </a:ext>
            </a:extLst>
          </p:cNvPr>
          <p:cNvSpPr>
            <a:spLocks noGrp="1"/>
          </p:cNvSpPr>
          <p:nvPr>
            <p:ph type="title"/>
          </p:nvPr>
        </p:nvSpPr>
        <p:spPr>
          <a:xfrm>
            <a:off x="838200" y="365126"/>
            <a:ext cx="9840124" cy="1092200"/>
          </a:xfrm>
        </p:spPr>
        <p:txBody>
          <a:bodyPr>
            <a:normAutofit/>
          </a:bodyPr>
          <a:lstStyle/>
          <a:p>
            <a:r>
              <a:rPr lang="es-ES" noProof="0" dirty="0"/>
              <a:t>Gente a la que llegó Cambridge Analytic a través de Facebook </a:t>
            </a:r>
          </a:p>
        </p:txBody>
      </p:sp>
      <p:pic>
        <p:nvPicPr>
          <p:cNvPr id="7" name="Marcador de contenido 9">
            <a:extLst>
              <a:ext uri="{FF2B5EF4-FFF2-40B4-BE49-F238E27FC236}">
                <a16:creationId xmlns:a16="http://schemas.microsoft.com/office/drawing/2014/main" id="{D0856F71-91A1-4177-5C3D-376C87C33B1B}"/>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a:stretch/>
        </p:blipFill>
        <p:spPr>
          <a:xfrm>
            <a:off x="2509337" y="2391344"/>
            <a:ext cx="7173326" cy="3219899"/>
          </a:xfrm>
        </p:spPr>
      </p:pic>
      <p:sp>
        <p:nvSpPr>
          <p:cNvPr id="4" name="Marcador de fecha 3">
            <a:extLst>
              <a:ext uri="{FF2B5EF4-FFF2-40B4-BE49-F238E27FC236}">
                <a16:creationId xmlns:a16="http://schemas.microsoft.com/office/drawing/2014/main" id="{4A010EC3-C961-8EBE-7DEB-9EE7BA361F7E}"/>
              </a:ext>
            </a:extLst>
          </p:cNvPr>
          <p:cNvSpPr>
            <a:spLocks noGrp="1"/>
          </p:cNvSpPr>
          <p:nvPr>
            <p:ph type="dt" sz="half" idx="10"/>
          </p:nvPr>
        </p:nvSpPr>
        <p:spPr>
          <a:xfrm>
            <a:off x="814650" y="6400379"/>
            <a:ext cx="3380278" cy="365125"/>
          </a:xfrm>
        </p:spPr>
        <p:txBody>
          <a:bodyPr/>
          <a:lstStyle/>
          <a:p>
            <a:fld id="{7CEFA97E-FB8F-43D1-9A28-651B731A26F8}"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9AAEE6CA-662A-3934-87E2-867AFAFDD42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EAF73913-5214-9F9C-A99B-0E243609C79C}"/>
              </a:ext>
            </a:extLst>
          </p:cNvPr>
          <p:cNvSpPr>
            <a:spLocks noGrp="1"/>
          </p:cNvSpPr>
          <p:nvPr>
            <p:ph type="sldNum" sz="quarter" idx="12"/>
          </p:nvPr>
        </p:nvSpPr>
        <p:spPr>
          <a:xfrm>
            <a:off x="10801350" y="6421474"/>
            <a:ext cx="576000" cy="365125"/>
          </a:xfrm>
        </p:spPr>
        <p:txBody>
          <a:bodyPr/>
          <a:lstStyle/>
          <a:p>
            <a:fld id="{60C2D6D0-BB61-4192-9E39-15A42AC492C2}" type="slidenum">
              <a:rPr lang="es-ES" smtClean="0"/>
              <a:pPr/>
              <a:t>57</a:t>
            </a:fld>
            <a:endParaRPr lang="es-ES" dirty="0"/>
          </a:p>
        </p:txBody>
      </p:sp>
    </p:spTree>
    <p:extLst>
      <p:ext uri="{BB962C8B-B14F-4D97-AF65-F5344CB8AC3E}">
        <p14:creationId xmlns:p14="http://schemas.microsoft.com/office/powerpoint/2010/main" val="21446772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60D426-C07E-6930-8D13-7EB2AF84548E}"/>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BD37DEF-2997-EA7C-5C0D-B544DFF2ED55}"/>
              </a:ext>
            </a:extLst>
          </p:cNvPr>
          <p:cNvSpPr>
            <a:spLocks noGrp="1"/>
          </p:cNvSpPr>
          <p:nvPr>
            <p:ph type="title"/>
          </p:nvPr>
        </p:nvSpPr>
        <p:spPr>
          <a:xfrm>
            <a:off x="838200" y="365126"/>
            <a:ext cx="9840124" cy="1092200"/>
          </a:xfrm>
        </p:spPr>
        <p:txBody>
          <a:bodyPr>
            <a:normAutofit/>
          </a:bodyPr>
          <a:lstStyle/>
          <a:p>
            <a:r>
              <a:rPr lang="es-ES" noProof="0" dirty="0"/>
              <a:t>Cambridge analytic. Común</a:t>
            </a:r>
            <a:br>
              <a:rPr lang="es-ES" noProof="0" dirty="0"/>
            </a:br>
            <a:r>
              <a:rPr lang="es-ES" noProof="0" dirty="0"/>
              <a:t>brexit 23.Jun.2016 | Usa 8.Nov.2016</a:t>
            </a:r>
          </a:p>
        </p:txBody>
      </p:sp>
      <p:sp>
        <p:nvSpPr>
          <p:cNvPr id="3" name="Marcador de fecha 2">
            <a:extLst>
              <a:ext uri="{FF2B5EF4-FFF2-40B4-BE49-F238E27FC236}">
                <a16:creationId xmlns:a16="http://schemas.microsoft.com/office/drawing/2014/main" id="{CAC651AB-FF6C-2373-0328-3A70CAB1A8A6}"/>
              </a:ext>
            </a:extLst>
          </p:cNvPr>
          <p:cNvSpPr>
            <a:spLocks noGrp="1"/>
          </p:cNvSpPr>
          <p:nvPr>
            <p:ph type="dt" sz="half" idx="10"/>
          </p:nvPr>
        </p:nvSpPr>
        <p:spPr>
          <a:xfrm>
            <a:off x="814650" y="6400379"/>
            <a:ext cx="3380278" cy="365125"/>
          </a:xfrm>
        </p:spPr>
        <p:txBody>
          <a:bodyPr/>
          <a:lstStyle/>
          <a:p>
            <a:fld id="{7DF2212C-5423-4AB3-8681-101B206FE77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EA274F0-765D-6903-4EE4-49AD6CE532DD}"/>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B5E88153-C29B-DA96-95CA-F7913E76F3AE}"/>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58</a:t>
            </a:fld>
            <a:endParaRPr lang="es-ES" dirty="0"/>
          </a:p>
        </p:txBody>
      </p:sp>
      <p:graphicFrame>
        <p:nvGraphicFramePr>
          <p:cNvPr id="6" name="Diagrama 5">
            <a:extLst>
              <a:ext uri="{FF2B5EF4-FFF2-40B4-BE49-F238E27FC236}">
                <a16:creationId xmlns:a16="http://schemas.microsoft.com/office/drawing/2014/main" id="{B99A1C1F-A8F4-98E4-1F98-EB61FE9FED34}"/>
              </a:ext>
            </a:extLst>
          </p:cNvPr>
          <p:cNvGraphicFramePr/>
          <p:nvPr/>
        </p:nvGraphicFramePr>
        <p:xfrm>
          <a:off x="231111" y="1959428"/>
          <a:ext cx="11838713" cy="41614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2" descr="Resultado de imagen de brexit logo">
            <a:hlinkClick r:id="rId7" action="ppaction://hlinksldjump"/>
            <a:extLst>
              <a:ext uri="{FF2B5EF4-FFF2-40B4-BE49-F238E27FC236}">
                <a16:creationId xmlns:a16="http://schemas.microsoft.com/office/drawing/2014/main" id="{5F7F2A7A-C0B9-5AD7-D39D-2AAF01939360}"/>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01636" y="1519762"/>
            <a:ext cx="2198153" cy="1368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Resultado de imagen de elecciones trump logo">
            <a:hlinkClick r:id="rId9" action="ppaction://hlinksldjump"/>
            <a:extLst>
              <a:ext uri="{FF2B5EF4-FFF2-40B4-BE49-F238E27FC236}">
                <a16:creationId xmlns:a16="http://schemas.microsoft.com/office/drawing/2014/main" id="{547C8746-E9B5-BCC6-11EF-9E7F5FEC32BA}"/>
              </a:ext>
            </a:extLst>
          </p:cNvPr>
          <p:cNvPicPr>
            <a:picLocks noChangeAspect="1" noChangeArrowheads="1"/>
          </p:cNvPicPr>
          <p:nvPr/>
        </p:nvPicPr>
        <p:blipFill>
          <a:blip r:embed="rId10">
            <a:clrChange>
              <a:clrFrom>
                <a:srgbClr val="CCCCCC"/>
              </a:clrFrom>
              <a:clrTo>
                <a:srgbClr val="CCCCCC">
                  <a:alpha val="0"/>
                </a:srgbClr>
              </a:clrTo>
            </a:clrChange>
            <a:extLst>
              <a:ext uri="{28A0092B-C50C-407E-A947-70E740481C1C}">
                <a14:useLocalDpi xmlns:a14="http://schemas.microsoft.com/office/drawing/2010/main" val="0"/>
              </a:ext>
            </a:extLst>
          </a:blip>
          <a:srcRect/>
          <a:stretch>
            <a:fillRect/>
          </a:stretch>
        </p:blipFill>
        <p:spPr bwMode="auto">
          <a:xfrm>
            <a:off x="10701825" y="1364705"/>
            <a:ext cx="1368000" cy="136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esultado de imagen de hipervinculo icono&quot;">
            <a:hlinkClick r:id="rId7" action="ppaction://hlinksldjump"/>
            <a:extLst>
              <a:ext uri="{FF2B5EF4-FFF2-40B4-BE49-F238E27FC236}">
                <a16:creationId xmlns:a16="http://schemas.microsoft.com/office/drawing/2014/main" id="{46C10A35-1136-6808-49A4-D93BF484DDEE}"/>
              </a:ext>
            </a:extLst>
          </p:cNvPr>
          <p:cNvPicPr>
            <a:picLocks noChangeAspect="1" noChangeArrowheads="1"/>
          </p:cNvPicPr>
          <p:nvPr/>
        </p:nvPicPr>
        <p:blipFill>
          <a:blip r:embed="rId11"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96000" y="2359835"/>
            <a:ext cx="480593" cy="5048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Resultado de imagen de hipervinculo icono&quot;">
            <a:hlinkClick r:id="rId9" action="ppaction://hlinksldjump"/>
            <a:extLst>
              <a:ext uri="{FF2B5EF4-FFF2-40B4-BE49-F238E27FC236}">
                <a16:creationId xmlns:a16="http://schemas.microsoft.com/office/drawing/2014/main" id="{ED880414-41FF-793A-0D09-32507D172EBD}"/>
              </a:ext>
            </a:extLst>
          </p:cNvPr>
          <p:cNvPicPr>
            <a:picLocks noChangeAspect="1" noChangeArrowheads="1"/>
          </p:cNvPicPr>
          <p:nvPr/>
        </p:nvPicPr>
        <p:blipFill>
          <a:blip r:embed="rId11"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308073" y="2126918"/>
            <a:ext cx="480593" cy="504825"/>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ambridge Analytica - Wikipedia">
            <a:extLst>
              <a:ext uri="{FF2B5EF4-FFF2-40B4-BE49-F238E27FC236}">
                <a16:creationId xmlns:a16="http://schemas.microsoft.com/office/drawing/2014/main" id="{C2FE3D30-ECEC-7F03-86CE-53674E1FDE9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71539" y="2353849"/>
            <a:ext cx="1178651" cy="1138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09312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0576D6B-A93A-B36F-E21B-165EB19C671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6C2C5B8-018C-9565-4ED6-462A1A0172DD}"/>
              </a:ext>
            </a:extLst>
          </p:cNvPr>
          <p:cNvSpPr>
            <a:spLocks noGrp="1"/>
          </p:cNvSpPr>
          <p:nvPr>
            <p:ph type="title"/>
          </p:nvPr>
        </p:nvSpPr>
        <p:spPr>
          <a:xfrm>
            <a:off x="838200" y="365126"/>
            <a:ext cx="9840124" cy="1092200"/>
          </a:xfrm>
        </p:spPr>
        <p:txBody>
          <a:bodyPr/>
          <a:lstStyle/>
          <a:p>
            <a:r>
              <a:rPr lang="es-ES" noProof="0" dirty="0"/>
              <a:t>Brexit 23.jun.2016 Cambridge </a:t>
            </a:r>
            <a:r>
              <a:rPr lang="es-ES" noProof="0" dirty="0" err="1"/>
              <a:t>analytica</a:t>
            </a:r>
            <a:r>
              <a:rPr lang="es-ES" noProof="0" dirty="0"/>
              <a:t> en el brexit	</a:t>
            </a:r>
          </a:p>
        </p:txBody>
      </p:sp>
      <p:graphicFrame>
        <p:nvGraphicFramePr>
          <p:cNvPr id="15" name="Marcador de contenido 14">
            <a:extLst>
              <a:ext uri="{FF2B5EF4-FFF2-40B4-BE49-F238E27FC236}">
                <a16:creationId xmlns:a16="http://schemas.microsoft.com/office/drawing/2014/main" id="{3DBC1B24-0C00-DAB7-9928-818338ABCFD2}"/>
              </a:ext>
            </a:extLst>
          </p:cNvPr>
          <p:cNvGraphicFramePr>
            <a:graphicFrameLocks noGrp="1"/>
          </p:cNvGraphicFramePr>
          <p:nvPr>
            <p:ph sz="half" idx="1"/>
            <p:extLst>
              <p:ext uri="{D42A27DB-BD31-4B8C-83A1-F6EECF244321}">
                <p14:modId xmlns:p14="http://schemas.microsoft.com/office/powerpoint/2010/main" val="3266266688"/>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2" descr="Resultado de imagen de cambridge analytica brexit ppt">
            <a:extLst>
              <a:ext uri="{FF2B5EF4-FFF2-40B4-BE49-F238E27FC236}">
                <a16:creationId xmlns:a16="http://schemas.microsoft.com/office/drawing/2014/main" id="{2CE2467D-3040-4F41-64C3-41C1D454C63B}"/>
              </a:ext>
            </a:extLst>
          </p:cNvPr>
          <p:cNvPicPr>
            <a:picLocks noGrp="1" noChangeAspect="1" noChangeArrowheads="1"/>
          </p:cNvPicPr>
          <p:nvPr>
            <p:ph sz="quarter" idx="13"/>
          </p:nvPr>
        </p:nvPicPr>
        <p:blipFill rotWithShape="1">
          <a:blip r:embed="rId7" cstate="print">
            <a:extLst>
              <a:ext uri="{28A0092B-C50C-407E-A947-70E740481C1C}">
                <a14:useLocalDpi xmlns:a14="http://schemas.microsoft.com/office/drawing/2010/main" val="0"/>
              </a:ext>
            </a:extLst>
          </a:blip>
          <a:srcRect l="-86" r="-86"/>
          <a:stretch/>
        </p:blipFill>
        <p:spPr>
          <a:xfrm>
            <a:off x="666750" y="2828925"/>
            <a:ext cx="2160000" cy="2160000"/>
          </a:xfrm>
        </p:spPr>
      </p:pic>
      <p:sp>
        <p:nvSpPr>
          <p:cNvPr id="3" name="Marcador de fecha 2">
            <a:extLst>
              <a:ext uri="{FF2B5EF4-FFF2-40B4-BE49-F238E27FC236}">
                <a16:creationId xmlns:a16="http://schemas.microsoft.com/office/drawing/2014/main" id="{0B867BFF-AEAA-030C-89F0-675B0D8F56D9}"/>
              </a:ext>
            </a:extLst>
          </p:cNvPr>
          <p:cNvSpPr>
            <a:spLocks noGrp="1"/>
          </p:cNvSpPr>
          <p:nvPr>
            <p:ph type="dt" sz="half" idx="14"/>
          </p:nvPr>
        </p:nvSpPr>
        <p:spPr>
          <a:xfrm>
            <a:off x="814650" y="6400379"/>
            <a:ext cx="3380278" cy="365125"/>
          </a:xfrm>
        </p:spPr>
        <p:txBody>
          <a:bodyPr/>
          <a:lstStyle/>
          <a:p>
            <a:fld id="{5A917C8A-9155-415F-A6A8-E881A7C63E5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2BA3178-D27A-F9BF-B31B-769F8819F4FE}"/>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FCD088FC-8CBA-4369-A721-48D8E4EEDFAF}"/>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59</a:t>
            </a:fld>
            <a:endParaRPr lang="es-ES" dirty="0"/>
          </a:p>
        </p:txBody>
      </p:sp>
      <p:sp>
        <p:nvSpPr>
          <p:cNvPr id="6" name="CuadroTexto 5">
            <a:extLst>
              <a:ext uri="{FF2B5EF4-FFF2-40B4-BE49-F238E27FC236}">
                <a16:creationId xmlns:a16="http://schemas.microsoft.com/office/drawing/2014/main" id="{95D1DD27-2927-E011-546B-11D0F6ED3241}"/>
              </a:ext>
            </a:extLst>
          </p:cNvPr>
          <p:cNvSpPr txBox="1"/>
          <p:nvPr/>
        </p:nvSpPr>
        <p:spPr>
          <a:xfrm>
            <a:off x="166992" y="4188798"/>
            <a:ext cx="2790825" cy="1815882"/>
          </a:xfrm>
          <a:prstGeom prst="rect">
            <a:avLst/>
          </a:prstGeom>
          <a:solidFill>
            <a:schemeClr val="bg1"/>
          </a:solidFill>
        </p:spPr>
        <p:txBody>
          <a:bodyPr wrap="square" rtlCol="0">
            <a:spAutoFit/>
          </a:bodyPr>
          <a:lstStyle/>
          <a:p>
            <a:r>
              <a:rPr lang="es-ES" sz="1600" b="1" dirty="0">
                <a:latin typeface="Avenir LT Std 35 Light" panose="020B0402020203020204" pitchFamily="34" charset="0"/>
              </a:rPr>
              <a:t>La página de Facebook de la campaña está aumentando su apoyo en aproximadamente 3000 personas por día.</a:t>
            </a:r>
            <a:r>
              <a:rPr lang="es-ES" sz="1600" b="1" i="1" dirty="0">
                <a:latin typeface="Avenir LT Std 35 Light" panose="020B0402020203020204" pitchFamily="34" charset="0"/>
              </a:rPr>
              <a:t> </a:t>
            </a:r>
          </a:p>
          <a:p>
            <a:r>
              <a:rPr lang="es-ES" sz="1600" b="1" i="1" dirty="0">
                <a:latin typeface="Avenir LT Std 35 Light" panose="020B0402020203020204" pitchFamily="34" charset="0"/>
              </a:rPr>
              <a:t>–Alexander Nix, CEO C.A London </a:t>
            </a:r>
          </a:p>
        </p:txBody>
      </p:sp>
      <p:pic>
        <p:nvPicPr>
          <p:cNvPr id="16" name="Picture 2" descr="Resultado de imagen de brexit logo">
            <a:extLst>
              <a:ext uri="{FF2B5EF4-FFF2-40B4-BE49-F238E27FC236}">
                <a16:creationId xmlns:a16="http://schemas.microsoft.com/office/drawing/2014/main" id="{10D121FF-7610-199D-7BA6-7F797029FC40}"/>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01177" y="901650"/>
            <a:ext cx="2313848" cy="1440000"/>
          </a:xfrm>
          <a:prstGeom prst="rect">
            <a:avLst/>
          </a:prstGeom>
          <a:noFill/>
          <a:extLst>
            <a:ext uri="{909E8E84-426E-40DD-AFC4-6F175D3DCCD1}">
              <a14:hiddenFill xmlns:a14="http://schemas.microsoft.com/office/drawing/2010/main">
                <a:solidFill>
                  <a:srgbClr val="FFFFFF"/>
                </a:solidFill>
              </a14:hiddenFill>
            </a:ext>
          </a:extLst>
        </p:spPr>
      </p:pic>
      <p:sp>
        <p:nvSpPr>
          <p:cNvPr id="17" name="Botón de acción: Comienzo 25">
            <a:hlinkClick r:id="rId9" action="ppaction://hlinksldjump" highlightClick="1"/>
            <a:extLst>
              <a:ext uri="{FF2B5EF4-FFF2-40B4-BE49-F238E27FC236}">
                <a16:creationId xmlns:a16="http://schemas.microsoft.com/office/drawing/2014/main" id="{DC84778F-A326-411F-5258-9B19A91E79C8}"/>
              </a:ext>
            </a:extLst>
          </p:cNvPr>
          <p:cNvSpPr/>
          <p:nvPr/>
        </p:nvSpPr>
        <p:spPr>
          <a:xfrm>
            <a:off x="11439829" y="5497033"/>
            <a:ext cx="564329" cy="523136"/>
          </a:xfrm>
          <a:prstGeom prst="actionButtonBeginning">
            <a:avLst/>
          </a:prstGeom>
          <a:solidFill>
            <a:srgbClr val="00B050"/>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s-ES" dirty="0">
              <a:latin typeface="Avenir LT Std 35 Light" panose="020B0402020203020204" pitchFamily="34" charset="0"/>
            </a:endParaRPr>
          </a:p>
        </p:txBody>
      </p:sp>
    </p:spTree>
    <p:extLst>
      <p:ext uri="{BB962C8B-B14F-4D97-AF65-F5344CB8AC3E}">
        <p14:creationId xmlns:p14="http://schemas.microsoft.com/office/powerpoint/2010/main" val="1141953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020496-5EA7-BA32-4221-05D4B3DA099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3654007-EF2F-A35E-2C47-5677CD2FDA98}"/>
              </a:ext>
            </a:extLst>
          </p:cNvPr>
          <p:cNvSpPr>
            <a:spLocks noGrp="1"/>
          </p:cNvSpPr>
          <p:nvPr>
            <p:ph type="title"/>
          </p:nvPr>
        </p:nvSpPr>
        <p:spPr>
          <a:xfrm>
            <a:off x="838200" y="365126"/>
            <a:ext cx="9840124" cy="1092200"/>
          </a:xfrm>
        </p:spPr>
        <p:txBody>
          <a:bodyPr/>
          <a:lstStyle/>
          <a:p>
            <a:r>
              <a:rPr lang="es-ES" noProof="0" dirty="0"/>
              <a:t>Así se llama por teléfono</a:t>
            </a:r>
          </a:p>
        </p:txBody>
      </p:sp>
      <p:sp>
        <p:nvSpPr>
          <p:cNvPr id="3" name="Marcador de fecha 2">
            <a:extLst>
              <a:ext uri="{FF2B5EF4-FFF2-40B4-BE49-F238E27FC236}">
                <a16:creationId xmlns:a16="http://schemas.microsoft.com/office/drawing/2014/main" id="{CE3CEF77-13B3-E3C2-6672-1F1D0C099C2A}"/>
              </a:ext>
            </a:extLst>
          </p:cNvPr>
          <p:cNvSpPr>
            <a:spLocks noGrp="1"/>
          </p:cNvSpPr>
          <p:nvPr>
            <p:ph type="dt" sz="half" idx="10"/>
          </p:nvPr>
        </p:nvSpPr>
        <p:spPr>
          <a:xfrm>
            <a:off x="814650" y="6400379"/>
            <a:ext cx="3380278" cy="365125"/>
          </a:xfrm>
        </p:spPr>
        <p:txBody>
          <a:bodyPr/>
          <a:lstStyle/>
          <a:p>
            <a:fld id="{C9AAA05E-04C6-477A-9510-32A8787DE518}"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283F89A2-D427-C0A2-C399-4BF8A218CB8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A3F6705C-B2DB-1F4A-E7F2-1B7A3468B29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6</a:t>
            </a:fld>
            <a:endParaRPr lang="es-ES" dirty="0"/>
          </a:p>
        </p:txBody>
      </p:sp>
      <p:graphicFrame>
        <p:nvGraphicFramePr>
          <p:cNvPr id="6" name="Diagrama 5">
            <a:extLst>
              <a:ext uri="{FF2B5EF4-FFF2-40B4-BE49-F238E27FC236}">
                <a16:creationId xmlns:a16="http://schemas.microsoft.com/office/drawing/2014/main" id="{1C7E1E64-0E48-79E3-E518-68C0F87B0B3D}"/>
              </a:ext>
            </a:extLst>
          </p:cNvPr>
          <p:cNvGraphicFramePr/>
          <p:nvPr>
            <p:extLst>
              <p:ext uri="{D42A27DB-BD31-4B8C-83A1-F6EECF244321}">
                <p14:modId xmlns:p14="http://schemas.microsoft.com/office/powerpoint/2010/main" val="1679535503"/>
              </p:ext>
            </p:extLst>
          </p:nvPr>
        </p:nvGraphicFramePr>
        <p:xfrm>
          <a:off x="838200" y="1930400"/>
          <a:ext cx="9725026" cy="4236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03166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303653E-6844-841E-03F4-61A4639CDB6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76122A6-DEC0-629A-310A-338CF74B2461}"/>
              </a:ext>
            </a:extLst>
          </p:cNvPr>
          <p:cNvSpPr>
            <a:spLocks noGrp="1"/>
          </p:cNvSpPr>
          <p:nvPr>
            <p:ph type="title"/>
          </p:nvPr>
        </p:nvSpPr>
        <p:spPr>
          <a:xfrm>
            <a:off x="838200" y="365126"/>
            <a:ext cx="9840124" cy="1092200"/>
          </a:xfrm>
        </p:spPr>
        <p:txBody>
          <a:bodyPr/>
          <a:lstStyle/>
          <a:p>
            <a:r>
              <a:rPr lang="es-ES" noProof="0" dirty="0"/>
              <a:t>Elecciones usa 8.nov 2016</a:t>
            </a:r>
          </a:p>
        </p:txBody>
      </p:sp>
      <p:sp>
        <p:nvSpPr>
          <p:cNvPr id="4" name="Marcador de fecha 14">
            <a:extLst>
              <a:ext uri="{FF2B5EF4-FFF2-40B4-BE49-F238E27FC236}">
                <a16:creationId xmlns:a16="http://schemas.microsoft.com/office/drawing/2014/main" id="{1C19F417-95D4-953E-FB43-A88F34A208F9}"/>
              </a:ext>
            </a:extLst>
          </p:cNvPr>
          <p:cNvSpPr>
            <a:spLocks noGrp="1"/>
          </p:cNvSpPr>
          <p:nvPr>
            <p:ph type="dt" sz="half" idx="10"/>
          </p:nvPr>
        </p:nvSpPr>
        <p:spPr>
          <a:xfrm>
            <a:off x="814650" y="6400379"/>
            <a:ext cx="3380278" cy="365125"/>
          </a:xfrm>
        </p:spPr>
        <p:txBody>
          <a:bodyPr/>
          <a:lstStyle/>
          <a:p>
            <a:fld id="{F56E3B72-CB48-4236-8540-A917A5AEE81B}" type="datetime2">
              <a:rPr lang="es-ES" smtClean="0"/>
              <a:pPr/>
              <a:t>jueves, 19 de septiembre de 2024</a:t>
            </a:fld>
            <a:endParaRPr lang="es-ES" dirty="0"/>
          </a:p>
        </p:txBody>
      </p:sp>
      <p:sp>
        <p:nvSpPr>
          <p:cNvPr id="5" name="Marcador de pie de página 15">
            <a:extLst>
              <a:ext uri="{FF2B5EF4-FFF2-40B4-BE49-F238E27FC236}">
                <a16:creationId xmlns:a16="http://schemas.microsoft.com/office/drawing/2014/main" id="{DB40B7DA-3FDB-10FF-44B2-CE08282B59F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16">
            <a:extLst>
              <a:ext uri="{FF2B5EF4-FFF2-40B4-BE49-F238E27FC236}">
                <a16:creationId xmlns:a16="http://schemas.microsoft.com/office/drawing/2014/main" id="{0E4C1DE4-949C-E421-14CE-6C707986144E}"/>
              </a:ext>
            </a:extLst>
          </p:cNvPr>
          <p:cNvSpPr>
            <a:spLocks noGrp="1"/>
          </p:cNvSpPr>
          <p:nvPr>
            <p:ph type="sldNum" sz="quarter" idx="12"/>
          </p:nvPr>
        </p:nvSpPr>
        <p:spPr>
          <a:xfrm>
            <a:off x="10801350" y="6421474"/>
            <a:ext cx="576000" cy="365125"/>
          </a:xfrm>
        </p:spPr>
        <p:txBody>
          <a:bodyPr/>
          <a:lstStyle/>
          <a:p>
            <a:fld id="{A46A7D50-E160-468A-A0DF-162F229F6531}" type="slidenum">
              <a:rPr lang="es-ES" smtClean="0"/>
              <a:pPr/>
              <a:t>60</a:t>
            </a:fld>
            <a:endParaRPr lang="es-ES" dirty="0"/>
          </a:p>
        </p:txBody>
      </p:sp>
      <p:graphicFrame>
        <p:nvGraphicFramePr>
          <p:cNvPr id="3" name="Diagrama 2">
            <a:extLst>
              <a:ext uri="{FF2B5EF4-FFF2-40B4-BE49-F238E27FC236}">
                <a16:creationId xmlns:a16="http://schemas.microsoft.com/office/drawing/2014/main" id="{FD5C5F0E-F1E0-54B8-105B-CC6878DFCB7E}"/>
              </a:ext>
            </a:extLst>
          </p:cNvPr>
          <p:cNvGraphicFramePr/>
          <p:nvPr/>
        </p:nvGraphicFramePr>
        <p:xfrm>
          <a:off x="838200" y="1785366"/>
          <a:ext cx="10496107" cy="4221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4" descr="Resultado de imagen de elecciones trump logo">
            <a:extLst>
              <a:ext uri="{FF2B5EF4-FFF2-40B4-BE49-F238E27FC236}">
                <a16:creationId xmlns:a16="http://schemas.microsoft.com/office/drawing/2014/main" id="{AB0E6DFF-C51F-18A1-2E28-142923F4C9F3}"/>
              </a:ext>
            </a:extLst>
          </p:cNvPr>
          <p:cNvPicPr>
            <a:picLocks noChangeAspect="1" noChangeArrowheads="1"/>
          </p:cNvPicPr>
          <p:nvPr/>
        </p:nvPicPr>
        <p:blipFill>
          <a:blip r:embed="rId7">
            <a:clrChange>
              <a:clrFrom>
                <a:srgbClr val="CCCCCC"/>
              </a:clrFrom>
              <a:clrTo>
                <a:srgbClr val="CCCCCC">
                  <a:alpha val="0"/>
                </a:srgbClr>
              </a:clrTo>
            </a:clrChange>
            <a:extLst>
              <a:ext uri="{28A0092B-C50C-407E-A947-70E740481C1C}">
                <a14:useLocalDpi xmlns:a14="http://schemas.microsoft.com/office/drawing/2010/main" val="0"/>
              </a:ext>
            </a:extLst>
          </a:blip>
          <a:srcRect/>
          <a:stretch>
            <a:fillRect/>
          </a:stretch>
        </p:blipFill>
        <p:spPr bwMode="auto">
          <a:xfrm>
            <a:off x="8067719" y="146573"/>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1920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0D4ED47-09A1-026F-0750-5FCADFAD1AF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7932B33-DF8D-AEF6-C772-5C16121EC42B}"/>
              </a:ext>
            </a:extLst>
          </p:cNvPr>
          <p:cNvSpPr>
            <a:spLocks noGrp="1"/>
          </p:cNvSpPr>
          <p:nvPr>
            <p:ph type="title"/>
          </p:nvPr>
        </p:nvSpPr>
        <p:spPr>
          <a:xfrm>
            <a:off x="838200" y="365126"/>
            <a:ext cx="9840124" cy="1092200"/>
          </a:xfrm>
        </p:spPr>
        <p:txBody>
          <a:bodyPr>
            <a:normAutofit fontScale="90000"/>
          </a:bodyPr>
          <a:lstStyle/>
          <a:p>
            <a:r>
              <a:rPr lang="es-ES" noProof="0" dirty="0"/>
              <a:t>BDA + PLN, pueden consultar: Foros, Blogs, Redes Sociales etc para responder las 13 claves de Allan Lichman</a:t>
            </a:r>
          </a:p>
        </p:txBody>
      </p:sp>
      <p:graphicFrame>
        <p:nvGraphicFramePr>
          <p:cNvPr id="7" name="Marcador de contenido 6">
            <a:extLst>
              <a:ext uri="{FF2B5EF4-FFF2-40B4-BE49-F238E27FC236}">
                <a16:creationId xmlns:a16="http://schemas.microsoft.com/office/drawing/2014/main" id="{B2AB028B-C169-1B74-328B-818E0C083C0F}"/>
              </a:ext>
            </a:extLst>
          </p:cNvPr>
          <p:cNvGraphicFramePr>
            <a:graphicFrameLocks noGrp="1"/>
          </p:cNvGraphicFramePr>
          <p:nvPr>
            <p:ph sz="half" idx="1"/>
            <p:extLst>
              <p:ext uri="{D42A27DB-BD31-4B8C-83A1-F6EECF244321}">
                <p14:modId xmlns:p14="http://schemas.microsoft.com/office/powerpoint/2010/main" val="2188684302"/>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122" name="Picture 2" descr="Allan Lichtman - Wikipedia, la enciclopedia libre">
            <a:extLst>
              <a:ext uri="{FF2B5EF4-FFF2-40B4-BE49-F238E27FC236}">
                <a16:creationId xmlns:a16="http://schemas.microsoft.com/office/drawing/2014/main" id="{E63202C2-C9F3-6C30-7150-6E708082E8B6}"/>
              </a:ext>
            </a:extLst>
          </p:cNvPr>
          <p:cNvPicPr>
            <a:picLocks noGrp="1" noChangeAspect="1" noChangeArrowheads="1"/>
          </p:cNvPicPr>
          <p:nvPr>
            <p:ph sz="quarter" idx="13"/>
          </p:nvPr>
        </p:nvPicPr>
        <p:blipFill rotWithShape="1">
          <a:blip r:embed="rId7">
            <a:extLst>
              <a:ext uri="{28A0092B-C50C-407E-A947-70E740481C1C}">
                <a14:useLocalDpi xmlns:a14="http://schemas.microsoft.com/office/drawing/2010/main" val="0"/>
              </a:ext>
            </a:extLst>
          </a:blip>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3B70399B-7051-F9C9-EA35-B85D1C7415AE}"/>
              </a:ext>
            </a:extLst>
          </p:cNvPr>
          <p:cNvSpPr>
            <a:spLocks noGrp="1"/>
          </p:cNvSpPr>
          <p:nvPr>
            <p:ph type="dt" sz="half" idx="14"/>
          </p:nvPr>
        </p:nvSpPr>
        <p:spPr>
          <a:xfrm>
            <a:off x="814650" y="6400379"/>
            <a:ext cx="3380278" cy="365125"/>
          </a:xfrm>
        </p:spPr>
        <p:txBody>
          <a:bodyPr/>
          <a:lstStyle/>
          <a:p>
            <a:fld id="{ECF63376-0969-4313-AFFB-2EEF5A591580}"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ED87757D-6325-045D-6924-593683D7BF84}"/>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2FE07006-BB6D-4B4B-B497-A878EC19B910}"/>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61</a:t>
            </a:fld>
            <a:endParaRPr lang="es-ES" dirty="0"/>
          </a:p>
        </p:txBody>
      </p:sp>
    </p:spTree>
    <p:extLst>
      <p:ext uri="{BB962C8B-B14F-4D97-AF65-F5344CB8AC3E}">
        <p14:creationId xmlns:p14="http://schemas.microsoft.com/office/powerpoint/2010/main" val="4178042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7BCAD-8E55-5C65-5E2A-E3FA6D6920FA}"/>
            </a:ext>
          </a:extLst>
        </p:cNvPr>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B5FF0D9B-CFB7-81F2-F915-1D65A6BCA225}"/>
              </a:ext>
            </a:extLst>
          </p:cNvPr>
          <p:cNvSpPr>
            <a:spLocks noGrp="1"/>
          </p:cNvSpPr>
          <p:nvPr>
            <p:ph sz="half" idx="1"/>
          </p:nvPr>
        </p:nvSpPr>
        <p:spPr>
          <a:xfrm>
            <a:off x="270309" y="2241755"/>
            <a:ext cx="6387666" cy="3923835"/>
          </a:xfrm>
        </p:spPr>
        <p:txBody>
          <a:bodyPr>
            <a:normAutofit fontScale="92500" lnSpcReduction="10000"/>
          </a:bodyPr>
          <a:lstStyle/>
          <a:p>
            <a:r>
              <a:rPr lang="es-ES" noProof="0" dirty="0"/>
              <a:t>Sustitución de la interfase online con un Ordenador por lenguaje escrito o hablado absolutamente humano. </a:t>
            </a:r>
          </a:p>
          <a:p>
            <a:r>
              <a:rPr lang="es-ES" noProof="0" dirty="0"/>
              <a:t>Sustituye a los menús navegación e incluye ayuda en el mismo formato.</a:t>
            </a:r>
          </a:p>
          <a:p>
            <a:r>
              <a:rPr lang="es-ES" noProof="0" dirty="0"/>
              <a:t>Permite sin tocar una tecla del ordenador: </a:t>
            </a:r>
          </a:p>
          <a:p>
            <a:pPr lvl="1"/>
            <a:r>
              <a:rPr lang="es-ES" noProof="0" dirty="0"/>
              <a:t>Asesoramiento a los clientes y empleados.</a:t>
            </a:r>
          </a:p>
          <a:p>
            <a:pPr lvl="1"/>
            <a:r>
              <a:rPr lang="es-ES" noProof="0" dirty="0"/>
              <a:t>Primer nivel de asistencia.</a:t>
            </a:r>
          </a:p>
          <a:p>
            <a:pPr lvl="1"/>
            <a:r>
              <a:rPr lang="es-ES" noProof="0" dirty="0"/>
              <a:t>Correr una transacción comercial completa de principio a fin incluyendo el asesoramiento, la compra y el pago.</a:t>
            </a:r>
          </a:p>
          <a:p>
            <a:r>
              <a:rPr lang="es-ES" noProof="0" dirty="0"/>
              <a:t>Sin AI y Machine Learning no funciona</a:t>
            </a:r>
          </a:p>
        </p:txBody>
      </p:sp>
      <p:pic>
        <p:nvPicPr>
          <p:cNvPr id="9" name="Picture 2" descr="photo of girl laying left hand on white digital robot">
            <a:extLst>
              <a:ext uri="{FF2B5EF4-FFF2-40B4-BE49-F238E27FC236}">
                <a16:creationId xmlns:a16="http://schemas.microsoft.com/office/drawing/2014/main" id="{FEA4C25D-4ADE-9897-B013-5FA048796735}"/>
              </a:ext>
            </a:extLst>
          </p:cNvPr>
          <p:cNvPicPr>
            <a:picLocks noGrp="1" noChangeAspect="1" noChangeArrowheads="1"/>
          </p:cNvPicPr>
          <p:nvPr>
            <p:ph sz="half" idx="2"/>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bwMode="auto">
          <a:xfrm>
            <a:off x="7392380" y="1643063"/>
            <a:ext cx="3917578" cy="2613025"/>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4CCF178A-5CCD-A4D3-602C-C9CCF0C4C12A}"/>
              </a:ext>
            </a:extLst>
          </p:cNvPr>
          <p:cNvSpPr>
            <a:spLocks noGrp="1"/>
          </p:cNvSpPr>
          <p:nvPr>
            <p:ph sz="half" idx="13"/>
          </p:nvPr>
        </p:nvSpPr>
        <p:spPr>
          <a:xfrm>
            <a:off x="6779991" y="4902762"/>
            <a:ext cx="5141700" cy="1452030"/>
          </a:xfrm>
        </p:spPr>
        <p:txBody>
          <a:bodyPr>
            <a:normAutofit/>
          </a:bodyPr>
          <a:lstStyle/>
          <a:p>
            <a:r>
              <a:rPr lang="es-ES" noProof="0" dirty="0"/>
              <a:t>Múltiples fuentes de datos.</a:t>
            </a:r>
          </a:p>
          <a:p>
            <a:r>
              <a:rPr lang="es-ES" noProof="0" dirty="0"/>
              <a:t>En un Banco, su SSII al completo, los datos que genera.</a:t>
            </a:r>
          </a:p>
        </p:txBody>
      </p:sp>
      <p:sp>
        <p:nvSpPr>
          <p:cNvPr id="5" name="Título 4">
            <a:extLst>
              <a:ext uri="{FF2B5EF4-FFF2-40B4-BE49-F238E27FC236}">
                <a16:creationId xmlns:a16="http://schemas.microsoft.com/office/drawing/2014/main" id="{36C0EBEF-ADCC-06C7-6768-48893FE092C2}"/>
              </a:ext>
            </a:extLst>
          </p:cNvPr>
          <p:cNvSpPr>
            <a:spLocks noGrp="1"/>
          </p:cNvSpPr>
          <p:nvPr>
            <p:ph type="title"/>
          </p:nvPr>
        </p:nvSpPr>
        <p:spPr>
          <a:xfrm>
            <a:off x="838200" y="365126"/>
            <a:ext cx="9840124" cy="1092200"/>
          </a:xfrm>
        </p:spPr>
        <p:txBody>
          <a:bodyPr>
            <a:normAutofit fontScale="90000"/>
          </a:bodyPr>
          <a:lstStyle/>
          <a:p>
            <a:r>
              <a:rPr lang="es-ES" noProof="0" dirty="0"/>
              <a:t>Chatbot (Asistente conversacional). Comunicándose con un ordenador mediante la palabra</a:t>
            </a:r>
          </a:p>
        </p:txBody>
      </p:sp>
      <p:sp>
        <p:nvSpPr>
          <p:cNvPr id="6" name="Marcador de fecha 5">
            <a:extLst>
              <a:ext uri="{FF2B5EF4-FFF2-40B4-BE49-F238E27FC236}">
                <a16:creationId xmlns:a16="http://schemas.microsoft.com/office/drawing/2014/main" id="{DD376297-134D-6181-961F-0D5689639BFD}"/>
              </a:ext>
            </a:extLst>
          </p:cNvPr>
          <p:cNvSpPr>
            <a:spLocks noGrp="1"/>
          </p:cNvSpPr>
          <p:nvPr>
            <p:ph type="dt" sz="half" idx="14"/>
          </p:nvPr>
        </p:nvSpPr>
        <p:spPr>
          <a:xfrm>
            <a:off x="814650" y="6400379"/>
            <a:ext cx="3380278" cy="365125"/>
          </a:xfrm>
        </p:spPr>
        <p:txBody>
          <a:bodyPr/>
          <a:lstStyle/>
          <a:p>
            <a:fld id="{709CA1AD-5579-48A0-A4CB-DEDF40B20A63}"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C8627FB4-A3D7-59F4-95DE-1E39CDBCF6EB}"/>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D41D2CC9-4611-6C04-4642-EEB987B24B8B}"/>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62</a:t>
            </a:fld>
            <a:endParaRPr lang="es-ES" dirty="0"/>
          </a:p>
        </p:txBody>
      </p:sp>
    </p:spTree>
    <p:extLst>
      <p:ext uri="{BB962C8B-B14F-4D97-AF65-F5344CB8AC3E}">
        <p14:creationId xmlns:p14="http://schemas.microsoft.com/office/powerpoint/2010/main" val="29748467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425C532-2091-C567-AC85-3CEF8E5CB730}"/>
              </a:ext>
            </a:extLst>
          </p:cNvPr>
          <p:cNvSpPr>
            <a:spLocks noGrp="1"/>
          </p:cNvSpPr>
          <p:nvPr>
            <p:ph sz="half" idx="1"/>
          </p:nvPr>
        </p:nvSpPr>
        <p:spPr>
          <a:xfrm>
            <a:off x="270309" y="2241755"/>
            <a:ext cx="6387666" cy="3923835"/>
          </a:xfrm>
        </p:spPr>
        <p:txBody>
          <a:bodyPr/>
          <a:lstStyle/>
          <a:p>
            <a:r>
              <a:rPr lang="es-ES" noProof="0" dirty="0"/>
              <a:t>Como agricultor, mi actividad está sujeta a la PAC o puede estarlo?</a:t>
            </a:r>
          </a:p>
          <a:p>
            <a:pPr lvl="1"/>
            <a:r>
              <a:rPr lang="es-ES" noProof="0" dirty="0"/>
              <a:t>Simulaciones.</a:t>
            </a:r>
          </a:p>
          <a:p>
            <a:pPr lvl="1"/>
            <a:r>
              <a:rPr lang="es-ES" noProof="0" dirty="0"/>
              <a:t>Anticiparme al Banco.</a:t>
            </a:r>
          </a:p>
          <a:p>
            <a:pPr lvl="1"/>
            <a:r>
              <a:rPr lang="es-ES" noProof="0" dirty="0"/>
              <a:t>Documentación a presentar en la Inscripción. En que condiciones puedo solicitar el anticipo?.</a:t>
            </a:r>
          </a:p>
          <a:p>
            <a:r>
              <a:rPr lang="es-ES" noProof="0" dirty="0"/>
              <a:t>Debo de  Asegurar? </a:t>
            </a:r>
          </a:p>
          <a:p>
            <a:r>
              <a:rPr lang="es-ES" noProof="0" dirty="0"/>
              <a:t>Qué documentación hay que presentar ex-post.</a:t>
            </a:r>
          </a:p>
          <a:p>
            <a:endParaRPr lang="es-ES" noProof="0" dirty="0"/>
          </a:p>
        </p:txBody>
      </p:sp>
      <p:pic>
        <p:nvPicPr>
          <p:cNvPr id="9" name="Picture 6" descr="two green and red cultivators on brown field">
            <a:extLst>
              <a:ext uri="{FF2B5EF4-FFF2-40B4-BE49-F238E27FC236}">
                <a16:creationId xmlns:a16="http://schemas.microsoft.com/office/drawing/2014/main" id="{431705DB-20F6-E4B9-6112-7D01EA30FBBE}"/>
              </a:ext>
            </a:extLst>
          </p:cNvPr>
          <p:cNvPicPr>
            <a:picLocks noGrp="1" noChangeAspect="1" noChangeArrowheads="1"/>
          </p:cNvPicPr>
          <p:nvPr>
            <p:ph sz="half" idx="2"/>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bwMode="auto">
          <a:xfrm>
            <a:off x="7026414" y="1643063"/>
            <a:ext cx="4649510" cy="2613025"/>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C675A150-255B-41CC-03F6-8A8BA9EEF50C}"/>
              </a:ext>
            </a:extLst>
          </p:cNvPr>
          <p:cNvSpPr>
            <a:spLocks noGrp="1"/>
          </p:cNvSpPr>
          <p:nvPr>
            <p:ph sz="half" idx="13"/>
          </p:nvPr>
        </p:nvSpPr>
        <p:spPr>
          <a:xfrm>
            <a:off x="6779991" y="4902762"/>
            <a:ext cx="5141700" cy="1452030"/>
          </a:xfrm>
        </p:spPr>
        <p:txBody>
          <a:bodyPr>
            <a:normAutofit fontScale="85000" lnSpcReduction="20000"/>
          </a:bodyPr>
          <a:lstStyle/>
          <a:p>
            <a:r>
              <a:rPr lang="es-ES" noProof="0" dirty="0"/>
              <a:t>Partiendo de fuentes especializadas   INE, AEMET y sus equivalentes en pago </a:t>
            </a:r>
            <a:r>
              <a:rPr lang="es-ES" noProof="0" dirty="0">
                <a:hlinkClick r:id="rId4"/>
              </a:rPr>
              <a:t>https://</a:t>
            </a:r>
            <a:r>
              <a:rPr lang="es-ES" noProof="0" dirty="0" err="1">
                <a:hlinkClick r:id="rId4"/>
              </a:rPr>
              <a:t>pac.jcyl.es</a:t>
            </a:r>
            <a:r>
              <a:rPr lang="es-ES" noProof="0" dirty="0">
                <a:hlinkClick r:id="rId4"/>
              </a:rPr>
              <a:t>/web/</a:t>
            </a:r>
            <a:r>
              <a:rPr lang="es-ES" noProof="0" dirty="0" err="1">
                <a:hlinkClick r:id="rId4"/>
              </a:rPr>
              <a:t>jcyl</a:t>
            </a:r>
            <a:r>
              <a:rPr lang="es-ES" noProof="0" dirty="0">
                <a:hlinkClick r:id="rId4"/>
              </a:rPr>
              <a:t>/PAC/es/Plantilla100/1284786011392/_/_/_</a:t>
            </a:r>
            <a:endParaRPr lang="es-ES" noProof="0" dirty="0"/>
          </a:p>
          <a:p>
            <a:r>
              <a:rPr lang="es-ES" noProof="0" dirty="0">
                <a:hlinkClick r:id="rId5"/>
              </a:rPr>
              <a:t>https://</a:t>
            </a:r>
            <a:r>
              <a:rPr lang="es-ES" noProof="0" dirty="0" err="1">
                <a:hlinkClick r:id="rId5"/>
              </a:rPr>
              <a:t>www.agroptima.com</a:t>
            </a:r>
            <a:r>
              <a:rPr lang="es-ES" noProof="0" dirty="0">
                <a:hlinkClick r:id="rId5"/>
              </a:rPr>
              <a:t>/blog/novedades-pac-2018/</a:t>
            </a:r>
            <a:r>
              <a:rPr lang="es-ES" noProof="0" dirty="0"/>
              <a:t>, y más...</a:t>
            </a:r>
          </a:p>
        </p:txBody>
      </p:sp>
      <p:sp>
        <p:nvSpPr>
          <p:cNvPr id="5" name="Título 4">
            <a:extLst>
              <a:ext uri="{FF2B5EF4-FFF2-40B4-BE49-F238E27FC236}">
                <a16:creationId xmlns:a16="http://schemas.microsoft.com/office/drawing/2014/main" id="{5793EC8B-E39D-B7EB-85CB-ADA37F590CDF}"/>
              </a:ext>
            </a:extLst>
          </p:cNvPr>
          <p:cNvSpPr>
            <a:spLocks noGrp="1"/>
          </p:cNvSpPr>
          <p:nvPr>
            <p:ph type="title"/>
          </p:nvPr>
        </p:nvSpPr>
        <p:spPr>
          <a:xfrm>
            <a:off x="838200" y="365126"/>
            <a:ext cx="9840124" cy="1092200"/>
          </a:xfrm>
        </p:spPr>
        <p:txBody>
          <a:bodyPr/>
          <a:lstStyle/>
          <a:p>
            <a:r>
              <a:rPr lang="es-ES" noProof="0" dirty="0"/>
              <a:t>Caso de uso de un Bot (Chatbot): Entendiendo cómo me afecta la PAC</a:t>
            </a:r>
          </a:p>
        </p:txBody>
      </p:sp>
      <p:sp>
        <p:nvSpPr>
          <p:cNvPr id="6" name="Marcador de fecha 5">
            <a:extLst>
              <a:ext uri="{FF2B5EF4-FFF2-40B4-BE49-F238E27FC236}">
                <a16:creationId xmlns:a16="http://schemas.microsoft.com/office/drawing/2014/main" id="{1D9B81E7-24F5-1E77-AE74-291DB77E7DF6}"/>
              </a:ext>
            </a:extLst>
          </p:cNvPr>
          <p:cNvSpPr>
            <a:spLocks noGrp="1"/>
          </p:cNvSpPr>
          <p:nvPr>
            <p:ph type="dt" sz="half" idx="14"/>
          </p:nvPr>
        </p:nvSpPr>
        <p:spPr>
          <a:xfrm>
            <a:off x="814650" y="6400379"/>
            <a:ext cx="3380278" cy="365125"/>
          </a:xfrm>
        </p:spPr>
        <p:txBody>
          <a:bodyPr/>
          <a:lstStyle/>
          <a:p>
            <a:fld id="{9B815CDC-4824-45CD-A95C-10AE94E35762}"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03D0163B-954E-0CF7-E267-47E12D68F499}"/>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24023418-0705-FA02-FDB0-65C60C05B7EC}"/>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63</a:t>
            </a:fld>
            <a:endParaRPr lang="es-ES" dirty="0"/>
          </a:p>
        </p:txBody>
      </p:sp>
    </p:spTree>
    <p:extLst>
      <p:ext uri="{BB962C8B-B14F-4D97-AF65-F5344CB8AC3E}">
        <p14:creationId xmlns:p14="http://schemas.microsoft.com/office/powerpoint/2010/main" val="225624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333C012-15BB-D4DB-F154-8258F41CF354}"/>
            </a:ext>
          </a:extLst>
        </p:cNvPr>
        <p:cNvGrpSpPr/>
        <p:nvPr/>
      </p:nvGrpSpPr>
      <p:grpSpPr>
        <a:xfrm>
          <a:off x="0" y="0"/>
          <a:ext cx="0" cy="0"/>
          <a:chOff x="0" y="0"/>
          <a:chExt cx="0" cy="0"/>
        </a:xfrm>
      </p:grpSpPr>
      <p:sp>
        <p:nvSpPr>
          <p:cNvPr id="2" name="1 Título">
            <a:extLst>
              <a:ext uri="{FF2B5EF4-FFF2-40B4-BE49-F238E27FC236}">
                <a16:creationId xmlns:a16="http://schemas.microsoft.com/office/drawing/2014/main" id="{199E65DE-902C-B91B-47C9-E8D23E8E8F98}"/>
              </a:ext>
            </a:extLst>
          </p:cNvPr>
          <p:cNvSpPr>
            <a:spLocks noGrp="1"/>
          </p:cNvSpPr>
          <p:nvPr>
            <p:ph type="title"/>
          </p:nvPr>
        </p:nvSpPr>
        <p:spPr>
          <a:xfrm>
            <a:off x="838200" y="365126"/>
            <a:ext cx="9840124" cy="1092200"/>
          </a:xfrm>
        </p:spPr>
        <p:txBody>
          <a:bodyPr>
            <a:normAutofit/>
          </a:bodyPr>
          <a:lstStyle/>
          <a:p>
            <a:r>
              <a:rPr lang="es-ES" noProof="0" dirty="0"/>
              <a:t>Se puede empezar con la puesta en marcha de una base de conocimiento</a:t>
            </a:r>
          </a:p>
        </p:txBody>
      </p:sp>
      <p:sp>
        <p:nvSpPr>
          <p:cNvPr id="4" name="3 Marcador de fecha">
            <a:extLst>
              <a:ext uri="{FF2B5EF4-FFF2-40B4-BE49-F238E27FC236}">
                <a16:creationId xmlns:a16="http://schemas.microsoft.com/office/drawing/2014/main" id="{4A5353B5-DA90-A740-EFCD-95ABAEEF025C}"/>
              </a:ext>
            </a:extLst>
          </p:cNvPr>
          <p:cNvSpPr>
            <a:spLocks noGrp="1"/>
          </p:cNvSpPr>
          <p:nvPr>
            <p:ph type="dt" sz="half" idx="10"/>
          </p:nvPr>
        </p:nvSpPr>
        <p:spPr>
          <a:xfrm>
            <a:off x="814650" y="6400379"/>
            <a:ext cx="3380278" cy="365125"/>
          </a:xfrm>
        </p:spPr>
        <p:txBody>
          <a:bodyPr/>
          <a:lstStyle/>
          <a:p>
            <a:fld id="{7A48A5B5-2766-4E37-A27B-0AE3A0AC9AB1}" type="datetime2">
              <a:rPr lang="es-ES" smtClean="0"/>
              <a:pPr/>
              <a:t>jueves, 19 de septiembre de 2024</a:t>
            </a:fld>
            <a:endParaRPr lang="es-ES" dirty="0"/>
          </a:p>
        </p:txBody>
      </p:sp>
      <p:sp>
        <p:nvSpPr>
          <p:cNvPr id="24" name="4 Marcador de pie de página">
            <a:extLst>
              <a:ext uri="{FF2B5EF4-FFF2-40B4-BE49-F238E27FC236}">
                <a16:creationId xmlns:a16="http://schemas.microsoft.com/office/drawing/2014/main" id="{08352A53-3C77-F557-9392-2A98D1A15913}"/>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5 Marcador de número de diapositiva">
            <a:extLst>
              <a:ext uri="{FF2B5EF4-FFF2-40B4-BE49-F238E27FC236}">
                <a16:creationId xmlns:a16="http://schemas.microsoft.com/office/drawing/2014/main" id="{2BEAA1E8-D961-230C-5BD6-D9B84E70A4EA}"/>
              </a:ext>
            </a:extLst>
          </p:cNvPr>
          <p:cNvSpPr>
            <a:spLocks noGrp="1"/>
          </p:cNvSpPr>
          <p:nvPr>
            <p:ph type="sldNum" sz="quarter" idx="12"/>
          </p:nvPr>
        </p:nvSpPr>
        <p:spPr>
          <a:xfrm>
            <a:off x="10801350" y="6421474"/>
            <a:ext cx="576000" cy="365125"/>
          </a:xfrm>
        </p:spPr>
        <p:txBody>
          <a:bodyPr/>
          <a:lstStyle/>
          <a:p>
            <a:fld id="{C3484A32-9537-4913-B9FA-9BE7BB197A49}" type="slidenum">
              <a:rPr lang="es-ES" smtClean="0"/>
              <a:pPr/>
              <a:t>64</a:t>
            </a:fld>
            <a:endParaRPr lang="es-ES" dirty="0"/>
          </a:p>
        </p:txBody>
      </p:sp>
      <p:graphicFrame>
        <p:nvGraphicFramePr>
          <p:cNvPr id="30" name="29 Diagrama">
            <a:extLst>
              <a:ext uri="{FF2B5EF4-FFF2-40B4-BE49-F238E27FC236}">
                <a16:creationId xmlns:a16="http://schemas.microsoft.com/office/drawing/2014/main" id="{3ACADFBD-AA27-C186-22D9-605B0977DCB2}"/>
              </a:ext>
            </a:extLst>
          </p:cNvPr>
          <p:cNvGraphicFramePr/>
          <p:nvPr/>
        </p:nvGraphicFramePr>
        <p:xfrm>
          <a:off x="276447" y="1858711"/>
          <a:ext cx="11834037" cy="4356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37 Rectángulo">
            <a:extLst>
              <a:ext uri="{FF2B5EF4-FFF2-40B4-BE49-F238E27FC236}">
                <a16:creationId xmlns:a16="http://schemas.microsoft.com/office/drawing/2014/main" id="{4A4C34D2-8D73-2F78-19AB-08825AAEBBC7}"/>
              </a:ext>
            </a:extLst>
          </p:cNvPr>
          <p:cNvSpPr/>
          <p:nvPr/>
        </p:nvSpPr>
        <p:spPr>
          <a:xfrm>
            <a:off x="8032257" y="1587850"/>
            <a:ext cx="1309012" cy="492443"/>
          </a:xfrm>
          <a:prstGeom prst="rect">
            <a:avLst/>
          </a:prstGeom>
          <a:noFill/>
        </p:spPr>
        <p:txBody>
          <a:bodyPr wrap="none" lIns="121920" tIns="60960" rIns="121920" bIns="60960">
            <a:spAutoFit/>
          </a:bodyPr>
          <a:lstStyle/>
          <a:p>
            <a:pPr algn="ctr"/>
            <a:r>
              <a:rPr lang="es-ES" sz="2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solución</a:t>
            </a:r>
          </a:p>
        </p:txBody>
      </p:sp>
      <p:sp>
        <p:nvSpPr>
          <p:cNvPr id="39" name="38 Rectángulo">
            <a:extLst>
              <a:ext uri="{FF2B5EF4-FFF2-40B4-BE49-F238E27FC236}">
                <a16:creationId xmlns:a16="http://schemas.microsoft.com/office/drawing/2014/main" id="{33E4116F-1795-C9AD-C9D1-0BE6C6766AF4}"/>
              </a:ext>
            </a:extLst>
          </p:cNvPr>
          <p:cNvSpPr/>
          <p:nvPr/>
        </p:nvSpPr>
        <p:spPr>
          <a:xfrm>
            <a:off x="10522134" y="1605448"/>
            <a:ext cx="1333302" cy="466269"/>
          </a:xfrm>
          <a:prstGeom prst="rect">
            <a:avLst/>
          </a:prstGeom>
          <a:noFill/>
        </p:spPr>
        <p:txBody>
          <a:bodyPr wrap="none" lIns="48000" tIns="48000" rIns="48000" bIns="48000">
            <a:spAutoFit/>
          </a:bodyPr>
          <a:lstStyle/>
          <a:p>
            <a:pPr algn="ctr"/>
            <a:r>
              <a:rPr lang="es-ES" sz="2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evolución</a:t>
            </a:r>
          </a:p>
        </p:txBody>
      </p:sp>
      <p:pic>
        <p:nvPicPr>
          <p:cNvPr id="5" name="Picture 2" descr="How to Create a Master Decision Tree">
            <a:extLst>
              <a:ext uri="{FF2B5EF4-FFF2-40B4-BE49-F238E27FC236}">
                <a16:creationId xmlns:a16="http://schemas.microsoft.com/office/drawing/2014/main" id="{6AD3E0D6-E396-C792-6970-9616C65F737C}"/>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005024" y="2167561"/>
            <a:ext cx="1248000" cy="5701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2 Grupo">
            <a:extLst>
              <a:ext uri="{FF2B5EF4-FFF2-40B4-BE49-F238E27FC236}">
                <a16:creationId xmlns:a16="http://schemas.microsoft.com/office/drawing/2014/main" id="{55F9D727-E954-D49E-7C5C-FC5F4B1E3728}"/>
              </a:ext>
            </a:extLst>
          </p:cNvPr>
          <p:cNvGrpSpPr/>
          <p:nvPr/>
        </p:nvGrpSpPr>
        <p:grpSpPr>
          <a:xfrm>
            <a:off x="1211377" y="1982488"/>
            <a:ext cx="995026" cy="903962"/>
            <a:chOff x="1432376" y="827172"/>
            <a:chExt cx="866384" cy="848595"/>
          </a:xfrm>
        </p:grpSpPr>
        <p:sp>
          <p:nvSpPr>
            <p:cNvPr id="28" name="27 CuadroTexto">
              <a:extLst>
                <a:ext uri="{FF2B5EF4-FFF2-40B4-BE49-F238E27FC236}">
                  <a16:creationId xmlns:a16="http://schemas.microsoft.com/office/drawing/2014/main" id="{44EC6425-1394-F936-C285-F55DCA7F9C29}"/>
                </a:ext>
              </a:extLst>
            </p:cNvPr>
            <p:cNvSpPr txBox="1"/>
            <p:nvPr/>
          </p:nvSpPr>
          <p:spPr>
            <a:xfrm>
              <a:off x="1432376" y="1396530"/>
              <a:ext cx="866384" cy="27923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s-ES" sz="1333" dirty="0">
                  <a:solidFill>
                    <a:schemeClr val="bg1"/>
                  </a:solidFill>
                </a:rPr>
                <a:t>Call Center</a:t>
              </a:r>
            </a:p>
          </p:txBody>
        </p:sp>
        <p:pic>
          <p:nvPicPr>
            <p:cNvPr id="29" name="Picture 2" descr="Transferred Pending">
              <a:extLst>
                <a:ext uri="{FF2B5EF4-FFF2-40B4-BE49-F238E27FC236}">
                  <a16:creationId xmlns:a16="http://schemas.microsoft.com/office/drawing/2014/main" id="{8E2FD60B-B5D3-1930-3C2B-3F9B0E682C02}"/>
                </a:ext>
              </a:extLst>
            </p:cNvPr>
            <p:cNvPicPr>
              <a:picLocks noChangeAspect="1" noChangeArrowheads="1"/>
            </p:cNvPicPr>
            <p:nvPr/>
          </p:nvPicPr>
          <p:blipFill rotWithShape="1">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p:blipFill>
          <p:spPr bwMode="auto">
            <a:xfrm>
              <a:off x="1623229" y="827172"/>
              <a:ext cx="470186" cy="5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30 Grupo">
            <a:extLst>
              <a:ext uri="{FF2B5EF4-FFF2-40B4-BE49-F238E27FC236}">
                <a16:creationId xmlns:a16="http://schemas.microsoft.com/office/drawing/2014/main" id="{4B4C48F0-6FA7-6835-6C49-F84191A2B75A}"/>
              </a:ext>
            </a:extLst>
          </p:cNvPr>
          <p:cNvGrpSpPr/>
          <p:nvPr/>
        </p:nvGrpSpPr>
        <p:grpSpPr>
          <a:xfrm>
            <a:off x="276447" y="2055285"/>
            <a:ext cx="868252" cy="771349"/>
            <a:chOff x="1646463" y="1057340"/>
            <a:chExt cx="756000" cy="724109"/>
          </a:xfrm>
        </p:grpSpPr>
        <p:sp>
          <p:nvSpPr>
            <p:cNvPr id="32" name="31 CuadroTexto">
              <a:extLst>
                <a:ext uri="{FF2B5EF4-FFF2-40B4-BE49-F238E27FC236}">
                  <a16:creationId xmlns:a16="http://schemas.microsoft.com/office/drawing/2014/main" id="{E09A576B-8685-88C2-4572-0E0A2731DE77}"/>
                </a:ext>
              </a:extLst>
            </p:cNvPr>
            <p:cNvSpPr txBox="1"/>
            <p:nvPr/>
          </p:nvSpPr>
          <p:spPr>
            <a:xfrm>
              <a:off x="1646463" y="1558358"/>
              <a:ext cx="756000" cy="223091"/>
            </a:xfrm>
            <a:prstGeom prst="rect">
              <a:avLst/>
            </a:prstGeom>
            <a:solidFill>
              <a:schemeClr val="accent3">
                <a:lumMod val="75000"/>
              </a:schemeClr>
            </a:solidFill>
            <a:ln>
              <a:solidFill>
                <a:schemeClr val="accent3">
                  <a:lumMod val="50000"/>
                </a:schemeClr>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r>
                <a:rPr lang="es-ES" sz="1333" dirty="0">
                  <a:solidFill>
                    <a:schemeClr val="bg1"/>
                  </a:solidFill>
                </a:rPr>
                <a:t>Cliente</a:t>
              </a:r>
            </a:p>
          </p:txBody>
        </p:sp>
        <p:pic>
          <p:nvPicPr>
            <p:cNvPr id="33" name="Picture 4" descr="Speaking Svg Png Icon Free Download (#572730) - OnlineWebFonts.COM">
              <a:extLst>
                <a:ext uri="{FF2B5EF4-FFF2-40B4-BE49-F238E27FC236}">
                  <a16:creationId xmlns:a16="http://schemas.microsoft.com/office/drawing/2014/main" id="{2DBF0EF1-3DE3-8B3F-98E7-40162BE3AEFF}"/>
                </a:ext>
              </a:extLst>
            </p:cNvPr>
            <p:cNvPicPr>
              <a:picLocks noChangeAspect="1" noChangeArrowheads="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77795" y="1057340"/>
              <a:ext cx="501018" cy="50101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043180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ADE2E4B0-D957-33BC-33CB-05F3EF930132}"/>
              </a:ext>
            </a:extLst>
          </p:cNvPr>
          <p:cNvSpPr>
            <a:spLocks noGrp="1"/>
          </p:cNvSpPr>
          <p:nvPr>
            <p:ph sz="half" idx="1"/>
          </p:nvPr>
        </p:nvSpPr>
        <p:spPr>
          <a:xfrm>
            <a:off x="270309" y="2241755"/>
            <a:ext cx="6387666" cy="3923835"/>
          </a:xfrm>
        </p:spPr>
        <p:txBody>
          <a:bodyPr>
            <a:normAutofit lnSpcReduction="10000"/>
          </a:bodyPr>
          <a:lstStyle/>
          <a:p>
            <a:r>
              <a:rPr lang="es-ES" noProof="0" dirty="0"/>
              <a:t>Valoración  previa del vehículo a asegurar a partir del análisis de unas cuatro fotografías.</a:t>
            </a:r>
          </a:p>
          <a:p>
            <a:r>
              <a:rPr lang="es-ES" noProof="0" dirty="0"/>
              <a:t>Sin la participación, cuando el sistema esté entrenado de un experto o perito. Únicamente en la validación de los daños.</a:t>
            </a:r>
          </a:p>
          <a:p>
            <a:r>
              <a:rPr lang="es-ES" noProof="0" dirty="0"/>
              <a:t>Imagen de transformación digital de la compañía.</a:t>
            </a:r>
          </a:p>
          <a:p>
            <a:r>
              <a:rPr lang="es-ES" noProof="0" dirty="0"/>
              <a:t>Satisfacción del cliente </a:t>
            </a:r>
          </a:p>
          <a:p>
            <a:r>
              <a:rPr lang="es-ES" noProof="0" dirty="0"/>
              <a:t>Ahorro de costes en lo que a honorarios periciales se refiere.</a:t>
            </a:r>
          </a:p>
        </p:txBody>
      </p:sp>
      <p:pic>
        <p:nvPicPr>
          <p:cNvPr id="9" name="Marcador de contenido 7">
            <a:extLst>
              <a:ext uri="{FF2B5EF4-FFF2-40B4-BE49-F238E27FC236}">
                <a16:creationId xmlns:a16="http://schemas.microsoft.com/office/drawing/2014/main" id="{BD54A346-F060-87EA-CD6B-8A28C7AEB2A0}"/>
              </a:ext>
            </a:extLst>
          </p:cNvPr>
          <p:cNvPicPr>
            <a:picLocks noGrp="1" noChangeAspect="1"/>
          </p:cNvPicPr>
          <p:nvPr>
            <p:ph sz="half" idx="2"/>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7225318" y="1643063"/>
            <a:ext cx="4251701" cy="2613025"/>
          </a:xfrm>
        </p:spPr>
      </p:pic>
      <p:sp>
        <p:nvSpPr>
          <p:cNvPr id="4" name="Marcador de contenido 3">
            <a:extLst>
              <a:ext uri="{FF2B5EF4-FFF2-40B4-BE49-F238E27FC236}">
                <a16:creationId xmlns:a16="http://schemas.microsoft.com/office/drawing/2014/main" id="{119FCE87-026D-DF7C-E121-A44DD4FD1829}"/>
              </a:ext>
            </a:extLst>
          </p:cNvPr>
          <p:cNvSpPr>
            <a:spLocks noGrp="1"/>
          </p:cNvSpPr>
          <p:nvPr>
            <p:ph sz="half" idx="13"/>
          </p:nvPr>
        </p:nvSpPr>
        <p:spPr>
          <a:xfrm>
            <a:off x="6779991" y="4902762"/>
            <a:ext cx="5141700" cy="1452030"/>
          </a:xfrm>
        </p:spPr>
        <p:txBody>
          <a:bodyPr>
            <a:normAutofit fontScale="85000" lnSpcReduction="10000"/>
          </a:bodyPr>
          <a:lstStyle/>
          <a:p>
            <a:r>
              <a:rPr lang="es-ES" noProof="0" dirty="0"/>
              <a:t>Fotografías (en número de cuatro) del vehículo a asegurar realizadas mediante APP.</a:t>
            </a:r>
          </a:p>
          <a:p>
            <a:r>
              <a:rPr lang="es-ES" noProof="0" dirty="0"/>
              <a:t>Catálogo de Marcas – Modelo (en principio no versión)</a:t>
            </a:r>
          </a:p>
          <a:p>
            <a:r>
              <a:rPr lang="es-ES" noProof="0" dirty="0"/>
              <a:t>4,000 fotos de cada modelo (empezamos con 40,000)</a:t>
            </a:r>
          </a:p>
        </p:txBody>
      </p:sp>
      <p:sp>
        <p:nvSpPr>
          <p:cNvPr id="5" name="Título 4">
            <a:extLst>
              <a:ext uri="{FF2B5EF4-FFF2-40B4-BE49-F238E27FC236}">
                <a16:creationId xmlns:a16="http://schemas.microsoft.com/office/drawing/2014/main" id="{73A3CDCC-2E12-7C2D-8692-3E9544FEF070}"/>
              </a:ext>
            </a:extLst>
          </p:cNvPr>
          <p:cNvSpPr>
            <a:spLocks noGrp="1"/>
          </p:cNvSpPr>
          <p:nvPr>
            <p:ph type="title"/>
          </p:nvPr>
        </p:nvSpPr>
        <p:spPr>
          <a:xfrm>
            <a:off x="838200" y="365126"/>
            <a:ext cx="9840124" cy="1092200"/>
          </a:xfrm>
        </p:spPr>
        <p:txBody>
          <a:bodyPr/>
          <a:lstStyle/>
          <a:p>
            <a:r>
              <a:rPr lang="es-ES" noProof="0" dirty="0"/>
              <a:t>Verificaciones previas de los bienes a asegurar | Notificación de un siniestro</a:t>
            </a:r>
          </a:p>
        </p:txBody>
      </p:sp>
      <p:sp>
        <p:nvSpPr>
          <p:cNvPr id="6" name="Marcador de fecha 5">
            <a:extLst>
              <a:ext uri="{FF2B5EF4-FFF2-40B4-BE49-F238E27FC236}">
                <a16:creationId xmlns:a16="http://schemas.microsoft.com/office/drawing/2014/main" id="{880BEEFF-C282-40D9-E6AC-28BB0350005E}"/>
              </a:ext>
            </a:extLst>
          </p:cNvPr>
          <p:cNvSpPr>
            <a:spLocks noGrp="1"/>
          </p:cNvSpPr>
          <p:nvPr>
            <p:ph type="dt" sz="half" idx="14"/>
          </p:nvPr>
        </p:nvSpPr>
        <p:spPr>
          <a:xfrm>
            <a:off x="814650" y="6400379"/>
            <a:ext cx="3380278" cy="365125"/>
          </a:xfrm>
        </p:spPr>
        <p:txBody>
          <a:bodyPr/>
          <a:lstStyle/>
          <a:p>
            <a:fld id="{9B815CDC-4824-45CD-A95C-10AE94E35762}"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C5ACEDCE-A557-E3FF-B679-A1574B12C526}"/>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F9623EBA-2EB8-5FA0-15B1-3FFF0479AF0C}"/>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65</a:t>
            </a:fld>
            <a:endParaRPr lang="es-ES" dirty="0"/>
          </a:p>
        </p:txBody>
      </p:sp>
    </p:spTree>
    <p:extLst>
      <p:ext uri="{BB962C8B-B14F-4D97-AF65-F5344CB8AC3E}">
        <p14:creationId xmlns:p14="http://schemas.microsoft.com/office/powerpoint/2010/main" val="17948476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CB7B8-43F4-EFA9-9963-6DEADD17367B}"/>
            </a:ext>
          </a:extLst>
        </p:cNvPr>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FF6983F0-FD2B-DA91-CC61-2FB78535C321}"/>
              </a:ext>
            </a:extLst>
          </p:cNvPr>
          <p:cNvSpPr>
            <a:spLocks noGrp="1"/>
          </p:cNvSpPr>
          <p:nvPr>
            <p:ph sz="half" idx="1"/>
          </p:nvPr>
        </p:nvSpPr>
        <p:spPr>
          <a:xfrm>
            <a:off x="270309" y="2241755"/>
            <a:ext cx="6387666" cy="3923835"/>
          </a:xfrm>
        </p:spPr>
        <p:txBody>
          <a:bodyPr>
            <a:normAutofit lnSpcReduction="10000"/>
          </a:bodyPr>
          <a:lstStyle/>
          <a:p>
            <a:r>
              <a:rPr lang="es-ES" noProof="0" dirty="0"/>
              <a:t>Clasificado el registro de Siniestros existentes en: Fue fraude, gano juicio, ganamos juicio etc..</a:t>
            </a:r>
          </a:p>
          <a:p>
            <a:r>
              <a:rPr lang="es-ES" noProof="0" dirty="0"/>
              <a:t>Clasificar inmediatamente las nuevas entradas buscando correlaciones con el histórico.</a:t>
            </a:r>
          </a:p>
          <a:p>
            <a:r>
              <a:rPr lang="es-ES" noProof="0" dirty="0"/>
              <a:t>Mediante herramientas de aprendizaje se perfeccionará dicha clasificación.</a:t>
            </a:r>
          </a:p>
          <a:p>
            <a:r>
              <a:rPr lang="es-ES" noProof="0" dirty="0"/>
              <a:t>Desde la clasificación cuasi inmediata de un siniestro se propondrán las acciones más adecuadas.</a:t>
            </a:r>
          </a:p>
        </p:txBody>
      </p:sp>
      <p:sp>
        <p:nvSpPr>
          <p:cNvPr id="5" name="Marcador de contenido 4">
            <a:extLst>
              <a:ext uri="{FF2B5EF4-FFF2-40B4-BE49-F238E27FC236}">
                <a16:creationId xmlns:a16="http://schemas.microsoft.com/office/drawing/2014/main" id="{4347F63F-C5FB-67C0-F4CF-E10779682225}"/>
              </a:ext>
            </a:extLst>
          </p:cNvPr>
          <p:cNvSpPr>
            <a:spLocks noGrp="1"/>
          </p:cNvSpPr>
          <p:nvPr>
            <p:ph sz="half" idx="13"/>
          </p:nvPr>
        </p:nvSpPr>
        <p:spPr>
          <a:xfrm>
            <a:off x="6964023" y="5328336"/>
            <a:ext cx="4588553" cy="837254"/>
          </a:xfrm>
        </p:spPr>
        <p:txBody>
          <a:bodyPr>
            <a:normAutofit fontScale="85000" lnSpcReduction="20000"/>
          </a:bodyPr>
          <a:lstStyle/>
          <a:p>
            <a:r>
              <a:rPr lang="es-ES" noProof="0" dirty="0"/>
              <a:t>Siniestros / Dossiers / expedientes (mucho texto libre) + Encuestas de satisfacción + Internet PDF, informes de organismos + Redes sociales internas + Redes sociales, foros, blogs, prensa</a:t>
            </a:r>
          </a:p>
        </p:txBody>
      </p:sp>
      <p:sp>
        <p:nvSpPr>
          <p:cNvPr id="2" name="Título 1">
            <a:extLst>
              <a:ext uri="{FF2B5EF4-FFF2-40B4-BE49-F238E27FC236}">
                <a16:creationId xmlns:a16="http://schemas.microsoft.com/office/drawing/2014/main" id="{B75688A7-A90D-2B0A-27C2-2AA085CBA19A}"/>
              </a:ext>
            </a:extLst>
          </p:cNvPr>
          <p:cNvSpPr>
            <a:spLocks noGrp="1"/>
          </p:cNvSpPr>
          <p:nvPr>
            <p:ph type="title"/>
          </p:nvPr>
        </p:nvSpPr>
        <p:spPr>
          <a:xfrm>
            <a:off x="838200" y="365126"/>
            <a:ext cx="9840124" cy="1092200"/>
          </a:xfrm>
        </p:spPr>
        <p:txBody>
          <a:bodyPr>
            <a:normAutofit/>
          </a:bodyPr>
          <a:lstStyle/>
          <a:p>
            <a:r>
              <a:rPr lang="es-ES" noProof="0" dirty="0"/>
              <a:t>Análisis del corpus documental, desde el registro de siniestros encontrar fraude</a:t>
            </a:r>
          </a:p>
        </p:txBody>
      </p:sp>
      <p:sp>
        <p:nvSpPr>
          <p:cNvPr id="3" name="Marcador de fecha 2">
            <a:extLst>
              <a:ext uri="{FF2B5EF4-FFF2-40B4-BE49-F238E27FC236}">
                <a16:creationId xmlns:a16="http://schemas.microsoft.com/office/drawing/2014/main" id="{FC6F78FC-2056-AEBB-B6A7-E9EFAFBA5DD8}"/>
              </a:ext>
            </a:extLst>
          </p:cNvPr>
          <p:cNvSpPr>
            <a:spLocks noGrp="1"/>
          </p:cNvSpPr>
          <p:nvPr>
            <p:ph type="dt" sz="half" idx="14"/>
          </p:nvPr>
        </p:nvSpPr>
        <p:spPr>
          <a:xfrm>
            <a:off x="814650" y="6400379"/>
            <a:ext cx="3380278" cy="365125"/>
          </a:xfrm>
        </p:spPr>
        <p:txBody>
          <a:bodyPr/>
          <a:lstStyle/>
          <a:p>
            <a:fld id="{E17FF8B5-BC03-48F6-A43B-D5F22CCD2532}"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7EBE8820-E050-4DF8-EAC9-F8074816D4BE}"/>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73C825B2-DFE1-9F03-C3BA-3A9E2CC87C19}"/>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66</a:t>
            </a:fld>
            <a:endParaRPr lang="es-ES" dirty="0"/>
          </a:p>
        </p:txBody>
      </p:sp>
      <p:pic>
        <p:nvPicPr>
          <p:cNvPr id="32" name="Picture 2" descr="Guy Fawkes mask">
            <a:extLst>
              <a:ext uri="{FF2B5EF4-FFF2-40B4-BE49-F238E27FC236}">
                <a16:creationId xmlns:a16="http://schemas.microsoft.com/office/drawing/2014/main" id="{2F57A187-341D-6846-1452-3274F95BBE23}"/>
              </a:ext>
            </a:extLst>
          </p:cNvPr>
          <p:cNvPicPr>
            <a:picLocks noGrp="1" noChangeAspect="1" noChangeArrowheads="1"/>
          </p:cNvPicPr>
          <p:nvPr>
            <p:ph sz="half" idx="2"/>
          </p:nvPr>
        </p:nvPicPr>
        <p:blipFill>
          <a:blip r:embed="rId2" cstate="email">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8480161" y="1643063"/>
            <a:ext cx="1742016" cy="2613025"/>
          </a:xfrm>
        </p:spPr>
      </p:pic>
    </p:spTree>
    <p:extLst>
      <p:ext uri="{BB962C8B-B14F-4D97-AF65-F5344CB8AC3E}">
        <p14:creationId xmlns:p14="http://schemas.microsoft.com/office/powerpoint/2010/main" val="14305109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BF32C-1DFA-CE43-1F22-9973D0816BBA}"/>
            </a:ext>
          </a:extLst>
        </p:cNvPr>
        <p:cNvGrpSpPr/>
        <p:nvPr/>
      </p:nvGrpSpPr>
      <p:grpSpPr>
        <a:xfrm>
          <a:off x="0" y="0"/>
          <a:ext cx="0" cy="0"/>
          <a:chOff x="0" y="0"/>
          <a:chExt cx="0" cy="0"/>
        </a:xfrm>
      </p:grpSpPr>
      <p:sp>
        <p:nvSpPr>
          <p:cNvPr id="11" name="Marcador de contenido 10">
            <a:extLst>
              <a:ext uri="{FF2B5EF4-FFF2-40B4-BE49-F238E27FC236}">
                <a16:creationId xmlns:a16="http://schemas.microsoft.com/office/drawing/2014/main" id="{7AD5D9DB-ED76-05ED-ACE0-DB57D120747B}"/>
              </a:ext>
            </a:extLst>
          </p:cNvPr>
          <p:cNvSpPr>
            <a:spLocks noGrp="1"/>
          </p:cNvSpPr>
          <p:nvPr>
            <p:ph sz="half" idx="1"/>
          </p:nvPr>
        </p:nvSpPr>
        <p:spPr>
          <a:xfrm>
            <a:off x="270309" y="2241755"/>
            <a:ext cx="6387666" cy="3923835"/>
          </a:xfrm>
        </p:spPr>
        <p:txBody>
          <a:bodyPr/>
          <a:lstStyle/>
          <a:p>
            <a:pPr lvl="0"/>
            <a:r>
              <a:rPr lang="es-ES" noProof="0" dirty="0"/>
              <a:t>Detección temprana de averías, roturas.</a:t>
            </a:r>
          </a:p>
          <a:p>
            <a:pPr lvl="0"/>
            <a:r>
              <a:rPr lang="es-ES" noProof="0" dirty="0"/>
              <a:t>Fraude</a:t>
            </a:r>
          </a:p>
          <a:p>
            <a:pPr lvl="0"/>
            <a:r>
              <a:rPr lang="es-ES" noProof="0" dirty="0"/>
              <a:t>Elección de la mejor cuadrilla de reparación.</a:t>
            </a:r>
          </a:p>
          <a:p>
            <a:pPr lvl="0"/>
            <a:r>
              <a:rPr lang="es-ES" noProof="0" dirty="0"/>
              <a:t>Comportamiento de los clientes (Contadores finales)</a:t>
            </a:r>
          </a:p>
          <a:p>
            <a:pPr lvl="0"/>
            <a:r>
              <a:rPr lang="es-ES" noProof="0" dirty="0"/>
              <a:t>Anticipación de averías / mantenimiento.</a:t>
            </a:r>
          </a:p>
        </p:txBody>
      </p:sp>
      <p:pic>
        <p:nvPicPr>
          <p:cNvPr id="12" name="Picture 2" descr="Resultado de imagen de water pipeline">
            <a:extLst>
              <a:ext uri="{FF2B5EF4-FFF2-40B4-BE49-F238E27FC236}">
                <a16:creationId xmlns:a16="http://schemas.microsoft.com/office/drawing/2014/main" id="{C8840150-3A39-8427-70A5-5B915F1C7F4E}"/>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a:xfrm>
            <a:off x="7929563" y="2616200"/>
            <a:ext cx="2657475" cy="1724025"/>
          </a:xfrm>
        </p:spPr>
      </p:pic>
      <p:sp>
        <p:nvSpPr>
          <p:cNvPr id="5" name="Marcador de contenido 4">
            <a:extLst>
              <a:ext uri="{FF2B5EF4-FFF2-40B4-BE49-F238E27FC236}">
                <a16:creationId xmlns:a16="http://schemas.microsoft.com/office/drawing/2014/main" id="{98699CCE-A51B-9CDC-0AF0-A046F78AC702}"/>
              </a:ext>
            </a:extLst>
          </p:cNvPr>
          <p:cNvSpPr>
            <a:spLocks noGrp="1"/>
          </p:cNvSpPr>
          <p:nvPr>
            <p:ph sz="half" idx="13"/>
          </p:nvPr>
        </p:nvSpPr>
        <p:spPr>
          <a:xfrm>
            <a:off x="6964023" y="5328336"/>
            <a:ext cx="4588553" cy="837254"/>
          </a:xfrm>
        </p:spPr>
        <p:txBody>
          <a:bodyPr>
            <a:normAutofit fontScale="92500" lnSpcReduction="10000"/>
          </a:bodyPr>
          <a:lstStyle/>
          <a:p>
            <a:r>
              <a:rPr lang="es-ES" noProof="0" dirty="0"/>
              <a:t>Sensores IOT en conducción de agua + Otros sensores medidores + Información de contadores inteligentes + [Drones] + GIS (ESRI)</a:t>
            </a:r>
          </a:p>
        </p:txBody>
      </p:sp>
      <p:sp>
        <p:nvSpPr>
          <p:cNvPr id="2" name="Título 1">
            <a:extLst>
              <a:ext uri="{FF2B5EF4-FFF2-40B4-BE49-F238E27FC236}">
                <a16:creationId xmlns:a16="http://schemas.microsoft.com/office/drawing/2014/main" id="{7C1CE78C-9BEA-6214-211F-54CEBC93EB69}"/>
              </a:ext>
            </a:extLst>
          </p:cNvPr>
          <p:cNvSpPr>
            <a:spLocks noGrp="1"/>
          </p:cNvSpPr>
          <p:nvPr>
            <p:ph type="title"/>
          </p:nvPr>
        </p:nvSpPr>
        <p:spPr>
          <a:xfrm>
            <a:off x="838200" y="365126"/>
            <a:ext cx="9840124" cy="1092200"/>
          </a:xfrm>
        </p:spPr>
        <p:txBody>
          <a:bodyPr/>
          <a:lstStyle/>
          <a:p>
            <a:r>
              <a:rPr lang="es-ES" noProof="0" dirty="0"/>
              <a:t>Compañías de aguas: Averías y Fraude</a:t>
            </a:r>
          </a:p>
        </p:txBody>
      </p:sp>
      <p:sp>
        <p:nvSpPr>
          <p:cNvPr id="3" name="Marcador de fecha 2">
            <a:extLst>
              <a:ext uri="{FF2B5EF4-FFF2-40B4-BE49-F238E27FC236}">
                <a16:creationId xmlns:a16="http://schemas.microsoft.com/office/drawing/2014/main" id="{A70DC7F6-2661-4048-9690-DDFEB34F2B4E}"/>
              </a:ext>
            </a:extLst>
          </p:cNvPr>
          <p:cNvSpPr>
            <a:spLocks noGrp="1"/>
          </p:cNvSpPr>
          <p:nvPr>
            <p:ph type="dt" sz="half" idx="14"/>
          </p:nvPr>
        </p:nvSpPr>
        <p:spPr>
          <a:xfrm>
            <a:off x="814650" y="6400379"/>
            <a:ext cx="3380278" cy="365125"/>
          </a:xfrm>
        </p:spPr>
        <p:txBody>
          <a:bodyPr/>
          <a:lstStyle/>
          <a:p>
            <a:fld id="{D1F570A9-284D-430B-93F8-BBD69AE0C0F1}"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3956A073-41FA-6E43-6664-387CDAA2FC4D}"/>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F581116B-DF54-EADE-8ACE-04DD213E9C4C}"/>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67</a:t>
            </a:fld>
            <a:endParaRPr lang="es-ES" dirty="0"/>
          </a:p>
        </p:txBody>
      </p:sp>
    </p:spTree>
    <p:extLst>
      <p:ext uri="{BB962C8B-B14F-4D97-AF65-F5344CB8AC3E}">
        <p14:creationId xmlns:p14="http://schemas.microsoft.com/office/powerpoint/2010/main" val="12685294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D817D-B354-F693-E111-BC7D949C2CD6}"/>
            </a:ext>
          </a:extLst>
        </p:cNvPr>
        <p:cNvGrpSpPr/>
        <p:nvPr/>
      </p:nvGrpSpPr>
      <p:grpSpPr>
        <a:xfrm>
          <a:off x="0" y="0"/>
          <a:ext cx="0" cy="0"/>
          <a:chOff x="0" y="0"/>
          <a:chExt cx="0" cy="0"/>
        </a:xfrm>
      </p:grpSpPr>
      <p:sp>
        <p:nvSpPr>
          <p:cNvPr id="8" name="Marcador de contenido 7">
            <a:extLst>
              <a:ext uri="{FF2B5EF4-FFF2-40B4-BE49-F238E27FC236}">
                <a16:creationId xmlns:a16="http://schemas.microsoft.com/office/drawing/2014/main" id="{3D165ED8-A38F-47F1-556E-6C0D61FAD121}"/>
              </a:ext>
            </a:extLst>
          </p:cNvPr>
          <p:cNvSpPr>
            <a:spLocks noGrp="1"/>
          </p:cNvSpPr>
          <p:nvPr>
            <p:ph sz="half" idx="1"/>
          </p:nvPr>
        </p:nvSpPr>
        <p:spPr>
          <a:xfrm>
            <a:off x="270309" y="2241755"/>
            <a:ext cx="6387666" cy="3923835"/>
          </a:xfrm>
        </p:spPr>
        <p:txBody>
          <a:bodyPr>
            <a:normAutofit fontScale="92500"/>
          </a:bodyPr>
          <a:lstStyle/>
          <a:p>
            <a:pPr lvl="0"/>
            <a:r>
              <a:rPr lang="es-ES" noProof="0" dirty="0"/>
              <a:t>Análisis estadístico:</a:t>
            </a:r>
          </a:p>
          <a:p>
            <a:pPr lvl="1"/>
            <a:r>
              <a:rPr lang="es-ES" noProof="0" dirty="0"/>
              <a:t>Incidencia en la población: Probabilidad de padecer cáncer</a:t>
            </a:r>
          </a:p>
          <a:p>
            <a:pPr lvl="1"/>
            <a:r>
              <a:rPr lang="es-ES" noProof="0" dirty="0"/>
              <a:t>Lugares donde aparece el Gas Radón.</a:t>
            </a:r>
          </a:p>
          <a:p>
            <a:pPr lvl="1"/>
            <a:r>
              <a:rPr lang="es-ES" noProof="0" dirty="0"/>
              <a:t>Covarianza próxima a uno.</a:t>
            </a:r>
          </a:p>
          <a:p>
            <a:r>
              <a:rPr lang="es-ES" noProof="0" dirty="0"/>
              <a:t>Buscamos características ambientales corraladas con el cáncer: Cuadros / expedientes médicos + Concentración gas radón en el territorio nacional</a:t>
            </a:r>
          </a:p>
          <a:p>
            <a:pPr lvl="0"/>
            <a:r>
              <a:rPr lang="es-ES" noProof="0" dirty="0"/>
              <a:t>Los servicios sanitarios pueden priorizar pacientes en pruebas diagnóstico</a:t>
            </a:r>
          </a:p>
          <a:p>
            <a:endParaRPr lang="es-ES" noProof="0" dirty="0"/>
          </a:p>
        </p:txBody>
      </p:sp>
      <p:sp>
        <p:nvSpPr>
          <p:cNvPr id="13" name="Marcador de contenido 12">
            <a:extLst>
              <a:ext uri="{FF2B5EF4-FFF2-40B4-BE49-F238E27FC236}">
                <a16:creationId xmlns:a16="http://schemas.microsoft.com/office/drawing/2014/main" id="{D0849544-76C3-6D91-FA96-BA3E24386F8F}"/>
              </a:ext>
            </a:extLst>
          </p:cNvPr>
          <p:cNvSpPr>
            <a:spLocks noGrp="1"/>
          </p:cNvSpPr>
          <p:nvPr>
            <p:ph sz="half" idx="2"/>
          </p:nvPr>
        </p:nvSpPr>
        <p:spPr/>
        <p:txBody>
          <a:bodyPr/>
          <a:lstStyle/>
          <a:p>
            <a:endParaRPr lang="es-ES" dirty="0"/>
          </a:p>
        </p:txBody>
      </p:sp>
      <p:sp>
        <p:nvSpPr>
          <p:cNvPr id="14" name="Marcador de contenido 13">
            <a:extLst>
              <a:ext uri="{FF2B5EF4-FFF2-40B4-BE49-F238E27FC236}">
                <a16:creationId xmlns:a16="http://schemas.microsoft.com/office/drawing/2014/main" id="{7E978316-D054-C43D-ABA6-81B8854FCFEC}"/>
              </a:ext>
            </a:extLst>
          </p:cNvPr>
          <p:cNvSpPr>
            <a:spLocks noGrp="1"/>
          </p:cNvSpPr>
          <p:nvPr>
            <p:ph sz="half" idx="13"/>
          </p:nvPr>
        </p:nvSpPr>
        <p:spPr/>
        <p:txBody>
          <a:bodyPr/>
          <a:lstStyle/>
          <a:p>
            <a:endParaRPr lang="es-ES" dirty="0"/>
          </a:p>
        </p:txBody>
      </p:sp>
      <p:sp>
        <p:nvSpPr>
          <p:cNvPr id="2" name="Título 1">
            <a:extLst>
              <a:ext uri="{FF2B5EF4-FFF2-40B4-BE49-F238E27FC236}">
                <a16:creationId xmlns:a16="http://schemas.microsoft.com/office/drawing/2014/main" id="{4F217C93-6BC4-B8DF-1673-460B31A281D5}"/>
              </a:ext>
            </a:extLst>
          </p:cNvPr>
          <p:cNvSpPr>
            <a:spLocks noGrp="1"/>
          </p:cNvSpPr>
          <p:nvPr>
            <p:ph type="title"/>
          </p:nvPr>
        </p:nvSpPr>
        <p:spPr>
          <a:xfrm>
            <a:off x="838200" y="365126"/>
            <a:ext cx="9840124" cy="1092200"/>
          </a:xfrm>
        </p:spPr>
        <p:txBody>
          <a:bodyPr>
            <a:normAutofit/>
          </a:bodyPr>
          <a:lstStyle/>
          <a:p>
            <a:r>
              <a:rPr lang="es-ES" noProof="0" dirty="0"/>
              <a:t>Apoyo a la detección de cáncer detectando el gas radón</a:t>
            </a:r>
          </a:p>
        </p:txBody>
      </p:sp>
      <p:sp>
        <p:nvSpPr>
          <p:cNvPr id="3" name="Marcador de fecha 2">
            <a:extLst>
              <a:ext uri="{FF2B5EF4-FFF2-40B4-BE49-F238E27FC236}">
                <a16:creationId xmlns:a16="http://schemas.microsoft.com/office/drawing/2014/main" id="{33E152DF-C4CF-E193-6837-F8985517B849}"/>
              </a:ext>
            </a:extLst>
          </p:cNvPr>
          <p:cNvSpPr>
            <a:spLocks noGrp="1"/>
          </p:cNvSpPr>
          <p:nvPr>
            <p:ph type="dt" sz="half" idx="14"/>
          </p:nvPr>
        </p:nvSpPr>
        <p:spPr>
          <a:xfrm>
            <a:off x="814650" y="6400379"/>
            <a:ext cx="3380278" cy="365125"/>
          </a:xfrm>
        </p:spPr>
        <p:txBody>
          <a:bodyPr/>
          <a:lstStyle/>
          <a:p>
            <a:fld id="{74825FB4-E404-457B-AF7C-A72048157B02}"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9029F291-F80D-F31C-675D-D772DD5E8025}"/>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730A6D15-8120-DB15-191C-21A1EA2F7DFF}"/>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68</a:t>
            </a:fld>
            <a:endParaRPr lang="es-ES" dirty="0"/>
          </a:p>
        </p:txBody>
      </p:sp>
      <p:pic>
        <p:nvPicPr>
          <p:cNvPr id="2050" name="Picture 2" descr="¿Qué es el Gas Radon? El radón y sus efectos en la salud">
            <a:extLst>
              <a:ext uri="{FF2B5EF4-FFF2-40B4-BE49-F238E27FC236}">
                <a16:creationId xmlns:a16="http://schemas.microsoft.com/office/drawing/2014/main" id="{28C91561-A2A6-4865-6162-22C84E0D41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1826" y="1364629"/>
            <a:ext cx="5803900" cy="5168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03140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D6F18-568A-A066-D8A9-4B18CD5108A2}"/>
            </a:ext>
          </a:extLst>
        </p:cNvPr>
        <p:cNvGrpSpPr/>
        <p:nvPr/>
      </p:nvGrpSpPr>
      <p:grpSpPr>
        <a:xfrm>
          <a:off x="0" y="0"/>
          <a:ext cx="0" cy="0"/>
          <a:chOff x="0" y="0"/>
          <a:chExt cx="0" cy="0"/>
        </a:xfrm>
      </p:grpSpPr>
      <p:sp>
        <p:nvSpPr>
          <p:cNvPr id="16" name="Marcador de contenido 15">
            <a:extLst>
              <a:ext uri="{FF2B5EF4-FFF2-40B4-BE49-F238E27FC236}">
                <a16:creationId xmlns:a16="http://schemas.microsoft.com/office/drawing/2014/main" id="{60C9B8A9-0FD7-6A58-F14C-C55B95894FB8}"/>
              </a:ext>
            </a:extLst>
          </p:cNvPr>
          <p:cNvSpPr>
            <a:spLocks noGrp="1"/>
          </p:cNvSpPr>
          <p:nvPr>
            <p:ph sz="half" idx="1"/>
          </p:nvPr>
        </p:nvSpPr>
        <p:spPr>
          <a:xfrm>
            <a:off x="270309" y="2241755"/>
            <a:ext cx="6387666" cy="3923835"/>
          </a:xfrm>
        </p:spPr>
        <p:txBody>
          <a:bodyPr>
            <a:normAutofit fontScale="92500" lnSpcReduction="20000"/>
          </a:bodyPr>
          <a:lstStyle/>
          <a:p>
            <a:r>
              <a:rPr lang="es-ES" noProof="0" dirty="0"/>
              <a:t>Modelos de Monitorización y Análisis Predictivo: </a:t>
            </a:r>
          </a:p>
          <a:p>
            <a:pPr lvl="1"/>
            <a:r>
              <a:rPr lang="es-ES" noProof="0" dirty="0"/>
              <a:t>Detección temprana de incidencias</a:t>
            </a:r>
          </a:p>
          <a:p>
            <a:pPr lvl="1"/>
            <a:r>
              <a:rPr lang="es-ES" noProof="0" dirty="0"/>
              <a:t>Usabilidad de la Capacidad Satelital</a:t>
            </a:r>
          </a:p>
          <a:p>
            <a:r>
              <a:rPr lang="es-ES" noProof="0" dirty="0"/>
              <a:t>Gestión de SLA’s de Clientes y Proveedores.</a:t>
            </a:r>
          </a:p>
          <a:p>
            <a:r>
              <a:rPr lang="es-ES" noProof="0" dirty="0"/>
              <a:t>Modelos predictivos de Resolución de Incidencias y Automatización de Diagnósticos</a:t>
            </a:r>
          </a:p>
          <a:p>
            <a:r>
              <a:rPr lang="es-ES" noProof="0" dirty="0"/>
              <a:t>Automatización de Apertura de Incidencias </a:t>
            </a:r>
          </a:p>
          <a:p>
            <a:r>
              <a:rPr lang="es-ES" noProof="0" dirty="0"/>
              <a:t>Automatización de Comunicaciones y Alertas. </a:t>
            </a:r>
          </a:p>
          <a:p>
            <a:r>
              <a:rPr lang="es-ES" noProof="0" dirty="0"/>
              <a:t>Automatización de Envío de Técnicos a Campo, </a:t>
            </a:r>
          </a:p>
          <a:p>
            <a:r>
              <a:rPr lang="es-ES" noProof="0" dirty="0"/>
              <a:t>Automatización de Pruebas</a:t>
            </a:r>
          </a:p>
        </p:txBody>
      </p:sp>
      <p:pic>
        <p:nvPicPr>
          <p:cNvPr id="17" name="Marcador de contenido 5">
            <a:extLst>
              <a:ext uri="{FF2B5EF4-FFF2-40B4-BE49-F238E27FC236}">
                <a16:creationId xmlns:a16="http://schemas.microsoft.com/office/drawing/2014/main" id="{77E12FA3-D69F-16AB-4485-0F3BB320EB8D}"/>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964363" y="2187873"/>
            <a:ext cx="4587875" cy="2580679"/>
          </a:xfrm>
        </p:spPr>
      </p:pic>
      <p:sp>
        <p:nvSpPr>
          <p:cNvPr id="5" name="Marcador de contenido 4">
            <a:extLst>
              <a:ext uri="{FF2B5EF4-FFF2-40B4-BE49-F238E27FC236}">
                <a16:creationId xmlns:a16="http://schemas.microsoft.com/office/drawing/2014/main" id="{8DFF026E-BBE2-7161-CAEB-306305B7227D}"/>
              </a:ext>
            </a:extLst>
          </p:cNvPr>
          <p:cNvSpPr>
            <a:spLocks noGrp="1"/>
          </p:cNvSpPr>
          <p:nvPr>
            <p:ph sz="half" idx="13"/>
          </p:nvPr>
        </p:nvSpPr>
        <p:spPr>
          <a:xfrm>
            <a:off x="6964023" y="5328336"/>
            <a:ext cx="4588553" cy="837254"/>
          </a:xfrm>
        </p:spPr>
        <p:txBody>
          <a:bodyPr>
            <a:normAutofit lnSpcReduction="10000"/>
          </a:bodyPr>
          <a:lstStyle/>
          <a:p>
            <a:r>
              <a:rPr lang="es-ES" noProof="0" dirty="0"/>
              <a:t>Señales en TR, </a:t>
            </a:r>
            <a:r>
              <a:rPr lang="es-ES" noProof="0" dirty="0" err="1"/>
              <a:t>Ticketing</a:t>
            </a:r>
            <a:r>
              <a:rPr lang="es-ES" noProof="0" dirty="0"/>
              <a:t>, inventarios y repuestos, Climatología, Georeferenciación…</a:t>
            </a:r>
          </a:p>
        </p:txBody>
      </p:sp>
      <p:sp>
        <p:nvSpPr>
          <p:cNvPr id="2" name="Título 1">
            <a:extLst>
              <a:ext uri="{FF2B5EF4-FFF2-40B4-BE49-F238E27FC236}">
                <a16:creationId xmlns:a16="http://schemas.microsoft.com/office/drawing/2014/main" id="{48C7D2B3-7455-991E-2322-CF7670499EC2}"/>
              </a:ext>
            </a:extLst>
          </p:cNvPr>
          <p:cNvSpPr>
            <a:spLocks noGrp="1"/>
          </p:cNvSpPr>
          <p:nvPr>
            <p:ph type="title"/>
          </p:nvPr>
        </p:nvSpPr>
        <p:spPr>
          <a:xfrm>
            <a:off x="838200" y="365126"/>
            <a:ext cx="9840124" cy="1092200"/>
          </a:xfrm>
        </p:spPr>
        <p:txBody>
          <a:bodyPr>
            <a:normAutofit/>
          </a:bodyPr>
          <a:lstStyle/>
          <a:p>
            <a:r>
              <a:rPr lang="es-ES" noProof="0" dirty="0"/>
              <a:t>Controlando la Red Satelital de Telefónica </a:t>
            </a:r>
            <a:r>
              <a:rPr lang="es-ES" noProof="0" dirty="0" err="1"/>
              <a:t>Wholesale</a:t>
            </a:r>
            <a:endParaRPr lang="es-ES" noProof="0" dirty="0"/>
          </a:p>
        </p:txBody>
      </p:sp>
      <p:sp>
        <p:nvSpPr>
          <p:cNvPr id="3" name="Marcador de fecha 2">
            <a:extLst>
              <a:ext uri="{FF2B5EF4-FFF2-40B4-BE49-F238E27FC236}">
                <a16:creationId xmlns:a16="http://schemas.microsoft.com/office/drawing/2014/main" id="{3F454FFF-C41A-A225-02BE-656FA39D1485}"/>
              </a:ext>
            </a:extLst>
          </p:cNvPr>
          <p:cNvSpPr>
            <a:spLocks noGrp="1"/>
          </p:cNvSpPr>
          <p:nvPr>
            <p:ph type="dt" sz="half" idx="14"/>
          </p:nvPr>
        </p:nvSpPr>
        <p:spPr>
          <a:xfrm>
            <a:off x="814650" y="6400379"/>
            <a:ext cx="3380278" cy="365125"/>
          </a:xfrm>
        </p:spPr>
        <p:txBody>
          <a:bodyPr/>
          <a:lstStyle/>
          <a:p>
            <a:fld id="{F9C0372B-8EFA-46FD-A550-8BEABFBE61F7}"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A65D5DE5-0B49-7B6B-76ED-47F1B51D47A6}"/>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85997A1F-5623-CBAA-C69E-0F72C1991048}"/>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69</a:t>
            </a:fld>
            <a:endParaRPr lang="es-ES" dirty="0"/>
          </a:p>
        </p:txBody>
      </p:sp>
    </p:spTree>
    <p:extLst>
      <p:ext uri="{BB962C8B-B14F-4D97-AF65-F5344CB8AC3E}">
        <p14:creationId xmlns:p14="http://schemas.microsoft.com/office/powerpoint/2010/main" val="1745182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D3168-6FA9-B406-D82F-161D0657E1A8}"/>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A64F8A0-11DD-1533-C2C6-3AAD3C1F95B0}"/>
              </a:ext>
            </a:extLst>
          </p:cNvPr>
          <p:cNvSpPr>
            <a:spLocks noGrp="1"/>
          </p:cNvSpPr>
          <p:nvPr>
            <p:ph type="title"/>
          </p:nvPr>
        </p:nvSpPr>
        <p:spPr>
          <a:xfrm>
            <a:off x="838200" y="365126"/>
            <a:ext cx="9840124" cy="1092200"/>
          </a:xfrm>
        </p:spPr>
        <p:txBody>
          <a:bodyPr/>
          <a:lstStyle/>
          <a:p>
            <a:r>
              <a:rPr lang="es-ES" noProof="0" dirty="0"/>
              <a:t>Así se hace una foto</a:t>
            </a:r>
          </a:p>
        </p:txBody>
      </p:sp>
      <p:sp>
        <p:nvSpPr>
          <p:cNvPr id="3" name="Marcador de fecha 2">
            <a:extLst>
              <a:ext uri="{FF2B5EF4-FFF2-40B4-BE49-F238E27FC236}">
                <a16:creationId xmlns:a16="http://schemas.microsoft.com/office/drawing/2014/main" id="{D934D36F-8F2A-0427-A7B7-981094F290B5}"/>
              </a:ext>
            </a:extLst>
          </p:cNvPr>
          <p:cNvSpPr>
            <a:spLocks noGrp="1"/>
          </p:cNvSpPr>
          <p:nvPr>
            <p:ph type="dt" sz="half" idx="10"/>
          </p:nvPr>
        </p:nvSpPr>
        <p:spPr>
          <a:xfrm>
            <a:off x="814650" y="6400379"/>
            <a:ext cx="3380278" cy="365125"/>
          </a:xfrm>
        </p:spPr>
        <p:txBody>
          <a:bodyPr/>
          <a:lstStyle/>
          <a:p>
            <a:fld id="{75C98461-5D6D-4659-ABDF-4C71AE6E855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71C502F7-E781-398A-8545-DAF4AE444C9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1EBF49D9-D32C-8AE5-0DDB-8BAB7AFC59A1}"/>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a:t>
            </a:fld>
            <a:endParaRPr lang="es-ES" dirty="0"/>
          </a:p>
        </p:txBody>
      </p:sp>
      <p:graphicFrame>
        <p:nvGraphicFramePr>
          <p:cNvPr id="6" name="Diagrama 5">
            <a:extLst>
              <a:ext uri="{FF2B5EF4-FFF2-40B4-BE49-F238E27FC236}">
                <a16:creationId xmlns:a16="http://schemas.microsoft.com/office/drawing/2014/main" id="{7E04DBFA-ABAF-050D-23E9-D4935CA39EE0}"/>
              </a:ext>
            </a:extLst>
          </p:cNvPr>
          <p:cNvGraphicFramePr/>
          <p:nvPr>
            <p:extLst>
              <p:ext uri="{D42A27DB-BD31-4B8C-83A1-F6EECF244321}">
                <p14:modId xmlns:p14="http://schemas.microsoft.com/office/powerpoint/2010/main" val="2441256064"/>
              </p:ext>
            </p:extLst>
          </p:nvPr>
        </p:nvGraphicFramePr>
        <p:xfrm>
          <a:off x="838200" y="1930400"/>
          <a:ext cx="9725026" cy="4236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1451460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E964E-C84F-6157-3428-7F99CA3FD864}"/>
            </a:ext>
          </a:extLst>
        </p:cNvPr>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9AF57B93-0631-EE65-9C56-DE3187C27FF8}"/>
              </a:ext>
            </a:extLst>
          </p:cNvPr>
          <p:cNvSpPr>
            <a:spLocks noGrp="1"/>
          </p:cNvSpPr>
          <p:nvPr>
            <p:ph sz="half" idx="1"/>
          </p:nvPr>
        </p:nvSpPr>
        <p:spPr>
          <a:xfrm>
            <a:off x="270309" y="2241755"/>
            <a:ext cx="6387666" cy="3923835"/>
          </a:xfrm>
        </p:spPr>
        <p:txBody>
          <a:bodyPr>
            <a:normAutofit fontScale="92500" lnSpcReduction="10000"/>
          </a:bodyPr>
          <a:lstStyle/>
          <a:p>
            <a:r>
              <a:rPr lang="es-ES" noProof="0" dirty="0"/>
              <a:t>Para la promoción en un centro comercial de un bien de consumo.</a:t>
            </a:r>
          </a:p>
          <a:p>
            <a:r>
              <a:rPr lang="es-ES" noProof="0" dirty="0"/>
              <a:t>Descripción del posible cliente transeúnte / cliente (hasta 80 datos simples de la telco)</a:t>
            </a:r>
          </a:p>
          <a:p>
            <a:r>
              <a:rPr lang="es-ES" noProof="0" dirty="0"/>
              <a:t>Extraer toda la información posible de la aceptación del bien.</a:t>
            </a:r>
          </a:p>
          <a:p>
            <a:pPr lvl="1"/>
            <a:r>
              <a:rPr lang="es-ES" noProof="0" dirty="0"/>
              <a:t>Pasa por la calle el cliente destino? Entra al centro comercial del cliente destino? entra al lugar de la promoción el cliente destino? Compra el cliente destino?</a:t>
            </a:r>
          </a:p>
          <a:p>
            <a:r>
              <a:rPr lang="es-ES" noProof="0" dirty="0"/>
              <a:t>Se asigna teóricamente un perfil al Cliente / Ciudadano.</a:t>
            </a:r>
          </a:p>
          <a:p>
            <a:endParaRPr lang="es-ES" noProof="0" dirty="0"/>
          </a:p>
        </p:txBody>
      </p:sp>
      <p:sp>
        <p:nvSpPr>
          <p:cNvPr id="5" name="Marcador de contenido 4">
            <a:extLst>
              <a:ext uri="{FF2B5EF4-FFF2-40B4-BE49-F238E27FC236}">
                <a16:creationId xmlns:a16="http://schemas.microsoft.com/office/drawing/2014/main" id="{68D8833C-5D45-D136-D091-7E8BBA3095B3}"/>
              </a:ext>
            </a:extLst>
          </p:cNvPr>
          <p:cNvSpPr>
            <a:spLocks noGrp="1"/>
          </p:cNvSpPr>
          <p:nvPr>
            <p:ph sz="half" idx="13"/>
          </p:nvPr>
        </p:nvSpPr>
        <p:spPr>
          <a:xfrm>
            <a:off x="6964023" y="5328336"/>
            <a:ext cx="4588553" cy="837254"/>
          </a:xfrm>
        </p:spPr>
        <p:txBody>
          <a:bodyPr>
            <a:normAutofit fontScale="92500" lnSpcReduction="10000"/>
          </a:bodyPr>
          <a:lstStyle/>
          <a:p>
            <a:r>
              <a:rPr lang="es-ES" noProof="0" dirty="0"/>
              <a:t>Balizas </a:t>
            </a:r>
            <a:r>
              <a:rPr lang="es-ES" noProof="0" dirty="0" err="1"/>
              <a:t>indoor</a:t>
            </a:r>
            <a:r>
              <a:rPr lang="es-ES" noProof="0" dirty="0"/>
              <a:t>, balizas </a:t>
            </a:r>
            <a:r>
              <a:rPr lang="es-ES" noProof="0" dirty="0" err="1"/>
              <a:t>outdoor</a:t>
            </a:r>
            <a:r>
              <a:rPr lang="es-ES" noProof="0" dirty="0"/>
              <a:t>, cámaras cenitales, descripción de cliente GDPR de la Telco </a:t>
            </a:r>
            <a:r>
              <a:rPr lang="es-ES" noProof="0" dirty="0" err="1"/>
              <a:t>outdoor</a:t>
            </a:r>
            <a:r>
              <a:rPr lang="es-ES" noProof="0" dirty="0"/>
              <a:t>, Información de </a:t>
            </a:r>
            <a:r>
              <a:rPr lang="es-ES" noProof="0" dirty="0" err="1"/>
              <a:t>TPVs</a:t>
            </a:r>
            <a:endParaRPr lang="es-ES" noProof="0" dirty="0"/>
          </a:p>
        </p:txBody>
      </p:sp>
      <p:sp>
        <p:nvSpPr>
          <p:cNvPr id="2" name="Título 1">
            <a:extLst>
              <a:ext uri="{FF2B5EF4-FFF2-40B4-BE49-F238E27FC236}">
                <a16:creationId xmlns:a16="http://schemas.microsoft.com/office/drawing/2014/main" id="{AD3B8954-0D20-3745-DB46-C04FD91C2C05}"/>
              </a:ext>
            </a:extLst>
          </p:cNvPr>
          <p:cNvSpPr>
            <a:spLocks noGrp="1"/>
          </p:cNvSpPr>
          <p:nvPr>
            <p:ph type="title"/>
          </p:nvPr>
        </p:nvSpPr>
        <p:spPr>
          <a:xfrm>
            <a:off x="838200" y="365126"/>
            <a:ext cx="9840124" cy="1092200"/>
          </a:xfrm>
        </p:spPr>
        <p:txBody>
          <a:bodyPr/>
          <a:lstStyle/>
          <a:p>
            <a:r>
              <a:rPr lang="es-ES" noProof="0" dirty="0"/>
              <a:t>Análisis de eventos promociones en </a:t>
            </a:r>
            <a:r>
              <a:rPr lang="es-ES" noProof="0" dirty="0" err="1"/>
              <a:t>retail</a:t>
            </a:r>
            <a:endParaRPr lang="es-ES" noProof="0" dirty="0"/>
          </a:p>
        </p:txBody>
      </p:sp>
      <p:sp>
        <p:nvSpPr>
          <p:cNvPr id="6" name="Marcador de fecha 5">
            <a:extLst>
              <a:ext uri="{FF2B5EF4-FFF2-40B4-BE49-F238E27FC236}">
                <a16:creationId xmlns:a16="http://schemas.microsoft.com/office/drawing/2014/main" id="{6088D6D2-D830-C0FC-FB3D-7DB959FE6DC7}"/>
              </a:ext>
            </a:extLst>
          </p:cNvPr>
          <p:cNvSpPr>
            <a:spLocks noGrp="1"/>
          </p:cNvSpPr>
          <p:nvPr>
            <p:ph type="dt" sz="half" idx="14"/>
          </p:nvPr>
        </p:nvSpPr>
        <p:spPr>
          <a:xfrm>
            <a:off x="814650" y="6400379"/>
            <a:ext cx="3380278" cy="365125"/>
          </a:xfrm>
        </p:spPr>
        <p:txBody>
          <a:bodyPr/>
          <a:lstStyle/>
          <a:p>
            <a:fld id="{F39396DF-099A-4420-9FFB-83F80821C26D}"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F6C945D4-3247-6260-8186-EA154C42C80C}"/>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469F6ABB-8200-E64C-AA13-D3F7BA18E4ED}"/>
              </a:ext>
            </a:extLst>
          </p:cNvPr>
          <p:cNvSpPr>
            <a:spLocks noGrp="1"/>
          </p:cNvSpPr>
          <p:nvPr>
            <p:ph type="sldNum" sz="quarter" idx="16"/>
          </p:nvPr>
        </p:nvSpPr>
        <p:spPr>
          <a:xfrm>
            <a:off x="10801350" y="6421474"/>
            <a:ext cx="576000" cy="365125"/>
          </a:xfrm>
        </p:spPr>
        <p:txBody>
          <a:bodyPr/>
          <a:lstStyle/>
          <a:p>
            <a:fld id="{60C2D6D0-BB61-4192-9E39-15A42AC492C2}" type="slidenum">
              <a:rPr lang="es-ES" smtClean="0"/>
              <a:pPr/>
              <a:t>70</a:t>
            </a:fld>
            <a:endParaRPr lang="es-ES" dirty="0"/>
          </a:p>
        </p:txBody>
      </p:sp>
      <p:pic>
        <p:nvPicPr>
          <p:cNvPr id="18" name="Picture 2" descr="people standing near desk with makeup kits">
            <a:extLst>
              <a:ext uri="{FF2B5EF4-FFF2-40B4-BE49-F238E27FC236}">
                <a16:creationId xmlns:a16="http://schemas.microsoft.com/office/drawing/2014/main" id="{41AFBFAB-A246-5309-2DC0-0CF9267EA620}"/>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7554040" y="1643063"/>
            <a:ext cx="3594257" cy="2613025"/>
          </a:xfrm>
        </p:spPr>
      </p:pic>
    </p:spTree>
    <p:extLst>
      <p:ext uri="{BB962C8B-B14F-4D97-AF65-F5344CB8AC3E}">
        <p14:creationId xmlns:p14="http://schemas.microsoft.com/office/powerpoint/2010/main" val="10321940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7DAC0-C4F1-D8CC-BE12-516A7216CF00}"/>
            </a:ext>
          </a:extLst>
        </p:cNvPr>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AEE65988-F8DE-F4E7-0870-FFF8C0872690}"/>
              </a:ext>
            </a:extLst>
          </p:cNvPr>
          <p:cNvSpPr>
            <a:spLocks noGrp="1"/>
          </p:cNvSpPr>
          <p:nvPr>
            <p:ph sz="half" idx="1"/>
          </p:nvPr>
        </p:nvSpPr>
        <p:spPr>
          <a:xfrm>
            <a:off x="270309" y="2241755"/>
            <a:ext cx="6387666" cy="3923835"/>
          </a:xfrm>
        </p:spPr>
        <p:txBody>
          <a:bodyPr/>
          <a:lstStyle/>
          <a:p>
            <a:r>
              <a:rPr lang="es-ES" noProof="0" dirty="0"/>
              <a:t>Ajuste más exacto entre el precio de la póliza y el riesgo representado en éste.</a:t>
            </a:r>
          </a:p>
          <a:p>
            <a:r>
              <a:rPr lang="es-ES" noProof="0" dirty="0"/>
              <a:t>Ventaja competitiva con respecto a otras compañías que no utilizan nuevas variables | variables disruptivas</a:t>
            </a:r>
          </a:p>
          <a:p>
            <a:endParaRPr lang="es-ES" noProof="0" dirty="0"/>
          </a:p>
        </p:txBody>
      </p:sp>
      <p:pic>
        <p:nvPicPr>
          <p:cNvPr id="10" name="Picture 2" descr="vintage adding machine">
            <a:extLst>
              <a:ext uri="{FF2B5EF4-FFF2-40B4-BE49-F238E27FC236}">
                <a16:creationId xmlns:a16="http://schemas.microsoft.com/office/drawing/2014/main" id="{F0468041-6132-DA6F-43CC-BDEA32DFD0A7}"/>
              </a:ext>
            </a:extLst>
          </p:cNvPr>
          <p:cNvPicPr>
            <a:picLocks noGrp="1" noChangeAspect="1" noChangeArrowheads="1"/>
          </p:cNvPicPr>
          <p:nvPr>
            <p:ph sz="half" idx="2"/>
          </p:nvPr>
        </p:nvPicPr>
        <p:blipFill>
          <a:blip r:embed="rId2" cstate="email">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bwMode="auto">
          <a:xfrm>
            <a:off x="7394989" y="1643063"/>
            <a:ext cx="3912359" cy="2613025"/>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30630979-A8FE-89A5-CDAA-B7C074E77816}"/>
              </a:ext>
            </a:extLst>
          </p:cNvPr>
          <p:cNvSpPr>
            <a:spLocks noGrp="1"/>
          </p:cNvSpPr>
          <p:nvPr>
            <p:ph sz="half" idx="13"/>
          </p:nvPr>
        </p:nvSpPr>
        <p:spPr>
          <a:xfrm>
            <a:off x="6779991" y="4902762"/>
            <a:ext cx="5141700" cy="1452030"/>
          </a:xfrm>
        </p:spPr>
        <p:txBody>
          <a:bodyPr>
            <a:normAutofit fontScale="85000" lnSpcReduction="20000"/>
          </a:bodyPr>
          <a:lstStyle/>
          <a:p>
            <a:r>
              <a:rPr lang="es-ES" noProof="0" dirty="0"/>
              <a:t>Condiciones atmosféricas: lluvia, humedad, sequía, terremotos, viento etc. | </a:t>
            </a:r>
          </a:p>
          <a:p>
            <a:r>
              <a:rPr lang="es-ES" noProof="0" dirty="0"/>
              <a:t>Nivel presumible de Renta + Estudios para definir el estilo de vida. | Número posible de Personas que habitan la vivienda. | Delincuencia | Localización: rio, despoblados, casco urbano. | Imágenes satelitales.</a:t>
            </a:r>
          </a:p>
        </p:txBody>
      </p:sp>
      <p:sp>
        <p:nvSpPr>
          <p:cNvPr id="5" name="Título 4">
            <a:extLst>
              <a:ext uri="{FF2B5EF4-FFF2-40B4-BE49-F238E27FC236}">
                <a16:creationId xmlns:a16="http://schemas.microsoft.com/office/drawing/2014/main" id="{144F1D5B-1810-4C73-0FDB-8F0635DF5F0D}"/>
              </a:ext>
            </a:extLst>
          </p:cNvPr>
          <p:cNvSpPr>
            <a:spLocks noGrp="1"/>
          </p:cNvSpPr>
          <p:nvPr>
            <p:ph type="title"/>
          </p:nvPr>
        </p:nvSpPr>
        <p:spPr>
          <a:xfrm>
            <a:off x="838200" y="365126"/>
            <a:ext cx="9840124" cy="1092200"/>
          </a:xfrm>
        </p:spPr>
        <p:txBody>
          <a:bodyPr>
            <a:normAutofit fontScale="90000"/>
          </a:bodyPr>
          <a:lstStyle/>
          <a:p>
            <a:r>
              <a:rPr lang="es-ES" noProof="0" dirty="0" err="1"/>
              <a:t>Pricing</a:t>
            </a:r>
            <a:r>
              <a:rPr lang="es-ES" noProof="0" dirty="0"/>
              <a:t>. Precio de un multirriesgo más exacto al usar nuevas variables explicativas del Riesgo</a:t>
            </a:r>
          </a:p>
        </p:txBody>
      </p:sp>
      <p:sp>
        <p:nvSpPr>
          <p:cNvPr id="6" name="Marcador de fecha 5">
            <a:extLst>
              <a:ext uri="{FF2B5EF4-FFF2-40B4-BE49-F238E27FC236}">
                <a16:creationId xmlns:a16="http://schemas.microsoft.com/office/drawing/2014/main" id="{D407B693-F501-DE57-A313-C42A138F1A30}"/>
              </a:ext>
            </a:extLst>
          </p:cNvPr>
          <p:cNvSpPr>
            <a:spLocks noGrp="1"/>
          </p:cNvSpPr>
          <p:nvPr>
            <p:ph type="dt" sz="half" idx="14"/>
          </p:nvPr>
        </p:nvSpPr>
        <p:spPr>
          <a:xfrm>
            <a:off x="814650" y="6400379"/>
            <a:ext cx="3380278" cy="365125"/>
          </a:xfrm>
        </p:spPr>
        <p:txBody>
          <a:bodyPr/>
          <a:lstStyle/>
          <a:p>
            <a:fld id="{68C8705C-96DF-4981-81CC-ADC530D88F08}"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F1C7F2FA-3F20-3D6E-413F-9EF01F567EAD}"/>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23D193C9-F029-2343-E1A6-4351B6BAAABC}"/>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71</a:t>
            </a:fld>
            <a:endParaRPr lang="es-ES" dirty="0"/>
          </a:p>
        </p:txBody>
      </p:sp>
    </p:spTree>
    <p:extLst>
      <p:ext uri="{BB962C8B-B14F-4D97-AF65-F5344CB8AC3E}">
        <p14:creationId xmlns:p14="http://schemas.microsoft.com/office/powerpoint/2010/main" val="23296083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17ACB-8636-289F-E446-29AC9CBF361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1980A65-6CDE-80E0-9C72-184C8503FDA1}"/>
              </a:ext>
            </a:extLst>
          </p:cNvPr>
          <p:cNvSpPr>
            <a:spLocks noGrp="1"/>
          </p:cNvSpPr>
          <p:nvPr>
            <p:ph type="title"/>
          </p:nvPr>
        </p:nvSpPr>
        <p:spPr>
          <a:xfrm>
            <a:off x="341194" y="3814618"/>
            <a:ext cx="4932769" cy="1876594"/>
          </a:xfrm>
        </p:spPr>
        <p:txBody>
          <a:bodyPr/>
          <a:lstStyle/>
          <a:p>
            <a:r>
              <a:rPr lang="es-ES" noProof="0" dirty="0"/>
              <a:t>Inteligencia artificial…</a:t>
            </a:r>
            <a:br>
              <a:rPr lang="es-ES" noProof="0" dirty="0"/>
            </a:br>
            <a:r>
              <a:rPr lang="es-ES" noProof="0" dirty="0"/>
              <a:t>… tan difícil la frontera</a:t>
            </a:r>
          </a:p>
        </p:txBody>
      </p:sp>
      <p:sp>
        <p:nvSpPr>
          <p:cNvPr id="11" name="Marcador de posición de imagen 10">
            <a:extLst>
              <a:ext uri="{FF2B5EF4-FFF2-40B4-BE49-F238E27FC236}">
                <a16:creationId xmlns:a16="http://schemas.microsoft.com/office/drawing/2014/main" id="{7B6B0C09-8CF5-07C8-25BB-8C7DB687635B}"/>
              </a:ext>
            </a:extLst>
          </p:cNvPr>
          <p:cNvSpPr>
            <a:spLocks noGrp="1"/>
          </p:cNvSpPr>
          <p:nvPr>
            <p:ph type="pic" sz="quarter" idx="13"/>
          </p:nvPr>
        </p:nvSpPr>
        <p:spPr/>
        <p:txBody>
          <a:bodyPr/>
          <a:lstStyle/>
          <a:p>
            <a:endParaRPr lang="es-ES" dirty="0"/>
          </a:p>
        </p:txBody>
      </p:sp>
      <p:sp>
        <p:nvSpPr>
          <p:cNvPr id="3" name="Marcador de fecha 2">
            <a:extLst>
              <a:ext uri="{FF2B5EF4-FFF2-40B4-BE49-F238E27FC236}">
                <a16:creationId xmlns:a16="http://schemas.microsoft.com/office/drawing/2014/main" id="{DD05CC26-F594-E3EE-B093-5985E7D392C5}"/>
              </a:ext>
            </a:extLst>
          </p:cNvPr>
          <p:cNvSpPr>
            <a:spLocks noGrp="1"/>
          </p:cNvSpPr>
          <p:nvPr>
            <p:ph type="dt" sz="half" idx="14"/>
          </p:nvPr>
        </p:nvSpPr>
        <p:spPr>
          <a:xfrm>
            <a:off x="814650" y="6400379"/>
            <a:ext cx="3380278" cy="365125"/>
          </a:xfrm>
        </p:spPr>
        <p:txBody>
          <a:bodyPr/>
          <a:lstStyle/>
          <a:p>
            <a:fld id="{2A3EB9B6-9BAF-49F6-83A7-E8147DCAD846}"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DEA2CBA-3BB2-C3A9-EC0D-564DEA8F0664}"/>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4D92A38-0DF4-E85D-FBCC-F80064E7F5DE}"/>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72</a:t>
            </a:fld>
            <a:endParaRPr lang="es-ES" dirty="0"/>
          </a:p>
        </p:txBody>
      </p:sp>
      <p:sp>
        <p:nvSpPr>
          <p:cNvPr id="6" name="CuadroTexto 5">
            <a:extLst>
              <a:ext uri="{FF2B5EF4-FFF2-40B4-BE49-F238E27FC236}">
                <a16:creationId xmlns:a16="http://schemas.microsoft.com/office/drawing/2014/main" id="{E227ABA5-8A69-DBD9-21E9-C7735BE61837}"/>
              </a:ext>
            </a:extLst>
          </p:cNvPr>
          <p:cNvSpPr txBox="1"/>
          <p:nvPr/>
        </p:nvSpPr>
        <p:spPr>
          <a:xfrm>
            <a:off x="5851626" y="1113398"/>
            <a:ext cx="4450614" cy="4376967"/>
          </a:xfrm>
          <a:prstGeom prst="rect">
            <a:avLst/>
          </a:prstGeom>
          <a:noFill/>
        </p:spPr>
        <p:txBody>
          <a:bodyPr wrap="square">
            <a:spAutoFit/>
          </a:bodyPr>
          <a:lstStyle/>
          <a:p>
            <a:pPr>
              <a:lnSpc>
                <a:spcPct val="115000"/>
              </a:lnSpc>
              <a:spcBef>
                <a:spcPts val="375"/>
              </a:spcBef>
              <a:spcAft>
                <a:spcPts val="750"/>
              </a:spcAft>
            </a:pPr>
            <a:r>
              <a:rPr lang="es-ES" b="1" dirty="0">
                <a:latin typeface="Courier New" panose="02070309020205020404" pitchFamily="49" charset="0"/>
                <a:ea typeface="Times New Roman" panose="02020603050405020304" pitchFamily="18" charset="0"/>
                <a:cs typeface="Courier New" panose="02070309020205020404" pitchFamily="49" charset="0"/>
              </a:rPr>
              <a:t>La inteligencia artificial es la simulación de las capacidades cognitivas humanas en máquinas programadas mediante algoritmos matemáticos para que aprendan, razonen y actúen de forma autónoma y conviertan los datos en Información</a:t>
            </a:r>
          </a:p>
          <a:p>
            <a:pPr>
              <a:lnSpc>
                <a:spcPct val="115000"/>
              </a:lnSpc>
              <a:spcBef>
                <a:spcPts val="375"/>
              </a:spcBef>
              <a:spcAft>
                <a:spcPts val="750"/>
              </a:spcAft>
            </a:pPr>
            <a:r>
              <a:rPr lang="es-ES" b="1" dirty="0">
                <a:latin typeface="Courier New" panose="02070309020205020404" pitchFamily="49" charset="0"/>
                <a:ea typeface="Times New Roman" panose="02020603050405020304" pitchFamily="18" charset="0"/>
                <a:cs typeface="Courier New" panose="02070309020205020404" pitchFamily="49" charset="0"/>
              </a:rPr>
              <a:t>No es un futuro, es un presente y aplica ya a todos los sectores: Primario, secundario y terciario</a:t>
            </a:r>
          </a:p>
        </p:txBody>
      </p:sp>
      <p:pic>
        <p:nvPicPr>
          <p:cNvPr id="13" name="Marcador de posición de imagen 9" descr="Imagen que contiene Texto&#10;&#10;Descripción generada automáticamente">
            <a:extLst>
              <a:ext uri="{FF2B5EF4-FFF2-40B4-BE49-F238E27FC236}">
                <a16:creationId xmlns:a16="http://schemas.microsoft.com/office/drawing/2014/main" id="{1B58E521-25C5-A7BE-309F-C9666696E00E}"/>
              </a:ext>
            </a:extLst>
          </p:cNvPr>
          <p:cNvPicPr>
            <a:picLocks noChangeAspect="1"/>
          </p:cNvPicPr>
          <p:nvPr/>
        </p:nvPicPr>
        <p:blipFill rotWithShape="1">
          <a:blip r:embed="rId2">
            <a:extLst>
              <a:ext uri="{28A0092B-C50C-407E-A947-70E740481C1C}">
                <a14:useLocalDpi xmlns:a14="http://schemas.microsoft.com/office/drawing/2010/main" val="0"/>
              </a:ext>
            </a:extLst>
          </a:blip>
          <a:srcRect t="-102"/>
          <a:stretch/>
        </p:blipFill>
        <p:spPr>
          <a:xfrm>
            <a:off x="360363" y="114300"/>
            <a:ext cx="4932362" cy="4133850"/>
          </a:xfrm>
          <a:prstGeom prst="rect">
            <a:avLst/>
          </a:prstGeom>
        </p:spPr>
      </p:pic>
    </p:spTree>
    <p:extLst>
      <p:ext uri="{BB962C8B-B14F-4D97-AF65-F5344CB8AC3E}">
        <p14:creationId xmlns:p14="http://schemas.microsoft.com/office/powerpoint/2010/main" val="21954407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5477B-C6E7-5F86-730E-68606699584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9B11885-E30C-1F82-E0E6-454FA8058295}"/>
              </a:ext>
            </a:extLst>
          </p:cNvPr>
          <p:cNvSpPr>
            <a:spLocks noGrp="1"/>
          </p:cNvSpPr>
          <p:nvPr>
            <p:ph type="title"/>
          </p:nvPr>
        </p:nvSpPr>
        <p:spPr>
          <a:xfrm>
            <a:off x="838200" y="365126"/>
            <a:ext cx="9840124" cy="1092200"/>
          </a:xfrm>
        </p:spPr>
        <p:txBody>
          <a:bodyPr>
            <a:normAutofit/>
          </a:bodyPr>
          <a:lstStyle/>
          <a:p>
            <a:r>
              <a:rPr lang="es-ES" noProof="0" dirty="0"/>
              <a:t>Definición de IA</a:t>
            </a:r>
          </a:p>
        </p:txBody>
      </p:sp>
      <p:graphicFrame>
        <p:nvGraphicFramePr>
          <p:cNvPr id="10" name="Marcador de contenido 9">
            <a:extLst>
              <a:ext uri="{FF2B5EF4-FFF2-40B4-BE49-F238E27FC236}">
                <a16:creationId xmlns:a16="http://schemas.microsoft.com/office/drawing/2014/main" id="{4B6D2A57-68C7-126D-8B00-7454FDF16774}"/>
              </a:ext>
            </a:extLst>
          </p:cNvPr>
          <p:cNvGraphicFramePr>
            <a:graphicFrameLocks noGrp="1"/>
          </p:cNvGraphicFramePr>
          <p:nvPr>
            <p:ph sz="half" idx="1"/>
            <p:extLst>
              <p:ext uri="{D42A27DB-BD31-4B8C-83A1-F6EECF244321}">
                <p14:modId xmlns:p14="http://schemas.microsoft.com/office/powerpoint/2010/main" val="5305373"/>
              </p:ext>
            </p:extLst>
          </p:nvPr>
        </p:nvGraphicFramePr>
        <p:xfrm>
          <a:off x="2927350" y="1457326"/>
          <a:ext cx="8821738" cy="48619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Inteligencia Artificial para explorar complejos teoremas matemáticos">
            <a:extLst>
              <a:ext uri="{FF2B5EF4-FFF2-40B4-BE49-F238E27FC236}">
                <a16:creationId xmlns:a16="http://schemas.microsoft.com/office/drawing/2014/main" id="{1624F62E-4E58-FBA6-3FE0-376EBE1FCCC7}"/>
              </a:ext>
            </a:extLst>
          </p:cNvPr>
          <p:cNvPicPr>
            <a:picLocks noGrp="1" noChangeAspect="1" noChangeArrowheads="1"/>
          </p:cNvPicPr>
          <p:nvPr>
            <p:ph sz="quarter" idx="13"/>
          </p:nvPr>
        </p:nvPicPr>
        <p:blipFill>
          <a:blip r:embed="rId7">
            <a:extLst>
              <a:ext uri="{28A0092B-C50C-407E-A947-70E740481C1C}">
                <a14:useLocalDpi xmlns:a14="http://schemas.microsoft.com/office/drawing/2010/main" val="0"/>
              </a:ext>
            </a:extLst>
          </a:blip>
          <a:stretch>
            <a:fillRect/>
          </a:stretch>
        </p:blipFill>
        <p:spPr bwMode="auto">
          <a:xfrm>
            <a:off x="666750" y="3044984"/>
            <a:ext cx="2160588" cy="1728470"/>
          </a:xfrm>
          <a:noFill/>
          <a:extLst>
            <a:ext uri="{909E8E84-426E-40DD-AFC4-6F175D3DCCD1}">
              <a14:hiddenFill xmlns:a14="http://schemas.microsoft.com/office/drawing/2010/main">
                <a:solidFill>
                  <a:srgbClr val="FFFFFF"/>
                </a:solidFill>
              </a14:hiddenFill>
            </a:ext>
          </a:extLst>
        </p:spPr>
      </p:pic>
      <p:sp>
        <p:nvSpPr>
          <p:cNvPr id="13" name="Marcador de fecha 2">
            <a:extLst>
              <a:ext uri="{FF2B5EF4-FFF2-40B4-BE49-F238E27FC236}">
                <a16:creationId xmlns:a16="http://schemas.microsoft.com/office/drawing/2014/main" id="{4D2538B0-03BE-5FE7-FD8A-9C011267C4B7}"/>
              </a:ext>
            </a:extLst>
          </p:cNvPr>
          <p:cNvSpPr>
            <a:spLocks noGrp="1"/>
          </p:cNvSpPr>
          <p:nvPr>
            <p:ph type="dt" sz="half" idx="14"/>
          </p:nvPr>
        </p:nvSpPr>
        <p:spPr>
          <a:xfrm>
            <a:off x="814650" y="6400379"/>
            <a:ext cx="3380278" cy="365125"/>
          </a:xfrm>
        </p:spPr>
        <p:txBody>
          <a:bodyPr/>
          <a:lstStyle/>
          <a:p>
            <a:fld id="{C1B2343C-7EB7-44FC-8F2B-7F5A1C0CD4BE}" type="datetime2">
              <a:rPr lang="es-ES" smtClean="0"/>
              <a:pPr/>
              <a:t>jueves, 19 de septiembre de 2024</a:t>
            </a:fld>
            <a:endParaRPr lang="es-ES" dirty="0"/>
          </a:p>
        </p:txBody>
      </p:sp>
      <p:sp>
        <p:nvSpPr>
          <p:cNvPr id="14" name="Marcador de pie de página 10">
            <a:extLst>
              <a:ext uri="{FF2B5EF4-FFF2-40B4-BE49-F238E27FC236}">
                <a16:creationId xmlns:a16="http://schemas.microsoft.com/office/drawing/2014/main" id="{37FCC542-2BE8-0FE2-4A58-6090AB57D8AD}"/>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15" name="Marcador de número de diapositiva 11">
            <a:extLst>
              <a:ext uri="{FF2B5EF4-FFF2-40B4-BE49-F238E27FC236}">
                <a16:creationId xmlns:a16="http://schemas.microsoft.com/office/drawing/2014/main" id="{EFC56CD8-02DC-B24C-F029-A2A99B18F3C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73</a:t>
            </a:fld>
            <a:endParaRPr lang="es-ES" dirty="0"/>
          </a:p>
        </p:txBody>
      </p:sp>
      <p:sp>
        <p:nvSpPr>
          <p:cNvPr id="5" name="CustomShape 6">
            <a:extLst>
              <a:ext uri="{FF2B5EF4-FFF2-40B4-BE49-F238E27FC236}">
                <a16:creationId xmlns:a16="http://schemas.microsoft.com/office/drawing/2014/main" id="{6A7F0D58-9F10-FE45-71B6-259CAB4C5D02}"/>
              </a:ext>
            </a:extLst>
          </p:cNvPr>
          <p:cNvSpPr/>
          <p:nvPr/>
        </p:nvSpPr>
        <p:spPr>
          <a:xfrm>
            <a:off x="10282160" y="5542000"/>
            <a:ext cx="1909840" cy="950874"/>
          </a:xfrm>
          <a:prstGeom prst="stripedRightArrow">
            <a:avLst/>
          </a:prstGeom>
          <a:solidFill>
            <a:srgbClr val="FFFF00"/>
          </a:solidFill>
          <a:ln>
            <a:solidFill>
              <a:schemeClr val="accent1"/>
            </a:solidFill>
          </a:ln>
        </p:spPr>
        <p:txBody>
          <a:bodyPr wrap="square" lIns="90000" tIns="45000" rIns="90000" bIns="45000" anchor="ctr" anchorCtr="1">
            <a:spAutoFit/>
          </a:bodyPr>
          <a:lstStyle/>
          <a:p>
            <a:pPr>
              <a:lnSpc>
                <a:spcPct val="90000"/>
              </a:lnSpc>
            </a:pPr>
            <a:r>
              <a:rPr lang="es-ES" sz="2800" b="1" dirty="0">
                <a:latin typeface="Arial Narrow" panose="020B0606020202030204" pitchFamily="34" charset="0"/>
                <a:ea typeface="Roboto"/>
              </a:rPr>
              <a:t>para</a:t>
            </a:r>
            <a:endParaRPr sz="2800" b="1" dirty="0">
              <a:latin typeface="Arial Narrow" panose="020B0606020202030204" pitchFamily="34" charset="0"/>
            </a:endParaRPr>
          </a:p>
        </p:txBody>
      </p:sp>
    </p:spTree>
    <p:extLst>
      <p:ext uri="{BB962C8B-B14F-4D97-AF65-F5344CB8AC3E}">
        <p14:creationId xmlns:p14="http://schemas.microsoft.com/office/powerpoint/2010/main" val="32201292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5296A2-0297-CCA4-926C-CD89349DFDFB}"/>
              </a:ext>
            </a:extLst>
          </p:cNvPr>
          <p:cNvSpPr>
            <a:spLocks noGrp="1"/>
          </p:cNvSpPr>
          <p:nvPr>
            <p:ph type="title"/>
          </p:nvPr>
        </p:nvSpPr>
        <p:spPr>
          <a:xfrm>
            <a:off x="838200" y="365126"/>
            <a:ext cx="9840124" cy="1092200"/>
          </a:xfrm>
        </p:spPr>
        <p:txBody>
          <a:bodyPr/>
          <a:lstStyle/>
          <a:p>
            <a:r>
              <a:rPr lang="es-ES" noProof="0" dirty="0"/>
              <a:t>Lo que se consigue con la Inteligencia Artificial</a:t>
            </a:r>
          </a:p>
        </p:txBody>
      </p:sp>
      <p:graphicFrame>
        <p:nvGraphicFramePr>
          <p:cNvPr id="9" name="Marcador de contenido 8">
            <a:extLst>
              <a:ext uri="{FF2B5EF4-FFF2-40B4-BE49-F238E27FC236}">
                <a16:creationId xmlns:a16="http://schemas.microsoft.com/office/drawing/2014/main" id="{FA04101E-4B89-8FAF-4C80-94FA737BBC46}"/>
              </a:ext>
            </a:extLst>
          </p:cNvPr>
          <p:cNvGraphicFramePr>
            <a:graphicFrameLocks noGrp="1"/>
          </p:cNvGraphicFramePr>
          <p:nvPr>
            <p:ph sz="half" idx="1"/>
            <p:extLst>
              <p:ext uri="{D42A27DB-BD31-4B8C-83A1-F6EECF244321}">
                <p14:modId xmlns:p14="http://schemas.microsoft.com/office/powerpoint/2010/main" val="2099724126"/>
              </p:ext>
            </p:extLst>
          </p:nvPr>
        </p:nvGraphicFramePr>
        <p:xfrm>
          <a:off x="2927350" y="1863725"/>
          <a:ext cx="8821738" cy="4211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2" descr="Deliverable Juicy Fish Soft-fill icon">
            <a:extLst>
              <a:ext uri="{FF2B5EF4-FFF2-40B4-BE49-F238E27FC236}">
                <a16:creationId xmlns:a16="http://schemas.microsoft.com/office/drawing/2014/main" id="{2FDFD4A1-7160-574B-3610-A29D0D2E969A}"/>
              </a:ext>
            </a:extLst>
          </p:cNvPr>
          <p:cNvPicPr>
            <a:picLocks noGrp="1" noChangeAspect="1" noChangeArrowheads="1"/>
          </p:cNvPicPr>
          <p:nvPr>
            <p:ph sz="quarter" idx="13"/>
          </p:nvPr>
        </p:nvPicPr>
        <p:blipFill>
          <a:blip r:embed="rId7">
            <a:extLst>
              <a:ext uri="{28A0092B-C50C-407E-A947-70E740481C1C}">
                <a14:useLocalDpi xmlns:a14="http://schemas.microsoft.com/office/drawing/2010/main" val="0"/>
              </a:ext>
            </a:extLst>
          </a:blip>
          <a:stretch>
            <a:fillRect/>
          </a:stretch>
        </p:blipFill>
        <p:spPr bwMode="auto">
          <a:xfrm>
            <a:off x="666750" y="2828925"/>
            <a:ext cx="2160000" cy="2160000"/>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FE116FAD-0F9E-F184-1B06-76D83C5C20FE}"/>
              </a:ext>
            </a:extLst>
          </p:cNvPr>
          <p:cNvSpPr>
            <a:spLocks noGrp="1"/>
          </p:cNvSpPr>
          <p:nvPr>
            <p:ph type="dt" sz="half" idx="14"/>
          </p:nvPr>
        </p:nvSpPr>
        <p:spPr>
          <a:xfrm>
            <a:off x="814650" y="6400379"/>
            <a:ext cx="3380278" cy="365125"/>
          </a:xfrm>
        </p:spPr>
        <p:txBody>
          <a:bodyPr/>
          <a:lstStyle/>
          <a:p>
            <a:fld id="{86DD9EBA-F3E5-4964-A146-4B680ACC1BAC}"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85789108-AD7F-92EB-4AD7-3B49AB2610C7}"/>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672E823F-FCAF-0BE0-2B63-0E464F6F3F87}"/>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74</a:t>
            </a:fld>
            <a:endParaRPr lang="es-ES" dirty="0"/>
          </a:p>
        </p:txBody>
      </p:sp>
    </p:spTree>
    <p:extLst>
      <p:ext uri="{BB962C8B-B14F-4D97-AF65-F5344CB8AC3E}">
        <p14:creationId xmlns:p14="http://schemas.microsoft.com/office/powerpoint/2010/main" val="36617198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AD4719-0FC9-AD8B-BF2E-D534B9FF6FC4}"/>
              </a:ext>
            </a:extLst>
          </p:cNvPr>
          <p:cNvSpPr>
            <a:spLocks noGrp="1"/>
          </p:cNvSpPr>
          <p:nvPr>
            <p:ph type="title"/>
          </p:nvPr>
        </p:nvSpPr>
        <p:spPr>
          <a:xfrm>
            <a:off x="838200" y="365126"/>
            <a:ext cx="9840124" cy="1092200"/>
          </a:xfrm>
        </p:spPr>
        <p:txBody>
          <a:bodyPr/>
          <a:lstStyle/>
          <a:p>
            <a:r>
              <a:rPr lang="es-ES" noProof="0" dirty="0"/>
              <a:t>Dos tipos de inteligencia artificial: Tradicional “vs” Generativa</a:t>
            </a:r>
          </a:p>
        </p:txBody>
      </p:sp>
      <p:graphicFrame>
        <p:nvGraphicFramePr>
          <p:cNvPr id="10" name="Marcador de contenido 9">
            <a:extLst>
              <a:ext uri="{FF2B5EF4-FFF2-40B4-BE49-F238E27FC236}">
                <a16:creationId xmlns:a16="http://schemas.microsoft.com/office/drawing/2014/main" id="{824437E9-B0CB-B88E-778F-38182F257320}"/>
              </a:ext>
            </a:extLst>
          </p:cNvPr>
          <p:cNvGraphicFramePr>
            <a:graphicFrameLocks noGrp="1"/>
          </p:cNvGraphicFramePr>
          <p:nvPr>
            <p:ph idx="1"/>
            <p:extLst>
              <p:ext uri="{D42A27DB-BD31-4B8C-83A1-F6EECF244321}">
                <p14:modId xmlns:p14="http://schemas.microsoft.com/office/powerpoint/2010/main" val="2420141352"/>
              </p:ext>
            </p:extLst>
          </p:nvPr>
        </p:nvGraphicFramePr>
        <p:xfrm>
          <a:off x="838200" y="1825625"/>
          <a:ext cx="10800001" cy="3754120"/>
        </p:xfrm>
        <a:graphic>
          <a:graphicData uri="http://schemas.openxmlformats.org/drawingml/2006/table">
            <a:tbl>
              <a:tblPr firstRow="1" firstCol="1" bandRow="1">
                <a:tableStyleId>{5C22544A-7EE6-4342-B048-85BDC9FD1C3A}</a:tableStyleId>
              </a:tblPr>
              <a:tblGrid>
                <a:gridCol w="1538075">
                  <a:extLst>
                    <a:ext uri="{9D8B030D-6E8A-4147-A177-3AD203B41FA5}">
                      <a16:colId xmlns:a16="http://schemas.microsoft.com/office/drawing/2014/main" val="826550695"/>
                    </a:ext>
                  </a:extLst>
                </a:gridCol>
                <a:gridCol w="4352362">
                  <a:extLst>
                    <a:ext uri="{9D8B030D-6E8A-4147-A177-3AD203B41FA5}">
                      <a16:colId xmlns:a16="http://schemas.microsoft.com/office/drawing/2014/main" val="2094751492"/>
                    </a:ext>
                  </a:extLst>
                </a:gridCol>
                <a:gridCol w="4909564">
                  <a:extLst>
                    <a:ext uri="{9D8B030D-6E8A-4147-A177-3AD203B41FA5}">
                      <a16:colId xmlns:a16="http://schemas.microsoft.com/office/drawing/2014/main" val="161547014"/>
                    </a:ext>
                  </a:extLst>
                </a:gridCol>
              </a:tblGrid>
              <a:tr h="370840">
                <a:tc>
                  <a:txBody>
                    <a:bodyPr/>
                    <a:lstStyle/>
                    <a:p>
                      <a:endParaRPr lang="es-ES" sz="1800" dirty="0"/>
                    </a:p>
                  </a:txBody>
                  <a:tcPr/>
                </a:tc>
                <a:tc>
                  <a:txBody>
                    <a:bodyPr/>
                    <a:lstStyle/>
                    <a:p>
                      <a:r>
                        <a:rPr lang="es-ES" sz="1800" dirty="0"/>
                        <a:t>IA Tradicional</a:t>
                      </a:r>
                    </a:p>
                  </a:txBody>
                  <a:tcPr/>
                </a:tc>
                <a:tc>
                  <a:txBody>
                    <a:bodyPr/>
                    <a:lstStyle/>
                    <a:p>
                      <a:r>
                        <a:rPr lang="es-ES" sz="1800" dirty="0"/>
                        <a:t>IA Generativa</a:t>
                      </a:r>
                    </a:p>
                  </a:txBody>
                  <a:tcPr/>
                </a:tc>
                <a:extLst>
                  <a:ext uri="{0D108BD9-81ED-4DB2-BD59-A6C34878D82A}">
                    <a16:rowId xmlns:a16="http://schemas.microsoft.com/office/drawing/2014/main" val="3791628254"/>
                  </a:ext>
                </a:extLst>
              </a:tr>
              <a:tr h="370840">
                <a:tc>
                  <a:txBody>
                    <a:bodyPr/>
                    <a:lstStyle/>
                    <a:p>
                      <a:r>
                        <a:rPr lang="es-ES" sz="1800" dirty="0"/>
                        <a:t>Enfoqu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Se basa en reglas y algoritmos predefinidos, siguiendo instrucciones explícitas para realizar tareas específicas.</a:t>
                      </a:r>
                      <a:endParaRPr lang="es-E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Se basa en aprendizaje automático y redes neuronales profundas para aprender patrones y estructuras a partir de grandes conjuntos de datos.</a:t>
                      </a:r>
                      <a:endParaRPr lang="es-ES" sz="1800" dirty="0"/>
                    </a:p>
                  </a:txBody>
                  <a:tcPr/>
                </a:tc>
                <a:extLst>
                  <a:ext uri="{0D108BD9-81ED-4DB2-BD59-A6C34878D82A}">
                    <a16:rowId xmlns:a16="http://schemas.microsoft.com/office/drawing/2014/main" val="1001894560"/>
                  </a:ext>
                </a:extLst>
              </a:tr>
              <a:tr h="370840">
                <a:tc>
                  <a:txBody>
                    <a:bodyPr/>
                    <a:lstStyle/>
                    <a:p>
                      <a:r>
                        <a:rPr lang="es-ES" sz="1800" dirty="0"/>
                        <a:t>Ejemplo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Reconocimiento facial, traducción automática, clasificación de imágenes, chatbots basados en reglas.</a:t>
                      </a:r>
                      <a:endParaRPr lang="es-E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Generación de imágenes, música, textos, código, diseño de productos, chatbots conversacionales.</a:t>
                      </a:r>
                      <a:endParaRPr lang="es-ES" sz="1800" dirty="0"/>
                    </a:p>
                  </a:txBody>
                  <a:tcPr/>
                </a:tc>
                <a:extLst>
                  <a:ext uri="{0D108BD9-81ED-4DB2-BD59-A6C34878D82A}">
                    <a16:rowId xmlns:a16="http://schemas.microsoft.com/office/drawing/2014/main" val="1083369642"/>
                  </a:ext>
                </a:extLst>
              </a:tr>
              <a:tr h="370840">
                <a:tc>
                  <a:txBody>
                    <a:bodyPr/>
                    <a:lstStyle/>
                    <a:p>
                      <a:r>
                        <a:rPr lang="es-ES" sz="1800" dirty="0"/>
                        <a:t>Limitacion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Requiere una gran cantidad de reglas y datos predefinidos, lo que limita su capacidad para adaptarse a nuevas situaciones o tareas.</a:t>
                      </a:r>
                      <a:endParaRPr lang="es-E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Mayor adaptabilidad a nuevas situaciones y tareas, capacidad para generar contenido nuevo y original.</a:t>
                      </a:r>
                      <a:endParaRPr lang="es-ES" sz="1800" dirty="0"/>
                    </a:p>
                  </a:txBody>
                  <a:tcPr/>
                </a:tc>
                <a:extLst>
                  <a:ext uri="{0D108BD9-81ED-4DB2-BD59-A6C34878D82A}">
                    <a16:rowId xmlns:a16="http://schemas.microsoft.com/office/drawing/2014/main" val="1170239059"/>
                  </a:ext>
                </a:extLst>
              </a:tr>
              <a:tr h="370840">
                <a:tc>
                  <a:txBody>
                    <a:bodyPr/>
                    <a:lstStyle/>
                    <a:p>
                      <a:r>
                        <a:rPr lang="es-ES" sz="1800" dirty="0"/>
                        <a:t>Creatividad</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Poca o ninguna.</a:t>
                      </a:r>
                      <a:endParaRPr lang="es-E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b="0" i="0" dirty="0"/>
                        <a:t>Alta, capaz de imitar la creatividad humana en diferentes campos.</a:t>
                      </a:r>
                      <a:endParaRPr lang="es-ES" sz="1800" dirty="0"/>
                    </a:p>
                  </a:txBody>
                  <a:tcPr/>
                </a:tc>
                <a:extLst>
                  <a:ext uri="{0D108BD9-81ED-4DB2-BD59-A6C34878D82A}">
                    <a16:rowId xmlns:a16="http://schemas.microsoft.com/office/drawing/2014/main" val="3145009301"/>
                  </a:ext>
                </a:extLst>
              </a:tr>
            </a:tbl>
          </a:graphicData>
        </a:graphic>
      </p:graphicFrame>
      <p:sp>
        <p:nvSpPr>
          <p:cNvPr id="5" name="Marcador de fecha 4">
            <a:extLst>
              <a:ext uri="{FF2B5EF4-FFF2-40B4-BE49-F238E27FC236}">
                <a16:creationId xmlns:a16="http://schemas.microsoft.com/office/drawing/2014/main" id="{DAC00557-3119-151C-935A-FF40D4E6A6E8}"/>
              </a:ext>
            </a:extLst>
          </p:cNvPr>
          <p:cNvSpPr>
            <a:spLocks noGrp="1"/>
          </p:cNvSpPr>
          <p:nvPr>
            <p:ph type="dt" sz="half" idx="10"/>
          </p:nvPr>
        </p:nvSpPr>
        <p:spPr>
          <a:xfrm>
            <a:off x="814650" y="6400379"/>
            <a:ext cx="3380278" cy="365125"/>
          </a:xfrm>
        </p:spPr>
        <p:txBody>
          <a:bodyPr/>
          <a:lstStyle/>
          <a:p>
            <a:fld id="{1C98F7BF-55F0-43FB-89D7-8FFCDB64C0D0}"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7A584D76-4F32-B706-8584-80D81BBDF46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2E087F13-DFDC-D05F-2279-64C1B6F0673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5</a:t>
            </a:fld>
            <a:endParaRPr lang="es-ES" dirty="0"/>
          </a:p>
        </p:txBody>
      </p:sp>
      <p:pic>
        <p:nvPicPr>
          <p:cNvPr id="14" name="Imagen 13">
            <a:extLst>
              <a:ext uri="{FF2B5EF4-FFF2-40B4-BE49-F238E27FC236}">
                <a16:creationId xmlns:a16="http://schemas.microsoft.com/office/drawing/2014/main" id="{BBC196EA-9138-B778-C2D0-7716C2152993}"/>
              </a:ext>
            </a:extLst>
          </p:cNvPr>
          <p:cNvPicPr>
            <a:picLocks noChangeAspect="1"/>
          </p:cNvPicPr>
          <p:nvPr/>
        </p:nvPicPr>
        <p:blipFill>
          <a:blip r:embed="rId2">
            <a:duotone>
              <a:prstClr val="black"/>
              <a:schemeClr val="accent1">
                <a:tint val="45000"/>
                <a:satMod val="400000"/>
              </a:schemeClr>
            </a:duotone>
          </a:blip>
          <a:stretch>
            <a:fillRect/>
          </a:stretch>
        </p:blipFill>
        <p:spPr>
          <a:xfrm>
            <a:off x="9390300" y="1061668"/>
            <a:ext cx="1180033" cy="1116000"/>
          </a:xfrm>
          <a:prstGeom prst="rect">
            <a:avLst/>
          </a:prstGeom>
        </p:spPr>
      </p:pic>
      <p:pic>
        <p:nvPicPr>
          <p:cNvPr id="16" name="Imagen 15">
            <a:extLst>
              <a:ext uri="{FF2B5EF4-FFF2-40B4-BE49-F238E27FC236}">
                <a16:creationId xmlns:a16="http://schemas.microsoft.com/office/drawing/2014/main" id="{01A9A062-F361-CB26-0C5F-5D87F62DC59E}"/>
              </a:ext>
            </a:extLst>
          </p:cNvPr>
          <p:cNvPicPr>
            <a:picLocks noChangeAspect="1"/>
          </p:cNvPicPr>
          <p:nvPr/>
        </p:nvPicPr>
        <p:blipFill>
          <a:blip r:embed="rId3">
            <a:duotone>
              <a:prstClr val="black"/>
              <a:schemeClr val="accent1">
                <a:tint val="45000"/>
                <a:satMod val="400000"/>
              </a:schemeClr>
            </a:duotone>
          </a:blip>
          <a:stretch>
            <a:fillRect/>
          </a:stretch>
        </p:blipFill>
        <p:spPr>
          <a:xfrm>
            <a:off x="4575412" y="1081988"/>
            <a:ext cx="1074882" cy="1116000"/>
          </a:xfrm>
          <a:prstGeom prst="rect">
            <a:avLst/>
          </a:prstGeom>
        </p:spPr>
      </p:pic>
    </p:spTree>
    <p:extLst>
      <p:ext uri="{BB962C8B-B14F-4D97-AF65-F5344CB8AC3E}">
        <p14:creationId xmlns:p14="http://schemas.microsoft.com/office/powerpoint/2010/main" val="8631397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B2FAE-2AD0-31DA-29AA-F87EC82E1FC6}"/>
            </a:ext>
          </a:extLst>
        </p:cNvPr>
        <p:cNvGrpSpPr/>
        <p:nvPr/>
      </p:nvGrpSpPr>
      <p:grpSpPr>
        <a:xfrm>
          <a:off x="0" y="0"/>
          <a:ext cx="0" cy="0"/>
          <a:chOff x="0" y="0"/>
          <a:chExt cx="0" cy="0"/>
        </a:xfrm>
      </p:grpSpPr>
      <p:sp>
        <p:nvSpPr>
          <p:cNvPr id="3" name="Marcador de texto 2">
            <a:extLst>
              <a:ext uri="{FF2B5EF4-FFF2-40B4-BE49-F238E27FC236}">
                <a16:creationId xmlns:a16="http://schemas.microsoft.com/office/drawing/2014/main" id="{CA021685-E075-E478-9C84-82F348F28B93}"/>
              </a:ext>
            </a:extLst>
          </p:cNvPr>
          <p:cNvSpPr>
            <a:spLocks noGrp="1"/>
          </p:cNvSpPr>
          <p:nvPr>
            <p:ph type="body" idx="1"/>
          </p:nvPr>
        </p:nvSpPr>
        <p:spPr>
          <a:xfrm>
            <a:off x="839788" y="1623758"/>
            <a:ext cx="5157787" cy="800356"/>
          </a:xfrm>
        </p:spPr>
        <p:txBody>
          <a:bodyPr>
            <a:normAutofit fontScale="92500" lnSpcReduction="20000"/>
          </a:bodyPr>
          <a:lstStyle/>
          <a:p>
            <a:r>
              <a:rPr lang="es-ES" noProof="0" dirty="0"/>
              <a:t>La IA más tradicional</a:t>
            </a:r>
          </a:p>
          <a:p>
            <a:r>
              <a:rPr lang="es-ES" noProof="0" dirty="0"/>
              <a:t>Reglas fijas</a:t>
            </a:r>
          </a:p>
        </p:txBody>
      </p:sp>
      <p:graphicFrame>
        <p:nvGraphicFramePr>
          <p:cNvPr id="13" name="Marcador de contenido 12">
            <a:extLst>
              <a:ext uri="{FF2B5EF4-FFF2-40B4-BE49-F238E27FC236}">
                <a16:creationId xmlns:a16="http://schemas.microsoft.com/office/drawing/2014/main" id="{4DBCB0E6-6807-C92E-A1B1-65C637C85784}"/>
              </a:ext>
            </a:extLst>
          </p:cNvPr>
          <p:cNvGraphicFramePr>
            <a:graphicFrameLocks noGrp="1"/>
          </p:cNvGraphicFramePr>
          <p:nvPr>
            <p:ph sz="half" idx="2"/>
            <p:extLst>
              <p:ext uri="{D42A27DB-BD31-4B8C-83A1-F6EECF244321}">
                <p14:modId xmlns:p14="http://schemas.microsoft.com/office/powerpoint/2010/main" val="3288117393"/>
              </p:ext>
            </p:extLst>
          </p:nvPr>
        </p:nvGraphicFramePr>
        <p:xfrm>
          <a:off x="839788" y="2500313"/>
          <a:ext cx="5157787" cy="371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texto 4">
            <a:extLst>
              <a:ext uri="{FF2B5EF4-FFF2-40B4-BE49-F238E27FC236}">
                <a16:creationId xmlns:a16="http://schemas.microsoft.com/office/drawing/2014/main" id="{E7AB1456-0A49-F18C-5358-5E2D87D5CBE0}"/>
              </a:ext>
            </a:extLst>
          </p:cNvPr>
          <p:cNvSpPr>
            <a:spLocks noGrp="1"/>
          </p:cNvSpPr>
          <p:nvPr>
            <p:ph type="body" sz="quarter" idx="3"/>
          </p:nvPr>
        </p:nvSpPr>
        <p:spPr>
          <a:xfrm>
            <a:off x="6172200" y="1623758"/>
            <a:ext cx="5183188" cy="800356"/>
          </a:xfrm>
        </p:spPr>
        <p:txBody>
          <a:bodyPr>
            <a:normAutofit fontScale="70000" lnSpcReduction="20000"/>
          </a:bodyPr>
          <a:lstStyle/>
          <a:p>
            <a:r>
              <a:rPr lang="es-ES" noProof="0" dirty="0"/>
              <a:t>Machine learning, Deep learning, IA Generativa</a:t>
            </a:r>
          </a:p>
          <a:p>
            <a:r>
              <a:rPr lang="es-ES" noProof="0" dirty="0"/>
              <a:t>Aprendizaje automático </a:t>
            </a:r>
          </a:p>
        </p:txBody>
      </p:sp>
      <p:graphicFrame>
        <p:nvGraphicFramePr>
          <p:cNvPr id="18" name="Marcador de contenido 17">
            <a:extLst>
              <a:ext uri="{FF2B5EF4-FFF2-40B4-BE49-F238E27FC236}">
                <a16:creationId xmlns:a16="http://schemas.microsoft.com/office/drawing/2014/main" id="{7B5D79BC-9CB2-D48B-F348-E53A79C40967}"/>
              </a:ext>
            </a:extLst>
          </p:cNvPr>
          <p:cNvGraphicFramePr>
            <a:graphicFrameLocks noGrp="1"/>
          </p:cNvGraphicFramePr>
          <p:nvPr>
            <p:ph sz="quarter" idx="4"/>
            <p:extLst>
              <p:ext uri="{D42A27DB-BD31-4B8C-83A1-F6EECF244321}">
                <p14:modId xmlns:p14="http://schemas.microsoft.com/office/powerpoint/2010/main" val="3277779873"/>
              </p:ext>
            </p:extLst>
          </p:nvPr>
        </p:nvGraphicFramePr>
        <p:xfrm>
          <a:off x="6172200" y="2500313"/>
          <a:ext cx="5183188" cy="37147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Marcador de fecha 2">
            <a:extLst>
              <a:ext uri="{FF2B5EF4-FFF2-40B4-BE49-F238E27FC236}">
                <a16:creationId xmlns:a16="http://schemas.microsoft.com/office/drawing/2014/main" id="{7D52E668-E1BC-8387-7C7E-1463BFCFB546}"/>
              </a:ext>
            </a:extLst>
          </p:cNvPr>
          <p:cNvSpPr>
            <a:spLocks noGrp="1"/>
          </p:cNvSpPr>
          <p:nvPr>
            <p:ph type="dt" sz="half" idx="10"/>
          </p:nvPr>
        </p:nvSpPr>
        <p:spPr>
          <a:xfrm>
            <a:off x="814650" y="6400379"/>
            <a:ext cx="3380278" cy="365125"/>
          </a:xfrm>
        </p:spPr>
        <p:txBody>
          <a:bodyPr/>
          <a:lstStyle/>
          <a:p>
            <a:fld id="{AFAF1C99-22AA-4ADA-9CD3-0FE70147E69A}" type="datetime2">
              <a:rPr lang="es-ES" smtClean="0"/>
              <a:pPr/>
              <a:t>jueves, 19 de septiembre de 2024</a:t>
            </a:fld>
            <a:endParaRPr lang="es-ES" dirty="0"/>
          </a:p>
        </p:txBody>
      </p:sp>
      <p:sp>
        <p:nvSpPr>
          <p:cNvPr id="16" name="Marcador de pie de página 10">
            <a:extLst>
              <a:ext uri="{FF2B5EF4-FFF2-40B4-BE49-F238E27FC236}">
                <a16:creationId xmlns:a16="http://schemas.microsoft.com/office/drawing/2014/main" id="{85156FCE-9957-AC21-CD1D-4F7F46F76E7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7" name="Marcador de número de diapositiva 11">
            <a:extLst>
              <a:ext uri="{FF2B5EF4-FFF2-40B4-BE49-F238E27FC236}">
                <a16:creationId xmlns:a16="http://schemas.microsoft.com/office/drawing/2014/main" id="{C00C3471-371D-8045-CEA6-57E0945ECE1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6</a:t>
            </a:fld>
            <a:endParaRPr lang="es-ES" dirty="0"/>
          </a:p>
        </p:txBody>
      </p:sp>
      <p:sp>
        <p:nvSpPr>
          <p:cNvPr id="2" name="Título 1">
            <a:extLst>
              <a:ext uri="{FF2B5EF4-FFF2-40B4-BE49-F238E27FC236}">
                <a16:creationId xmlns:a16="http://schemas.microsoft.com/office/drawing/2014/main" id="{3805F19F-D324-7A05-065D-40C18B2C7519}"/>
              </a:ext>
            </a:extLst>
          </p:cNvPr>
          <p:cNvSpPr>
            <a:spLocks noGrp="1"/>
          </p:cNvSpPr>
          <p:nvPr>
            <p:ph type="title"/>
          </p:nvPr>
        </p:nvSpPr>
        <p:spPr>
          <a:xfrm>
            <a:off x="838200" y="365126"/>
            <a:ext cx="9840124" cy="1092200"/>
          </a:xfrm>
        </p:spPr>
        <p:txBody>
          <a:bodyPr>
            <a:normAutofit/>
          </a:bodyPr>
          <a:lstStyle/>
          <a:p>
            <a:r>
              <a:rPr lang="es-ES" noProof="0" dirty="0"/>
              <a:t>TEORÍA: De Reglas fijas al Aprendizaje Automático (Machine Learning)</a:t>
            </a:r>
          </a:p>
        </p:txBody>
      </p:sp>
      <p:pic>
        <p:nvPicPr>
          <p:cNvPr id="7" name="Imagen 21">
            <a:extLst>
              <a:ext uri="{FF2B5EF4-FFF2-40B4-BE49-F238E27FC236}">
                <a16:creationId xmlns:a16="http://schemas.microsoft.com/office/drawing/2014/main" id="{07839C48-A6CD-A2BB-CE52-B8B1886E6B6F}"/>
              </a:ext>
            </a:extLst>
          </p:cNvPr>
          <p:cNvPicPr/>
          <p:nvPr/>
        </p:nvPicPr>
        <p:blipFill>
          <a:blip r:embed="rId12" cstate="email">
            <a:extLst>
              <a:ext uri="{28A0092B-C50C-407E-A947-70E740481C1C}">
                <a14:useLocalDpi xmlns:a14="http://schemas.microsoft.com/office/drawing/2010/main" val="0"/>
              </a:ext>
            </a:extLst>
          </a:blip>
          <a:stretch>
            <a:fillRect/>
          </a:stretch>
        </p:blipFill>
        <p:spPr>
          <a:xfrm>
            <a:off x="5289688" y="3837410"/>
            <a:ext cx="1058400" cy="1100880"/>
          </a:xfrm>
          <a:prstGeom prst="rect">
            <a:avLst/>
          </a:prstGeom>
          <a:ln>
            <a:noFill/>
          </a:ln>
        </p:spPr>
      </p:pic>
    </p:spTree>
    <p:extLst>
      <p:ext uri="{BB962C8B-B14F-4D97-AF65-F5344CB8AC3E}">
        <p14:creationId xmlns:p14="http://schemas.microsoft.com/office/powerpoint/2010/main" val="26294916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FE87C583-79F8-8D16-A6F6-8A57A91C5984}"/>
              </a:ext>
            </a:extLst>
          </p:cNvPr>
          <p:cNvSpPr>
            <a:spLocks noGrp="1"/>
          </p:cNvSpPr>
          <p:nvPr>
            <p:ph type="title"/>
          </p:nvPr>
        </p:nvSpPr>
        <p:spPr>
          <a:xfrm>
            <a:off x="838200" y="365126"/>
            <a:ext cx="9840124" cy="1092200"/>
          </a:xfrm>
        </p:spPr>
        <p:txBody>
          <a:bodyPr/>
          <a:lstStyle/>
          <a:p>
            <a:r>
              <a:rPr lang="es-ES" noProof="0" dirty="0"/>
              <a:t>Las diferentes IAS en un golpe de vista</a:t>
            </a:r>
          </a:p>
        </p:txBody>
      </p:sp>
      <p:sp>
        <p:nvSpPr>
          <p:cNvPr id="3" name="Marcador de fecha 2">
            <a:extLst>
              <a:ext uri="{FF2B5EF4-FFF2-40B4-BE49-F238E27FC236}">
                <a16:creationId xmlns:a16="http://schemas.microsoft.com/office/drawing/2014/main" id="{44540C46-86BE-8FFD-FE2A-A2300BB698BE}"/>
              </a:ext>
            </a:extLst>
          </p:cNvPr>
          <p:cNvSpPr>
            <a:spLocks noGrp="1"/>
          </p:cNvSpPr>
          <p:nvPr>
            <p:ph type="dt" sz="half" idx="10"/>
          </p:nvPr>
        </p:nvSpPr>
        <p:spPr>
          <a:xfrm>
            <a:off x="814650" y="6400379"/>
            <a:ext cx="3380278" cy="365125"/>
          </a:xfrm>
        </p:spPr>
        <p:txBody>
          <a:bodyPr/>
          <a:lstStyle/>
          <a:p>
            <a:fld id="{66837ADD-3ECE-4722-BE14-D9C4BB2CA29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8785D7CB-484F-BF52-AC66-5534A2E9167B}"/>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4EF856F7-3452-1134-2609-9B658114832D}"/>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7</a:t>
            </a:fld>
            <a:endParaRPr lang="es-ES" dirty="0"/>
          </a:p>
        </p:txBody>
      </p:sp>
      <p:pic>
        <p:nvPicPr>
          <p:cNvPr id="1028" name="Picture 4" descr="A comparative view of AI, machine learning, deep learning, and... |  Download Scientific Diagram">
            <a:extLst>
              <a:ext uri="{FF2B5EF4-FFF2-40B4-BE49-F238E27FC236}">
                <a16:creationId xmlns:a16="http://schemas.microsoft.com/office/drawing/2014/main" id="{2DD6E617-8E73-77EC-615E-5D772AAAD6A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8250" y="1255770"/>
            <a:ext cx="8495875" cy="5497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8017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8">
            <a:extLst>
              <a:ext uri="{FF2B5EF4-FFF2-40B4-BE49-F238E27FC236}">
                <a16:creationId xmlns:a16="http://schemas.microsoft.com/office/drawing/2014/main" id="{D76035A1-C131-EC76-EF2E-4AA864BDDCD6}"/>
              </a:ext>
            </a:extLst>
          </p:cNvPr>
          <p:cNvSpPr>
            <a:spLocks noGrp="1"/>
          </p:cNvSpPr>
          <p:nvPr>
            <p:ph type="title"/>
          </p:nvPr>
        </p:nvSpPr>
        <p:spPr>
          <a:xfrm>
            <a:off x="838200" y="365126"/>
            <a:ext cx="9840124" cy="1092200"/>
          </a:xfrm>
        </p:spPr>
        <p:txBody>
          <a:bodyPr/>
          <a:lstStyle/>
          <a:p>
            <a:r>
              <a:rPr lang="es-ES" noProof="0" dirty="0"/>
              <a:t>A resolver </a:t>
            </a:r>
            <a:br>
              <a:rPr lang="es-ES" noProof="0" dirty="0"/>
            </a:br>
            <a:r>
              <a:rPr lang="es-ES" noProof="0" dirty="0"/>
              <a:t>(problemas que se producen con la IA)</a:t>
            </a:r>
          </a:p>
        </p:txBody>
      </p:sp>
      <p:graphicFrame>
        <p:nvGraphicFramePr>
          <p:cNvPr id="10" name="Marcador de contenido 9">
            <a:extLst>
              <a:ext uri="{FF2B5EF4-FFF2-40B4-BE49-F238E27FC236}">
                <a16:creationId xmlns:a16="http://schemas.microsoft.com/office/drawing/2014/main" id="{B826708F-FD6C-8E13-1A96-E7FFED669932}"/>
              </a:ext>
            </a:extLst>
          </p:cNvPr>
          <p:cNvGraphicFramePr>
            <a:graphicFrameLocks noGrp="1"/>
          </p:cNvGraphicFramePr>
          <p:nvPr>
            <p:ph idx="1"/>
            <p:extLst>
              <p:ext uri="{D42A27DB-BD31-4B8C-83A1-F6EECF244321}">
                <p14:modId xmlns:p14="http://schemas.microsoft.com/office/powerpoint/2010/main" val="265771585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Marcador de fecha 5">
            <a:extLst>
              <a:ext uri="{FF2B5EF4-FFF2-40B4-BE49-F238E27FC236}">
                <a16:creationId xmlns:a16="http://schemas.microsoft.com/office/drawing/2014/main" id="{2E550C35-3685-DD88-5DED-05C736FFC871}"/>
              </a:ext>
            </a:extLst>
          </p:cNvPr>
          <p:cNvSpPr>
            <a:spLocks noGrp="1"/>
          </p:cNvSpPr>
          <p:nvPr>
            <p:ph type="dt" sz="half" idx="10"/>
          </p:nvPr>
        </p:nvSpPr>
        <p:spPr>
          <a:xfrm>
            <a:off x="814650" y="6400379"/>
            <a:ext cx="3380278" cy="365125"/>
          </a:xfrm>
        </p:spPr>
        <p:txBody>
          <a:bodyPr/>
          <a:lstStyle/>
          <a:p>
            <a:fld id="{C9BFE589-9C9F-4514-8F54-0A7BA41EB1A3}"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B3CC0596-2685-48E6-8BF5-46CAB7151AA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B752FD4C-CA56-F364-E913-80352D659F2B}"/>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8</a:t>
            </a:fld>
            <a:endParaRPr lang="es-ES" dirty="0"/>
          </a:p>
        </p:txBody>
      </p:sp>
    </p:spTree>
    <p:extLst>
      <p:ext uri="{BB962C8B-B14F-4D97-AF65-F5344CB8AC3E}">
        <p14:creationId xmlns:p14="http://schemas.microsoft.com/office/powerpoint/2010/main" val="56060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1B319E-E2F8-077D-05B7-538B21647B5C}"/>
              </a:ext>
            </a:extLst>
          </p:cNvPr>
          <p:cNvSpPr>
            <a:spLocks noGrp="1"/>
          </p:cNvSpPr>
          <p:nvPr>
            <p:ph type="title"/>
          </p:nvPr>
        </p:nvSpPr>
        <p:spPr>
          <a:xfrm>
            <a:off x="838200" y="365126"/>
            <a:ext cx="9840124" cy="1092200"/>
          </a:xfrm>
        </p:spPr>
        <p:txBody>
          <a:bodyPr>
            <a:normAutofit/>
          </a:bodyPr>
          <a:lstStyle/>
          <a:p>
            <a:r>
              <a:rPr lang="es-ES" noProof="0" dirty="0"/>
              <a:t>Cambiará nuestras vidas</a:t>
            </a:r>
          </a:p>
        </p:txBody>
      </p:sp>
      <p:pic>
        <p:nvPicPr>
          <p:cNvPr id="2050" name="Picture 2" descr="Gráfico: ¿Cómo cambiará nuestras vidas la inteligencia artificial? |  Statista">
            <a:extLst>
              <a:ext uri="{FF2B5EF4-FFF2-40B4-BE49-F238E27FC236}">
                <a16:creationId xmlns:a16="http://schemas.microsoft.com/office/drawing/2014/main" id="{10A4A6F8-12B6-48C2-023D-D0FAE9A41FD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3920331" y="1825625"/>
            <a:ext cx="4351338" cy="4351338"/>
          </a:xfrm>
          <a:noFill/>
          <a:extLst>
            <a:ext uri="{909E8E84-426E-40DD-AFC4-6F175D3DCCD1}">
              <a14:hiddenFill xmlns:a14="http://schemas.microsoft.com/office/drawing/2010/main">
                <a:solidFill>
                  <a:srgbClr val="FFFFFF"/>
                </a:solidFill>
              </a14:hiddenFill>
            </a:ext>
          </a:extLst>
        </p:spPr>
      </p:pic>
      <p:sp>
        <p:nvSpPr>
          <p:cNvPr id="4" name="Marcador de fecha 3">
            <a:extLst>
              <a:ext uri="{FF2B5EF4-FFF2-40B4-BE49-F238E27FC236}">
                <a16:creationId xmlns:a16="http://schemas.microsoft.com/office/drawing/2014/main" id="{2E71A483-6E28-5B18-D31D-8938CFE220B4}"/>
              </a:ext>
            </a:extLst>
          </p:cNvPr>
          <p:cNvSpPr>
            <a:spLocks noGrp="1"/>
          </p:cNvSpPr>
          <p:nvPr>
            <p:ph type="dt" sz="half" idx="10"/>
          </p:nvPr>
        </p:nvSpPr>
        <p:spPr>
          <a:xfrm>
            <a:off x="814650" y="6400379"/>
            <a:ext cx="3380278" cy="365125"/>
          </a:xfrm>
        </p:spPr>
        <p:txBody>
          <a:bodyPr/>
          <a:lstStyle/>
          <a:p>
            <a:fld id="{D1581C17-921F-4947-8F5F-4A52F7D55B78}"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9EED9796-0555-E7AE-8E4D-CC0330F15B1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6B95B113-A91E-4F0B-5FBC-FC0858AAEB3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79</a:t>
            </a:fld>
            <a:endParaRPr lang="es-ES" dirty="0"/>
          </a:p>
        </p:txBody>
      </p:sp>
    </p:spTree>
    <p:extLst>
      <p:ext uri="{BB962C8B-B14F-4D97-AF65-F5344CB8AC3E}">
        <p14:creationId xmlns:p14="http://schemas.microsoft.com/office/powerpoint/2010/main" val="470263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EAE1DF-AFDB-FF53-63FB-C3E56B3E4CC3}"/>
              </a:ext>
            </a:extLst>
          </p:cNvPr>
          <p:cNvSpPr>
            <a:spLocks noGrp="1"/>
          </p:cNvSpPr>
          <p:nvPr>
            <p:ph type="title"/>
          </p:nvPr>
        </p:nvSpPr>
        <p:spPr>
          <a:xfrm>
            <a:off x="1234246" y="2677484"/>
            <a:ext cx="2871818" cy="1092200"/>
          </a:xfrm>
        </p:spPr>
        <p:txBody>
          <a:bodyPr>
            <a:normAutofit fontScale="90000"/>
          </a:bodyPr>
          <a:lstStyle/>
          <a:p>
            <a:r>
              <a:rPr lang="es-ES" noProof="0" dirty="0"/>
              <a:t>Antes y ahora el alcohol</a:t>
            </a:r>
          </a:p>
        </p:txBody>
      </p:sp>
      <p:sp>
        <p:nvSpPr>
          <p:cNvPr id="3" name="Marcador de fecha 2">
            <a:extLst>
              <a:ext uri="{FF2B5EF4-FFF2-40B4-BE49-F238E27FC236}">
                <a16:creationId xmlns:a16="http://schemas.microsoft.com/office/drawing/2014/main" id="{EDCF44C9-7D6D-E7BA-3637-E816C19FFA97}"/>
              </a:ext>
            </a:extLst>
          </p:cNvPr>
          <p:cNvSpPr>
            <a:spLocks noGrp="1"/>
          </p:cNvSpPr>
          <p:nvPr>
            <p:ph type="dt" sz="half" idx="10"/>
          </p:nvPr>
        </p:nvSpPr>
        <p:spPr>
          <a:xfrm>
            <a:off x="814650" y="6400379"/>
            <a:ext cx="3380278" cy="365125"/>
          </a:xfrm>
        </p:spPr>
        <p:txBody>
          <a:bodyPr/>
          <a:lstStyle/>
          <a:p>
            <a:fld id="{928DDC5E-0317-4E2F-A7E4-4EFA958ECE46}"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3F9443F-1E23-0D71-4CB5-7BD562875D5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96501DF1-9D9E-30D9-94CF-F7F9D3E4388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a:t>
            </a:fld>
            <a:endParaRPr lang="es-ES" dirty="0"/>
          </a:p>
        </p:txBody>
      </p:sp>
      <p:pic>
        <p:nvPicPr>
          <p:cNvPr id="7" name="Imagen 6" descr="Texto&#10;&#10;Descripción generada automáticamente">
            <a:extLst>
              <a:ext uri="{FF2B5EF4-FFF2-40B4-BE49-F238E27FC236}">
                <a16:creationId xmlns:a16="http://schemas.microsoft.com/office/drawing/2014/main" id="{1E6B4629-407A-CF13-A2E6-0CE850F7B87D}"/>
              </a:ext>
            </a:extLst>
          </p:cNvPr>
          <p:cNvPicPr>
            <a:picLocks noChangeAspect="1"/>
          </p:cNvPicPr>
          <p:nvPr/>
        </p:nvPicPr>
        <p:blipFill>
          <a:blip r:embed="rId2">
            <a:grayscl/>
            <a:extLst>
              <a:ext uri="{BEBA8EAE-BF5A-486C-A8C5-ECC9F3942E4B}">
                <a14:imgProps xmlns:a14="http://schemas.microsoft.com/office/drawing/2010/main">
                  <a14:imgLayer r:embed="rId3">
                    <a14:imgEffect>
                      <a14:sharpenSoften amount="50000"/>
                    </a14:imgEffect>
                    <a14:imgEffect>
                      <a14:colorTemperature colorTemp="7200"/>
                    </a14:imgEffect>
                  </a14:imgLayer>
                </a14:imgProps>
              </a:ext>
              <a:ext uri="{28A0092B-C50C-407E-A947-70E740481C1C}">
                <a14:useLocalDpi xmlns:a14="http://schemas.microsoft.com/office/drawing/2010/main" val="0"/>
              </a:ext>
            </a:extLst>
          </a:blip>
          <a:stretch>
            <a:fillRect/>
          </a:stretch>
        </p:blipFill>
        <p:spPr>
          <a:xfrm>
            <a:off x="4357725" y="90818"/>
            <a:ext cx="4661371" cy="6265532"/>
          </a:xfrm>
          <a:prstGeom prst="rect">
            <a:avLst/>
          </a:prstGeom>
        </p:spPr>
      </p:pic>
    </p:spTree>
    <p:extLst>
      <p:ext uri="{BB962C8B-B14F-4D97-AF65-F5344CB8AC3E}">
        <p14:creationId xmlns:p14="http://schemas.microsoft.com/office/powerpoint/2010/main" val="370216031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DF43D-6A00-366A-3E10-4613DDC2D245}"/>
            </a:ext>
          </a:extLst>
        </p:cNvPr>
        <p:cNvGrpSpPr/>
        <p:nvPr/>
      </p:nvGrpSpPr>
      <p:grpSpPr>
        <a:xfrm>
          <a:off x="0" y="0"/>
          <a:ext cx="0" cy="0"/>
          <a:chOff x="0" y="0"/>
          <a:chExt cx="0" cy="0"/>
        </a:xfrm>
      </p:grpSpPr>
      <p:sp>
        <p:nvSpPr>
          <p:cNvPr id="7" name="Marcador de texto 6">
            <a:extLst>
              <a:ext uri="{FF2B5EF4-FFF2-40B4-BE49-F238E27FC236}">
                <a16:creationId xmlns:a16="http://schemas.microsoft.com/office/drawing/2014/main" id="{20F10EDD-1B33-7836-13D5-C2DFC544589F}"/>
              </a:ext>
            </a:extLst>
          </p:cNvPr>
          <p:cNvSpPr>
            <a:spLocks noGrp="1"/>
          </p:cNvSpPr>
          <p:nvPr>
            <p:ph type="body" idx="1"/>
          </p:nvPr>
        </p:nvSpPr>
        <p:spPr>
          <a:xfrm>
            <a:off x="839788" y="1623758"/>
            <a:ext cx="5157787" cy="800356"/>
          </a:xfrm>
        </p:spPr>
        <p:txBody>
          <a:bodyPr/>
          <a:lstStyle/>
          <a:p>
            <a:r>
              <a:rPr lang="es-ES" noProof="0" dirty="0"/>
              <a:t>1</a:t>
            </a:r>
          </a:p>
        </p:txBody>
      </p:sp>
      <p:pic>
        <p:nvPicPr>
          <p:cNvPr id="12" name="Marcador de contenido 11">
            <a:extLst>
              <a:ext uri="{FF2B5EF4-FFF2-40B4-BE49-F238E27FC236}">
                <a16:creationId xmlns:a16="http://schemas.microsoft.com/office/drawing/2014/main" id="{345FC089-229B-A562-AA0A-B77355076EEA}"/>
              </a:ext>
            </a:extLst>
          </p:cNvPr>
          <p:cNvPicPr>
            <a:picLocks noGrp="1" noChangeAspect="1"/>
          </p:cNvPicPr>
          <p:nvPr>
            <p:ph sz="half" idx="2"/>
          </p:nvPr>
        </p:nvPicPr>
        <p:blipFill>
          <a:blip r:embed="rId2"/>
          <a:stretch>
            <a:fillRect/>
          </a:stretch>
        </p:blipFill>
        <p:spPr>
          <a:xfrm>
            <a:off x="1451769" y="2871788"/>
            <a:ext cx="3933825" cy="2971800"/>
          </a:xfrm>
        </p:spPr>
      </p:pic>
      <p:sp>
        <p:nvSpPr>
          <p:cNvPr id="8" name="Marcador de texto 7">
            <a:extLst>
              <a:ext uri="{FF2B5EF4-FFF2-40B4-BE49-F238E27FC236}">
                <a16:creationId xmlns:a16="http://schemas.microsoft.com/office/drawing/2014/main" id="{E30B994B-8002-92A1-5940-75CA9C03D5CF}"/>
              </a:ext>
            </a:extLst>
          </p:cNvPr>
          <p:cNvSpPr>
            <a:spLocks noGrp="1"/>
          </p:cNvSpPr>
          <p:nvPr>
            <p:ph type="body" sz="quarter" idx="3"/>
          </p:nvPr>
        </p:nvSpPr>
        <p:spPr>
          <a:xfrm>
            <a:off x="6172200" y="1623758"/>
            <a:ext cx="5183188" cy="800356"/>
          </a:xfrm>
        </p:spPr>
        <p:txBody>
          <a:bodyPr/>
          <a:lstStyle/>
          <a:p>
            <a:r>
              <a:rPr lang="es-ES" noProof="0" dirty="0"/>
              <a:t>2</a:t>
            </a:r>
          </a:p>
        </p:txBody>
      </p:sp>
      <p:pic>
        <p:nvPicPr>
          <p:cNvPr id="3074" name="Picture 2" descr="Now Hiring • ICCAP">
            <a:extLst>
              <a:ext uri="{FF2B5EF4-FFF2-40B4-BE49-F238E27FC236}">
                <a16:creationId xmlns:a16="http://schemas.microsoft.com/office/drawing/2014/main" id="{6332D1E4-45BB-C8FA-67F9-97B03B61371B}"/>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tretch>
            <a:fillRect/>
          </a:stretch>
        </p:blipFill>
        <p:spPr bwMode="auto">
          <a:xfrm>
            <a:off x="6172200" y="2900485"/>
            <a:ext cx="5183188" cy="2914406"/>
          </a:xfrm>
          <a:noFill/>
          <a:extLst>
            <a:ext uri="{909E8E84-426E-40DD-AFC4-6F175D3DCCD1}">
              <a14:hiddenFill xmlns:a14="http://schemas.microsoft.com/office/drawing/2010/main">
                <a:solidFill>
                  <a:srgbClr val="FFFFFF"/>
                </a:solidFill>
              </a14:hiddenFill>
            </a:ext>
          </a:extLst>
        </p:spPr>
      </p:pic>
      <p:sp>
        <p:nvSpPr>
          <p:cNvPr id="3" name="Marcador de fecha 2">
            <a:extLst>
              <a:ext uri="{FF2B5EF4-FFF2-40B4-BE49-F238E27FC236}">
                <a16:creationId xmlns:a16="http://schemas.microsoft.com/office/drawing/2014/main" id="{EE09C1FB-C519-7D46-FF28-6993126C677F}"/>
              </a:ext>
            </a:extLst>
          </p:cNvPr>
          <p:cNvSpPr>
            <a:spLocks noGrp="1"/>
          </p:cNvSpPr>
          <p:nvPr>
            <p:ph type="dt" sz="half" idx="10"/>
          </p:nvPr>
        </p:nvSpPr>
        <p:spPr>
          <a:xfrm>
            <a:off x="814650" y="6400379"/>
            <a:ext cx="3380278" cy="365125"/>
          </a:xfrm>
        </p:spPr>
        <p:txBody>
          <a:bodyPr/>
          <a:lstStyle/>
          <a:p>
            <a:fld id="{D24F562D-16B9-4A5E-A6BF-625203989AB9}"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5551F464-76E2-1180-AA35-F8F76EDCAB3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B28DC722-9AF5-4A32-E39E-4F576BDE00D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0</a:t>
            </a:fld>
            <a:endParaRPr lang="es-ES" dirty="0"/>
          </a:p>
        </p:txBody>
      </p:sp>
      <p:sp>
        <p:nvSpPr>
          <p:cNvPr id="2" name="Título 1">
            <a:extLst>
              <a:ext uri="{FF2B5EF4-FFF2-40B4-BE49-F238E27FC236}">
                <a16:creationId xmlns:a16="http://schemas.microsoft.com/office/drawing/2014/main" id="{0574840E-6BA3-371A-3A05-6B936495F3B9}"/>
              </a:ext>
            </a:extLst>
          </p:cNvPr>
          <p:cNvSpPr>
            <a:spLocks noGrp="1"/>
          </p:cNvSpPr>
          <p:nvPr>
            <p:ph type="title"/>
          </p:nvPr>
        </p:nvSpPr>
        <p:spPr>
          <a:xfrm>
            <a:off x="838200" y="365126"/>
            <a:ext cx="9840124" cy="1092200"/>
          </a:xfrm>
        </p:spPr>
        <p:txBody>
          <a:bodyPr/>
          <a:lstStyle/>
          <a:p>
            <a:r>
              <a:rPr lang="es-ES" noProof="0" dirty="0"/>
              <a:t>Dos casos de uso</a:t>
            </a:r>
          </a:p>
        </p:txBody>
      </p:sp>
    </p:spTree>
    <p:extLst>
      <p:ext uri="{BB962C8B-B14F-4D97-AF65-F5344CB8AC3E}">
        <p14:creationId xmlns:p14="http://schemas.microsoft.com/office/powerpoint/2010/main" val="40249140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F10DF-2EA4-E9C9-3F73-1645117BF76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4D310F6-DE78-F4BC-A5F5-29597DA7D8F4}"/>
              </a:ext>
            </a:extLst>
          </p:cNvPr>
          <p:cNvSpPr>
            <a:spLocks noGrp="1"/>
          </p:cNvSpPr>
          <p:nvPr>
            <p:ph type="title"/>
          </p:nvPr>
        </p:nvSpPr>
        <p:spPr>
          <a:xfrm>
            <a:off x="838200" y="365126"/>
            <a:ext cx="9840124" cy="1092200"/>
          </a:xfrm>
        </p:spPr>
        <p:txBody>
          <a:bodyPr/>
          <a:lstStyle/>
          <a:p>
            <a:r>
              <a:rPr lang="es-ES" noProof="0" dirty="0"/>
              <a:t>La cadena de valor a altísimo nivel de IA</a:t>
            </a:r>
          </a:p>
        </p:txBody>
      </p:sp>
      <p:sp>
        <p:nvSpPr>
          <p:cNvPr id="3" name="Marcador de fecha 2">
            <a:extLst>
              <a:ext uri="{FF2B5EF4-FFF2-40B4-BE49-F238E27FC236}">
                <a16:creationId xmlns:a16="http://schemas.microsoft.com/office/drawing/2014/main" id="{BFD1F3FE-129E-D42F-DF3B-36B04D4999AA}"/>
              </a:ext>
            </a:extLst>
          </p:cNvPr>
          <p:cNvSpPr>
            <a:spLocks noGrp="1"/>
          </p:cNvSpPr>
          <p:nvPr>
            <p:ph type="dt" sz="half" idx="10"/>
          </p:nvPr>
        </p:nvSpPr>
        <p:spPr>
          <a:xfrm>
            <a:off x="814650" y="6400379"/>
            <a:ext cx="3380278" cy="365125"/>
          </a:xfrm>
        </p:spPr>
        <p:txBody>
          <a:bodyPr/>
          <a:lstStyle/>
          <a:p>
            <a:fld id="{9F046851-2326-4900-82AC-D249DC19D891}"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E7C1B390-9105-C91C-6A10-D08CC00166A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6D5E2E06-F4D8-E3C4-0146-E3DF9862BA0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1</a:t>
            </a:fld>
            <a:endParaRPr lang="es-ES" dirty="0"/>
          </a:p>
        </p:txBody>
      </p:sp>
      <p:graphicFrame>
        <p:nvGraphicFramePr>
          <p:cNvPr id="7" name="Diagrama 6">
            <a:extLst>
              <a:ext uri="{FF2B5EF4-FFF2-40B4-BE49-F238E27FC236}">
                <a16:creationId xmlns:a16="http://schemas.microsoft.com/office/drawing/2014/main" id="{31D2ED22-0798-1CE5-E5B4-0E17730D3D4C}"/>
              </a:ext>
            </a:extLst>
          </p:cNvPr>
          <p:cNvGraphicFramePr/>
          <p:nvPr>
            <p:extLst>
              <p:ext uri="{D42A27DB-BD31-4B8C-83A1-F6EECF244321}">
                <p14:modId xmlns:p14="http://schemas.microsoft.com/office/powerpoint/2010/main" val="3189464045"/>
              </p:ext>
            </p:extLst>
          </p:nvPr>
        </p:nvGraphicFramePr>
        <p:xfrm>
          <a:off x="838199" y="2185023"/>
          <a:ext cx="10529212" cy="3517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2" name="Picture 4" descr="What is a data lake?">
            <a:extLst>
              <a:ext uri="{FF2B5EF4-FFF2-40B4-BE49-F238E27FC236}">
                <a16:creationId xmlns:a16="http://schemas.microsoft.com/office/drawing/2014/main" id="{1F63C3B9-ECF2-0223-1327-CE87C5EFC4DC}"/>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19452" y="5316467"/>
            <a:ext cx="1108788" cy="111569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leaning drawer Icon of Glyph style - Available in SVG, PNG, EPS, AI &amp; Icon  fonts">
            <a:extLst>
              <a:ext uri="{FF2B5EF4-FFF2-40B4-BE49-F238E27FC236}">
                <a16:creationId xmlns:a16="http://schemas.microsoft.com/office/drawing/2014/main" id="{8319CD63-23A2-45D3-1EBE-E235C4C955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37505" y="1375423"/>
            <a:ext cx="1108788" cy="110878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16949BEA-BA07-1A82-5764-7A646477C3BA}"/>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79737" y="1695041"/>
            <a:ext cx="1257930" cy="784927"/>
          </a:xfrm>
          <a:prstGeom prst="rect">
            <a:avLst/>
          </a:prstGeom>
          <a:ln>
            <a:noFill/>
          </a:ln>
        </p:spPr>
      </p:pic>
      <p:pic>
        <p:nvPicPr>
          <p:cNvPr id="8" name="Picture 2" descr="Recurrence Icon: Imágenes, fotos de stock y vectores | Shutterstock">
            <a:extLst>
              <a:ext uri="{FF2B5EF4-FFF2-40B4-BE49-F238E27FC236}">
                <a16:creationId xmlns:a16="http://schemas.microsoft.com/office/drawing/2014/main" id="{2E63644D-F8ED-E128-430C-AA452874B6D6}"/>
              </a:ext>
            </a:extLst>
          </p:cNvPr>
          <p:cNvPicPr>
            <a:picLocks noChangeAspect="1" noChangeArrowheads="1"/>
          </p:cNvPicPr>
          <p:nvPr/>
        </p:nvPicPr>
        <p:blipFill>
          <a:blip r:embed="rId10">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19206" y="4510906"/>
            <a:ext cx="843254" cy="90812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a:extLst>
              <a:ext uri="{FF2B5EF4-FFF2-40B4-BE49-F238E27FC236}">
                <a16:creationId xmlns:a16="http://schemas.microsoft.com/office/drawing/2014/main" id="{C94CAC65-4A6E-9496-1170-636FCFBECC3D}"/>
              </a:ext>
            </a:extLst>
          </p:cNvPr>
          <p:cNvPicPr>
            <a:picLocks noChangeAspect="1"/>
          </p:cNvPicPr>
          <p:nvPr/>
        </p:nvPicPr>
        <p:blipFill>
          <a:blip r:embed="rId11">
            <a:clrChange>
              <a:clrFrom>
                <a:srgbClr val="F4F4F6"/>
              </a:clrFrom>
              <a:clrTo>
                <a:srgbClr val="F4F4F6">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497121" y="5197306"/>
            <a:ext cx="1287892" cy="922100"/>
          </a:xfrm>
          <a:prstGeom prst="rect">
            <a:avLst/>
          </a:prstGeom>
        </p:spPr>
      </p:pic>
    </p:spTree>
    <p:extLst>
      <p:ext uri="{BB962C8B-B14F-4D97-AF65-F5344CB8AC3E}">
        <p14:creationId xmlns:p14="http://schemas.microsoft.com/office/powerpoint/2010/main" val="22371001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9753A64F-3FFB-4C82-BA4B-FAEEE494755C}"/>
              </a:ext>
            </a:extLst>
          </p:cNvPr>
          <p:cNvSpPr>
            <a:spLocks noGrp="1"/>
          </p:cNvSpPr>
          <p:nvPr>
            <p:ph type="title"/>
          </p:nvPr>
        </p:nvSpPr>
        <p:spPr>
          <a:xfrm>
            <a:off x="426827" y="2079241"/>
            <a:ext cx="4071604" cy="2226556"/>
          </a:xfrm>
        </p:spPr>
        <p:txBody>
          <a:bodyPr>
            <a:normAutofit/>
          </a:bodyPr>
          <a:lstStyle/>
          <a:p>
            <a:r>
              <a:rPr lang="es-ES" noProof="0" dirty="0"/>
              <a:t>Metodología Crisp-DM Artificial Intelligence</a:t>
            </a:r>
          </a:p>
        </p:txBody>
      </p:sp>
      <p:sp>
        <p:nvSpPr>
          <p:cNvPr id="2" name="Marcador de fecha 1">
            <a:extLst>
              <a:ext uri="{FF2B5EF4-FFF2-40B4-BE49-F238E27FC236}">
                <a16:creationId xmlns:a16="http://schemas.microsoft.com/office/drawing/2014/main" id="{98D2893D-F2DB-D70B-0078-91A1D3E55F15}"/>
              </a:ext>
            </a:extLst>
          </p:cNvPr>
          <p:cNvSpPr>
            <a:spLocks noGrp="1"/>
          </p:cNvSpPr>
          <p:nvPr>
            <p:ph type="dt" sz="half" idx="10"/>
          </p:nvPr>
        </p:nvSpPr>
        <p:spPr>
          <a:xfrm>
            <a:off x="814650" y="6400379"/>
            <a:ext cx="3380278" cy="365125"/>
          </a:xfrm>
        </p:spPr>
        <p:txBody>
          <a:bodyPr/>
          <a:lstStyle/>
          <a:p>
            <a:fld id="{FCE7BEB0-C926-4FCB-AFFD-037CF6F7E9A4}"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37F5D82D-3006-4FDB-A274-60CB76856CE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3" name="Marcador de número de diapositiva 2">
            <a:extLst>
              <a:ext uri="{FF2B5EF4-FFF2-40B4-BE49-F238E27FC236}">
                <a16:creationId xmlns:a16="http://schemas.microsoft.com/office/drawing/2014/main" id="{D155F9EB-387E-790A-783C-1E2E92B4563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2</a:t>
            </a:fld>
            <a:endParaRPr lang="es-ES" dirty="0"/>
          </a:p>
        </p:txBody>
      </p:sp>
      <p:graphicFrame>
        <p:nvGraphicFramePr>
          <p:cNvPr id="14" name="Diagrama 13">
            <a:extLst>
              <a:ext uri="{FF2B5EF4-FFF2-40B4-BE49-F238E27FC236}">
                <a16:creationId xmlns:a16="http://schemas.microsoft.com/office/drawing/2014/main" id="{3DEA0588-025A-4CDC-A763-7760A86490C4}"/>
              </a:ext>
            </a:extLst>
          </p:cNvPr>
          <p:cNvGraphicFramePr/>
          <p:nvPr>
            <p:extLst>
              <p:ext uri="{D42A27DB-BD31-4B8C-83A1-F6EECF244321}">
                <p14:modId xmlns:p14="http://schemas.microsoft.com/office/powerpoint/2010/main" val="1537118275"/>
              </p:ext>
            </p:extLst>
          </p:nvPr>
        </p:nvGraphicFramePr>
        <p:xfrm>
          <a:off x="4036979" y="836614"/>
          <a:ext cx="7752944" cy="55197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CuadroTexto 17">
            <a:extLst>
              <a:ext uri="{FF2B5EF4-FFF2-40B4-BE49-F238E27FC236}">
                <a16:creationId xmlns:a16="http://schemas.microsoft.com/office/drawing/2014/main" id="{924A8168-BD99-4BE9-8611-A37CB0ABD34D}"/>
              </a:ext>
            </a:extLst>
          </p:cNvPr>
          <p:cNvSpPr txBox="1"/>
          <p:nvPr/>
        </p:nvSpPr>
        <p:spPr>
          <a:xfrm>
            <a:off x="8304844" y="1698808"/>
            <a:ext cx="1391660" cy="442674"/>
          </a:xfrm>
          <a:prstGeom prst="roundRect">
            <a:avLst/>
          </a:prstGeom>
          <a:solidFill>
            <a:srgbClr val="FF0000"/>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rgbClr val="3333FF"/>
                </a:solidFill>
              </a:rPr>
              <a:t>Inspiración</a:t>
            </a:r>
          </a:p>
        </p:txBody>
      </p:sp>
      <p:sp>
        <p:nvSpPr>
          <p:cNvPr id="20" name="CuadroTexto 19">
            <a:extLst>
              <a:ext uri="{FF2B5EF4-FFF2-40B4-BE49-F238E27FC236}">
                <a16:creationId xmlns:a16="http://schemas.microsoft.com/office/drawing/2014/main" id="{474C96A1-FC2E-4A80-962B-665B876B9ECE}"/>
              </a:ext>
            </a:extLst>
          </p:cNvPr>
          <p:cNvSpPr txBox="1"/>
          <p:nvPr/>
        </p:nvSpPr>
        <p:spPr>
          <a:xfrm>
            <a:off x="8357294" y="5065510"/>
            <a:ext cx="952722" cy="442674"/>
          </a:xfrm>
          <a:prstGeom prst="roundRect">
            <a:avLst/>
          </a:prstGeom>
          <a:solidFill>
            <a:srgbClr val="FF0000"/>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rgbClr val="3333FF"/>
                </a:solidFill>
              </a:rPr>
              <a:t>Diseño</a:t>
            </a:r>
          </a:p>
        </p:txBody>
      </p:sp>
      <p:sp>
        <p:nvSpPr>
          <p:cNvPr id="22" name="CuadroTexto 21">
            <a:extLst>
              <a:ext uri="{FF2B5EF4-FFF2-40B4-BE49-F238E27FC236}">
                <a16:creationId xmlns:a16="http://schemas.microsoft.com/office/drawing/2014/main" id="{62292D4E-22F7-441C-89AA-E313165DFDE7}"/>
              </a:ext>
            </a:extLst>
          </p:cNvPr>
          <p:cNvSpPr txBox="1"/>
          <p:nvPr/>
        </p:nvSpPr>
        <p:spPr>
          <a:xfrm>
            <a:off x="4959883" y="4084460"/>
            <a:ext cx="1244458" cy="442674"/>
          </a:xfrm>
          <a:prstGeom prst="roundRect">
            <a:avLst/>
          </a:prstGeom>
          <a:solidFill>
            <a:srgbClr val="FF0000"/>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rgbClr val="3333FF"/>
                </a:solidFill>
              </a:rPr>
              <a:t>Contraste</a:t>
            </a:r>
          </a:p>
        </p:txBody>
      </p:sp>
      <p:sp>
        <p:nvSpPr>
          <p:cNvPr id="24" name="CuadroTexto 23">
            <a:extLst>
              <a:ext uri="{FF2B5EF4-FFF2-40B4-BE49-F238E27FC236}">
                <a16:creationId xmlns:a16="http://schemas.microsoft.com/office/drawing/2014/main" id="{1A5A5FAA-C9DC-4C0A-A464-4C384C56427B}"/>
              </a:ext>
            </a:extLst>
          </p:cNvPr>
          <p:cNvSpPr txBox="1"/>
          <p:nvPr/>
        </p:nvSpPr>
        <p:spPr>
          <a:xfrm>
            <a:off x="4959883" y="1807192"/>
            <a:ext cx="1030046" cy="442674"/>
          </a:xfrm>
          <a:prstGeom prst="roundRect">
            <a:avLst/>
          </a:prstGeom>
          <a:solidFill>
            <a:srgbClr val="FF0000"/>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rgbClr val="3333FF"/>
                </a:solidFill>
              </a:rPr>
              <a:t>Pilotaje</a:t>
            </a:r>
          </a:p>
        </p:txBody>
      </p:sp>
    </p:spTree>
    <p:extLst>
      <p:ext uri="{BB962C8B-B14F-4D97-AF65-F5344CB8AC3E}">
        <p14:creationId xmlns:p14="http://schemas.microsoft.com/office/powerpoint/2010/main" val="4839468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5F645A-19D2-CDD7-5E49-FA5AFF625476}"/>
              </a:ext>
            </a:extLst>
          </p:cNvPr>
          <p:cNvSpPr>
            <a:spLocks noGrp="1"/>
          </p:cNvSpPr>
          <p:nvPr>
            <p:ph type="title"/>
          </p:nvPr>
        </p:nvSpPr>
        <p:spPr>
          <a:xfrm>
            <a:off x="341194" y="3814618"/>
            <a:ext cx="4932769" cy="1876594"/>
          </a:xfrm>
        </p:spPr>
        <p:txBody>
          <a:bodyPr/>
          <a:lstStyle/>
          <a:p>
            <a:r>
              <a:rPr lang="es-ES" noProof="0" dirty="0"/>
              <a:t>Casos de uso Inteligencia Artificial</a:t>
            </a:r>
          </a:p>
        </p:txBody>
      </p:sp>
      <p:sp>
        <p:nvSpPr>
          <p:cNvPr id="3" name="Marcador de fecha 2">
            <a:extLst>
              <a:ext uri="{FF2B5EF4-FFF2-40B4-BE49-F238E27FC236}">
                <a16:creationId xmlns:a16="http://schemas.microsoft.com/office/drawing/2014/main" id="{F96F4AD1-E521-08EB-2657-428B8412F671}"/>
              </a:ext>
            </a:extLst>
          </p:cNvPr>
          <p:cNvSpPr>
            <a:spLocks noGrp="1"/>
          </p:cNvSpPr>
          <p:nvPr>
            <p:ph type="dt" sz="half" idx="10"/>
          </p:nvPr>
        </p:nvSpPr>
        <p:spPr>
          <a:xfrm>
            <a:off x="814650" y="6400379"/>
            <a:ext cx="3380278" cy="365125"/>
          </a:xfrm>
        </p:spPr>
        <p:txBody>
          <a:bodyPr/>
          <a:lstStyle/>
          <a:p>
            <a:fld id="{6E211C11-BD41-4406-BEDB-B481F8927A7D}"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41A434BD-52FE-0461-67BA-DB66CD3F3C7E}"/>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70C9576D-585A-806E-568A-8FA0FE1C937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3</a:t>
            </a:fld>
            <a:endParaRPr lang="es-ES" dirty="0"/>
          </a:p>
        </p:txBody>
      </p:sp>
    </p:spTree>
    <p:extLst>
      <p:ext uri="{BB962C8B-B14F-4D97-AF65-F5344CB8AC3E}">
        <p14:creationId xmlns:p14="http://schemas.microsoft.com/office/powerpoint/2010/main" val="87890955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94855-D8FB-4BA4-E2F3-675B81973E5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16DB73B-3371-F5C0-CF10-940AEF2C6325}"/>
              </a:ext>
            </a:extLst>
          </p:cNvPr>
          <p:cNvSpPr>
            <a:spLocks noGrp="1"/>
          </p:cNvSpPr>
          <p:nvPr>
            <p:ph type="title"/>
          </p:nvPr>
        </p:nvSpPr>
        <p:spPr>
          <a:xfrm>
            <a:off x="838200" y="365126"/>
            <a:ext cx="9840124" cy="1092200"/>
          </a:xfrm>
        </p:spPr>
        <p:txBody>
          <a:bodyPr/>
          <a:lstStyle/>
          <a:p>
            <a:r>
              <a:rPr lang="es-ES" noProof="0" dirty="0"/>
              <a:t>Ejemplo de Texto a Imagen (2018 aprox.)</a:t>
            </a:r>
          </a:p>
        </p:txBody>
      </p:sp>
      <p:sp>
        <p:nvSpPr>
          <p:cNvPr id="3" name="Marcador de fecha 2">
            <a:extLst>
              <a:ext uri="{FF2B5EF4-FFF2-40B4-BE49-F238E27FC236}">
                <a16:creationId xmlns:a16="http://schemas.microsoft.com/office/drawing/2014/main" id="{C042A72F-90E8-57CE-E22B-1746F4FAC082}"/>
              </a:ext>
            </a:extLst>
          </p:cNvPr>
          <p:cNvSpPr>
            <a:spLocks noGrp="1"/>
          </p:cNvSpPr>
          <p:nvPr>
            <p:ph type="dt" sz="half" idx="10"/>
          </p:nvPr>
        </p:nvSpPr>
        <p:spPr>
          <a:xfrm>
            <a:off x="814650" y="6400379"/>
            <a:ext cx="3380278" cy="365125"/>
          </a:xfrm>
        </p:spPr>
        <p:txBody>
          <a:bodyPr/>
          <a:lstStyle/>
          <a:p>
            <a:fld id="{D5C421C5-F82F-4D5B-9FD5-C35B47A2D5B7}"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685068EF-9B61-1A6A-9517-971E713FB24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ADB58516-C38B-CD62-AF6D-221F01044A4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84</a:t>
            </a:fld>
            <a:endParaRPr lang="es-ES" dirty="0"/>
          </a:p>
        </p:txBody>
      </p:sp>
      <p:sp>
        <p:nvSpPr>
          <p:cNvPr id="25" name="CuadroTexto 24">
            <a:extLst>
              <a:ext uri="{FF2B5EF4-FFF2-40B4-BE49-F238E27FC236}">
                <a16:creationId xmlns:a16="http://schemas.microsoft.com/office/drawing/2014/main" id="{BD887F1D-186D-5BC2-C6E5-299E8C1C3D0C}"/>
              </a:ext>
            </a:extLst>
          </p:cNvPr>
          <p:cNvSpPr txBox="1"/>
          <p:nvPr/>
        </p:nvSpPr>
        <p:spPr>
          <a:xfrm>
            <a:off x="1632156" y="1789077"/>
            <a:ext cx="9311149" cy="923330"/>
          </a:xfrm>
          <a:prstGeom prst="rect">
            <a:avLst/>
          </a:prstGeom>
          <a:noFill/>
        </p:spPr>
        <p:txBody>
          <a:bodyPr wrap="square">
            <a:spAutoFit/>
          </a:bodyPr>
          <a:lstStyle/>
          <a:p>
            <a:r>
              <a:rPr lang="es-ES" b="1" dirty="0"/>
              <a:t>MENSAJE DE TEXTO: </a:t>
            </a:r>
            <a:r>
              <a:rPr lang="es-ES" dirty="0"/>
              <a:t>una ilustración de un bebé daikon rábano en un tutú paseando a un perro</a:t>
            </a:r>
          </a:p>
          <a:p>
            <a:r>
              <a:rPr lang="es-ES" b="1" dirty="0"/>
              <a:t>IMÁGENES GENERADAS POR IA</a:t>
            </a:r>
          </a:p>
        </p:txBody>
      </p:sp>
      <p:pic>
        <p:nvPicPr>
          <p:cNvPr id="6" name="Imagen 5">
            <a:extLst>
              <a:ext uri="{FF2B5EF4-FFF2-40B4-BE49-F238E27FC236}">
                <a16:creationId xmlns:a16="http://schemas.microsoft.com/office/drawing/2014/main" id="{67A8A8C7-2ECA-0E9E-D2AF-D27FD3DCF1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938" y="2661614"/>
            <a:ext cx="6924675" cy="1352550"/>
          </a:xfrm>
          <a:prstGeom prst="rect">
            <a:avLst/>
          </a:prstGeom>
        </p:spPr>
      </p:pic>
      <p:sp>
        <p:nvSpPr>
          <p:cNvPr id="29" name="CuadroTexto 28">
            <a:extLst>
              <a:ext uri="{FF2B5EF4-FFF2-40B4-BE49-F238E27FC236}">
                <a16:creationId xmlns:a16="http://schemas.microsoft.com/office/drawing/2014/main" id="{8B4D1268-E1D2-C3E6-054C-A0D32BA64525}"/>
              </a:ext>
            </a:extLst>
          </p:cNvPr>
          <p:cNvSpPr txBox="1"/>
          <p:nvPr/>
        </p:nvSpPr>
        <p:spPr>
          <a:xfrm>
            <a:off x="1673329" y="4149666"/>
            <a:ext cx="9269976" cy="646331"/>
          </a:xfrm>
          <a:prstGeom prst="rect">
            <a:avLst/>
          </a:prstGeom>
          <a:noFill/>
        </p:spPr>
        <p:txBody>
          <a:bodyPr wrap="square">
            <a:spAutoFit/>
          </a:bodyPr>
          <a:lstStyle/>
          <a:p>
            <a:pPr algn="l" fontAlgn="base"/>
            <a:r>
              <a:rPr lang="es-ES" b="1" i="0" cap="all" dirty="0">
                <a:solidFill>
                  <a:srgbClr val="000000"/>
                </a:solidFill>
                <a:effectLst/>
                <a:latin typeface="ColfaxAI"/>
              </a:rPr>
              <a:t>MENSAJE DE TEXTO </a:t>
            </a:r>
            <a:r>
              <a:rPr lang="es-ES" b="0" i="0" dirty="0">
                <a:solidFill>
                  <a:srgbClr val="000000"/>
                </a:solidFill>
                <a:effectLst/>
                <a:latin typeface="ColfaxAI"/>
              </a:rPr>
              <a:t>un escaparate que tiene escrita la palabra 'openai' […]</a:t>
            </a:r>
          </a:p>
          <a:p>
            <a:pPr algn="l" fontAlgn="base"/>
            <a:r>
              <a:rPr lang="es-ES" b="1" i="0" cap="all" dirty="0">
                <a:solidFill>
                  <a:srgbClr val="000000"/>
                </a:solidFill>
                <a:effectLst/>
                <a:latin typeface="ColfaxAI"/>
              </a:rPr>
              <a:t>IMÁGENES GENERADAS POR la IA de openAI</a:t>
            </a:r>
          </a:p>
        </p:txBody>
      </p:sp>
      <p:pic>
        <p:nvPicPr>
          <p:cNvPr id="9" name="Imagen 8">
            <a:extLst>
              <a:ext uri="{FF2B5EF4-FFF2-40B4-BE49-F238E27FC236}">
                <a16:creationId xmlns:a16="http://schemas.microsoft.com/office/drawing/2014/main" id="{51EF44C9-2BC4-4738-4227-F97A92953C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0563" y="4793372"/>
            <a:ext cx="6877050" cy="1390650"/>
          </a:xfrm>
          <a:prstGeom prst="rect">
            <a:avLst/>
          </a:prstGeom>
        </p:spPr>
      </p:pic>
    </p:spTree>
    <p:extLst>
      <p:ext uri="{BB962C8B-B14F-4D97-AF65-F5344CB8AC3E}">
        <p14:creationId xmlns:p14="http://schemas.microsoft.com/office/powerpoint/2010/main" val="22863031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E268ED-CA3C-0FAD-D22D-3E0EA85F4EDE}"/>
            </a:ext>
          </a:extLst>
        </p:cNvPr>
        <p:cNvGrpSpPr/>
        <p:nvPr/>
      </p:nvGrpSpPr>
      <p:grpSpPr>
        <a:xfrm>
          <a:off x="0" y="0"/>
          <a:ext cx="0" cy="0"/>
          <a:chOff x="0" y="0"/>
          <a:chExt cx="0" cy="0"/>
        </a:xfrm>
      </p:grpSpPr>
      <p:sp>
        <p:nvSpPr>
          <p:cNvPr id="4" name="3 Marcador de contenido">
            <a:extLst>
              <a:ext uri="{FF2B5EF4-FFF2-40B4-BE49-F238E27FC236}">
                <a16:creationId xmlns:a16="http://schemas.microsoft.com/office/drawing/2014/main" id="{CE3787A4-FFBB-190C-F5CD-C6549282F0A1}"/>
              </a:ext>
            </a:extLst>
          </p:cNvPr>
          <p:cNvSpPr>
            <a:spLocks noGrp="1"/>
          </p:cNvSpPr>
          <p:nvPr>
            <p:ph sz="half" idx="1"/>
          </p:nvPr>
        </p:nvSpPr>
        <p:spPr>
          <a:xfrm>
            <a:off x="270309" y="2241755"/>
            <a:ext cx="6387666" cy="3923835"/>
          </a:xfrm>
        </p:spPr>
        <p:txBody>
          <a:bodyPr>
            <a:normAutofit fontScale="77500" lnSpcReduction="20000"/>
          </a:bodyPr>
          <a:lstStyle/>
          <a:p>
            <a:r>
              <a:rPr lang="es-ES" noProof="0" dirty="0"/>
              <a:t>La entidad necesitó mediante reconocimiento de imágenes de Depósitos y ETAPs (Estación de Tratamiento de Aguas Potables) la identificación en mapa de dichas infraestructuras (se desconoce su número en municipios menores de 50.000 habitantes)</a:t>
            </a:r>
          </a:p>
          <a:p>
            <a:r>
              <a:rPr lang="es-ES" noProof="0" dirty="0"/>
              <a:t>Municipios con menos de 50,000 habitantes: 7,874. </a:t>
            </a:r>
          </a:p>
          <a:p>
            <a:pPr lvl="1"/>
            <a:r>
              <a:rPr lang="es-ES" noProof="0" dirty="0"/>
              <a:t>los mayores de son unos 150.</a:t>
            </a:r>
          </a:p>
          <a:p>
            <a:r>
              <a:rPr lang="es-ES" noProof="0" dirty="0"/>
              <a:t>La superficie total sobre la que hacer análisis de imágenes es de  476,300.96 Km2. Lo que supuso trabajar con unos 6,000,000 imágenes. Una imagen = 1MB = 0.78 Km2. Total 6 TB.</a:t>
            </a:r>
          </a:p>
          <a:p>
            <a:pPr lvl="0"/>
            <a:r>
              <a:rPr lang="es-ES" noProof="0" dirty="0"/>
              <a:t>Se aplicaron tecnologías de ML (Machine Learning) y/o DL (Deep Learning) “Tensor Flow de Google” y hubo que entrenar el algoritmo.</a:t>
            </a:r>
          </a:p>
        </p:txBody>
      </p:sp>
      <p:pic>
        <p:nvPicPr>
          <p:cNvPr id="12" name="Picture 2" descr="Ampliación ETAP Trujillo">
            <a:extLst>
              <a:ext uri="{FF2B5EF4-FFF2-40B4-BE49-F238E27FC236}">
                <a16:creationId xmlns:a16="http://schemas.microsoft.com/office/drawing/2014/main" id="{8119C0A8-AAF4-9E01-B9EE-662D3B2DC8DA}"/>
              </a:ext>
            </a:extLst>
          </p:cNvPr>
          <p:cNvPicPr>
            <a:picLocks noGrp="1" noChangeAspect="1" noChangeArrowheads="1"/>
          </p:cNvPicPr>
          <p:nvPr>
            <p:ph sz="half" idx="2"/>
          </p:nvPr>
        </p:nvPicPr>
        <p:blipFill rotWithShape="1">
          <a:blip r:embed="rId2">
            <a:extLst>
              <a:ext uri="{28A0092B-C50C-407E-A947-70E740481C1C}">
                <a14:useLocalDpi xmlns:a14="http://schemas.microsoft.com/office/drawing/2010/main" val="0"/>
              </a:ext>
            </a:extLst>
          </a:blip>
          <a:stretch/>
        </p:blipFill>
        <p:spPr>
          <a:xfrm>
            <a:off x="6780213" y="1878344"/>
            <a:ext cx="5141912" cy="2142463"/>
          </a:xfrm>
        </p:spPr>
      </p:pic>
      <p:sp>
        <p:nvSpPr>
          <p:cNvPr id="9" name="Marcador de contenido 8">
            <a:extLst>
              <a:ext uri="{FF2B5EF4-FFF2-40B4-BE49-F238E27FC236}">
                <a16:creationId xmlns:a16="http://schemas.microsoft.com/office/drawing/2014/main" id="{34565802-FE38-29F1-7177-9FBA5BAB23AE}"/>
              </a:ext>
            </a:extLst>
          </p:cNvPr>
          <p:cNvSpPr>
            <a:spLocks noGrp="1"/>
          </p:cNvSpPr>
          <p:nvPr>
            <p:ph sz="half" idx="13"/>
          </p:nvPr>
        </p:nvSpPr>
        <p:spPr>
          <a:xfrm>
            <a:off x="6779991" y="4902762"/>
            <a:ext cx="5141700" cy="1452030"/>
          </a:xfrm>
        </p:spPr>
        <p:txBody>
          <a:bodyPr/>
          <a:lstStyle/>
          <a:p>
            <a:r>
              <a:rPr lang="es-ES" noProof="0" dirty="0"/>
              <a:t>ESRI, NASA-</a:t>
            </a:r>
            <a:r>
              <a:rPr lang="es-ES" noProof="0" dirty="0" err="1"/>
              <a:t>Reverb</a:t>
            </a:r>
            <a:r>
              <a:rPr lang="es-ES" noProof="0" dirty="0"/>
              <a:t> ECHO, Mapas digitalizados</a:t>
            </a:r>
          </a:p>
        </p:txBody>
      </p:sp>
      <p:sp>
        <p:nvSpPr>
          <p:cNvPr id="2" name="1 Título">
            <a:extLst>
              <a:ext uri="{FF2B5EF4-FFF2-40B4-BE49-F238E27FC236}">
                <a16:creationId xmlns:a16="http://schemas.microsoft.com/office/drawing/2014/main" id="{4F976921-0A8A-5E65-A919-EF741FD3B4D3}"/>
              </a:ext>
            </a:extLst>
          </p:cNvPr>
          <p:cNvSpPr>
            <a:spLocks noGrp="1"/>
          </p:cNvSpPr>
          <p:nvPr>
            <p:ph type="title"/>
          </p:nvPr>
        </p:nvSpPr>
        <p:spPr>
          <a:xfrm>
            <a:off x="838200" y="365126"/>
            <a:ext cx="9840124" cy="1092200"/>
          </a:xfrm>
        </p:spPr>
        <p:txBody>
          <a:bodyPr>
            <a:normAutofit/>
          </a:bodyPr>
          <a:lstStyle/>
          <a:p>
            <a:r>
              <a:rPr lang="es-ES" noProof="0" dirty="0"/>
              <a:t>Reconocimiento de imágenes para Depósitos y ETAPs y AEAS</a:t>
            </a:r>
          </a:p>
        </p:txBody>
      </p:sp>
      <p:sp>
        <p:nvSpPr>
          <p:cNvPr id="5" name="4 Marcador de fecha">
            <a:extLst>
              <a:ext uri="{FF2B5EF4-FFF2-40B4-BE49-F238E27FC236}">
                <a16:creationId xmlns:a16="http://schemas.microsoft.com/office/drawing/2014/main" id="{7267EC9B-5874-72F2-D75C-69C69E82381F}"/>
              </a:ext>
            </a:extLst>
          </p:cNvPr>
          <p:cNvSpPr>
            <a:spLocks noGrp="1"/>
          </p:cNvSpPr>
          <p:nvPr>
            <p:ph type="dt" sz="half" idx="14"/>
          </p:nvPr>
        </p:nvSpPr>
        <p:spPr>
          <a:xfrm>
            <a:off x="814650" y="6400379"/>
            <a:ext cx="3380278" cy="365125"/>
          </a:xfrm>
        </p:spPr>
        <p:txBody>
          <a:bodyPr/>
          <a:lstStyle/>
          <a:p>
            <a:fld id="{6711F0EC-1028-4F26-B0C4-DEEA0CF5C38C}" type="datetime2">
              <a:rPr lang="es-ES" smtClean="0"/>
              <a:pPr/>
              <a:t>jueves, 19 de septiembre de 2024</a:t>
            </a:fld>
            <a:endParaRPr lang="es-ES" dirty="0"/>
          </a:p>
        </p:txBody>
      </p:sp>
      <p:sp>
        <p:nvSpPr>
          <p:cNvPr id="6" name="5 Marcador de pie de página">
            <a:extLst>
              <a:ext uri="{FF2B5EF4-FFF2-40B4-BE49-F238E27FC236}">
                <a16:creationId xmlns:a16="http://schemas.microsoft.com/office/drawing/2014/main" id="{B7A41C11-88FF-A787-2120-2879DDC34BB9}"/>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6 Marcador de número de diapositiva">
            <a:extLst>
              <a:ext uri="{FF2B5EF4-FFF2-40B4-BE49-F238E27FC236}">
                <a16:creationId xmlns:a16="http://schemas.microsoft.com/office/drawing/2014/main" id="{11879EB8-DD00-106F-6F3F-BC76249A2ECA}"/>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85</a:t>
            </a:fld>
            <a:endParaRPr lang="es-ES" dirty="0"/>
          </a:p>
        </p:txBody>
      </p:sp>
    </p:spTree>
    <p:extLst>
      <p:ext uri="{BB962C8B-B14F-4D97-AF65-F5344CB8AC3E}">
        <p14:creationId xmlns:p14="http://schemas.microsoft.com/office/powerpoint/2010/main" val="1248572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14BA8-6559-6F28-001B-5835980B158C}"/>
            </a:ext>
          </a:extLst>
        </p:cNvPr>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620C0A4-63F2-CF26-11C6-EF0CAA35ABAF}"/>
              </a:ext>
            </a:extLst>
          </p:cNvPr>
          <p:cNvSpPr>
            <a:spLocks noGrp="1"/>
          </p:cNvSpPr>
          <p:nvPr>
            <p:ph sz="half" idx="1"/>
          </p:nvPr>
        </p:nvSpPr>
        <p:spPr>
          <a:xfrm>
            <a:off x="270309" y="2241755"/>
            <a:ext cx="6387666" cy="3923835"/>
          </a:xfrm>
        </p:spPr>
        <p:txBody>
          <a:bodyPr/>
          <a:lstStyle/>
          <a:p>
            <a:pPr lvl="0"/>
            <a:r>
              <a:rPr lang="es-ES" noProof="0" dirty="0"/>
              <a:t>Hacer el mantenimiento de la maquinaria sólo cuando es necesario.</a:t>
            </a:r>
          </a:p>
          <a:p>
            <a:r>
              <a:rPr lang="es-ES" noProof="0" dirty="0"/>
              <a:t>Resultados</a:t>
            </a:r>
          </a:p>
          <a:p>
            <a:pPr lvl="1"/>
            <a:r>
              <a:rPr lang="es-ES" noProof="0" dirty="0"/>
              <a:t>MTBF (Mean Time Between </a:t>
            </a:r>
            <a:r>
              <a:rPr lang="es-ES" noProof="0" dirty="0" err="1"/>
              <a:t>Failures</a:t>
            </a:r>
            <a:r>
              <a:rPr lang="es-ES" noProof="0" dirty="0"/>
              <a:t>) </a:t>
            </a:r>
          </a:p>
          <a:p>
            <a:pPr lvl="1"/>
            <a:r>
              <a:rPr lang="es-ES" noProof="0" dirty="0"/>
              <a:t>MTTR (Mean Time </a:t>
            </a:r>
            <a:r>
              <a:rPr lang="es-ES" noProof="0" dirty="0" err="1"/>
              <a:t>To</a:t>
            </a:r>
            <a:r>
              <a:rPr lang="es-ES" noProof="0" dirty="0"/>
              <a:t> Reparation)</a:t>
            </a:r>
          </a:p>
          <a:p>
            <a:pPr lvl="1"/>
            <a:r>
              <a:rPr lang="es-ES" noProof="0" dirty="0"/>
              <a:t>Intervenciones predictivas</a:t>
            </a:r>
          </a:p>
          <a:p>
            <a:pPr lvl="1"/>
            <a:r>
              <a:rPr lang="es-ES" noProof="0" dirty="0"/>
              <a:t>Generación de Órdenes de trabajo</a:t>
            </a:r>
          </a:p>
          <a:p>
            <a:pPr lvl="1"/>
            <a:r>
              <a:rPr lang="es-ES" noProof="0" dirty="0"/>
              <a:t>Nueva gestión de expedientes.</a:t>
            </a:r>
          </a:p>
          <a:p>
            <a:endParaRPr lang="es-ES" noProof="0" dirty="0"/>
          </a:p>
        </p:txBody>
      </p:sp>
      <p:pic>
        <p:nvPicPr>
          <p:cNvPr id="3074" name="Picture 2" descr="In-depth Guide to Predictive Maintenance Tools [2020 update]">
            <a:extLst>
              <a:ext uri="{FF2B5EF4-FFF2-40B4-BE49-F238E27FC236}">
                <a16:creationId xmlns:a16="http://schemas.microsoft.com/office/drawing/2014/main" id="{F0E12E86-4C00-5798-58B3-8336560D3BF8}"/>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001025" y="2171700"/>
            <a:ext cx="4514551" cy="2613025"/>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E8A90B40-E0FA-0025-DEA1-560FA99B324F}"/>
              </a:ext>
            </a:extLst>
          </p:cNvPr>
          <p:cNvSpPr>
            <a:spLocks noGrp="1"/>
          </p:cNvSpPr>
          <p:nvPr>
            <p:ph sz="half" idx="13"/>
          </p:nvPr>
        </p:nvSpPr>
        <p:spPr>
          <a:xfrm>
            <a:off x="6964023" y="5328336"/>
            <a:ext cx="4588553" cy="837254"/>
          </a:xfrm>
        </p:spPr>
        <p:txBody>
          <a:bodyPr>
            <a:normAutofit fontScale="85000" lnSpcReduction="20000"/>
          </a:bodyPr>
          <a:lstStyle/>
          <a:p>
            <a:r>
              <a:rPr lang="es-ES" noProof="0" dirty="0"/>
              <a:t>Centralitas IOT + GIS (ESRI) + Historial de los elementos a controlar + Ordenes de trabajo y expedientes + Cuadrillas y equipos de mantenimiento</a:t>
            </a:r>
          </a:p>
        </p:txBody>
      </p:sp>
      <p:sp>
        <p:nvSpPr>
          <p:cNvPr id="5" name="Título 4">
            <a:extLst>
              <a:ext uri="{FF2B5EF4-FFF2-40B4-BE49-F238E27FC236}">
                <a16:creationId xmlns:a16="http://schemas.microsoft.com/office/drawing/2014/main" id="{3C045AEE-7B83-22AA-62EE-C53149EFF145}"/>
              </a:ext>
            </a:extLst>
          </p:cNvPr>
          <p:cNvSpPr>
            <a:spLocks noGrp="1"/>
          </p:cNvSpPr>
          <p:nvPr>
            <p:ph type="title"/>
          </p:nvPr>
        </p:nvSpPr>
        <p:spPr>
          <a:xfrm>
            <a:off x="838200" y="365126"/>
            <a:ext cx="9840124" cy="1092200"/>
          </a:xfrm>
        </p:spPr>
        <p:txBody>
          <a:bodyPr>
            <a:normAutofit/>
          </a:bodyPr>
          <a:lstStyle/>
          <a:p>
            <a:r>
              <a:rPr lang="es-ES" noProof="0" dirty="0"/>
              <a:t>Mantenimiento de maquinaria e instalaciones industriales: MTBF MTTR</a:t>
            </a:r>
          </a:p>
        </p:txBody>
      </p:sp>
      <p:sp>
        <p:nvSpPr>
          <p:cNvPr id="6" name="Marcador de fecha 5">
            <a:extLst>
              <a:ext uri="{FF2B5EF4-FFF2-40B4-BE49-F238E27FC236}">
                <a16:creationId xmlns:a16="http://schemas.microsoft.com/office/drawing/2014/main" id="{ACCD6981-E674-15B7-AD21-5A301CC70D46}"/>
              </a:ext>
            </a:extLst>
          </p:cNvPr>
          <p:cNvSpPr>
            <a:spLocks noGrp="1"/>
          </p:cNvSpPr>
          <p:nvPr>
            <p:ph type="dt" sz="half" idx="14"/>
          </p:nvPr>
        </p:nvSpPr>
        <p:spPr>
          <a:xfrm>
            <a:off x="814650" y="6400379"/>
            <a:ext cx="3380278" cy="365125"/>
          </a:xfrm>
        </p:spPr>
        <p:txBody>
          <a:bodyPr/>
          <a:lstStyle/>
          <a:p>
            <a:fld id="{2C2FC58D-A1D2-4AE4-8992-F529E3F1064B}"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7625197F-A13B-B5A5-8E11-AFC7B107D9B1}"/>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E268DF93-91BC-9134-E849-672ABE496C7D}"/>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86</a:t>
            </a:fld>
            <a:endParaRPr lang="es-ES" dirty="0"/>
          </a:p>
        </p:txBody>
      </p:sp>
    </p:spTree>
    <p:extLst>
      <p:ext uri="{BB962C8B-B14F-4D97-AF65-F5344CB8AC3E}">
        <p14:creationId xmlns:p14="http://schemas.microsoft.com/office/powerpoint/2010/main" val="372838692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65931-0F14-F0C9-4AAC-9405C22841D6}"/>
            </a:ext>
          </a:extLst>
        </p:cNvPr>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77CC392-A374-1EA2-F7AA-0868C408021E}"/>
              </a:ext>
            </a:extLst>
          </p:cNvPr>
          <p:cNvSpPr>
            <a:spLocks noGrp="1"/>
          </p:cNvSpPr>
          <p:nvPr>
            <p:ph sz="half" idx="1"/>
          </p:nvPr>
        </p:nvSpPr>
        <p:spPr>
          <a:xfrm>
            <a:off x="270309" y="2241755"/>
            <a:ext cx="6387666" cy="3923835"/>
          </a:xfrm>
        </p:spPr>
        <p:txBody>
          <a:bodyPr/>
          <a:lstStyle/>
          <a:p>
            <a:r>
              <a:rPr lang="es-ES" noProof="0" dirty="0"/>
              <a:t>Planificar las rutas por predicción de la demanda.</a:t>
            </a:r>
          </a:p>
          <a:p>
            <a:r>
              <a:rPr lang="es-ES" noProof="0" dirty="0"/>
              <a:t>Información a la agenda comercial.</a:t>
            </a:r>
          </a:p>
          <a:p>
            <a:r>
              <a:rPr lang="es-ES" noProof="0" dirty="0"/>
              <a:t>Detección de incidencias:</a:t>
            </a:r>
          </a:p>
          <a:p>
            <a:pPr lvl="1"/>
            <a:r>
              <a:rPr lang="es-ES" noProof="0" dirty="0"/>
              <a:t>Paradas anómalas</a:t>
            </a:r>
          </a:p>
          <a:p>
            <a:pPr lvl="1"/>
            <a:r>
              <a:rPr lang="es-ES" noProof="0" dirty="0"/>
              <a:t>Sobrecargas</a:t>
            </a:r>
          </a:p>
          <a:p>
            <a:pPr lvl="1"/>
            <a:r>
              <a:rPr lang="es-ES" noProof="0" dirty="0"/>
              <a:t>exceso de velocidad.</a:t>
            </a:r>
          </a:p>
          <a:p>
            <a:r>
              <a:rPr lang="es-ES" noProof="0" dirty="0"/>
              <a:t>Replanificar las rutas.</a:t>
            </a:r>
          </a:p>
        </p:txBody>
      </p:sp>
      <p:pic>
        <p:nvPicPr>
          <p:cNvPr id="9" name="Picture 2" descr="https://www.tlnplanner.nl/en/images/icons/icon-kaart-groot.png">
            <a:extLst>
              <a:ext uri="{FF2B5EF4-FFF2-40B4-BE49-F238E27FC236}">
                <a16:creationId xmlns:a16="http://schemas.microsoft.com/office/drawing/2014/main" id="{A9D82E9C-DB0B-CD09-1FA6-E588DCFF973E}"/>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6964363" y="2261428"/>
            <a:ext cx="4587875" cy="2433568"/>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BC940CF5-7537-B915-BF72-8B0FF0E14036}"/>
              </a:ext>
            </a:extLst>
          </p:cNvPr>
          <p:cNvSpPr>
            <a:spLocks noGrp="1"/>
          </p:cNvSpPr>
          <p:nvPr>
            <p:ph sz="half" idx="13"/>
          </p:nvPr>
        </p:nvSpPr>
        <p:spPr>
          <a:xfrm>
            <a:off x="6964023" y="5328336"/>
            <a:ext cx="4588553" cy="837254"/>
          </a:xfrm>
        </p:spPr>
        <p:txBody>
          <a:bodyPr>
            <a:normAutofit fontScale="92500" lnSpcReduction="10000"/>
          </a:bodyPr>
          <a:lstStyle/>
          <a:p>
            <a:r>
              <a:rPr lang="es-ES" noProof="0" dirty="0"/>
              <a:t>Centralitas | asociado a IoT o no + Posición GIS (ESRI) + Registro de operaciones (Origen, destino, carga)</a:t>
            </a:r>
          </a:p>
        </p:txBody>
      </p:sp>
      <p:sp>
        <p:nvSpPr>
          <p:cNvPr id="5" name="Título 4">
            <a:extLst>
              <a:ext uri="{FF2B5EF4-FFF2-40B4-BE49-F238E27FC236}">
                <a16:creationId xmlns:a16="http://schemas.microsoft.com/office/drawing/2014/main" id="{C64903EB-E6EC-1CDC-C759-B6EE9072141B}"/>
              </a:ext>
            </a:extLst>
          </p:cNvPr>
          <p:cNvSpPr>
            <a:spLocks noGrp="1"/>
          </p:cNvSpPr>
          <p:nvPr>
            <p:ph type="title"/>
          </p:nvPr>
        </p:nvSpPr>
        <p:spPr>
          <a:xfrm>
            <a:off x="838200" y="365126"/>
            <a:ext cx="9840124" cy="1092200"/>
          </a:xfrm>
        </p:spPr>
        <p:txBody>
          <a:bodyPr>
            <a:normAutofit/>
          </a:bodyPr>
          <a:lstStyle/>
          <a:p>
            <a:r>
              <a:rPr lang="es-ES" noProof="0" dirty="0"/>
              <a:t>Logística y Transportes, planificación de rutas</a:t>
            </a:r>
          </a:p>
        </p:txBody>
      </p:sp>
      <p:sp>
        <p:nvSpPr>
          <p:cNvPr id="6" name="Marcador de fecha 5">
            <a:extLst>
              <a:ext uri="{FF2B5EF4-FFF2-40B4-BE49-F238E27FC236}">
                <a16:creationId xmlns:a16="http://schemas.microsoft.com/office/drawing/2014/main" id="{232FFF4F-0552-4705-F642-AE9B04066375}"/>
              </a:ext>
            </a:extLst>
          </p:cNvPr>
          <p:cNvSpPr>
            <a:spLocks noGrp="1"/>
          </p:cNvSpPr>
          <p:nvPr>
            <p:ph type="dt" sz="half" idx="14"/>
          </p:nvPr>
        </p:nvSpPr>
        <p:spPr>
          <a:xfrm>
            <a:off x="814650" y="6400379"/>
            <a:ext cx="3380278" cy="365125"/>
          </a:xfrm>
        </p:spPr>
        <p:txBody>
          <a:bodyPr/>
          <a:lstStyle/>
          <a:p>
            <a:fld id="{DAF79CCA-D46D-4057-9836-0E494D3D7FA1}"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6175D80C-E634-FCAF-F88A-63FB1C544D98}"/>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10F3A8DA-D3EE-3B7E-4FAC-B7D6AE20EEA2}"/>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87</a:t>
            </a:fld>
            <a:endParaRPr lang="es-ES" dirty="0"/>
          </a:p>
        </p:txBody>
      </p:sp>
    </p:spTree>
    <p:extLst>
      <p:ext uri="{BB962C8B-B14F-4D97-AF65-F5344CB8AC3E}">
        <p14:creationId xmlns:p14="http://schemas.microsoft.com/office/powerpoint/2010/main" val="6955557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5DDE5-3B52-71C8-9343-3AD446ADE574}"/>
            </a:ext>
          </a:extLst>
        </p:cNvPr>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7349E494-F92C-C84E-683B-750700AC2042}"/>
              </a:ext>
            </a:extLst>
          </p:cNvPr>
          <p:cNvSpPr>
            <a:spLocks noGrp="1"/>
          </p:cNvSpPr>
          <p:nvPr>
            <p:ph sz="half" idx="1"/>
          </p:nvPr>
        </p:nvSpPr>
        <p:spPr>
          <a:xfrm>
            <a:off x="270309" y="2241755"/>
            <a:ext cx="6387666" cy="3923835"/>
          </a:xfrm>
        </p:spPr>
        <p:txBody>
          <a:bodyPr/>
          <a:lstStyle/>
          <a:p>
            <a:pPr lvl="0"/>
            <a:r>
              <a:rPr lang="es-ES" noProof="0" dirty="0"/>
              <a:t>Situación del contenedor</a:t>
            </a:r>
          </a:p>
          <a:p>
            <a:pPr lvl="0"/>
            <a:r>
              <a:rPr lang="es-ES" noProof="0" dirty="0"/>
              <a:t>Previsión de entradas y salidas de contenedores</a:t>
            </a:r>
          </a:p>
          <a:p>
            <a:pPr lvl="0"/>
            <a:r>
              <a:rPr lang="es-ES" noProof="0" dirty="0"/>
              <a:t>Previsión de entradas y salidas no planificadas.</a:t>
            </a:r>
          </a:p>
          <a:p>
            <a:pPr lvl="0"/>
            <a:r>
              <a:rPr lang="es-ES" noProof="0" dirty="0"/>
              <a:t>Contenedores más propensos al Fraude.</a:t>
            </a:r>
          </a:p>
        </p:txBody>
      </p:sp>
      <p:pic>
        <p:nvPicPr>
          <p:cNvPr id="2050" name="Picture 2" descr="Fondos de pantalla : área urbana, edificio, metrópoli, contenedor ...">
            <a:extLst>
              <a:ext uri="{FF2B5EF4-FFF2-40B4-BE49-F238E27FC236}">
                <a16:creationId xmlns:a16="http://schemas.microsoft.com/office/drawing/2014/main" id="{5022A480-7FF7-5F61-3E40-C6662130A209}"/>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310099" y="2171700"/>
            <a:ext cx="3896402" cy="2613025"/>
          </a:xfrm>
          <a:noFill/>
          <a:extLst>
            <a:ext uri="{909E8E84-426E-40DD-AFC4-6F175D3DCCD1}">
              <a14:hiddenFill xmlns:a14="http://schemas.microsoft.com/office/drawing/2010/main">
                <a:solidFill>
                  <a:srgbClr val="FFFFFF"/>
                </a:solidFill>
              </a14:hiddenFill>
            </a:ext>
          </a:extLst>
        </p:spPr>
      </p:pic>
      <p:sp>
        <p:nvSpPr>
          <p:cNvPr id="4" name="Marcador de contenido 3">
            <a:extLst>
              <a:ext uri="{FF2B5EF4-FFF2-40B4-BE49-F238E27FC236}">
                <a16:creationId xmlns:a16="http://schemas.microsoft.com/office/drawing/2014/main" id="{8C3B18C2-CB36-966A-29F2-474D36AA8675}"/>
              </a:ext>
            </a:extLst>
          </p:cNvPr>
          <p:cNvSpPr>
            <a:spLocks noGrp="1"/>
          </p:cNvSpPr>
          <p:nvPr>
            <p:ph sz="half" idx="13"/>
          </p:nvPr>
        </p:nvSpPr>
        <p:spPr>
          <a:xfrm>
            <a:off x="6964023" y="5328336"/>
            <a:ext cx="4588553" cy="837254"/>
          </a:xfrm>
        </p:spPr>
        <p:txBody>
          <a:bodyPr>
            <a:normAutofit fontScale="92500" lnSpcReduction="10000"/>
          </a:bodyPr>
          <a:lstStyle/>
          <a:p>
            <a:r>
              <a:rPr lang="es-ES" noProof="0" dirty="0"/>
              <a:t>Operaciones (manifiesto) + Control real de entradas y salidas + Cámaras cenitales + GIS (ESRI).</a:t>
            </a:r>
          </a:p>
        </p:txBody>
      </p:sp>
      <p:sp>
        <p:nvSpPr>
          <p:cNvPr id="5" name="Título 4">
            <a:extLst>
              <a:ext uri="{FF2B5EF4-FFF2-40B4-BE49-F238E27FC236}">
                <a16:creationId xmlns:a16="http://schemas.microsoft.com/office/drawing/2014/main" id="{BE556CA6-7FBC-6987-F7D3-09BBCAE50893}"/>
              </a:ext>
            </a:extLst>
          </p:cNvPr>
          <p:cNvSpPr>
            <a:spLocks noGrp="1"/>
          </p:cNvSpPr>
          <p:nvPr>
            <p:ph type="title"/>
          </p:nvPr>
        </p:nvSpPr>
        <p:spPr>
          <a:xfrm>
            <a:off x="838200" y="365126"/>
            <a:ext cx="9840124" cy="1092200"/>
          </a:xfrm>
        </p:spPr>
        <p:txBody>
          <a:bodyPr>
            <a:normAutofit/>
          </a:bodyPr>
          <a:lstStyle/>
          <a:p>
            <a:r>
              <a:rPr lang="es-ES" noProof="0" dirty="0"/>
              <a:t>Puertos y estaciones de contenedores: Situación del contenedor</a:t>
            </a:r>
          </a:p>
        </p:txBody>
      </p:sp>
      <p:sp>
        <p:nvSpPr>
          <p:cNvPr id="6" name="Marcador de fecha 5">
            <a:extLst>
              <a:ext uri="{FF2B5EF4-FFF2-40B4-BE49-F238E27FC236}">
                <a16:creationId xmlns:a16="http://schemas.microsoft.com/office/drawing/2014/main" id="{2D290328-0106-9CBB-8190-2C17D4D94696}"/>
              </a:ext>
            </a:extLst>
          </p:cNvPr>
          <p:cNvSpPr>
            <a:spLocks noGrp="1"/>
          </p:cNvSpPr>
          <p:nvPr>
            <p:ph type="dt" sz="half" idx="14"/>
          </p:nvPr>
        </p:nvSpPr>
        <p:spPr>
          <a:xfrm>
            <a:off x="814650" y="6400379"/>
            <a:ext cx="3380278" cy="365125"/>
          </a:xfrm>
        </p:spPr>
        <p:txBody>
          <a:bodyPr/>
          <a:lstStyle/>
          <a:p>
            <a:fld id="{9DBD5C0A-6B4A-4C93-9F5A-EB33A9D3490B}" type="datetime2">
              <a:rPr lang="es-ES" smtClean="0"/>
              <a:pPr/>
              <a:t>jueves, 19 de septiembre de 2024</a:t>
            </a:fld>
            <a:endParaRPr lang="es-ES" dirty="0"/>
          </a:p>
        </p:txBody>
      </p:sp>
      <p:sp>
        <p:nvSpPr>
          <p:cNvPr id="7" name="Marcador de pie de página 6">
            <a:extLst>
              <a:ext uri="{FF2B5EF4-FFF2-40B4-BE49-F238E27FC236}">
                <a16:creationId xmlns:a16="http://schemas.microsoft.com/office/drawing/2014/main" id="{EFBA4FA9-A0D0-9120-1D7C-6D7288DD6B50}"/>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8" name="Marcador de número de diapositiva 7">
            <a:extLst>
              <a:ext uri="{FF2B5EF4-FFF2-40B4-BE49-F238E27FC236}">
                <a16:creationId xmlns:a16="http://schemas.microsoft.com/office/drawing/2014/main" id="{E92B07AD-7157-F8A0-892A-B8DC3D86F137}"/>
              </a:ext>
            </a:extLst>
          </p:cNvPr>
          <p:cNvSpPr>
            <a:spLocks noGrp="1"/>
          </p:cNvSpPr>
          <p:nvPr>
            <p:ph type="sldNum" sz="quarter" idx="16"/>
          </p:nvPr>
        </p:nvSpPr>
        <p:spPr>
          <a:xfrm>
            <a:off x="10801350" y="6421474"/>
            <a:ext cx="576000" cy="365125"/>
          </a:xfrm>
        </p:spPr>
        <p:txBody>
          <a:bodyPr/>
          <a:lstStyle/>
          <a:p>
            <a:fld id="{55440F6C-613C-488D-819E-DA6065366E0E}" type="slidenum">
              <a:rPr lang="es-ES" smtClean="0"/>
              <a:pPr/>
              <a:t>88</a:t>
            </a:fld>
            <a:endParaRPr lang="es-ES" dirty="0"/>
          </a:p>
        </p:txBody>
      </p:sp>
    </p:spTree>
    <p:extLst>
      <p:ext uri="{BB962C8B-B14F-4D97-AF65-F5344CB8AC3E}">
        <p14:creationId xmlns:p14="http://schemas.microsoft.com/office/powerpoint/2010/main" val="7882229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9E4D9-32E9-B0BA-4CAF-1C9872A08A1D}"/>
            </a:ext>
          </a:extLst>
        </p:cNvPr>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13A88534-BB37-0451-8CCA-4F9352A28F14}"/>
              </a:ext>
            </a:extLst>
          </p:cNvPr>
          <p:cNvSpPr>
            <a:spLocks noGrp="1"/>
          </p:cNvSpPr>
          <p:nvPr>
            <p:ph sz="half" idx="1"/>
          </p:nvPr>
        </p:nvSpPr>
        <p:spPr>
          <a:xfrm>
            <a:off x="270309" y="2241755"/>
            <a:ext cx="6387666" cy="3923835"/>
          </a:xfrm>
        </p:spPr>
        <p:txBody>
          <a:bodyPr>
            <a:normAutofit lnSpcReduction="10000"/>
          </a:bodyPr>
          <a:lstStyle/>
          <a:p>
            <a:r>
              <a:rPr lang="es-ES" noProof="0" dirty="0"/>
              <a:t>Premisa: El descubrimiento temprano de una oportunidad, es clave para hacer o no la venta.</a:t>
            </a:r>
          </a:p>
          <a:p>
            <a:r>
              <a:rPr lang="es-ES" noProof="0" dirty="0"/>
              <a:t>Detección temprana de oportunidades (RFP):</a:t>
            </a:r>
          </a:p>
          <a:p>
            <a:pPr lvl="1"/>
            <a:r>
              <a:rPr lang="es-ES" noProof="0" dirty="0"/>
              <a:t>En el lugar donde se generan(webs de grandes empresas, pliegos de administración pública, cámaras de comercio, etc..)</a:t>
            </a:r>
          </a:p>
          <a:p>
            <a:pPr lvl="1"/>
            <a:r>
              <a:rPr lang="es-ES" noProof="0" dirty="0"/>
              <a:t>Entenderlas mediante herramientas de lenguaje de procesamiento natural</a:t>
            </a:r>
          </a:p>
          <a:p>
            <a:pPr lvl="1"/>
            <a:r>
              <a:rPr lang="es-ES" noProof="0" dirty="0"/>
              <a:t>Catalogarlas y transmitirlas a la empresa en tiempo real.</a:t>
            </a:r>
          </a:p>
          <a:p>
            <a:r>
              <a:rPr lang="es-ES" noProof="0" dirty="0"/>
              <a:t>Iniciativa de Banca de Empresa</a:t>
            </a:r>
          </a:p>
        </p:txBody>
      </p:sp>
      <p:pic>
        <p:nvPicPr>
          <p:cNvPr id="4" name="Marcador de contenido 3">
            <a:extLst>
              <a:ext uri="{FF2B5EF4-FFF2-40B4-BE49-F238E27FC236}">
                <a16:creationId xmlns:a16="http://schemas.microsoft.com/office/drawing/2014/main" id="{57008542-A8A4-BC53-18A0-55A750E080B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7133952" y="2171700"/>
            <a:ext cx="4248697" cy="2613025"/>
          </a:xfrm>
        </p:spPr>
      </p:pic>
      <p:sp>
        <p:nvSpPr>
          <p:cNvPr id="15" name="Marcador de contenido 14">
            <a:extLst>
              <a:ext uri="{FF2B5EF4-FFF2-40B4-BE49-F238E27FC236}">
                <a16:creationId xmlns:a16="http://schemas.microsoft.com/office/drawing/2014/main" id="{07C61C60-A57D-3C5A-C020-F85B61C74C21}"/>
              </a:ext>
            </a:extLst>
          </p:cNvPr>
          <p:cNvSpPr>
            <a:spLocks noGrp="1"/>
          </p:cNvSpPr>
          <p:nvPr>
            <p:ph sz="half" idx="13"/>
          </p:nvPr>
        </p:nvSpPr>
        <p:spPr>
          <a:xfrm>
            <a:off x="6964023" y="5328336"/>
            <a:ext cx="4588553" cy="837254"/>
          </a:xfrm>
        </p:spPr>
        <p:txBody>
          <a:bodyPr>
            <a:normAutofit fontScale="70000" lnSpcReduction="20000"/>
          </a:bodyPr>
          <a:lstStyle/>
          <a:p>
            <a:r>
              <a:rPr lang="es-ES" noProof="0" dirty="0"/>
              <a:t>RFP de páginas de empresas privadas, cámaras de comercio, administraciones públicas, Statista, Banco Mundial, Aduanas</a:t>
            </a:r>
          </a:p>
          <a:p>
            <a:r>
              <a:rPr lang="es-ES" noProof="0" dirty="0" err="1"/>
              <a:t>Feed</a:t>
            </a:r>
            <a:r>
              <a:rPr lang="es-ES" noProof="0" dirty="0"/>
              <a:t> back de la empresa de anteriores RFP.</a:t>
            </a:r>
          </a:p>
        </p:txBody>
      </p:sp>
      <p:sp>
        <p:nvSpPr>
          <p:cNvPr id="2" name="Título 1">
            <a:extLst>
              <a:ext uri="{FF2B5EF4-FFF2-40B4-BE49-F238E27FC236}">
                <a16:creationId xmlns:a16="http://schemas.microsoft.com/office/drawing/2014/main" id="{17689875-6256-B2B6-B0F5-6D473DAA7247}"/>
              </a:ext>
            </a:extLst>
          </p:cNvPr>
          <p:cNvSpPr>
            <a:spLocks noGrp="1"/>
          </p:cNvSpPr>
          <p:nvPr>
            <p:ph type="title"/>
          </p:nvPr>
        </p:nvSpPr>
        <p:spPr>
          <a:xfrm>
            <a:off x="838200" y="365126"/>
            <a:ext cx="9840124" cy="1092200"/>
          </a:xfrm>
        </p:spPr>
        <p:txBody>
          <a:bodyPr>
            <a:normAutofit/>
          </a:bodyPr>
          <a:lstStyle/>
          <a:p>
            <a:r>
              <a:rPr lang="es-ES" noProof="0" dirty="0"/>
              <a:t>Detectar de forma temprana oportunidades de negocio para La empresa</a:t>
            </a:r>
          </a:p>
        </p:txBody>
      </p:sp>
      <p:sp>
        <p:nvSpPr>
          <p:cNvPr id="5" name="Marcador de fecha 4">
            <a:extLst>
              <a:ext uri="{FF2B5EF4-FFF2-40B4-BE49-F238E27FC236}">
                <a16:creationId xmlns:a16="http://schemas.microsoft.com/office/drawing/2014/main" id="{6377786C-7479-BFCE-3CF0-676FF3652C8A}"/>
              </a:ext>
            </a:extLst>
          </p:cNvPr>
          <p:cNvSpPr>
            <a:spLocks noGrp="1"/>
          </p:cNvSpPr>
          <p:nvPr>
            <p:ph type="dt" sz="half" idx="14"/>
          </p:nvPr>
        </p:nvSpPr>
        <p:spPr>
          <a:xfrm>
            <a:off x="814650" y="6400379"/>
            <a:ext cx="3380278" cy="365125"/>
          </a:xfrm>
        </p:spPr>
        <p:txBody>
          <a:bodyPr/>
          <a:lstStyle/>
          <a:p>
            <a:fld id="{46EE75BE-A09D-44BF-AA2B-2752B6E28FD4}"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2A2236EE-62B7-785A-648C-166290D697CB}"/>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6F5E935E-E60C-C59F-BCE8-41F0F5110855}"/>
              </a:ext>
            </a:extLst>
          </p:cNvPr>
          <p:cNvSpPr>
            <a:spLocks noGrp="1"/>
          </p:cNvSpPr>
          <p:nvPr>
            <p:ph type="sldNum" sz="quarter" idx="16"/>
          </p:nvPr>
        </p:nvSpPr>
        <p:spPr>
          <a:xfrm>
            <a:off x="10801350" y="6421474"/>
            <a:ext cx="576000" cy="365125"/>
          </a:xfrm>
        </p:spPr>
        <p:txBody>
          <a:bodyPr/>
          <a:lstStyle/>
          <a:p>
            <a:pPr lvl="0"/>
            <a:fld id="{2F31F12F-1AD0-4601-9895-DEF860A7333B}" type="slidenum">
              <a:rPr lang="es-ES" noProof="0" smtClean="0"/>
              <a:pPr lvl="0"/>
              <a:t>89</a:t>
            </a:fld>
            <a:endParaRPr lang="es-ES" noProof="0" dirty="0"/>
          </a:p>
        </p:txBody>
      </p:sp>
    </p:spTree>
    <p:extLst>
      <p:ext uri="{BB962C8B-B14F-4D97-AF65-F5344CB8AC3E}">
        <p14:creationId xmlns:p14="http://schemas.microsoft.com/office/powerpoint/2010/main" val="2167965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A974BE-BEAE-3E38-FF6E-C9D59D1EBBAB}"/>
              </a:ext>
            </a:extLst>
          </p:cNvPr>
          <p:cNvSpPr>
            <a:spLocks noGrp="1"/>
          </p:cNvSpPr>
          <p:nvPr>
            <p:ph type="title"/>
          </p:nvPr>
        </p:nvSpPr>
        <p:spPr>
          <a:xfrm>
            <a:off x="809083" y="2432718"/>
            <a:ext cx="3505199" cy="1092200"/>
          </a:xfrm>
        </p:spPr>
        <p:txBody>
          <a:bodyPr/>
          <a:lstStyle/>
          <a:p>
            <a:r>
              <a:rPr lang="es-ES" noProof="0" dirty="0"/>
              <a:t>Antes y ahora el tabaco</a:t>
            </a:r>
          </a:p>
        </p:txBody>
      </p:sp>
      <p:sp>
        <p:nvSpPr>
          <p:cNvPr id="3" name="Marcador de fecha 2">
            <a:extLst>
              <a:ext uri="{FF2B5EF4-FFF2-40B4-BE49-F238E27FC236}">
                <a16:creationId xmlns:a16="http://schemas.microsoft.com/office/drawing/2014/main" id="{50F06BF3-B60F-0C4C-B56D-A307BF11F7AE}"/>
              </a:ext>
            </a:extLst>
          </p:cNvPr>
          <p:cNvSpPr>
            <a:spLocks noGrp="1"/>
          </p:cNvSpPr>
          <p:nvPr>
            <p:ph type="dt" sz="half" idx="10"/>
          </p:nvPr>
        </p:nvSpPr>
        <p:spPr>
          <a:xfrm>
            <a:off x="814650" y="6400379"/>
            <a:ext cx="3380278" cy="365125"/>
          </a:xfrm>
        </p:spPr>
        <p:txBody>
          <a:bodyPr/>
          <a:lstStyle/>
          <a:p>
            <a:fld id="{28E04541-EE41-449A-BE73-428A7037FB83}"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D0695F20-F5F1-C920-BC6A-4D220C6ED222}"/>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2EF7FD9B-C230-998A-0068-A65ADA9B52A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a:t>
            </a:fld>
            <a:endParaRPr lang="es-ES" dirty="0"/>
          </a:p>
        </p:txBody>
      </p:sp>
      <p:pic>
        <p:nvPicPr>
          <p:cNvPr id="7" name="Imagen 6" descr="Texto, Carta&#10;&#10;Descripción generada automáticamente">
            <a:extLst>
              <a:ext uri="{FF2B5EF4-FFF2-40B4-BE49-F238E27FC236}">
                <a16:creationId xmlns:a16="http://schemas.microsoft.com/office/drawing/2014/main" id="{2745F747-5082-D3AC-1B80-7218D5E0DA7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4343399" y="95096"/>
            <a:ext cx="5009004" cy="6261254"/>
          </a:xfrm>
          <a:prstGeom prst="rect">
            <a:avLst/>
          </a:prstGeom>
        </p:spPr>
      </p:pic>
    </p:spTree>
    <p:extLst>
      <p:ext uri="{BB962C8B-B14F-4D97-AF65-F5344CB8AC3E}">
        <p14:creationId xmlns:p14="http://schemas.microsoft.com/office/powerpoint/2010/main" val="25116878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485FEAD-631C-3092-D06E-98D0B1D9E96F}"/>
            </a:ext>
          </a:extLst>
        </p:cNvPr>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0AB6799A-3CF5-BD3C-355D-D339D38E303E}"/>
              </a:ext>
            </a:extLst>
          </p:cNvPr>
          <p:cNvSpPr>
            <a:spLocks noGrp="1"/>
          </p:cNvSpPr>
          <p:nvPr>
            <p:ph sz="half" idx="1"/>
          </p:nvPr>
        </p:nvSpPr>
        <p:spPr>
          <a:xfrm>
            <a:off x="270309" y="2241755"/>
            <a:ext cx="6387666" cy="3923835"/>
          </a:xfrm>
        </p:spPr>
        <p:txBody>
          <a:bodyPr>
            <a:normAutofit lnSpcReduction="10000"/>
          </a:bodyPr>
          <a:lstStyle/>
          <a:p>
            <a:r>
              <a:rPr lang="es-ES" noProof="0" dirty="0"/>
              <a:t>Mercado minorista</a:t>
            </a:r>
          </a:p>
          <a:p>
            <a:r>
              <a:rPr lang="es-ES" noProof="0" dirty="0"/>
              <a:t>Haciendo predictivo de la demanda del consumidor final de forma lineal y matizada por los eventos temporales y atemporales, se puede optimizar la producción y el stock de los diferentes productos.</a:t>
            </a:r>
          </a:p>
          <a:p>
            <a:r>
              <a:rPr lang="es-ES" noProof="0" dirty="0"/>
              <a:t>Igualmente se pueden establecer estrategias comerciales para lanzamiento de productos y realización de ofertas y planificar la logística de forma óptima.</a:t>
            </a:r>
          </a:p>
        </p:txBody>
      </p:sp>
      <p:pic>
        <p:nvPicPr>
          <p:cNvPr id="11" name="Picture 2" descr="Cada español consume al año 2,43 litros de aceite de oliva virgen ...">
            <a:extLst>
              <a:ext uri="{FF2B5EF4-FFF2-40B4-BE49-F238E27FC236}">
                <a16:creationId xmlns:a16="http://schemas.microsoft.com/office/drawing/2014/main" id="{61F9820D-04C1-F4B0-677B-69EFB7F3E374}"/>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a:xfrm>
            <a:off x="7353300" y="2206625"/>
            <a:ext cx="3810000" cy="2543175"/>
          </a:xfrm>
        </p:spPr>
      </p:pic>
      <p:sp>
        <p:nvSpPr>
          <p:cNvPr id="15" name="Marcador de contenido 14">
            <a:extLst>
              <a:ext uri="{FF2B5EF4-FFF2-40B4-BE49-F238E27FC236}">
                <a16:creationId xmlns:a16="http://schemas.microsoft.com/office/drawing/2014/main" id="{58D983A1-6CDC-A92F-C6BD-592578521022}"/>
              </a:ext>
            </a:extLst>
          </p:cNvPr>
          <p:cNvSpPr>
            <a:spLocks noGrp="1"/>
          </p:cNvSpPr>
          <p:nvPr>
            <p:ph sz="half" idx="13"/>
          </p:nvPr>
        </p:nvSpPr>
        <p:spPr>
          <a:xfrm>
            <a:off x="6964023" y="5328336"/>
            <a:ext cx="4588553" cy="837254"/>
          </a:xfrm>
        </p:spPr>
        <p:txBody>
          <a:bodyPr>
            <a:normAutofit fontScale="77500" lnSpcReduction="20000"/>
          </a:bodyPr>
          <a:lstStyle/>
          <a:p>
            <a:r>
              <a:rPr lang="es-ES" noProof="0" dirty="0"/>
              <a:t>Histórico de la empresa, CRM, Albaranes…, fechas señaladas, actividades, eventos, redes sociales.</a:t>
            </a:r>
          </a:p>
          <a:p>
            <a:r>
              <a:rPr lang="es-ES" noProof="0" dirty="0" err="1"/>
              <a:t>Feed</a:t>
            </a:r>
            <a:r>
              <a:rPr lang="es-ES" noProof="0" dirty="0"/>
              <a:t> back de la cooperativa de anteriores predicciones</a:t>
            </a:r>
          </a:p>
        </p:txBody>
      </p:sp>
      <p:sp>
        <p:nvSpPr>
          <p:cNvPr id="2" name="Título 1">
            <a:extLst>
              <a:ext uri="{FF2B5EF4-FFF2-40B4-BE49-F238E27FC236}">
                <a16:creationId xmlns:a16="http://schemas.microsoft.com/office/drawing/2014/main" id="{135D9A58-421E-9B2F-DE38-ADB5AE202D30}"/>
              </a:ext>
            </a:extLst>
          </p:cNvPr>
          <p:cNvSpPr>
            <a:spLocks noGrp="1"/>
          </p:cNvSpPr>
          <p:nvPr>
            <p:ph type="title"/>
          </p:nvPr>
        </p:nvSpPr>
        <p:spPr>
          <a:xfrm>
            <a:off x="838200" y="365126"/>
            <a:ext cx="9840124" cy="1092200"/>
          </a:xfrm>
        </p:spPr>
        <p:txBody>
          <a:bodyPr>
            <a:normAutofit/>
          </a:bodyPr>
          <a:lstStyle/>
          <a:p>
            <a:r>
              <a:rPr lang="es-ES" noProof="0" dirty="0"/>
              <a:t>Soluciones estratégicas para adaptar el plan de producción y el stock al consumo</a:t>
            </a:r>
          </a:p>
        </p:txBody>
      </p:sp>
      <p:sp>
        <p:nvSpPr>
          <p:cNvPr id="4" name="Marcador de fecha 3">
            <a:extLst>
              <a:ext uri="{FF2B5EF4-FFF2-40B4-BE49-F238E27FC236}">
                <a16:creationId xmlns:a16="http://schemas.microsoft.com/office/drawing/2014/main" id="{58ED4E9A-602D-AC0F-D7E6-E7131E8CE195}"/>
              </a:ext>
            </a:extLst>
          </p:cNvPr>
          <p:cNvSpPr>
            <a:spLocks noGrp="1"/>
          </p:cNvSpPr>
          <p:nvPr>
            <p:ph type="dt" sz="half" idx="14"/>
          </p:nvPr>
        </p:nvSpPr>
        <p:spPr>
          <a:xfrm>
            <a:off x="814650" y="6400379"/>
            <a:ext cx="3380278" cy="365125"/>
          </a:xfrm>
        </p:spPr>
        <p:txBody>
          <a:bodyPr/>
          <a:lstStyle/>
          <a:p>
            <a:fld id="{300EEE04-CEE5-40DA-BA66-797384330647}"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586F1A88-BFFE-B87B-5473-9F6AD1767CC7}"/>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7C87B4EA-B883-3A73-9948-A09AE4224858}"/>
              </a:ext>
            </a:extLst>
          </p:cNvPr>
          <p:cNvSpPr>
            <a:spLocks noGrp="1"/>
          </p:cNvSpPr>
          <p:nvPr>
            <p:ph type="sldNum" sz="quarter" idx="16"/>
          </p:nvPr>
        </p:nvSpPr>
        <p:spPr>
          <a:xfrm>
            <a:off x="10801350" y="6421474"/>
            <a:ext cx="576000" cy="365125"/>
          </a:xfrm>
        </p:spPr>
        <p:txBody>
          <a:bodyPr/>
          <a:lstStyle/>
          <a:p>
            <a:pPr lvl="0"/>
            <a:fld id="{2F31F12F-1AD0-4601-9895-DEF860A7333B}" type="slidenum">
              <a:rPr lang="es-ES" noProof="0" smtClean="0"/>
              <a:pPr lvl="0"/>
              <a:t>90</a:t>
            </a:fld>
            <a:endParaRPr lang="es-ES" noProof="0" dirty="0"/>
          </a:p>
        </p:txBody>
      </p:sp>
    </p:spTree>
    <p:extLst>
      <p:ext uri="{BB962C8B-B14F-4D97-AF65-F5344CB8AC3E}">
        <p14:creationId xmlns:p14="http://schemas.microsoft.com/office/powerpoint/2010/main" val="26952360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7791C-F9CE-22A7-225F-9509F6B3728F}"/>
            </a:ext>
          </a:extLst>
        </p:cNvPr>
        <p:cNvGrpSpPr/>
        <p:nvPr/>
      </p:nvGrpSpPr>
      <p:grpSpPr>
        <a:xfrm>
          <a:off x="0" y="0"/>
          <a:ext cx="0" cy="0"/>
          <a:chOff x="0" y="0"/>
          <a:chExt cx="0" cy="0"/>
        </a:xfrm>
      </p:grpSpPr>
      <p:sp>
        <p:nvSpPr>
          <p:cNvPr id="4" name="Marcador de contenido 3">
            <a:extLst>
              <a:ext uri="{FF2B5EF4-FFF2-40B4-BE49-F238E27FC236}">
                <a16:creationId xmlns:a16="http://schemas.microsoft.com/office/drawing/2014/main" id="{1611EABF-6ED3-4803-9AD3-6BE2D350DD74}"/>
              </a:ext>
            </a:extLst>
          </p:cNvPr>
          <p:cNvSpPr>
            <a:spLocks noGrp="1"/>
          </p:cNvSpPr>
          <p:nvPr>
            <p:ph sz="half" idx="1"/>
          </p:nvPr>
        </p:nvSpPr>
        <p:spPr>
          <a:xfrm>
            <a:off x="270309" y="2241755"/>
            <a:ext cx="6387666" cy="3923835"/>
          </a:xfrm>
        </p:spPr>
        <p:txBody>
          <a:bodyPr/>
          <a:lstStyle/>
          <a:p>
            <a:r>
              <a:rPr lang="es-ES" noProof="0" dirty="0"/>
              <a:t>Sensibilidades en redes sociales y otros acerca de la Empresa. Como se la percibe y porqué.</a:t>
            </a:r>
          </a:p>
          <a:p>
            <a:r>
              <a:rPr lang="es-ES" noProof="0" dirty="0"/>
              <a:t>Reputación / Calificación de la Empresa al completo y por facultad y porqué.</a:t>
            </a:r>
          </a:p>
          <a:p>
            <a:endParaRPr lang="es-ES" noProof="0" dirty="0"/>
          </a:p>
        </p:txBody>
      </p:sp>
      <p:pic>
        <p:nvPicPr>
          <p:cNvPr id="12" name="Picture 4" descr="https://images.unsplash.com/photo-1460904577954-8fadb262612c?ixlib=rb-0.3.5&amp;ixid=eyJhcHBfaWQiOjEyMDd9&amp;s=7cbfe51eba54faabe786016d0d2e25fa&amp;dpr=1&amp;auto=format&amp;fit=crop&amp;w=1000&amp;q=80&amp;cs=tinysrgb">
            <a:extLst>
              <a:ext uri="{FF2B5EF4-FFF2-40B4-BE49-F238E27FC236}">
                <a16:creationId xmlns:a16="http://schemas.microsoft.com/office/drawing/2014/main" id="{49D58BC3-BEA5-1261-3040-8D07E01CA84A}"/>
              </a:ext>
            </a:extLst>
          </p:cNvPr>
          <p:cNvPicPr>
            <a:picLocks noGrp="1" noChangeAspect="1" noChangeArrowheads="1"/>
          </p:cNvPicPr>
          <p:nvPr>
            <p:ph sz="half" idx="2"/>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6964363" y="2257838"/>
            <a:ext cx="4587875" cy="2440749"/>
          </a:xfrm>
        </p:spPr>
      </p:pic>
      <p:sp>
        <p:nvSpPr>
          <p:cNvPr id="3" name="Marcador de contenido 2">
            <a:extLst>
              <a:ext uri="{FF2B5EF4-FFF2-40B4-BE49-F238E27FC236}">
                <a16:creationId xmlns:a16="http://schemas.microsoft.com/office/drawing/2014/main" id="{EF4326CF-7CF0-3051-89D2-4CE5E09FA9D7}"/>
              </a:ext>
            </a:extLst>
          </p:cNvPr>
          <p:cNvSpPr>
            <a:spLocks noGrp="1"/>
          </p:cNvSpPr>
          <p:nvPr>
            <p:ph sz="half" idx="13"/>
          </p:nvPr>
        </p:nvSpPr>
        <p:spPr>
          <a:xfrm>
            <a:off x="6964023" y="5328336"/>
            <a:ext cx="4588553" cy="837254"/>
          </a:xfrm>
        </p:spPr>
        <p:txBody>
          <a:bodyPr>
            <a:normAutofit fontScale="85000" lnSpcReduction="10000"/>
          </a:bodyPr>
          <a:lstStyle/>
          <a:p>
            <a:r>
              <a:rPr lang="es-ES" noProof="0" dirty="0"/>
              <a:t>… Redes sociales, blogs, foros</a:t>
            </a:r>
          </a:p>
          <a:p>
            <a:r>
              <a:rPr lang="es-ES" noProof="0" dirty="0"/>
              <a:t>CRM, operaciones de clientes, comunicados de clientes..</a:t>
            </a:r>
          </a:p>
        </p:txBody>
      </p:sp>
      <p:sp>
        <p:nvSpPr>
          <p:cNvPr id="2" name="Title 1">
            <a:extLst>
              <a:ext uri="{FF2B5EF4-FFF2-40B4-BE49-F238E27FC236}">
                <a16:creationId xmlns:a16="http://schemas.microsoft.com/office/drawing/2014/main" id="{73B5D36A-F127-5D47-AFD4-E4A6F655F1AD}"/>
              </a:ext>
            </a:extLst>
          </p:cNvPr>
          <p:cNvSpPr>
            <a:spLocks noGrp="1"/>
          </p:cNvSpPr>
          <p:nvPr>
            <p:ph type="title"/>
          </p:nvPr>
        </p:nvSpPr>
        <p:spPr>
          <a:xfrm>
            <a:off x="838200" y="365126"/>
            <a:ext cx="9840124" cy="1092200"/>
          </a:xfrm>
        </p:spPr>
        <p:txBody>
          <a:bodyPr/>
          <a:lstStyle/>
          <a:p>
            <a:r>
              <a:rPr lang="es-ES" noProof="0" dirty="0"/>
              <a:t>Percepción externa de la empresa / análisis reputacional: IGR (índice global reputacional)</a:t>
            </a:r>
          </a:p>
        </p:txBody>
      </p:sp>
      <p:sp>
        <p:nvSpPr>
          <p:cNvPr id="13" name="Marcador de fecha 12">
            <a:extLst>
              <a:ext uri="{FF2B5EF4-FFF2-40B4-BE49-F238E27FC236}">
                <a16:creationId xmlns:a16="http://schemas.microsoft.com/office/drawing/2014/main" id="{1022CA5E-BFA7-55C1-DFA3-D563893698EE}"/>
              </a:ext>
            </a:extLst>
          </p:cNvPr>
          <p:cNvSpPr>
            <a:spLocks noGrp="1"/>
          </p:cNvSpPr>
          <p:nvPr>
            <p:ph type="dt" sz="half" idx="14"/>
          </p:nvPr>
        </p:nvSpPr>
        <p:spPr>
          <a:xfrm>
            <a:off x="814650" y="6400379"/>
            <a:ext cx="3380278" cy="365125"/>
          </a:xfrm>
        </p:spPr>
        <p:txBody>
          <a:bodyPr/>
          <a:lstStyle/>
          <a:p>
            <a:fld id="{2F5EC5D2-5232-4EA6-91F5-07B08074EE86}" type="datetime2">
              <a:rPr lang="es-ES" smtClean="0"/>
              <a:pPr/>
              <a:t>jueves, 19 de septiembre de 2024</a:t>
            </a:fld>
            <a:endParaRPr lang="es-ES" dirty="0"/>
          </a:p>
        </p:txBody>
      </p:sp>
      <p:sp>
        <p:nvSpPr>
          <p:cNvPr id="14" name="Marcador de pie de página 13">
            <a:extLst>
              <a:ext uri="{FF2B5EF4-FFF2-40B4-BE49-F238E27FC236}">
                <a16:creationId xmlns:a16="http://schemas.microsoft.com/office/drawing/2014/main" id="{81D14849-E848-C4EC-9156-66C7BFF0538A}"/>
              </a:ext>
            </a:extLst>
          </p:cNvPr>
          <p:cNvSpPr>
            <a:spLocks noGrp="1"/>
          </p:cNvSpPr>
          <p:nvPr>
            <p:ph type="ftr" sz="quarter" idx="15"/>
          </p:nvPr>
        </p:nvSpPr>
        <p:spPr>
          <a:xfrm>
            <a:off x="4622986" y="6421474"/>
            <a:ext cx="5989596" cy="365125"/>
          </a:xfrm>
        </p:spPr>
        <p:txBody>
          <a:bodyPr/>
          <a:lstStyle/>
          <a:p>
            <a:r>
              <a:rPr lang="es-ES" dirty="0"/>
              <a:t>Transformación Digital - 2024 2025 Master IA Tajamar Tech - José Antonio Ureta</a:t>
            </a:r>
          </a:p>
        </p:txBody>
      </p:sp>
      <p:sp>
        <p:nvSpPr>
          <p:cNvPr id="16" name="Marcador de número de diapositiva 15">
            <a:extLst>
              <a:ext uri="{FF2B5EF4-FFF2-40B4-BE49-F238E27FC236}">
                <a16:creationId xmlns:a16="http://schemas.microsoft.com/office/drawing/2014/main" id="{698A4E15-916F-0A68-6B54-7DE00B5F96C4}"/>
              </a:ext>
            </a:extLst>
          </p:cNvPr>
          <p:cNvSpPr>
            <a:spLocks noGrp="1"/>
          </p:cNvSpPr>
          <p:nvPr>
            <p:ph type="sldNum" sz="quarter" idx="16"/>
          </p:nvPr>
        </p:nvSpPr>
        <p:spPr>
          <a:xfrm>
            <a:off x="10801350" y="6421474"/>
            <a:ext cx="576000" cy="365125"/>
          </a:xfrm>
        </p:spPr>
        <p:txBody>
          <a:bodyPr/>
          <a:lstStyle/>
          <a:p>
            <a:fld id="{A46A7D50-E160-468A-A0DF-162F229F6531}" type="slidenum">
              <a:rPr lang="es-ES" smtClean="0"/>
              <a:pPr/>
              <a:t>91</a:t>
            </a:fld>
            <a:endParaRPr lang="es-ES" dirty="0"/>
          </a:p>
        </p:txBody>
      </p:sp>
    </p:spTree>
    <p:extLst>
      <p:ext uri="{BB962C8B-B14F-4D97-AF65-F5344CB8AC3E}">
        <p14:creationId xmlns:p14="http://schemas.microsoft.com/office/powerpoint/2010/main" val="41370720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1DCD1F-E8BC-B991-A5DF-E26A98E2035F}"/>
              </a:ext>
            </a:extLst>
          </p:cNvPr>
          <p:cNvSpPr>
            <a:spLocks noGrp="1"/>
          </p:cNvSpPr>
          <p:nvPr>
            <p:ph type="title"/>
          </p:nvPr>
        </p:nvSpPr>
        <p:spPr>
          <a:xfrm>
            <a:off x="838200" y="365126"/>
            <a:ext cx="9840124" cy="1092200"/>
          </a:xfrm>
        </p:spPr>
        <p:txBody>
          <a:bodyPr/>
          <a:lstStyle/>
          <a:p>
            <a:r>
              <a:rPr lang="es-ES" noProof="0" dirty="0"/>
              <a:t>Índice</a:t>
            </a:r>
          </a:p>
        </p:txBody>
      </p:sp>
      <p:graphicFrame>
        <p:nvGraphicFramePr>
          <p:cNvPr id="7" name="Marcador de contenido 6">
            <a:extLst>
              <a:ext uri="{FF2B5EF4-FFF2-40B4-BE49-F238E27FC236}">
                <a16:creationId xmlns:a16="http://schemas.microsoft.com/office/drawing/2014/main" id="{69A3C6FB-1444-D938-0699-A6962F4F03E5}"/>
              </a:ext>
            </a:extLst>
          </p:cNvPr>
          <p:cNvGraphicFramePr>
            <a:graphicFrameLocks noGrp="1"/>
          </p:cNvGraphicFramePr>
          <p:nvPr>
            <p:ph idx="1"/>
            <p:extLst>
              <p:ext uri="{D42A27DB-BD31-4B8C-83A1-F6EECF244321}">
                <p14:modId xmlns:p14="http://schemas.microsoft.com/office/powerpoint/2010/main" val="407218488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Marcador de fecha 3">
            <a:extLst>
              <a:ext uri="{FF2B5EF4-FFF2-40B4-BE49-F238E27FC236}">
                <a16:creationId xmlns:a16="http://schemas.microsoft.com/office/drawing/2014/main" id="{3CE81854-054C-2039-1A9F-5D872183E60E}"/>
              </a:ext>
            </a:extLst>
          </p:cNvPr>
          <p:cNvSpPr>
            <a:spLocks noGrp="1"/>
          </p:cNvSpPr>
          <p:nvPr>
            <p:ph type="dt" sz="half" idx="10"/>
          </p:nvPr>
        </p:nvSpPr>
        <p:spPr>
          <a:xfrm>
            <a:off x="814650" y="6400379"/>
            <a:ext cx="3380278" cy="365125"/>
          </a:xfrm>
        </p:spPr>
        <p:txBody>
          <a:bodyPr/>
          <a:lstStyle/>
          <a:p>
            <a:fld id="{4A24F304-BFDD-49AE-9287-C5E13293E582}"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4CC96DCD-A45F-3B46-8C5C-DDC66B008D76}"/>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F74AA6C5-0EA6-37A6-D953-6979FB2E427F}"/>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2</a:t>
            </a:fld>
            <a:endParaRPr lang="es-ES" dirty="0"/>
          </a:p>
        </p:txBody>
      </p:sp>
      <p:pic>
        <p:nvPicPr>
          <p:cNvPr id="1026" name="Picture 2" descr="Imágenes de Circulo Marcador - Descarga gratuita en Freepik">
            <a:extLst>
              <a:ext uri="{FF2B5EF4-FFF2-40B4-BE49-F238E27FC236}">
                <a16:creationId xmlns:a16="http://schemas.microsoft.com/office/drawing/2014/main" id="{E75E4CC1-82AE-E406-E848-F1033664A72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4800" y="3725545"/>
            <a:ext cx="4064000" cy="238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757192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0FE10C-C971-98FB-77D6-F913D4A72749}"/>
              </a:ext>
            </a:extLst>
          </p:cNvPr>
          <p:cNvSpPr>
            <a:spLocks noGrp="1"/>
          </p:cNvSpPr>
          <p:nvPr>
            <p:ph type="title"/>
          </p:nvPr>
        </p:nvSpPr>
        <p:spPr>
          <a:xfrm>
            <a:off x="341194" y="3814618"/>
            <a:ext cx="4932769" cy="1876594"/>
          </a:xfrm>
        </p:spPr>
        <p:txBody>
          <a:bodyPr/>
          <a:lstStyle/>
          <a:p>
            <a:r>
              <a:rPr lang="es-ES" noProof="0" dirty="0"/>
              <a:t>Profundizando en Big Data</a:t>
            </a:r>
          </a:p>
        </p:txBody>
      </p:sp>
      <p:sp>
        <p:nvSpPr>
          <p:cNvPr id="3" name="Marcador de fecha 2">
            <a:extLst>
              <a:ext uri="{FF2B5EF4-FFF2-40B4-BE49-F238E27FC236}">
                <a16:creationId xmlns:a16="http://schemas.microsoft.com/office/drawing/2014/main" id="{2F546D9E-FCE3-0830-F732-023D88293FA0}"/>
              </a:ext>
            </a:extLst>
          </p:cNvPr>
          <p:cNvSpPr>
            <a:spLocks noGrp="1"/>
          </p:cNvSpPr>
          <p:nvPr>
            <p:ph type="dt" sz="half" idx="10"/>
          </p:nvPr>
        </p:nvSpPr>
        <p:spPr>
          <a:xfrm>
            <a:off x="814650" y="6400379"/>
            <a:ext cx="3380278" cy="365125"/>
          </a:xfrm>
        </p:spPr>
        <p:txBody>
          <a:bodyPr/>
          <a:lstStyle/>
          <a:p>
            <a:fld id="{76DDAC70-5DAD-4F43-B510-1A17A0DC5A70}"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5CC570B-5158-79BC-D936-B53DB8F9CFC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DA2D4444-E79F-5AE0-38B1-37F4F79DF188}"/>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3</a:t>
            </a:fld>
            <a:endParaRPr lang="es-ES" dirty="0"/>
          </a:p>
        </p:txBody>
      </p:sp>
    </p:spTree>
    <p:extLst>
      <p:ext uri="{BB962C8B-B14F-4D97-AF65-F5344CB8AC3E}">
        <p14:creationId xmlns:p14="http://schemas.microsoft.com/office/powerpoint/2010/main" val="9382624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A1ADBC-8B27-407B-9DB4-EF5BE1D20273}"/>
              </a:ext>
            </a:extLst>
          </p:cNvPr>
          <p:cNvSpPr>
            <a:spLocks noGrp="1"/>
          </p:cNvSpPr>
          <p:nvPr>
            <p:ph type="title"/>
          </p:nvPr>
        </p:nvSpPr>
        <p:spPr>
          <a:xfrm>
            <a:off x="838200" y="365126"/>
            <a:ext cx="9840124" cy="1092200"/>
          </a:xfrm>
        </p:spPr>
        <p:txBody>
          <a:bodyPr>
            <a:normAutofit fontScale="90000"/>
          </a:bodyPr>
          <a:lstStyle/>
          <a:p>
            <a:r>
              <a:rPr lang="es-ES" noProof="0" dirty="0"/>
              <a:t>En 2006 empezó Big Data como la computación distribuida de forma masiva (popular)</a:t>
            </a:r>
          </a:p>
        </p:txBody>
      </p:sp>
      <p:sp>
        <p:nvSpPr>
          <p:cNvPr id="16" name="Marcador de fecha 2">
            <a:extLst>
              <a:ext uri="{FF2B5EF4-FFF2-40B4-BE49-F238E27FC236}">
                <a16:creationId xmlns:a16="http://schemas.microsoft.com/office/drawing/2014/main" id="{886E60B1-6150-47FD-8A8E-23C49D971FA6}"/>
              </a:ext>
            </a:extLst>
          </p:cNvPr>
          <p:cNvSpPr>
            <a:spLocks noGrp="1"/>
          </p:cNvSpPr>
          <p:nvPr>
            <p:ph type="dt" sz="half" idx="10"/>
          </p:nvPr>
        </p:nvSpPr>
        <p:spPr>
          <a:xfrm>
            <a:off x="814650" y="6400379"/>
            <a:ext cx="3380278" cy="365125"/>
          </a:xfrm>
        </p:spPr>
        <p:txBody>
          <a:bodyPr/>
          <a:lstStyle/>
          <a:p>
            <a:fld id="{1683315F-E986-4B1F-803D-27546D316CFD}" type="datetime2">
              <a:rPr lang="es-ES" smtClean="0"/>
              <a:pPr/>
              <a:t>jueves, 19 de septiembre de 2024</a:t>
            </a:fld>
            <a:endParaRPr lang="es-ES" dirty="0"/>
          </a:p>
        </p:txBody>
      </p:sp>
      <p:sp>
        <p:nvSpPr>
          <p:cNvPr id="17" name="Marcador de pie de página 10">
            <a:extLst>
              <a:ext uri="{FF2B5EF4-FFF2-40B4-BE49-F238E27FC236}">
                <a16:creationId xmlns:a16="http://schemas.microsoft.com/office/drawing/2014/main" id="{B46A3C05-D402-4B00-B43E-14EE895C2181}"/>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18" name="Marcador de número de diapositiva 11">
            <a:extLst>
              <a:ext uri="{FF2B5EF4-FFF2-40B4-BE49-F238E27FC236}">
                <a16:creationId xmlns:a16="http://schemas.microsoft.com/office/drawing/2014/main" id="{59487656-0040-4FFE-9375-BA3ECD8F7916}"/>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4</a:t>
            </a:fld>
            <a:endParaRPr lang="es-ES" dirty="0"/>
          </a:p>
        </p:txBody>
      </p:sp>
      <p:graphicFrame>
        <p:nvGraphicFramePr>
          <p:cNvPr id="4" name="Diagrama 3">
            <a:extLst>
              <a:ext uri="{FF2B5EF4-FFF2-40B4-BE49-F238E27FC236}">
                <a16:creationId xmlns:a16="http://schemas.microsoft.com/office/drawing/2014/main" id="{327FF8B1-728F-44EC-97F5-9398AE0A8182}"/>
              </a:ext>
            </a:extLst>
          </p:cNvPr>
          <p:cNvGraphicFramePr/>
          <p:nvPr/>
        </p:nvGraphicFramePr>
        <p:xfrm>
          <a:off x="755780" y="1959428"/>
          <a:ext cx="10598020" cy="38535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5626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D6869F-988A-4DA4-9B9B-1024A19ACEC0}"/>
              </a:ext>
            </a:extLst>
          </p:cNvPr>
          <p:cNvSpPr>
            <a:spLocks noGrp="1"/>
          </p:cNvSpPr>
          <p:nvPr>
            <p:ph type="title"/>
          </p:nvPr>
        </p:nvSpPr>
        <p:spPr>
          <a:xfrm>
            <a:off x="838200" y="365126"/>
            <a:ext cx="9840124" cy="1092200"/>
          </a:xfrm>
        </p:spPr>
        <p:txBody>
          <a:bodyPr/>
          <a:lstStyle/>
          <a:p>
            <a:r>
              <a:rPr lang="es-ES" noProof="0" dirty="0"/>
              <a:t>Evolución ecosistema APACHE HADOOP</a:t>
            </a:r>
          </a:p>
        </p:txBody>
      </p:sp>
      <p:sp>
        <p:nvSpPr>
          <p:cNvPr id="55" name="Marcador de fecha 2">
            <a:extLst>
              <a:ext uri="{FF2B5EF4-FFF2-40B4-BE49-F238E27FC236}">
                <a16:creationId xmlns:a16="http://schemas.microsoft.com/office/drawing/2014/main" id="{A7C87614-0D26-4595-ADE7-0F5251738930}"/>
              </a:ext>
            </a:extLst>
          </p:cNvPr>
          <p:cNvSpPr>
            <a:spLocks noGrp="1"/>
          </p:cNvSpPr>
          <p:nvPr>
            <p:ph type="dt" sz="half" idx="10"/>
          </p:nvPr>
        </p:nvSpPr>
        <p:spPr>
          <a:xfrm>
            <a:off x="814650" y="6400379"/>
            <a:ext cx="3380278" cy="365125"/>
          </a:xfrm>
        </p:spPr>
        <p:txBody>
          <a:bodyPr/>
          <a:lstStyle/>
          <a:p>
            <a:fld id="{27721215-9E57-4870-A160-1272EB7DEB43}" type="datetime2">
              <a:rPr lang="es-ES" smtClean="0"/>
              <a:pPr/>
              <a:t>jueves, 19 de septiembre de 2024</a:t>
            </a:fld>
            <a:endParaRPr lang="es-ES" dirty="0"/>
          </a:p>
        </p:txBody>
      </p:sp>
      <p:sp>
        <p:nvSpPr>
          <p:cNvPr id="56" name="Marcador de pie de página 10">
            <a:extLst>
              <a:ext uri="{FF2B5EF4-FFF2-40B4-BE49-F238E27FC236}">
                <a16:creationId xmlns:a16="http://schemas.microsoft.com/office/drawing/2014/main" id="{11277FAC-3817-43CA-B23B-3A7F216B9EEF}"/>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7" name="Marcador de número de diapositiva 11">
            <a:extLst>
              <a:ext uri="{FF2B5EF4-FFF2-40B4-BE49-F238E27FC236}">
                <a16:creationId xmlns:a16="http://schemas.microsoft.com/office/drawing/2014/main" id="{BEED98E4-BC75-488A-8558-BB88634BEC33}"/>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5</a:t>
            </a:fld>
            <a:endParaRPr lang="es-ES" dirty="0"/>
          </a:p>
        </p:txBody>
      </p:sp>
      <p:cxnSp>
        <p:nvCxnSpPr>
          <p:cNvPr id="6" name="Straight Connector 5">
            <a:extLst>
              <a:ext uri="{FF2B5EF4-FFF2-40B4-BE49-F238E27FC236}">
                <a16:creationId xmlns:a16="http://schemas.microsoft.com/office/drawing/2014/main" id="{115A304C-42F2-4F0E-9464-81114CAD955C}"/>
              </a:ext>
            </a:extLst>
          </p:cNvPr>
          <p:cNvCxnSpPr/>
          <p:nvPr/>
        </p:nvCxnSpPr>
        <p:spPr>
          <a:xfrm>
            <a:off x="623392" y="3800160"/>
            <a:ext cx="10945216" cy="6995"/>
          </a:xfrm>
          <a:prstGeom prst="line">
            <a:avLst/>
          </a:prstGeom>
          <a:ln w="57150" cmpd="sng">
            <a:solidFill>
              <a:schemeClr val="accent1"/>
            </a:solidFill>
          </a:ln>
        </p:spPr>
        <p:style>
          <a:lnRef idx="1">
            <a:schemeClr val="accent4"/>
          </a:lnRef>
          <a:fillRef idx="0">
            <a:schemeClr val="accent4"/>
          </a:fillRef>
          <a:effectRef idx="0">
            <a:schemeClr val="accent4"/>
          </a:effectRef>
          <a:fontRef idx="minor">
            <a:schemeClr val="tx1"/>
          </a:fontRef>
        </p:style>
      </p:cxnSp>
      <p:sp>
        <p:nvSpPr>
          <p:cNvPr id="7" name="Oval 14">
            <a:extLst>
              <a:ext uri="{FF2B5EF4-FFF2-40B4-BE49-F238E27FC236}">
                <a16:creationId xmlns:a16="http://schemas.microsoft.com/office/drawing/2014/main" id="{C1DFDF41-4EB2-4B08-BE11-2DFFA8A4EE05}"/>
              </a:ext>
            </a:extLst>
          </p:cNvPr>
          <p:cNvSpPr/>
          <p:nvPr/>
        </p:nvSpPr>
        <p:spPr>
          <a:xfrm>
            <a:off x="2233666" y="3704150"/>
            <a:ext cx="192021" cy="192021"/>
          </a:xfrm>
          <a:prstGeom prst="ellipse">
            <a:avLst/>
          </a:prstGeom>
          <a:solidFill>
            <a:srgbClr val="00B050"/>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9" name="Content Placeholder 1">
            <a:extLst>
              <a:ext uri="{FF2B5EF4-FFF2-40B4-BE49-F238E27FC236}">
                <a16:creationId xmlns:a16="http://schemas.microsoft.com/office/drawing/2014/main" id="{F037EBEA-D061-4A71-9F9C-5128D54B65E9}"/>
              </a:ext>
            </a:extLst>
          </p:cNvPr>
          <p:cNvSpPr txBox="1">
            <a:spLocks/>
          </p:cNvSpPr>
          <p:nvPr/>
        </p:nvSpPr>
        <p:spPr>
          <a:xfrm>
            <a:off x="806760" y="4973558"/>
            <a:ext cx="3040876" cy="384043"/>
          </a:xfrm>
          <a:prstGeom prst="rect">
            <a:avLst/>
          </a:prstGeom>
        </p:spPr>
        <p:txBody>
          <a:bodyPr vert="horz" lIns="121917" tIns="60958" rIns="121917" bIns="60958" rtlCol="0">
            <a:no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pPr>
            <a:r>
              <a:rPr lang="es-ES" sz="1800" dirty="0">
                <a:solidFill>
                  <a:srgbClr val="002060"/>
                </a:solidFill>
                <a:latin typeface="Avenir LT Std 35 Light" panose="020B0402020203020204" pitchFamily="34" charset="0"/>
              </a:rPr>
              <a:t>Doug Cutting y Mike Cafarella crean </a:t>
            </a:r>
            <a:r>
              <a:rPr lang="es-ES" sz="1800" b="1" dirty="0">
                <a:solidFill>
                  <a:srgbClr val="002060"/>
                </a:solidFill>
                <a:latin typeface="Avenir LT Std 35 Light" panose="020B0402020203020204" pitchFamily="34" charset="0"/>
              </a:rPr>
              <a:t>Hadoop</a:t>
            </a:r>
            <a:endParaRPr lang="es-ES" sz="1800" b="1" u="sng" dirty="0">
              <a:solidFill>
                <a:srgbClr val="002060"/>
              </a:solidFill>
              <a:latin typeface="Avenir LT Std 35 Light" panose="020B0402020203020204" pitchFamily="34" charset="0"/>
            </a:endParaRPr>
          </a:p>
        </p:txBody>
      </p:sp>
      <p:sp>
        <p:nvSpPr>
          <p:cNvPr id="10" name="Content Placeholder 1">
            <a:extLst>
              <a:ext uri="{FF2B5EF4-FFF2-40B4-BE49-F238E27FC236}">
                <a16:creationId xmlns:a16="http://schemas.microsoft.com/office/drawing/2014/main" id="{1E586051-F61F-4B68-AA2B-64BED7F7B2B4}"/>
              </a:ext>
            </a:extLst>
          </p:cNvPr>
          <p:cNvSpPr txBox="1">
            <a:spLocks/>
          </p:cNvSpPr>
          <p:nvPr/>
        </p:nvSpPr>
        <p:spPr>
          <a:xfrm>
            <a:off x="2843328" y="3273196"/>
            <a:ext cx="2592288" cy="480053"/>
          </a:xfrm>
          <a:prstGeom prst="rect">
            <a:avLst/>
          </a:prstGeom>
        </p:spPr>
        <p:txBody>
          <a:bodyPr vert="horz" lIns="121917" tIns="60958" rIns="121917" bIns="60958" rtlCol="0">
            <a:no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nSpc>
                <a:spcPct val="120000"/>
              </a:lnSpc>
              <a:defRPr/>
            </a:pPr>
            <a:r>
              <a:rPr lang="es-ES" sz="1800" dirty="0">
                <a:solidFill>
                  <a:srgbClr val="002060"/>
                </a:solidFill>
                <a:latin typeface="Avenir LT Std 35 Light" panose="020B0402020203020204" pitchFamily="34" charset="0"/>
              </a:rPr>
              <a:t>Spark Research Paper</a:t>
            </a:r>
          </a:p>
        </p:txBody>
      </p:sp>
      <p:sp>
        <p:nvSpPr>
          <p:cNvPr id="11" name="Oval 9">
            <a:extLst>
              <a:ext uri="{FF2B5EF4-FFF2-40B4-BE49-F238E27FC236}">
                <a16:creationId xmlns:a16="http://schemas.microsoft.com/office/drawing/2014/main" id="{AD81A1BF-3F50-4157-A868-BCA8C5B45245}"/>
              </a:ext>
            </a:extLst>
          </p:cNvPr>
          <p:cNvSpPr/>
          <p:nvPr/>
        </p:nvSpPr>
        <p:spPr>
          <a:xfrm>
            <a:off x="4039780" y="3704150"/>
            <a:ext cx="192021" cy="192021"/>
          </a:xfrm>
          <a:prstGeom prst="ellipse">
            <a:avLst/>
          </a:prstGeom>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12" name="Freeform 10">
            <a:extLst>
              <a:ext uri="{FF2B5EF4-FFF2-40B4-BE49-F238E27FC236}">
                <a16:creationId xmlns:a16="http://schemas.microsoft.com/office/drawing/2014/main" id="{99F4DF3D-1FF3-48B2-9369-B209EC068E73}"/>
              </a:ext>
            </a:extLst>
          </p:cNvPr>
          <p:cNvSpPr/>
          <p:nvPr/>
        </p:nvSpPr>
        <p:spPr>
          <a:xfrm>
            <a:off x="4105311" y="3075647"/>
            <a:ext cx="60959" cy="576000"/>
          </a:xfrm>
          <a:custGeom>
            <a:avLst/>
            <a:gdLst>
              <a:gd name="connsiteX0" fmla="*/ 0 w 1696881"/>
              <a:gd name="connsiteY0" fmla="*/ 613169 h 613169"/>
              <a:gd name="connsiteX1" fmla="*/ 339376 w 1696881"/>
              <a:gd name="connsiteY1" fmla="*/ 0 h 613169"/>
              <a:gd name="connsiteX2" fmla="*/ 1696881 w 1696881"/>
              <a:gd name="connsiteY2" fmla="*/ 10950 h 613169"/>
            </a:gdLst>
            <a:ahLst/>
            <a:cxnLst>
              <a:cxn ang="0">
                <a:pos x="connsiteX0" y="connsiteY0"/>
              </a:cxn>
              <a:cxn ang="0">
                <a:pos x="connsiteX1" y="connsiteY1"/>
              </a:cxn>
              <a:cxn ang="0">
                <a:pos x="connsiteX2" y="connsiteY2"/>
              </a:cxn>
            </a:cxnLst>
            <a:rect l="l" t="t" r="r" b="b"/>
            <a:pathLst>
              <a:path w="1696881" h="613169">
                <a:moveTo>
                  <a:pt x="0" y="613169"/>
                </a:moveTo>
                <a:lnTo>
                  <a:pt x="339376" y="0"/>
                </a:lnTo>
                <a:lnTo>
                  <a:pt x="1696881" y="10950"/>
                </a:lnTo>
              </a:path>
            </a:pathLst>
          </a:custGeom>
          <a:ln w="28575" cmpd="sng">
            <a:solidFill>
              <a:schemeClr val="bg1"/>
            </a:solidFill>
          </a:ln>
        </p:spPr>
        <p:style>
          <a:lnRef idx="1">
            <a:schemeClr val="dk1"/>
          </a:lnRef>
          <a:fillRef idx="0">
            <a:schemeClr val="dk1"/>
          </a:fillRef>
          <a:effectRef idx="0">
            <a:schemeClr val="dk1"/>
          </a:effectRef>
          <a:fontRef idx="minor">
            <a:schemeClr val="tx1"/>
          </a:fontRef>
        </p:style>
        <p:txBody>
          <a:bodyPr lIns="121917" tIns="60958" rIns="121917" bIns="60958" rtlCol="0" anchor="ctr"/>
          <a:lstStyle/>
          <a:p>
            <a:pPr algn="ctr"/>
            <a:endParaRPr lang="es-ES" dirty="0">
              <a:solidFill>
                <a:srgbClr val="FF00FF"/>
              </a:solidFill>
              <a:latin typeface="Avenir LT Std 35 Light" panose="020B0402020203020204" pitchFamily="34" charset="0"/>
            </a:endParaRPr>
          </a:p>
        </p:txBody>
      </p:sp>
      <p:sp>
        <p:nvSpPr>
          <p:cNvPr id="13" name="Oval 17">
            <a:extLst>
              <a:ext uri="{FF2B5EF4-FFF2-40B4-BE49-F238E27FC236}">
                <a16:creationId xmlns:a16="http://schemas.microsoft.com/office/drawing/2014/main" id="{D9E57287-110E-4250-A677-2FDFEADE430B}"/>
              </a:ext>
            </a:extLst>
          </p:cNvPr>
          <p:cNvSpPr/>
          <p:nvPr/>
        </p:nvSpPr>
        <p:spPr>
          <a:xfrm>
            <a:off x="6958653" y="3704151"/>
            <a:ext cx="192021" cy="192021"/>
          </a:xfrm>
          <a:prstGeom prst="ellipse">
            <a:avLst/>
          </a:prstGeom>
          <a:solidFill>
            <a:srgbClr val="00B050"/>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14" name="Content Placeholder 1">
            <a:extLst>
              <a:ext uri="{FF2B5EF4-FFF2-40B4-BE49-F238E27FC236}">
                <a16:creationId xmlns:a16="http://schemas.microsoft.com/office/drawing/2014/main" id="{C0EA62E5-B16F-488F-9609-F65ACDB7A14B}"/>
              </a:ext>
            </a:extLst>
          </p:cNvPr>
          <p:cNvSpPr txBox="1">
            <a:spLocks/>
          </p:cNvSpPr>
          <p:nvPr/>
        </p:nvSpPr>
        <p:spPr>
          <a:xfrm>
            <a:off x="813819" y="3899303"/>
            <a:ext cx="57925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defRPr/>
            </a:pPr>
            <a:r>
              <a:rPr lang="es-ES" sz="1800" b="1" dirty="0">
                <a:solidFill>
                  <a:srgbClr val="FF00FF"/>
                </a:solidFill>
                <a:latin typeface="Avenir LT Std 35 Light" panose="020B0402020203020204" pitchFamily="34" charset="0"/>
                <a:cs typeface="Dsignes Bold"/>
              </a:rPr>
              <a:t>2004</a:t>
            </a:r>
            <a:endParaRPr lang="es-ES" sz="1800" b="1" dirty="0">
              <a:solidFill>
                <a:srgbClr val="FF00FF"/>
              </a:solidFill>
              <a:latin typeface="Avenir LT Std 35 Light" panose="020B0402020203020204" pitchFamily="34" charset="0"/>
            </a:endParaRPr>
          </a:p>
        </p:txBody>
      </p:sp>
      <p:sp>
        <p:nvSpPr>
          <p:cNvPr id="15" name="Content Placeholder 1">
            <a:extLst>
              <a:ext uri="{FF2B5EF4-FFF2-40B4-BE49-F238E27FC236}">
                <a16:creationId xmlns:a16="http://schemas.microsoft.com/office/drawing/2014/main" id="{57676C56-8094-478E-8863-4B480FC751D8}"/>
              </a:ext>
            </a:extLst>
          </p:cNvPr>
          <p:cNvSpPr txBox="1">
            <a:spLocks/>
          </p:cNvSpPr>
          <p:nvPr/>
        </p:nvSpPr>
        <p:spPr>
          <a:xfrm>
            <a:off x="3400921" y="3899303"/>
            <a:ext cx="92550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gn="ctr">
              <a:defRPr/>
            </a:pPr>
            <a:r>
              <a:rPr lang="es-ES" sz="1800" b="1" dirty="0">
                <a:solidFill>
                  <a:srgbClr val="FF00FF"/>
                </a:solidFill>
                <a:latin typeface="Avenir LT Std 35 Light" panose="020B0402020203020204" pitchFamily="34" charset="0"/>
                <a:cs typeface="Dsignes Bold"/>
              </a:rPr>
              <a:t>2010</a:t>
            </a:r>
            <a:endParaRPr lang="es-ES" sz="1800" b="1" dirty="0">
              <a:solidFill>
                <a:srgbClr val="FF00FF"/>
              </a:solidFill>
              <a:latin typeface="Avenir LT Std 35 Light" panose="020B0402020203020204" pitchFamily="34" charset="0"/>
            </a:endParaRPr>
          </a:p>
        </p:txBody>
      </p:sp>
      <p:sp>
        <p:nvSpPr>
          <p:cNvPr id="16" name="Content Placeholder 1">
            <a:extLst>
              <a:ext uri="{FF2B5EF4-FFF2-40B4-BE49-F238E27FC236}">
                <a16:creationId xmlns:a16="http://schemas.microsoft.com/office/drawing/2014/main" id="{1440F539-638C-412F-BA61-AFFCF5E2E68E}"/>
              </a:ext>
            </a:extLst>
          </p:cNvPr>
          <p:cNvSpPr txBox="1">
            <a:spLocks/>
          </p:cNvSpPr>
          <p:nvPr/>
        </p:nvSpPr>
        <p:spPr>
          <a:xfrm>
            <a:off x="6360072" y="3899303"/>
            <a:ext cx="92550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gn="ctr">
              <a:defRPr/>
            </a:pPr>
            <a:r>
              <a:rPr lang="es-ES" sz="1800" b="1" dirty="0">
                <a:solidFill>
                  <a:srgbClr val="FF00FF"/>
                </a:solidFill>
                <a:latin typeface="Avenir LT Std 35 Light" panose="020B0402020203020204" pitchFamily="34" charset="0"/>
                <a:cs typeface="Dsignes Bold"/>
              </a:rPr>
              <a:t>2015</a:t>
            </a:r>
            <a:endParaRPr lang="es-ES" sz="1800" b="1" dirty="0">
              <a:solidFill>
                <a:srgbClr val="FF00FF"/>
              </a:solidFill>
              <a:latin typeface="Avenir LT Std 35 Light" panose="020B0402020203020204" pitchFamily="34" charset="0"/>
            </a:endParaRPr>
          </a:p>
        </p:txBody>
      </p:sp>
      <p:sp>
        <p:nvSpPr>
          <p:cNvPr id="19" name="Oval 14">
            <a:extLst>
              <a:ext uri="{FF2B5EF4-FFF2-40B4-BE49-F238E27FC236}">
                <a16:creationId xmlns:a16="http://schemas.microsoft.com/office/drawing/2014/main" id="{A4F200D4-95F5-43F0-B9DE-ED2C990D264D}"/>
              </a:ext>
            </a:extLst>
          </p:cNvPr>
          <p:cNvSpPr/>
          <p:nvPr/>
        </p:nvSpPr>
        <p:spPr>
          <a:xfrm>
            <a:off x="1007435" y="3704150"/>
            <a:ext cx="192021" cy="192021"/>
          </a:xfrm>
          <a:prstGeom prst="ellipse">
            <a:avLst/>
          </a:prstGeom>
          <a:solidFill>
            <a:schemeClr val="bg1"/>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20" name="Content Placeholder 1">
            <a:extLst>
              <a:ext uri="{FF2B5EF4-FFF2-40B4-BE49-F238E27FC236}">
                <a16:creationId xmlns:a16="http://schemas.microsoft.com/office/drawing/2014/main" id="{3B864414-B669-4742-85BE-0C1EF82046E5}"/>
              </a:ext>
            </a:extLst>
          </p:cNvPr>
          <p:cNvSpPr txBox="1">
            <a:spLocks/>
          </p:cNvSpPr>
          <p:nvPr/>
        </p:nvSpPr>
        <p:spPr>
          <a:xfrm>
            <a:off x="-12332" y="2152705"/>
            <a:ext cx="3747964" cy="1568497"/>
          </a:xfrm>
          <a:prstGeom prst="rect">
            <a:avLst/>
          </a:prstGeom>
          <a:ln>
            <a:solidFill>
              <a:schemeClr val="accent2"/>
            </a:solidFill>
          </a:ln>
        </p:spPr>
        <p:txBody>
          <a:bodyPr vert="horz" wrap="square" lIns="36000" tIns="36000" rIns="36000" bIns="36000" rtlCol="0">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8288" indent="-104775">
              <a:defRPr/>
            </a:pPr>
            <a:r>
              <a:rPr lang="es-ES" sz="1800" dirty="0">
                <a:solidFill>
                  <a:srgbClr val="002060"/>
                </a:solidFill>
                <a:latin typeface="Avenir LT Std 35 Light" panose="020B0402020203020204" pitchFamily="34" charset="0"/>
              </a:rPr>
              <a:t>Google Map Reduce Seminal Paper</a:t>
            </a:r>
          </a:p>
          <a:p>
            <a:pPr marL="268288" indent="-104775">
              <a:buFont typeface="Arial" panose="020B0604020202020204" pitchFamily="34" charset="0"/>
              <a:buChar char="•"/>
              <a:defRPr/>
            </a:pPr>
            <a:r>
              <a:rPr lang="es-ES" sz="1800" dirty="0">
                <a:solidFill>
                  <a:srgbClr val="002060"/>
                </a:solidFill>
                <a:latin typeface="Avenir LT Std 35 Light" panose="020B0402020203020204" pitchFamily="34" charset="0"/>
              </a:rPr>
              <a:t>Octubre 2003 | Google File System.</a:t>
            </a:r>
          </a:p>
          <a:p>
            <a:pPr marL="268288" indent="-104775">
              <a:buFont typeface="Arial" panose="020B0604020202020204" pitchFamily="34" charset="0"/>
              <a:buChar char="•"/>
              <a:defRPr/>
            </a:pPr>
            <a:r>
              <a:rPr lang="es-ES" sz="1800" dirty="0">
                <a:solidFill>
                  <a:srgbClr val="002060"/>
                </a:solidFill>
                <a:latin typeface="Avenir LT Std 35 Light" panose="020B0402020203020204" pitchFamily="34" charset="0"/>
              </a:rPr>
              <a:t>Diciembre 2004| MapReduce.</a:t>
            </a:r>
          </a:p>
        </p:txBody>
      </p:sp>
      <p:sp>
        <p:nvSpPr>
          <p:cNvPr id="21" name="Oval 17">
            <a:extLst>
              <a:ext uri="{FF2B5EF4-FFF2-40B4-BE49-F238E27FC236}">
                <a16:creationId xmlns:a16="http://schemas.microsoft.com/office/drawing/2014/main" id="{003448C6-5664-41E0-A640-63CF17A633E7}"/>
              </a:ext>
            </a:extLst>
          </p:cNvPr>
          <p:cNvSpPr/>
          <p:nvPr/>
        </p:nvSpPr>
        <p:spPr>
          <a:xfrm>
            <a:off x="5631452" y="3704150"/>
            <a:ext cx="192021" cy="192021"/>
          </a:xfrm>
          <a:prstGeom prst="ellipse">
            <a:avLst/>
          </a:prstGeom>
          <a:solidFill>
            <a:srgbClr val="00B050"/>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22" name="Content Placeholder 1">
            <a:extLst>
              <a:ext uri="{FF2B5EF4-FFF2-40B4-BE49-F238E27FC236}">
                <a16:creationId xmlns:a16="http://schemas.microsoft.com/office/drawing/2014/main" id="{1F399AEB-43BD-4662-B981-9FC1ACFAA022}"/>
              </a:ext>
            </a:extLst>
          </p:cNvPr>
          <p:cNvSpPr txBox="1">
            <a:spLocks/>
          </p:cNvSpPr>
          <p:nvPr/>
        </p:nvSpPr>
        <p:spPr>
          <a:xfrm>
            <a:off x="4317535" y="3934869"/>
            <a:ext cx="2805095" cy="1231102"/>
          </a:xfrm>
          <a:prstGeom prst="rect">
            <a:avLst/>
          </a:prstGeom>
        </p:spPr>
        <p:txBody>
          <a:bodyPr vert="horz" wrap="square" lIns="36000" tIns="60958" rIns="36000" bIns="60958" rtlCol="0">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indent="0" algn="ctr">
              <a:spcBef>
                <a:spcPts val="0"/>
              </a:spcBef>
              <a:defRPr/>
            </a:pPr>
            <a:r>
              <a:rPr lang="es-ES" sz="1800" dirty="0">
                <a:solidFill>
                  <a:srgbClr val="002060"/>
                </a:solidFill>
                <a:latin typeface="Avenir LT Std 35 Light" panose="020B0402020203020204" pitchFamily="34" charset="0"/>
              </a:rPr>
              <a:t>Spark se convierte en Apache Top Level Project</a:t>
            </a:r>
          </a:p>
          <a:p>
            <a:pPr indent="0" algn="ctr">
              <a:spcBef>
                <a:spcPts val="0"/>
              </a:spcBef>
              <a:defRPr/>
            </a:pPr>
            <a:r>
              <a:rPr lang="es-ES" sz="1800" b="1" dirty="0">
                <a:solidFill>
                  <a:srgbClr val="002060"/>
                </a:solidFill>
                <a:latin typeface="Avenir LT Std 35 Light" panose="020B0402020203020204" pitchFamily="34" charset="0"/>
              </a:rPr>
              <a:t>Cloudera + Hortonworks</a:t>
            </a:r>
          </a:p>
        </p:txBody>
      </p:sp>
      <p:sp>
        <p:nvSpPr>
          <p:cNvPr id="23" name="Content Placeholder 1">
            <a:extLst>
              <a:ext uri="{FF2B5EF4-FFF2-40B4-BE49-F238E27FC236}">
                <a16:creationId xmlns:a16="http://schemas.microsoft.com/office/drawing/2014/main" id="{351D52C3-1BEF-46EA-B0F7-62E16E6D4D51}"/>
              </a:ext>
            </a:extLst>
          </p:cNvPr>
          <p:cNvSpPr txBox="1">
            <a:spLocks/>
          </p:cNvSpPr>
          <p:nvPr/>
        </p:nvSpPr>
        <p:spPr>
          <a:xfrm>
            <a:off x="5092569" y="3420960"/>
            <a:ext cx="92550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gn="ctr">
              <a:defRPr/>
            </a:pPr>
            <a:r>
              <a:rPr lang="es-ES" sz="1800" b="1" dirty="0">
                <a:solidFill>
                  <a:srgbClr val="FF00FF"/>
                </a:solidFill>
                <a:latin typeface="Avenir LT Std 35 Light" panose="020B0402020203020204" pitchFamily="34" charset="0"/>
                <a:cs typeface="Dsignes Bold"/>
              </a:rPr>
              <a:t>2014</a:t>
            </a:r>
            <a:endParaRPr lang="es-ES" sz="1800" b="1" dirty="0">
              <a:solidFill>
                <a:srgbClr val="FF00FF"/>
              </a:solidFill>
              <a:latin typeface="Avenir LT Std 35 Light" panose="020B0402020203020204" pitchFamily="34" charset="0"/>
            </a:endParaRPr>
          </a:p>
        </p:txBody>
      </p:sp>
      <p:sp>
        <p:nvSpPr>
          <p:cNvPr id="24" name="Content Placeholder 1">
            <a:extLst>
              <a:ext uri="{FF2B5EF4-FFF2-40B4-BE49-F238E27FC236}">
                <a16:creationId xmlns:a16="http://schemas.microsoft.com/office/drawing/2014/main" id="{3BBF2378-4B4C-4510-B1C0-2231E013A293}"/>
              </a:ext>
            </a:extLst>
          </p:cNvPr>
          <p:cNvSpPr txBox="1">
            <a:spLocks/>
          </p:cNvSpPr>
          <p:nvPr/>
        </p:nvSpPr>
        <p:spPr>
          <a:xfrm>
            <a:off x="5799254" y="1946142"/>
            <a:ext cx="2496988" cy="942352"/>
          </a:xfrm>
          <a:prstGeom prst="rect">
            <a:avLst/>
          </a:prstGeom>
          <a:ln>
            <a:solidFill>
              <a:schemeClr val="accent1"/>
            </a:solidFill>
          </a:ln>
        </p:spPr>
        <p:txBody>
          <a:bodyPr vert="horz" lIns="36000" tIns="60958" rIns="121917" bIns="60958" rtlCol="0">
            <a:no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indent="0">
              <a:defRPr/>
            </a:pPr>
            <a:r>
              <a:rPr lang="es-ES" sz="1800" dirty="0">
                <a:solidFill>
                  <a:srgbClr val="002060"/>
                </a:solidFill>
                <a:latin typeface="Avenir LT Std 35 Light" panose="020B0402020203020204" pitchFamily="34" charset="0"/>
              </a:rPr>
              <a:t>Spark standard para procesamiento Batch sobre Hadoop</a:t>
            </a:r>
          </a:p>
        </p:txBody>
      </p:sp>
      <p:sp>
        <p:nvSpPr>
          <p:cNvPr id="25" name="Oval 17">
            <a:extLst>
              <a:ext uri="{FF2B5EF4-FFF2-40B4-BE49-F238E27FC236}">
                <a16:creationId xmlns:a16="http://schemas.microsoft.com/office/drawing/2014/main" id="{CEB62B03-C6C7-45D9-912B-5AC4AFAACEEC}"/>
              </a:ext>
            </a:extLst>
          </p:cNvPr>
          <p:cNvSpPr/>
          <p:nvPr/>
        </p:nvSpPr>
        <p:spPr>
          <a:xfrm>
            <a:off x="8626620" y="3704150"/>
            <a:ext cx="192021" cy="192021"/>
          </a:xfrm>
          <a:prstGeom prst="ellipse">
            <a:avLst/>
          </a:prstGeom>
          <a:solidFill>
            <a:srgbClr val="00B050"/>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26" name="Content Placeholder 1">
            <a:extLst>
              <a:ext uri="{FF2B5EF4-FFF2-40B4-BE49-F238E27FC236}">
                <a16:creationId xmlns:a16="http://schemas.microsoft.com/office/drawing/2014/main" id="{6B6D4EF7-EAD3-448A-ABA4-7A20C83C9394}"/>
              </a:ext>
            </a:extLst>
          </p:cNvPr>
          <p:cNvSpPr txBox="1">
            <a:spLocks/>
          </p:cNvSpPr>
          <p:nvPr/>
        </p:nvSpPr>
        <p:spPr>
          <a:xfrm>
            <a:off x="7038227" y="4825905"/>
            <a:ext cx="3481078" cy="1169101"/>
          </a:xfrm>
          <a:prstGeom prst="rect">
            <a:avLst/>
          </a:prstGeom>
        </p:spPr>
        <p:txBody>
          <a:bodyPr vert="horz" lIns="121917" tIns="60958" rIns="121917" bIns="60958" rtlCol="0">
            <a:no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defRPr/>
            </a:pPr>
            <a:r>
              <a:rPr lang="es-ES" sz="1800" dirty="0">
                <a:solidFill>
                  <a:srgbClr val="002060"/>
                </a:solidFill>
                <a:latin typeface="Avenir LT Std 35 Light" panose="020B0402020203020204" pitchFamily="34" charset="0"/>
              </a:rPr>
              <a:t>Apache Flink es reemplazado por Apache Spark para Batch y Stream procesamiento</a:t>
            </a:r>
          </a:p>
        </p:txBody>
      </p:sp>
      <p:sp>
        <p:nvSpPr>
          <p:cNvPr id="27" name="Content Placeholder 1">
            <a:extLst>
              <a:ext uri="{FF2B5EF4-FFF2-40B4-BE49-F238E27FC236}">
                <a16:creationId xmlns:a16="http://schemas.microsoft.com/office/drawing/2014/main" id="{3302CB05-09A6-4287-B2D5-E5D5F0F53C0A}"/>
              </a:ext>
            </a:extLst>
          </p:cNvPr>
          <p:cNvSpPr txBox="1">
            <a:spLocks/>
          </p:cNvSpPr>
          <p:nvPr/>
        </p:nvSpPr>
        <p:spPr>
          <a:xfrm>
            <a:off x="8408486" y="3420960"/>
            <a:ext cx="57925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defRPr/>
            </a:pPr>
            <a:r>
              <a:rPr lang="es-ES" sz="1800" b="1" dirty="0">
                <a:solidFill>
                  <a:srgbClr val="FF00FF"/>
                </a:solidFill>
                <a:latin typeface="Avenir LT Std 35 Light" panose="020B0402020203020204" pitchFamily="34" charset="0"/>
                <a:cs typeface="Dsignes Bold"/>
              </a:rPr>
              <a:t>2017</a:t>
            </a:r>
            <a:endParaRPr lang="es-ES" sz="1800" b="1" dirty="0">
              <a:solidFill>
                <a:srgbClr val="FF00FF"/>
              </a:solidFill>
              <a:latin typeface="Avenir LT Std 35 Light" panose="020B0402020203020204" pitchFamily="34" charset="0"/>
            </a:endParaRPr>
          </a:p>
        </p:txBody>
      </p:sp>
      <p:pic>
        <p:nvPicPr>
          <p:cNvPr id="31" name="Picture 1" descr="spark-logo-trademark.png">
            <a:extLst>
              <a:ext uri="{FF2B5EF4-FFF2-40B4-BE49-F238E27FC236}">
                <a16:creationId xmlns:a16="http://schemas.microsoft.com/office/drawing/2014/main" id="{115CF967-E03D-44E8-AC88-87CC85253A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4676" y="2858769"/>
            <a:ext cx="940072" cy="500040"/>
          </a:xfrm>
          <a:prstGeom prst="rect">
            <a:avLst/>
          </a:prstGeom>
          <a:solidFill>
            <a:schemeClr val="bg1"/>
          </a:solidFill>
        </p:spPr>
      </p:pic>
      <p:pic>
        <p:nvPicPr>
          <p:cNvPr id="32" name="Picture 4" descr="flink2_500_color_black.png">
            <a:extLst>
              <a:ext uri="{FF2B5EF4-FFF2-40B4-BE49-F238E27FC236}">
                <a16:creationId xmlns:a16="http://schemas.microsoft.com/office/drawing/2014/main" id="{6ACD4ACF-10A9-4FC9-A980-023E72B2CE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00889" y="4261727"/>
            <a:ext cx="1046511" cy="540000"/>
          </a:xfrm>
          <a:prstGeom prst="rect">
            <a:avLst/>
          </a:prstGeom>
          <a:solidFill>
            <a:schemeClr val="bg1"/>
          </a:solidFill>
        </p:spPr>
      </p:pic>
      <p:pic>
        <p:nvPicPr>
          <p:cNvPr id="33" name="Picture 2" descr="elephant_rgb.png">
            <a:hlinkClick r:id="rId5" action="ppaction://hlinksldjump"/>
            <a:extLst>
              <a:ext uri="{FF2B5EF4-FFF2-40B4-BE49-F238E27FC236}">
                <a16:creationId xmlns:a16="http://schemas.microsoft.com/office/drawing/2014/main" id="{4837941B-307D-48DE-BF1D-6E3688BE7CC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837778" y="4332080"/>
            <a:ext cx="978402" cy="699422"/>
          </a:xfrm>
          <a:prstGeom prst="rect">
            <a:avLst/>
          </a:prstGeom>
        </p:spPr>
      </p:pic>
      <p:sp>
        <p:nvSpPr>
          <p:cNvPr id="40" name="Oval 14">
            <a:extLst>
              <a:ext uri="{FF2B5EF4-FFF2-40B4-BE49-F238E27FC236}">
                <a16:creationId xmlns:a16="http://schemas.microsoft.com/office/drawing/2014/main" id="{4E80F53A-8B09-4894-AA71-90A49887D470}"/>
              </a:ext>
            </a:extLst>
          </p:cNvPr>
          <p:cNvSpPr/>
          <p:nvPr/>
        </p:nvSpPr>
        <p:spPr>
          <a:xfrm>
            <a:off x="425898" y="3702499"/>
            <a:ext cx="192021" cy="192021"/>
          </a:xfrm>
          <a:prstGeom prst="ellipse">
            <a:avLst/>
          </a:prstGeom>
          <a:solidFill>
            <a:schemeClr val="bg1"/>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sp>
        <p:nvSpPr>
          <p:cNvPr id="41" name="Content Placeholder 1">
            <a:hlinkClick r:id="rId7" action="ppaction://hlinksldjump"/>
            <a:extLst>
              <a:ext uri="{FF2B5EF4-FFF2-40B4-BE49-F238E27FC236}">
                <a16:creationId xmlns:a16="http://schemas.microsoft.com/office/drawing/2014/main" id="{E6E716DD-7DBA-44B2-9C08-0AC991C3D38C}"/>
              </a:ext>
            </a:extLst>
          </p:cNvPr>
          <p:cNvSpPr txBox="1">
            <a:spLocks/>
          </p:cNvSpPr>
          <p:nvPr/>
        </p:nvSpPr>
        <p:spPr>
          <a:xfrm>
            <a:off x="163974" y="3899303"/>
            <a:ext cx="57925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defRPr/>
            </a:pPr>
            <a:r>
              <a:rPr lang="es-ES" sz="1800" b="1" dirty="0">
                <a:solidFill>
                  <a:srgbClr val="FF00FF"/>
                </a:solidFill>
                <a:latin typeface="Avenir LT Std 35 Light" panose="020B0402020203020204" pitchFamily="34" charset="0"/>
                <a:cs typeface="Dsignes Bold"/>
              </a:rPr>
              <a:t>2003</a:t>
            </a:r>
            <a:endParaRPr lang="es-ES" sz="1800" b="1" dirty="0">
              <a:solidFill>
                <a:srgbClr val="FF00FF"/>
              </a:solidFill>
              <a:latin typeface="Avenir LT Std 35 Light" panose="020B0402020203020204" pitchFamily="34" charset="0"/>
            </a:endParaRPr>
          </a:p>
        </p:txBody>
      </p:sp>
      <p:sp>
        <p:nvSpPr>
          <p:cNvPr id="42" name="Content Placeholder 1">
            <a:hlinkClick r:id="rId5" action="ppaction://hlinksldjump"/>
            <a:extLst>
              <a:ext uri="{FF2B5EF4-FFF2-40B4-BE49-F238E27FC236}">
                <a16:creationId xmlns:a16="http://schemas.microsoft.com/office/drawing/2014/main" id="{5B63FDAC-50D7-4216-B523-62C6FEDA9BC6}"/>
              </a:ext>
            </a:extLst>
          </p:cNvPr>
          <p:cNvSpPr txBox="1">
            <a:spLocks/>
          </p:cNvSpPr>
          <p:nvPr/>
        </p:nvSpPr>
        <p:spPr>
          <a:xfrm>
            <a:off x="2040050" y="3420960"/>
            <a:ext cx="57925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defRPr/>
            </a:pPr>
            <a:r>
              <a:rPr lang="es-ES" sz="1800" b="1" dirty="0">
                <a:solidFill>
                  <a:srgbClr val="FF00FF"/>
                </a:solidFill>
                <a:latin typeface="Avenir LT Std 35 Light" panose="020B0402020203020204" pitchFamily="34" charset="0"/>
                <a:cs typeface="Dsignes Bold"/>
              </a:rPr>
              <a:t>2006</a:t>
            </a:r>
            <a:endParaRPr lang="es-ES" sz="1800" b="1" dirty="0">
              <a:solidFill>
                <a:srgbClr val="FF00FF"/>
              </a:solidFill>
              <a:latin typeface="Avenir LT Std 35 Light" panose="020B0402020203020204" pitchFamily="34" charset="0"/>
            </a:endParaRPr>
          </a:p>
        </p:txBody>
      </p:sp>
      <p:pic>
        <p:nvPicPr>
          <p:cNvPr id="2050" name="Picture 2" descr="Resultado de imagen de spark streaming">
            <a:extLst>
              <a:ext uri="{FF2B5EF4-FFF2-40B4-BE49-F238E27FC236}">
                <a16:creationId xmlns:a16="http://schemas.microsoft.com/office/drawing/2014/main" id="{FEEDF45C-EC55-40CD-9166-3B7F3494484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26268" y="5694742"/>
            <a:ext cx="858539" cy="540000"/>
          </a:xfrm>
          <a:prstGeom prst="rect">
            <a:avLst/>
          </a:prstGeom>
          <a:noFill/>
          <a:extLst>
            <a:ext uri="{909E8E84-426E-40DD-AFC4-6F175D3DCCD1}">
              <a14:hiddenFill xmlns:a14="http://schemas.microsoft.com/office/drawing/2010/main">
                <a:solidFill>
                  <a:srgbClr val="FFFFFF"/>
                </a:solidFill>
              </a14:hiddenFill>
            </a:ext>
          </a:extLst>
        </p:spPr>
      </p:pic>
      <p:sp>
        <p:nvSpPr>
          <p:cNvPr id="44" name="Content Placeholder 1">
            <a:hlinkClick r:id="rId9" action="ppaction://hlinksldjump"/>
            <a:extLst>
              <a:ext uri="{FF2B5EF4-FFF2-40B4-BE49-F238E27FC236}">
                <a16:creationId xmlns:a16="http://schemas.microsoft.com/office/drawing/2014/main" id="{5B684A66-FF29-412B-BACA-25D28F558A41}"/>
              </a:ext>
            </a:extLst>
          </p:cNvPr>
          <p:cNvSpPr txBox="1">
            <a:spLocks/>
          </p:cNvSpPr>
          <p:nvPr/>
        </p:nvSpPr>
        <p:spPr>
          <a:xfrm>
            <a:off x="10694702" y="3420960"/>
            <a:ext cx="579252" cy="349702"/>
          </a:xfrm>
          <a:prstGeom prst="rect">
            <a:avLst/>
          </a:prstGeom>
        </p:spPr>
        <p:txBody>
          <a:bodyPr vert="horz" wrap="none" lIns="36000" tIns="36000" rIns="36000" bIns="36000" rtlCol="0" anchor="ctr" anchorCtr="1">
            <a:spAutoFit/>
          </a:bodyPr>
          <a:lstStyle>
            <a:lvl1pPr marL="342900" indent="-342900" algn="l" defTabSz="914400" rtl="0" eaLnBrk="1" latinLnBrk="0" hangingPunct="1">
              <a:spcBef>
                <a:spcPct val="20000"/>
              </a:spcBef>
              <a:buFont typeface="Arial" pitchFamily="34" charset="0"/>
              <a:buNone/>
              <a:defRPr sz="2000" kern="1200">
                <a:solidFill>
                  <a:srgbClr val="589887"/>
                </a:solidFill>
                <a:latin typeface="+mn-lt"/>
                <a:ea typeface="+mn-ea"/>
                <a:cs typeface="+mn-cs"/>
              </a:defRPr>
            </a:lvl1pPr>
            <a:lvl2pPr marL="90488" indent="-31750" algn="l" defTabSz="914400" rtl="0" eaLnBrk="1" latinLnBrk="0" hangingPunct="1">
              <a:spcBef>
                <a:spcPct val="20000"/>
              </a:spcBef>
              <a:buFont typeface="Arial" pitchFamily="34" charset="0"/>
              <a:buNone/>
              <a:defRPr sz="2000" b="0" kern="1200" baseline="0">
                <a:solidFill>
                  <a:srgbClr val="589887"/>
                </a:solidFill>
                <a:latin typeface="Dsignes Bold" pitchFamily="2" charset="0"/>
                <a:ea typeface="+mn-ea"/>
                <a:cs typeface="+mn-cs"/>
              </a:defRPr>
            </a:lvl2pPr>
            <a:lvl3pPr marL="533400" indent="3175" algn="l" defTabSz="914400" rtl="0" eaLnBrk="1" latinLnBrk="0" hangingPunct="1">
              <a:spcBef>
                <a:spcPct val="20000"/>
              </a:spcBef>
              <a:buFont typeface="Arial" pitchFamily="34" charset="0"/>
              <a:buNone/>
              <a:defRPr sz="2000" kern="1200">
                <a:solidFill>
                  <a:srgbClr val="352B5B"/>
                </a:solidFill>
                <a:latin typeface="+mn-lt"/>
                <a:ea typeface="+mn-ea"/>
                <a:cs typeface="+mn-cs"/>
              </a:defRPr>
            </a:lvl3pPr>
            <a:lvl4pPr marL="1077913" indent="-228600" algn="l" defTabSz="914400" rtl="0" eaLnBrk="1" latinLnBrk="0" hangingPunct="1">
              <a:spcBef>
                <a:spcPct val="20000"/>
              </a:spcBef>
              <a:buFont typeface="Courier New" pitchFamily="49" charset="0"/>
              <a:buChar char="o"/>
              <a:defRPr sz="2000" kern="1200">
                <a:solidFill>
                  <a:srgbClr val="352B5B"/>
                </a:solidFill>
                <a:latin typeface="+mn-lt"/>
                <a:ea typeface="+mn-ea"/>
                <a:cs typeface="+mn-cs"/>
              </a:defRPr>
            </a:lvl4pPr>
            <a:lvl5pPr marL="1520825" indent="-228600" algn="l" defTabSz="914400" rtl="0" eaLnBrk="1" latinLnBrk="0" hangingPunct="1">
              <a:spcBef>
                <a:spcPct val="20000"/>
              </a:spcBef>
              <a:buFont typeface="Wingdings" pitchFamily="2" charset="2"/>
              <a:buChar char="§"/>
              <a:defRPr sz="2000" kern="1200">
                <a:solidFill>
                  <a:srgbClr val="352B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defRPr/>
            </a:pPr>
            <a:r>
              <a:rPr lang="es-ES" sz="1800" b="1" dirty="0">
                <a:solidFill>
                  <a:srgbClr val="FF00FF"/>
                </a:solidFill>
                <a:latin typeface="Avenir LT Std 35 Light" panose="020B0402020203020204" pitchFamily="34" charset="0"/>
                <a:cs typeface="Dsignes Bold"/>
              </a:rPr>
              <a:t>2019</a:t>
            </a:r>
            <a:endParaRPr lang="es-ES" sz="1800" b="1" dirty="0">
              <a:solidFill>
                <a:srgbClr val="FF00FF"/>
              </a:solidFill>
              <a:latin typeface="Avenir LT Std 35 Light" panose="020B0402020203020204" pitchFamily="34" charset="0"/>
            </a:endParaRPr>
          </a:p>
        </p:txBody>
      </p:sp>
      <p:sp>
        <p:nvSpPr>
          <p:cNvPr id="45" name="Freeform 15">
            <a:extLst>
              <a:ext uri="{FF2B5EF4-FFF2-40B4-BE49-F238E27FC236}">
                <a16:creationId xmlns:a16="http://schemas.microsoft.com/office/drawing/2014/main" id="{F035FCE0-44B7-4AEE-B987-A36925D69B34}"/>
              </a:ext>
            </a:extLst>
          </p:cNvPr>
          <p:cNvSpPr/>
          <p:nvPr/>
        </p:nvSpPr>
        <p:spPr>
          <a:xfrm flipV="1">
            <a:off x="11020365" y="3590662"/>
            <a:ext cx="60959" cy="180000"/>
          </a:xfrm>
          <a:custGeom>
            <a:avLst/>
            <a:gdLst>
              <a:gd name="connsiteX0" fmla="*/ 0 w 1696881"/>
              <a:gd name="connsiteY0" fmla="*/ 613169 h 613169"/>
              <a:gd name="connsiteX1" fmla="*/ 339376 w 1696881"/>
              <a:gd name="connsiteY1" fmla="*/ 0 h 613169"/>
              <a:gd name="connsiteX2" fmla="*/ 1696881 w 1696881"/>
              <a:gd name="connsiteY2" fmla="*/ 10950 h 613169"/>
            </a:gdLst>
            <a:ahLst/>
            <a:cxnLst>
              <a:cxn ang="0">
                <a:pos x="connsiteX0" y="connsiteY0"/>
              </a:cxn>
              <a:cxn ang="0">
                <a:pos x="connsiteX1" y="connsiteY1"/>
              </a:cxn>
              <a:cxn ang="0">
                <a:pos x="connsiteX2" y="connsiteY2"/>
              </a:cxn>
            </a:cxnLst>
            <a:rect l="l" t="t" r="r" b="b"/>
            <a:pathLst>
              <a:path w="1696881" h="613169">
                <a:moveTo>
                  <a:pt x="0" y="613169"/>
                </a:moveTo>
                <a:lnTo>
                  <a:pt x="339376" y="0"/>
                </a:lnTo>
                <a:lnTo>
                  <a:pt x="1696881" y="10950"/>
                </a:lnTo>
              </a:path>
            </a:pathLst>
          </a:custGeom>
          <a:ln w="12700" cmpd="sng">
            <a:solidFill>
              <a:srgbClr val="352B5B"/>
            </a:solidFill>
          </a:ln>
        </p:spPr>
        <p:style>
          <a:lnRef idx="1">
            <a:schemeClr val="dk1"/>
          </a:lnRef>
          <a:fillRef idx="0">
            <a:schemeClr val="dk1"/>
          </a:fillRef>
          <a:effectRef idx="0">
            <a:schemeClr val="dk1"/>
          </a:effectRef>
          <a:fontRef idx="minor">
            <a:schemeClr val="tx1"/>
          </a:fontRef>
        </p:style>
        <p:txBody>
          <a:bodyPr lIns="121917" tIns="60958" rIns="121917" bIns="60958" rtlCol="0" anchor="ctr"/>
          <a:lstStyle/>
          <a:p>
            <a:pPr algn="ctr"/>
            <a:endParaRPr lang="es-ES" b="1" dirty="0">
              <a:solidFill>
                <a:schemeClr val="bg2"/>
              </a:solidFill>
              <a:latin typeface="Avenir LT Std 35 Light" panose="020B0402020203020204" pitchFamily="34" charset="0"/>
            </a:endParaRPr>
          </a:p>
        </p:txBody>
      </p:sp>
      <p:sp>
        <p:nvSpPr>
          <p:cNvPr id="46" name="Oval 17">
            <a:hlinkClick r:id="rId9" action="ppaction://hlinksldjump"/>
            <a:extLst>
              <a:ext uri="{FF2B5EF4-FFF2-40B4-BE49-F238E27FC236}">
                <a16:creationId xmlns:a16="http://schemas.microsoft.com/office/drawing/2014/main" id="{D53A0A3A-51C3-44A5-B43E-62A1828A9A87}"/>
              </a:ext>
            </a:extLst>
          </p:cNvPr>
          <p:cNvSpPr/>
          <p:nvPr/>
        </p:nvSpPr>
        <p:spPr>
          <a:xfrm>
            <a:off x="10923632" y="3734363"/>
            <a:ext cx="192021" cy="192021"/>
          </a:xfrm>
          <a:prstGeom prst="ellipse">
            <a:avLst/>
          </a:prstGeom>
          <a:solidFill>
            <a:srgbClr val="00B050"/>
          </a:solidFill>
          <a:ln w="38100" cmpd="sng">
            <a:solidFill>
              <a:schemeClr val="accent1"/>
            </a:solidFill>
          </a:ln>
        </p:spPr>
        <p:style>
          <a:lnRef idx="2">
            <a:schemeClr val="accent3"/>
          </a:lnRef>
          <a:fillRef idx="1">
            <a:schemeClr val="lt1"/>
          </a:fillRef>
          <a:effectRef idx="0">
            <a:schemeClr val="accent3"/>
          </a:effectRef>
          <a:fontRef idx="minor">
            <a:schemeClr val="dk1"/>
          </a:fontRef>
        </p:style>
        <p:txBody>
          <a:bodyPr lIns="121917" tIns="60958" rIns="121917" bIns="60958" rtlCol="0" anchor="ctr"/>
          <a:lstStyle/>
          <a:p>
            <a:pPr algn="ctr"/>
            <a:endParaRPr lang="es-ES" dirty="0">
              <a:solidFill>
                <a:schemeClr val="bg2"/>
              </a:solidFill>
              <a:latin typeface="Avenir LT Std 35 Light" panose="020B0402020203020204" pitchFamily="34" charset="0"/>
            </a:endParaRPr>
          </a:p>
        </p:txBody>
      </p:sp>
      <p:pic>
        <p:nvPicPr>
          <p:cNvPr id="47" name="Picture 2" descr="Resultado de imagen de spark streaming">
            <a:extLst>
              <a:ext uri="{FF2B5EF4-FFF2-40B4-BE49-F238E27FC236}">
                <a16:creationId xmlns:a16="http://schemas.microsoft.com/office/drawing/2014/main" id="{81A0EDBA-6715-41C8-9B61-25F6C74B05C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082891" y="2328783"/>
            <a:ext cx="858539"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de python">
            <a:extLst>
              <a:ext uri="{FF2B5EF4-FFF2-40B4-BE49-F238E27FC236}">
                <a16:creationId xmlns:a16="http://schemas.microsoft.com/office/drawing/2014/main" id="{D4E89D8D-E033-49E5-AE53-D1364DD0AB9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82509" y="232878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esultado de imagen de scala">
            <a:extLst>
              <a:ext uri="{FF2B5EF4-FFF2-40B4-BE49-F238E27FC236}">
                <a16:creationId xmlns:a16="http://schemas.microsoft.com/office/drawing/2014/main" id="{280288D6-61F9-4427-A2A0-4D23EB23865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08909" y="2924057"/>
            <a:ext cx="1087201"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Resultado de imagen de scada logo">
            <a:extLst>
              <a:ext uri="{FF2B5EF4-FFF2-40B4-BE49-F238E27FC236}">
                <a16:creationId xmlns:a16="http://schemas.microsoft.com/office/drawing/2014/main" id="{7AF25CAE-B8F1-402A-BE12-151E05B5131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242160" y="2924057"/>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Resultado de imagen de aws logo">
            <a:extLst>
              <a:ext uri="{FF2B5EF4-FFF2-40B4-BE49-F238E27FC236}">
                <a16:creationId xmlns:a16="http://schemas.microsoft.com/office/drawing/2014/main" id="{AEFB5C6E-6024-4671-AF77-7D21E9D02D5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45818" y="2857990"/>
            <a:ext cx="900000" cy="540000"/>
          </a:xfrm>
          <a:prstGeom prst="rect">
            <a:avLst/>
          </a:prstGeom>
          <a:solidFill>
            <a:schemeClr val="bg1"/>
          </a:solidFill>
        </p:spPr>
      </p:pic>
      <p:pic>
        <p:nvPicPr>
          <p:cNvPr id="4" name="Picture 4" descr="Resultado de imagen de cloudera hortonworks logo">
            <a:extLst>
              <a:ext uri="{FF2B5EF4-FFF2-40B4-BE49-F238E27FC236}">
                <a16:creationId xmlns:a16="http://schemas.microsoft.com/office/drawing/2014/main" id="{1DBB46D8-BEC2-4721-B464-7C924E4CF7C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48350" y="4849231"/>
            <a:ext cx="1389839" cy="92487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ultado de imagen de azure big data logo">
            <a:extLst>
              <a:ext uri="{FF2B5EF4-FFF2-40B4-BE49-F238E27FC236}">
                <a16:creationId xmlns:a16="http://schemas.microsoft.com/office/drawing/2014/main" id="{E911F3FB-ED49-4EE8-81B2-2A6F9288002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245818" y="2245529"/>
            <a:ext cx="900000" cy="5062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Resultado de imagen de google analytics logo png">
            <a:extLst>
              <a:ext uri="{FF2B5EF4-FFF2-40B4-BE49-F238E27FC236}">
                <a16:creationId xmlns:a16="http://schemas.microsoft.com/office/drawing/2014/main" id="{C3CC1688-0369-42D1-8765-01CFAAFBEE2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45818" y="1763845"/>
            <a:ext cx="900000" cy="405000"/>
          </a:xfrm>
          <a:prstGeom prst="rect">
            <a:avLst/>
          </a:prstGeom>
          <a:solidFill>
            <a:schemeClr val="bg1"/>
          </a:solidFill>
        </p:spPr>
      </p:pic>
      <p:sp>
        <p:nvSpPr>
          <p:cNvPr id="17" name="Rectángulo 16">
            <a:extLst>
              <a:ext uri="{FF2B5EF4-FFF2-40B4-BE49-F238E27FC236}">
                <a16:creationId xmlns:a16="http://schemas.microsoft.com/office/drawing/2014/main" id="{33F4AEC4-A101-4CC2-A4AA-3E9D07B2379B}"/>
              </a:ext>
            </a:extLst>
          </p:cNvPr>
          <p:cNvSpPr/>
          <p:nvPr/>
        </p:nvSpPr>
        <p:spPr>
          <a:xfrm>
            <a:off x="9954558" y="3970387"/>
            <a:ext cx="2059539" cy="682238"/>
          </a:xfrm>
          <a:prstGeom prst="rect">
            <a:avLst/>
          </a:prstGeom>
        </p:spPr>
        <p:txBody>
          <a:bodyPr wrap="square">
            <a:spAutoFit/>
          </a:bodyPr>
          <a:lstStyle/>
          <a:p>
            <a:pPr algn="ctr">
              <a:lnSpc>
                <a:spcPts val="1500"/>
              </a:lnSpc>
            </a:pPr>
            <a:r>
              <a:rPr lang="es-ES" b="1" dirty="0">
                <a:solidFill>
                  <a:srgbClr val="00B050"/>
                </a:solidFill>
                <a:latin typeface="Avenir LT Std 35 Light" panose="020B0402020203020204" pitchFamily="34" charset="0"/>
              </a:rPr>
              <a:t>5 plataformas </a:t>
            </a:r>
          </a:p>
          <a:p>
            <a:pPr algn="ctr">
              <a:lnSpc>
                <a:spcPts val="1500"/>
              </a:lnSpc>
            </a:pPr>
            <a:r>
              <a:rPr lang="es-ES" b="1" dirty="0">
                <a:solidFill>
                  <a:srgbClr val="00B050"/>
                </a:solidFill>
                <a:latin typeface="Avenir LT Std 35 Light" panose="020B0402020203020204" pitchFamily="34" charset="0"/>
              </a:rPr>
              <a:t>+</a:t>
            </a:r>
          </a:p>
          <a:p>
            <a:pPr algn="ctr">
              <a:lnSpc>
                <a:spcPts val="1500"/>
              </a:lnSpc>
            </a:pPr>
            <a:r>
              <a:rPr lang="es-ES" b="1" u="sng" dirty="0">
                <a:solidFill>
                  <a:srgbClr val="00B050"/>
                </a:solidFill>
                <a:latin typeface="Avenir LT Std 35 Light" panose="020B0402020203020204" pitchFamily="34" charset="0"/>
              </a:rPr>
              <a:t> 1,600 elementos</a:t>
            </a:r>
            <a:endParaRPr lang="es-ES" dirty="0">
              <a:solidFill>
                <a:srgbClr val="00B050"/>
              </a:solidFill>
              <a:latin typeface="Avenir LT Std 35 Light" panose="020B0402020203020204" pitchFamily="34" charset="0"/>
            </a:endParaRPr>
          </a:p>
        </p:txBody>
      </p:sp>
      <p:sp>
        <p:nvSpPr>
          <p:cNvPr id="54" name="Rectángulo 53">
            <a:extLst>
              <a:ext uri="{FF2B5EF4-FFF2-40B4-BE49-F238E27FC236}">
                <a16:creationId xmlns:a16="http://schemas.microsoft.com/office/drawing/2014/main" id="{705D2304-47DF-43D5-8E39-0E9570446CAF}"/>
              </a:ext>
            </a:extLst>
          </p:cNvPr>
          <p:cNvSpPr/>
          <p:nvPr/>
        </p:nvSpPr>
        <p:spPr>
          <a:xfrm>
            <a:off x="1197221" y="5552203"/>
            <a:ext cx="2059539" cy="752770"/>
          </a:xfrm>
          <a:prstGeom prst="rect">
            <a:avLst/>
          </a:prstGeom>
        </p:spPr>
        <p:txBody>
          <a:bodyPr wrap="square">
            <a:spAutoFit/>
          </a:bodyPr>
          <a:lstStyle/>
          <a:p>
            <a:pPr algn="ctr">
              <a:lnSpc>
                <a:spcPts val="1700"/>
              </a:lnSpc>
            </a:pPr>
            <a:r>
              <a:rPr lang="es-ES" b="1" dirty="0">
                <a:solidFill>
                  <a:srgbClr val="00B050"/>
                </a:solidFill>
                <a:latin typeface="Avenir LT Std 35 Light" panose="020B0402020203020204" pitchFamily="34" charset="0"/>
              </a:rPr>
              <a:t>0 plataformas </a:t>
            </a:r>
          </a:p>
          <a:p>
            <a:pPr algn="ctr">
              <a:lnSpc>
                <a:spcPts val="1700"/>
              </a:lnSpc>
            </a:pPr>
            <a:r>
              <a:rPr lang="es-ES" b="1" dirty="0">
                <a:solidFill>
                  <a:srgbClr val="00B050"/>
                </a:solidFill>
                <a:latin typeface="Avenir LT Std 35 Light" panose="020B0402020203020204" pitchFamily="34" charset="0"/>
              </a:rPr>
              <a:t>+</a:t>
            </a:r>
          </a:p>
          <a:p>
            <a:pPr algn="ctr">
              <a:lnSpc>
                <a:spcPts val="1700"/>
              </a:lnSpc>
            </a:pPr>
            <a:r>
              <a:rPr lang="es-ES" b="1" u="sng" dirty="0">
                <a:solidFill>
                  <a:srgbClr val="00B050"/>
                </a:solidFill>
                <a:latin typeface="Avenir LT Std 35 Light" panose="020B0402020203020204" pitchFamily="34" charset="0"/>
              </a:rPr>
              <a:t> 2 elementos</a:t>
            </a:r>
            <a:endParaRPr lang="es-ES" dirty="0">
              <a:solidFill>
                <a:srgbClr val="00B050"/>
              </a:solidFill>
              <a:latin typeface="Avenir LT Std 35 Light" panose="020B0402020203020204" pitchFamily="34" charset="0"/>
            </a:endParaRPr>
          </a:p>
        </p:txBody>
      </p:sp>
      <p:cxnSp>
        <p:nvCxnSpPr>
          <p:cNvPr id="18" name="Conector recto 17"/>
          <p:cNvCxnSpPr>
            <a:stCxn id="24" idx="2"/>
            <a:endCxn id="13" idx="0"/>
          </p:cNvCxnSpPr>
          <p:nvPr/>
        </p:nvCxnSpPr>
        <p:spPr>
          <a:xfrm>
            <a:off x="7047748" y="2888494"/>
            <a:ext cx="6916" cy="81565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ector recto 28"/>
          <p:cNvCxnSpPr>
            <a:stCxn id="20" idx="2"/>
            <a:endCxn id="40" idx="0"/>
          </p:cNvCxnSpPr>
          <p:nvPr/>
        </p:nvCxnSpPr>
        <p:spPr>
          <a:xfrm flipH="1" flipV="1">
            <a:off x="521909" y="3702499"/>
            <a:ext cx="1339741" cy="1870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Conector recto 33"/>
          <p:cNvCxnSpPr>
            <a:stCxn id="20" idx="2"/>
            <a:endCxn id="19" idx="0"/>
          </p:cNvCxnSpPr>
          <p:nvPr/>
        </p:nvCxnSpPr>
        <p:spPr>
          <a:xfrm flipH="1" flipV="1">
            <a:off x="1103446" y="3704150"/>
            <a:ext cx="758204" cy="1705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ector recto 35"/>
          <p:cNvCxnSpPr>
            <a:stCxn id="7" idx="4"/>
            <a:endCxn id="33" idx="0"/>
          </p:cNvCxnSpPr>
          <p:nvPr/>
        </p:nvCxnSpPr>
        <p:spPr>
          <a:xfrm flipH="1">
            <a:off x="2326979" y="3896171"/>
            <a:ext cx="2698" cy="435909"/>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ector recto 37"/>
          <p:cNvCxnSpPr>
            <a:stCxn id="25" idx="4"/>
            <a:endCxn id="32" idx="0"/>
          </p:cNvCxnSpPr>
          <p:nvPr/>
        </p:nvCxnSpPr>
        <p:spPr>
          <a:xfrm>
            <a:off x="8722631" y="3896171"/>
            <a:ext cx="1514" cy="36555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3894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7B7C85-7FF9-41AA-8627-92B3DACD70DC}"/>
              </a:ext>
            </a:extLst>
          </p:cNvPr>
          <p:cNvSpPr>
            <a:spLocks noGrp="1"/>
          </p:cNvSpPr>
          <p:nvPr>
            <p:ph type="title"/>
          </p:nvPr>
        </p:nvSpPr>
        <p:spPr>
          <a:xfrm>
            <a:off x="838200" y="365126"/>
            <a:ext cx="9840124" cy="1092200"/>
          </a:xfrm>
        </p:spPr>
        <p:txBody>
          <a:bodyPr>
            <a:normAutofit/>
          </a:bodyPr>
          <a:lstStyle/>
          <a:p>
            <a:r>
              <a:rPr lang="es-ES" noProof="0" dirty="0"/>
              <a:t>Evolución del Big Data landscape 2023</a:t>
            </a:r>
          </a:p>
        </p:txBody>
      </p:sp>
      <p:sp>
        <p:nvSpPr>
          <p:cNvPr id="3" name="Marcador de fecha 2">
            <a:extLst>
              <a:ext uri="{FF2B5EF4-FFF2-40B4-BE49-F238E27FC236}">
                <a16:creationId xmlns:a16="http://schemas.microsoft.com/office/drawing/2014/main" id="{99591A51-9E73-4AFF-AFBC-EE2138AD1632}"/>
              </a:ext>
            </a:extLst>
          </p:cNvPr>
          <p:cNvSpPr>
            <a:spLocks noGrp="1"/>
          </p:cNvSpPr>
          <p:nvPr>
            <p:ph type="dt" sz="half" idx="10"/>
          </p:nvPr>
        </p:nvSpPr>
        <p:spPr>
          <a:xfrm>
            <a:off x="814650" y="6400379"/>
            <a:ext cx="3380278" cy="365125"/>
          </a:xfrm>
        </p:spPr>
        <p:txBody>
          <a:bodyPr/>
          <a:lstStyle/>
          <a:p>
            <a:fld id="{9DC56887-4692-4A5E-9AEE-2809344E5BCF}" type="datetime2">
              <a:rPr lang="es-ES" smtClean="0"/>
              <a:pPr/>
              <a:t>jueves, 19 de septiembre de 2024</a:t>
            </a:fld>
            <a:endParaRPr lang="es-ES" dirty="0"/>
          </a:p>
        </p:txBody>
      </p:sp>
      <p:sp>
        <p:nvSpPr>
          <p:cNvPr id="4" name="Marcador de pie de página 3">
            <a:extLst>
              <a:ext uri="{FF2B5EF4-FFF2-40B4-BE49-F238E27FC236}">
                <a16:creationId xmlns:a16="http://schemas.microsoft.com/office/drawing/2014/main" id="{AEC9BF29-54DC-4231-8153-741E9CF4BD0C}"/>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5" name="Marcador de número de diapositiva 4">
            <a:extLst>
              <a:ext uri="{FF2B5EF4-FFF2-40B4-BE49-F238E27FC236}">
                <a16:creationId xmlns:a16="http://schemas.microsoft.com/office/drawing/2014/main" id="{0ECD060C-C0D6-4641-B9EC-CF549F7B4ED7}"/>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6</a:t>
            </a:fld>
            <a:endParaRPr lang="es-ES" dirty="0"/>
          </a:p>
        </p:txBody>
      </p:sp>
      <p:sp>
        <p:nvSpPr>
          <p:cNvPr id="6" name="Rectángulo 5">
            <a:extLst>
              <a:ext uri="{FF2B5EF4-FFF2-40B4-BE49-F238E27FC236}">
                <a16:creationId xmlns:a16="http://schemas.microsoft.com/office/drawing/2014/main" id="{0A8B5E65-E1CE-431E-94CB-7B857E8401BD}"/>
              </a:ext>
            </a:extLst>
          </p:cNvPr>
          <p:cNvSpPr/>
          <p:nvPr/>
        </p:nvSpPr>
        <p:spPr>
          <a:xfrm>
            <a:off x="901617" y="1604217"/>
            <a:ext cx="4132863" cy="646331"/>
          </a:xfrm>
          <a:prstGeom prst="rect">
            <a:avLst/>
          </a:prstGeom>
        </p:spPr>
        <p:txBody>
          <a:bodyPr wrap="none">
            <a:spAutoFit/>
          </a:bodyPr>
          <a:lstStyle/>
          <a:p>
            <a:pPr lvl="0">
              <a:lnSpc>
                <a:spcPct val="100000"/>
              </a:lnSpc>
            </a:pPr>
            <a:r>
              <a:rPr lang="es-ES" sz="3600" dirty="0">
                <a:solidFill>
                  <a:srgbClr val="3333FF"/>
                </a:solidFill>
                <a:latin typeface="Avenir LT Std 35 Light" panose="020B0402020203020204" pitchFamily="34" charset="0"/>
              </a:rPr>
              <a:t>2006 – 2 elementos</a:t>
            </a:r>
            <a:endParaRPr lang="es-ES" dirty="0">
              <a:solidFill>
                <a:srgbClr val="3333FF"/>
              </a:solidFill>
              <a:latin typeface="Avenir LT Std 35 Light" panose="020B0402020203020204" pitchFamily="34" charset="0"/>
            </a:endParaRPr>
          </a:p>
        </p:txBody>
      </p:sp>
      <p:pic>
        <p:nvPicPr>
          <p:cNvPr id="1028" name="Picture 4" descr="Resultado de imagen de hadoop mapreduce logo">
            <a:extLst>
              <a:ext uri="{FF2B5EF4-FFF2-40B4-BE49-F238E27FC236}">
                <a16:creationId xmlns:a16="http://schemas.microsoft.com/office/drawing/2014/main" id="{9BA0A28E-5540-4B24-BD06-6E3396EA3EA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2936" y="4488253"/>
            <a:ext cx="2880000" cy="910874"/>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10">
            <a:extLst>
              <a:ext uri="{FF2B5EF4-FFF2-40B4-BE49-F238E27FC236}">
                <a16:creationId xmlns:a16="http://schemas.microsoft.com/office/drawing/2014/main" id="{E1072CA4-FCE5-414F-BD44-7463C33F7F2F}"/>
              </a:ext>
            </a:extLst>
          </p:cNvPr>
          <p:cNvSpPr/>
          <p:nvPr/>
        </p:nvSpPr>
        <p:spPr>
          <a:xfrm>
            <a:off x="7400700" y="6048572"/>
            <a:ext cx="5049780" cy="307777"/>
          </a:xfrm>
          <a:prstGeom prst="rect">
            <a:avLst/>
          </a:prstGeom>
          <a:solidFill>
            <a:schemeClr val="bg1"/>
          </a:solidFill>
        </p:spPr>
        <p:txBody>
          <a:bodyPr wrap="none">
            <a:spAutoFit/>
          </a:bodyPr>
          <a:lstStyle/>
          <a:p>
            <a:pPr lvl="0">
              <a:lnSpc>
                <a:spcPct val="100000"/>
              </a:lnSpc>
            </a:pPr>
            <a:r>
              <a:rPr lang="es-ES" sz="1400" b="1" dirty="0">
                <a:latin typeface="Avenir LT Std 35 Light" panose="020B0402020203020204" pitchFamily="34" charset="0"/>
              </a:rPr>
              <a:t>https://lakefs.io/blog/the-state-of-data-engineering-2022/</a:t>
            </a:r>
          </a:p>
        </p:txBody>
      </p:sp>
      <p:sp>
        <p:nvSpPr>
          <p:cNvPr id="12" name="Rectángulo 11">
            <a:extLst>
              <a:ext uri="{FF2B5EF4-FFF2-40B4-BE49-F238E27FC236}">
                <a16:creationId xmlns:a16="http://schemas.microsoft.com/office/drawing/2014/main" id="{90E38DF2-B3CD-4E3E-8E3B-2B62DB981D75}"/>
              </a:ext>
            </a:extLst>
          </p:cNvPr>
          <p:cNvSpPr/>
          <p:nvPr/>
        </p:nvSpPr>
        <p:spPr>
          <a:xfrm>
            <a:off x="5476965" y="1604217"/>
            <a:ext cx="6455293" cy="646331"/>
          </a:xfrm>
          <a:prstGeom prst="rect">
            <a:avLst/>
          </a:prstGeom>
        </p:spPr>
        <p:txBody>
          <a:bodyPr wrap="none">
            <a:spAutoFit/>
          </a:bodyPr>
          <a:lstStyle/>
          <a:p>
            <a:pPr lvl="0">
              <a:lnSpc>
                <a:spcPct val="100000"/>
              </a:lnSpc>
            </a:pPr>
            <a:r>
              <a:rPr lang="es-ES" sz="3600" dirty="0">
                <a:solidFill>
                  <a:srgbClr val="3333FF"/>
                </a:solidFill>
                <a:latin typeface="Avenir LT Std 35 Light" panose="020B0402020203020204" pitchFamily="34" charset="0"/>
              </a:rPr>
              <a:t>2023 – Aprox. 2,000 elementos</a:t>
            </a:r>
            <a:endParaRPr lang="es-ES" dirty="0">
              <a:solidFill>
                <a:srgbClr val="3333FF"/>
              </a:solidFill>
              <a:latin typeface="Avenir LT Std 35 Light" panose="020B0402020203020204" pitchFamily="34" charset="0"/>
            </a:endParaRPr>
          </a:p>
        </p:txBody>
      </p:sp>
      <p:pic>
        <p:nvPicPr>
          <p:cNvPr id="1026" name="Picture 2" descr="2023 State of Data Infrastructure — Key Trends from Matt Turck's MAD  Landscape | by Anna Geller | Medium">
            <a:extLst>
              <a:ext uri="{FF2B5EF4-FFF2-40B4-BE49-F238E27FC236}">
                <a16:creationId xmlns:a16="http://schemas.microsoft.com/office/drawing/2014/main" id="{2ADE09AE-8525-36C4-BA1A-E1623E0128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1352" y="2315673"/>
            <a:ext cx="8260647" cy="424864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36E18989-9DCC-4E47-86EB-050F94330B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936" y="2739799"/>
            <a:ext cx="2880000" cy="74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03686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What Is Big Data Analytics? What Is Its Scope In Canada?">
            <a:extLst>
              <a:ext uri="{FF2B5EF4-FFF2-40B4-BE49-F238E27FC236}">
                <a16:creationId xmlns:a16="http://schemas.microsoft.com/office/drawing/2014/main" id="{6293CA47-BA72-44F2-837E-6433CB064A31}"/>
              </a:ext>
            </a:extLst>
          </p:cNvPr>
          <p:cNvPicPr>
            <a:picLocks noChangeAspect="1" noChangeArrowheads="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a:off x="6014503" y="1891916"/>
            <a:ext cx="2743811" cy="13165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CuadroTexto 3">
            <a:extLst>
              <a:ext uri="{FF2B5EF4-FFF2-40B4-BE49-F238E27FC236}">
                <a16:creationId xmlns:a16="http://schemas.microsoft.com/office/drawing/2014/main" id="{EFABA31D-FBCC-46B2-9A86-E52A6FD716C1}"/>
              </a:ext>
            </a:extLst>
          </p:cNvPr>
          <p:cNvSpPr txBox="1"/>
          <p:nvPr/>
        </p:nvSpPr>
        <p:spPr>
          <a:xfrm>
            <a:off x="838200" y="2580912"/>
            <a:ext cx="2124000" cy="338554"/>
          </a:xfrm>
          <a:custGeom>
            <a:avLst/>
            <a:gdLst>
              <a:gd name="connsiteX0" fmla="*/ 0 w 2124000"/>
              <a:gd name="connsiteY0" fmla="*/ 0 h 338554"/>
              <a:gd name="connsiteX1" fmla="*/ 467280 w 2124000"/>
              <a:gd name="connsiteY1" fmla="*/ 0 h 338554"/>
              <a:gd name="connsiteX2" fmla="*/ 1040760 w 2124000"/>
              <a:gd name="connsiteY2" fmla="*/ 0 h 338554"/>
              <a:gd name="connsiteX3" fmla="*/ 1529280 w 2124000"/>
              <a:gd name="connsiteY3" fmla="*/ 0 h 338554"/>
              <a:gd name="connsiteX4" fmla="*/ 2124000 w 2124000"/>
              <a:gd name="connsiteY4" fmla="*/ 0 h 338554"/>
              <a:gd name="connsiteX5" fmla="*/ 2124000 w 2124000"/>
              <a:gd name="connsiteY5" fmla="*/ 338554 h 338554"/>
              <a:gd name="connsiteX6" fmla="*/ 1550520 w 2124000"/>
              <a:gd name="connsiteY6" fmla="*/ 338554 h 338554"/>
              <a:gd name="connsiteX7" fmla="*/ 1062000 w 2124000"/>
              <a:gd name="connsiteY7" fmla="*/ 338554 h 338554"/>
              <a:gd name="connsiteX8" fmla="*/ 509760 w 2124000"/>
              <a:gd name="connsiteY8" fmla="*/ 338554 h 338554"/>
              <a:gd name="connsiteX9" fmla="*/ 0 w 2124000"/>
              <a:gd name="connsiteY9" fmla="*/ 338554 h 338554"/>
              <a:gd name="connsiteX10" fmla="*/ 0 w 2124000"/>
              <a:gd name="connsiteY10"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4000" h="338554" fill="none" extrusionOk="0">
                <a:moveTo>
                  <a:pt x="0" y="0"/>
                </a:moveTo>
                <a:cubicBezTo>
                  <a:pt x="232198" y="-2440"/>
                  <a:pt x="250137" y="-8977"/>
                  <a:pt x="467280" y="0"/>
                </a:cubicBezTo>
                <a:cubicBezTo>
                  <a:pt x="684423" y="8977"/>
                  <a:pt x="777006" y="-19088"/>
                  <a:pt x="1040760" y="0"/>
                </a:cubicBezTo>
                <a:cubicBezTo>
                  <a:pt x="1304514" y="19088"/>
                  <a:pt x="1318746" y="15839"/>
                  <a:pt x="1529280" y="0"/>
                </a:cubicBezTo>
                <a:cubicBezTo>
                  <a:pt x="1739814" y="-15839"/>
                  <a:pt x="1832125" y="12518"/>
                  <a:pt x="2124000" y="0"/>
                </a:cubicBezTo>
                <a:cubicBezTo>
                  <a:pt x="2127782" y="159015"/>
                  <a:pt x="2108179" y="194243"/>
                  <a:pt x="2124000" y="338554"/>
                </a:cubicBezTo>
                <a:cubicBezTo>
                  <a:pt x="2002435" y="336429"/>
                  <a:pt x="1735343" y="360098"/>
                  <a:pt x="1550520" y="338554"/>
                </a:cubicBezTo>
                <a:cubicBezTo>
                  <a:pt x="1365697" y="317010"/>
                  <a:pt x="1246757" y="329560"/>
                  <a:pt x="1062000" y="338554"/>
                </a:cubicBezTo>
                <a:cubicBezTo>
                  <a:pt x="877243" y="347548"/>
                  <a:pt x="702476" y="360924"/>
                  <a:pt x="509760" y="338554"/>
                </a:cubicBezTo>
                <a:cubicBezTo>
                  <a:pt x="317044" y="316184"/>
                  <a:pt x="233905" y="322943"/>
                  <a:pt x="0" y="338554"/>
                </a:cubicBezTo>
                <a:cubicBezTo>
                  <a:pt x="-6380" y="194470"/>
                  <a:pt x="7964" y="165959"/>
                  <a:pt x="0" y="0"/>
                </a:cubicBezTo>
                <a:close/>
              </a:path>
              <a:path w="2124000" h="338554" stroke="0" extrusionOk="0">
                <a:moveTo>
                  <a:pt x="0" y="0"/>
                </a:moveTo>
                <a:cubicBezTo>
                  <a:pt x="156743" y="8855"/>
                  <a:pt x="359443" y="-20946"/>
                  <a:pt x="552240" y="0"/>
                </a:cubicBezTo>
                <a:cubicBezTo>
                  <a:pt x="745037" y="20946"/>
                  <a:pt x="843493" y="25231"/>
                  <a:pt x="1083240" y="0"/>
                </a:cubicBezTo>
                <a:cubicBezTo>
                  <a:pt x="1322987" y="-25231"/>
                  <a:pt x="1523143" y="-21803"/>
                  <a:pt x="1635480" y="0"/>
                </a:cubicBezTo>
                <a:cubicBezTo>
                  <a:pt x="1747817" y="21803"/>
                  <a:pt x="1920604" y="22032"/>
                  <a:pt x="2124000" y="0"/>
                </a:cubicBezTo>
                <a:cubicBezTo>
                  <a:pt x="2131763" y="129649"/>
                  <a:pt x="2126077" y="230560"/>
                  <a:pt x="2124000" y="338554"/>
                </a:cubicBezTo>
                <a:cubicBezTo>
                  <a:pt x="1946277" y="328107"/>
                  <a:pt x="1763934" y="317120"/>
                  <a:pt x="1614240" y="338554"/>
                </a:cubicBezTo>
                <a:cubicBezTo>
                  <a:pt x="1464546" y="359988"/>
                  <a:pt x="1343100" y="340423"/>
                  <a:pt x="1083240" y="338554"/>
                </a:cubicBezTo>
                <a:cubicBezTo>
                  <a:pt x="823380" y="336685"/>
                  <a:pt x="781858" y="360714"/>
                  <a:pt x="531000" y="338554"/>
                </a:cubicBezTo>
                <a:cubicBezTo>
                  <a:pt x="280142" y="316394"/>
                  <a:pt x="253552" y="364720"/>
                  <a:pt x="0" y="338554"/>
                </a:cubicBezTo>
                <a:cubicBezTo>
                  <a:pt x="11931" y="207161"/>
                  <a:pt x="-16159" y="88707"/>
                  <a:pt x="0" y="0"/>
                </a:cubicBezTo>
                <a:close/>
              </a:path>
            </a:pathLst>
          </a:custGeom>
          <a:solidFill>
            <a:srgbClr val="00B050"/>
          </a:solidFill>
          <a:ln>
            <a:solidFill>
              <a:schemeClr val="accent1"/>
            </a:solidFill>
            <a:extLst>
              <a:ext uri="{C807C97D-BFC1-408E-A445-0C87EB9F89A2}">
                <ask:lineSketchStyleProps xmlns:ask="http://schemas.microsoft.com/office/drawing/2018/sketchyshapes" sd="3078248247">
                  <a:prstGeom prst="rect">
                    <a:avLst/>
                  </a:prstGeom>
                  <ask:type>
                    <ask:lineSketchFreehand/>
                  </ask:type>
                </ask:lineSketchStyleProps>
              </a:ext>
            </a:extLst>
          </a:ln>
        </p:spPr>
        <p:txBody>
          <a:bodyPr wrap="square">
            <a:spAutoFit/>
          </a:bodyPr>
          <a:lstStyle/>
          <a:p>
            <a:pPr algn="ctr"/>
            <a:r>
              <a:rPr lang="es-ES" sz="1600" b="1" dirty="0">
                <a:solidFill>
                  <a:schemeClr val="bg1"/>
                </a:solidFill>
                <a:effectLst/>
                <a:latin typeface="Avenir LT Std 35 Light" panose="020B0402020203020204" pitchFamily="34" charset="0"/>
                <a:ea typeface="Times New Roman" panose="02020603050405020304" pitchFamily="18" charset="0"/>
              </a:rPr>
              <a:t>fuentes a integrar</a:t>
            </a:r>
            <a:endParaRPr lang="es-ES" sz="1600" b="1" dirty="0">
              <a:solidFill>
                <a:schemeClr val="bg1"/>
              </a:solidFill>
            </a:endParaRPr>
          </a:p>
        </p:txBody>
      </p:sp>
      <p:sp>
        <p:nvSpPr>
          <p:cNvPr id="9" name="Rectángulo 8">
            <a:extLst>
              <a:ext uri="{FF2B5EF4-FFF2-40B4-BE49-F238E27FC236}">
                <a16:creationId xmlns:a16="http://schemas.microsoft.com/office/drawing/2014/main" id="{E70564A4-DC1A-45DE-ADEB-372855188B92}"/>
              </a:ext>
            </a:extLst>
          </p:cNvPr>
          <p:cNvSpPr/>
          <p:nvPr/>
        </p:nvSpPr>
        <p:spPr>
          <a:xfrm>
            <a:off x="3271691" y="1699057"/>
            <a:ext cx="2453501" cy="1806638"/>
          </a:xfrm>
          <a:custGeom>
            <a:avLst/>
            <a:gdLst>
              <a:gd name="connsiteX0" fmla="*/ 0 w 2453501"/>
              <a:gd name="connsiteY0" fmla="*/ 0 h 1806638"/>
              <a:gd name="connsiteX1" fmla="*/ 662445 w 2453501"/>
              <a:gd name="connsiteY1" fmla="*/ 0 h 1806638"/>
              <a:gd name="connsiteX2" fmla="*/ 1275821 w 2453501"/>
              <a:gd name="connsiteY2" fmla="*/ 0 h 1806638"/>
              <a:gd name="connsiteX3" fmla="*/ 1913731 w 2453501"/>
              <a:gd name="connsiteY3" fmla="*/ 0 h 1806638"/>
              <a:gd name="connsiteX4" fmla="*/ 2453501 w 2453501"/>
              <a:gd name="connsiteY4" fmla="*/ 0 h 1806638"/>
              <a:gd name="connsiteX5" fmla="*/ 2453501 w 2453501"/>
              <a:gd name="connsiteY5" fmla="*/ 584146 h 1806638"/>
              <a:gd name="connsiteX6" fmla="*/ 2453501 w 2453501"/>
              <a:gd name="connsiteY6" fmla="*/ 1204425 h 1806638"/>
              <a:gd name="connsiteX7" fmla="*/ 2453501 w 2453501"/>
              <a:gd name="connsiteY7" fmla="*/ 1806638 h 1806638"/>
              <a:gd name="connsiteX8" fmla="*/ 1913731 w 2453501"/>
              <a:gd name="connsiteY8" fmla="*/ 1806638 h 1806638"/>
              <a:gd name="connsiteX9" fmla="*/ 1349426 w 2453501"/>
              <a:gd name="connsiteY9" fmla="*/ 1806638 h 1806638"/>
              <a:gd name="connsiteX10" fmla="*/ 686980 w 2453501"/>
              <a:gd name="connsiteY10" fmla="*/ 1806638 h 1806638"/>
              <a:gd name="connsiteX11" fmla="*/ 0 w 2453501"/>
              <a:gd name="connsiteY11" fmla="*/ 1806638 h 1806638"/>
              <a:gd name="connsiteX12" fmla="*/ 0 w 2453501"/>
              <a:gd name="connsiteY12" fmla="*/ 1240558 h 1806638"/>
              <a:gd name="connsiteX13" fmla="*/ 0 w 2453501"/>
              <a:gd name="connsiteY13" fmla="*/ 620279 h 1806638"/>
              <a:gd name="connsiteX14" fmla="*/ 0 w 2453501"/>
              <a:gd name="connsiteY14" fmla="*/ 0 h 180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3501" h="1806638" extrusionOk="0">
                <a:moveTo>
                  <a:pt x="0" y="0"/>
                </a:moveTo>
                <a:cubicBezTo>
                  <a:pt x="189474" y="9855"/>
                  <a:pt x="353186" y="21409"/>
                  <a:pt x="662445" y="0"/>
                </a:cubicBezTo>
                <a:cubicBezTo>
                  <a:pt x="971704" y="-21409"/>
                  <a:pt x="1109794" y="-7055"/>
                  <a:pt x="1275821" y="0"/>
                </a:cubicBezTo>
                <a:cubicBezTo>
                  <a:pt x="1441848" y="7055"/>
                  <a:pt x="1615087" y="6634"/>
                  <a:pt x="1913731" y="0"/>
                </a:cubicBezTo>
                <a:cubicBezTo>
                  <a:pt x="2212375" y="-6634"/>
                  <a:pt x="2241936" y="-1541"/>
                  <a:pt x="2453501" y="0"/>
                </a:cubicBezTo>
                <a:cubicBezTo>
                  <a:pt x="2459260" y="274065"/>
                  <a:pt x="2468491" y="385790"/>
                  <a:pt x="2453501" y="584146"/>
                </a:cubicBezTo>
                <a:cubicBezTo>
                  <a:pt x="2438511" y="782502"/>
                  <a:pt x="2448784" y="1031743"/>
                  <a:pt x="2453501" y="1204425"/>
                </a:cubicBezTo>
                <a:cubicBezTo>
                  <a:pt x="2458218" y="1377107"/>
                  <a:pt x="2437141" y="1616390"/>
                  <a:pt x="2453501" y="1806638"/>
                </a:cubicBezTo>
                <a:cubicBezTo>
                  <a:pt x="2336457" y="1802193"/>
                  <a:pt x="2111759" y="1830575"/>
                  <a:pt x="1913731" y="1806638"/>
                </a:cubicBezTo>
                <a:cubicBezTo>
                  <a:pt x="1715703" y="1782702"/>
                  <a:pt x="1590629" y="1778660"/>
                  <a:pt x="1349426" y="1806638"/>
                </a:cubicBezTo>
                <a:cubicBezTo>
                  <a:pt x="1108224" y="1834616"/>
                  <a:pt x="950481" y="1802916"/>
                  <a:pt x="686980" y="1806638"/>
                </a:cubicBezTo>
                <a:cubicBezTo>
                  <a:pt x="423479" y="1810360"/>
                  <a:pt x="311080" y="1819203"/>
                  <a:pt x="0" y="1806638"/>
                </a:cubicBezTo>
                <a:cubicBezTo>
                  <a:pt x="20011" y="1575397"/>
                  <a:pt x="25095" y="1432176"/>
                  <a:pt x="0" y="1240558"/>
                </a:cubicBezTo>
                <a:cubicBezTo>
                  <a:pt x="-25095" y="1048940"/>
                  <a:pt x="22233" y="789040"/>
                  <a:pt x="0" y="620279"/>
                </a:cubicBezTo>
                <a:cubicBezTo>
                  <a:pt x="-22233" y="451518"/>
                  <a:pt x="-28024" y="216240"/>
                  <a:pt x="0" y="0"/>
                </a:cubicBezTo>
                <a:close/>
              </a:path>
            </a:pathLst>
          </a:custGeom>
          <a:noFill/>
          <a:ln>
            <a:extLst>
              <a:ext uri="{C807C97D-BFC1-408E-A445-0C87EB9F89A2}">
                <ask:lineSketchStyleProps xmlns:ask="http://schemas.microsoft.com/office/drawing/2018/sketchyshapes" sd="69112762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ES" sz="1600" b="1" dirty="0">
                <a:solidFill>
                  <a:schemeClr val="tx1"/>
                </a:solidFill>
                <a:highlight>
                  <a:srgbClr val="C0C0C0"/>
                </a:highlight>
              </a:rPr>
              <a:t>Ingesta de información</a:t>
            </a:r>
          </a:p>
          <a:p>
            <a:pPr marL="285750" lvl="0" indent="-285750">
              <a:buFont typeface="Arial" panose="020B0604020202020204" pitchFamily="34" charset="0"/>
              <a:buChar char="•"/>
            </a:pPr>
            <a:r>
              <a:rPr lang="es-ES" sz="1600" dirty="0">
                <a:solidFill>
                  <a:schemeClr val="tx1"/>
                </a:solidFill>
              </a:rPr>
              <a:t>API</a:t>
            </a:r>
          </a:p>
          <a:p>
            <a:pPr marL="285750" lvl="0" indent="-285750">
              <a:buFont typeface="Arial" panose="020B0604020202020204" pitchFamily="34" charset="0"/>
              <a:buChar char="•"/>
            </a:pPr>
            <a:r>
              <a:rPr lang="es-ES" sz="1600" dirty="0">
                <a:solidFill>
                  <a:schemeClr val="tx1"/>
                </a:solidFill>
              </a:rPr>
              <a:t>Crawling</a:t>
            </a:r>
          </a:p>
          <a:p>
            <a:pPr marL="285750" lvl="0" indent="-285750">
              <a:buFont typeface="Arial" panose="020B0604020202020204" pitchFamily="34" charset="0"/>
              <a:buChar char="•"/>
            </a:pPr>
            <a:r>
              <a:rPr lang="es-ES" sz="1600" dirty="0">
                <a:solidFill>
                  <a:schemeClr val="tx1"/>
                </a:solidFill>
              </a:rPr>
              <a:t>WebScraping legal</a:t>
            </a:r>
          </a:p>
          <a:p>
            <a:pPr marL="285750" lvl="0" indent="-285750">
              <a:buFont typeface="Arial" panose="020B0604020202020204" pitchFamily="34" charset="0"/>
              <a:buChar char="•"/>
            </a:pPr>
            <a:r>
              <a:rPr lang="es-ES" sz="1600" dirty="0">
                <a:solidFill>
                  <a:schemeClr val="tx1"/>
                </a:solidFill>
              </a:rPr>
              <a:t>RPA</a:t>
            </a:r>
          </a:p>
          <a:p>
            <a:pPr marL="285750" lvl="0" indent="-285750">
              <a:buFont typeface="Arial" panose="020B0604020202020204" pitchFamily="34" charset="0"/>
              <a:buChar char="•"/>
            </a:pPr>
            <a:r>
              <a:rPr lang="es-ES" sz="1600" dirty="0">
                <a:solidFill>
                  <a:schemeClr val="tx1"/>
                </a:solidFill>
              </a:rPr>
              <a:t>Webservices</a:t>
            </a:r>
          </a:p>
          <a:p>
            <a:pPr marL="285750" lvl="0" indent="-285750">
              <a:buFont typeface="Arial" panose="020B0604020202020204" pitchFamily="34" charset="0"/>
              <a:buChar char="•"/>
            </a:pPr>
            <a:r>
              <a:rPr lang="es-ES" sz="1600" dirty="0">
                <a:solidFill>
                  <a:schemeClr val="tx1"/>
                </a:solidFill>
              </a:rPr>
              <a:t>Otros</a:t>
            </a:r>
            <a:endParaRPr lang="es-ES" sz="2000" dirty="0">
              <a:solidFill>
                <a:schemeClr val="tx1"/>
              </a:solidFill>
            </a:endParaRPr>
          </a:p>
        </p:txBody>
      </p:sp>
      <p:cxnSp>
        <p:nvCxnSpPr>
          <p:cNvPr id="3" name="Conector: curvado 2">
            <a:extLst>
              <a:ext uri="{FF2B5EF4-FFF2-40B4-BE49-F238E27FC236}">
                <a16:creationId xmlns:a16="http://schemas.microsoft.com/office/drawing/2014/main" id="{57C24BBF-E7B4-44B0-BEDA-1F59DF89DF2B}"/>
              </a:ext>
            </a:extLst>
          </p:cNvPr>
          <p:cNvCxnSpPr>
            <a:cxnSpLocks/>
            <a:stCxn id="4" idx="3"/>
            <a:endCxn id="9" idx="1"/>
          </p:cNvCxnSpPr>
          <p:nvPr/>
        </p:nvCxnSpPr>
        <p:spPr>
          <a:xfrm flipV="1">
            <a:off x="2962200" y="2602376"/>
            <a:ext cx="309491" cy="14781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Qubole Targets Data Lake Simplification Through Extended Informatica  Alliance">
            <a:extLst>
              <a:ext uri="{FF2B5EF4-FFF2-40B4-BE49-F238E27FC236}">
                <a16:creationId xmlns:a16="http://schemas.microsoft.com/office/drawing/2014/main" id="{7A8550E0-3001-491B-AA66-5E83FE653414}"/>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85333" y="2919466"/>
            <a:ext cx="2745773" cy="920252"/>
          </a:xfrm>
          <a:prstGeom prst="cloud">
            <a:avLst/>
          </a:prstGeom>
          <a:ln w="19050" cap="rnd">
            <a:solidFill>
              <a:schemeClr val="tx2">
                <a:lumMod val="20000"/>
                <a:lumOff val="80000"/>
              </a:schemeClr>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8" name="CuadroTexto 27">
            <a:extLst>
              <a:ext uri="{FF2B5EF4-FFF2-40B4-BE49-F238E27FC236}">
                <a16:creationId xmlns:a16="http://schemas.microsoft.com/office/drawing/2014/main" id="{E04EFABD-996C-4234-8963-CADC4A2CE2B7}"/>
              </a:ext>
            </a:extLst>
          </p:cNvPr>
          <p:cNvSpPr txBox="1"/>
          <p:nvPr/>
        </p:nvSpPr>
        <p:spPr>
          <a:xfrm>
            <a:off x="6627694" y="3086751"/>
            <a:ext cx="1394356" cy="461665"/>
          </a:xfrm>
          <a:prstGeom prst="rect">
            <a:avLst/>
          </a:prstGeom>
          <a:noFill/>
        </p:spPr>
        <p:txBody>
          <a:bodyPr wrap="none" rtlCol="0">
            <a:spAutoFit/>
          </a:bodyPr>
          <a:lstStyle/>
          <a:p>
            <a:r>
              <a:rPr lang="es-ES" sz="2400" dirty="0">
                <a:solidFill>
                  <a:schemeClr val="accent1">
                    <a:lumMod val="20000"/>
                    <a:lumOff val="80000"/>
                  </a:schemeClr>
                </a:solidFill>
              </a:rPr>
              <a:t>Data Lake</a:t>
            </a:r>
          </a:p>
        </p:txBody>
      </p:sp>
      <p:cxnSp>
        <p:nvCxnSpPr>
          <p:cNvPr id="14" name="Conector: curvado 13">
            <a:extLst>
              <a:ext uri="{FF2B5EF4-FFF2-40B4-BE49-F238E27FC236}">
                <a16:creationId xmlns:a16="http://schemas.microsoft.com/office/drawing/2014/main" id="{7B5EAFD8-93BB-418D-AE71-A2D335780168}"/>
              </a:ext>
            </a:extLst>
          </p:cNvPr>
          <p:cNvCxnSpPr>
            <a:cxnSpLocks/>
            <a:stCxn id="9" idx="3"/>
            <a:endCxn id="1026" idx="2"/>
          </p:cNvCxnSpPr>
          <p:nvPr/>
        </p:nvCxnSpPr>
        <p:spPr>
          <a:xfrm>
            <a:off x="5725192" y="2602376"/>
            <a:ext cx="268658" cy="777216"/>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2060EFEC-70D5-4A29-BBC5-0AAFC3532AD3}"/>
              </a:ext>
            </a:extLst>
          </p:cNvPr>
          <p:cNvPicPr>
            <a:picLocks noChangeAspect="1"/>
          </p:cNvPicPr>
          <p:nvPr/>
        </p:nvPicPr>
        <p:blipFill rotWithShape="1">
          <a:blip r:embed="rId4">
            <a:clrChange>
              <a:clrFrom>
                <a:srgbClr val="F4F4F6"/>
              </a:clrFrom>
              <a:clrTo>
                <a:srgbClr val="F4F4F6">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9123905" y="2235833"/>
            <a:ext cx="1034981" cy="1167710"/>
          </a:xfrm>
          <a:prstGeom prst="rect">
            <a:avLst/>
          </a:prstGeom>
        </p:spPr>
      </p:pic>
      <p:cxnSp>
        <p:nvCxnSpPr>
          <p:cNvPr id="20" name="Conector: curvado 19">
            <a:extLst>
              <a:ext uri="{FF2B5EF4-FFF2-40B4-BE49-F238E27FC236}">
                <a16:creationId xmlns:a16="http://schemas.microsoft.com/office/drawing/2014/main" id="{3E70F8C3-4859-4A72-A06C-DDA8E664937C}"/>
              </a:ext>
            </a:extLst>
          </p:cNvPr>
          <p:cNvCxnSpPr>
            <a:cxnSpLocks/>
            <a:stCxn id="1026" idx="0"/>
            <a:endCxn id="13" idx="1"/>
          </p:cNvCxnSpPr>
          <p:nvPr/>
        </p:nvCxnSpPr>
        <p:spPr>
          <a:xfrm flipV="1">
            <a:off x="8728818" y="2819688"/>
            <a:ext cx="395087" cy="559904"/>
          </a:xfrm>
          <a:prstGeom prst="curved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Tabla 23">
            <a:extLst>
              <a:ext uri="{FF2B5EF4-FFF2-40B4-BE49-F238E27FC236}">
                <a16:creationId xmlns:a16="http://schemas.microsoft.com/office/drawing/2014/main" id="{32FAEB61-07CC-4C2A-B2B4-EADDDCEACD90}"/>
              </a:ext>
            </a:extLst>
          </p:cNvPr>
          <p:cNvGraphicFramePr>
            <a:graphicFrameLocks noGrp="1"/>
          </p:cNvGraphicFramePr>
          <p:nvPr>
            <p:extLst>
              <p:ext uri="{D42A27DB-BD31-4B8C-83A1-F6EECF244321}">
                <p14:modId xmlns:p14="http://schemas.microsoft.com/office/powerpoint/2010/main" val="2060253802"/>
              </p:ext>
            </p:extLst>
          </p:nvPr>
        </p:nvGraphicFramePr>
        <p:xfrm>
          <a:off x="512100" y="3716977"/>
          <a:ext cx="10932648" cy="2393315"/>
        </p:xfrm>
        <a:graphic>
          <a:graphicData uri="http://schemas.openxmlformats.org/drawingml/2006/table">
            <a:tbl>
              <a:tblPr bandCol="1">
                <a:tableStyleId>{0E3FDE45-AF77-4B5C-9715-49D594BDF05E}</a:tableStyleId>
              </a:tblPr>
              <a:tblGrid>
                <a:gridCol w="2733162">
                  <a:extLst>
                    <a:ext uri="{9D8B030D-6E8A-4147-A177-3AD203B41FA5}">
                      <a16:colId xmlns:a16="http://schemas.microsoft.com/office/drawing/2014/main" val="809681782"/>
                    </a:ext>
                  </a:extLst>
                </a:gridCol>
                <a:gridCol w="2733162">
                  <a:extLst>
                    <a:ext uri="{9D8B030D-6E8A-4147-A177-3AD203B41FA5}">
                      <a16:colId xmlns:a16="http://schemas.microsoft.com/office/drawing/2014/main" val="3241303964"/>
                    </a:ext>
                  </a:extLst>
                </a:gridCol>
                <a:gridCol w="2733162">
                  <a:extLst>
                    <a:ext uri="{9D8B030D-6E8A-4147-A177-3AD203B41FA5}">
                      <a16:colId xmlns:a16="http://schemas.microsoft.com/office/drawing/2014/main" val="1052409163"/>
                    </a:ext>
                  </a:extLst>
                </a:gridCol>
                <a:gridCol w="2733162">
                  <a:extLst>
                    <a:ext uri="{9D8B030D-6E8A-4147-A177-3AD203B41FA5}">
                      <a16:colId xmlns:a16="http://schemas.microsoft.com/office/drawing/2014/main" val="2966288182"/>
                    </a:ext>
                  </a:extLst>
                </a:gridCol>
              </a:tblGrid>
              <a:tr h="370840">
                <a:tc>
                  <a:txBody>
                    <a:bodyPr/>
                    <a:lstStyle/>
                    <a:p>
                      <a:pPr marL="285750" indent="-285750">
                        <a:lnSpc>
                          <a:spcPts val="1400"/>
                        </a:lnSpc>
                        <a:spcAft>
                          <a:spcPts val="600"/>
                        </a:spcAft>
                        <a:buFont typeface="Arial" panose="020B0604020202020204" pitchFamily="34" charset="0"/>
                        <a:buChar char="•"/>
                      </a:pPr>
                      <a:r>
                        <a:rPr lang="es-ES" sz="1800" dirty="0"/>
                        <a:t>Detección y conexión con las fuentes de información seleccionadas.</a:t>
                      </a:r>
                    </a:p>
                    <a:p>
                      <a:pPr marL="285750" indent="-285750">
                        <a:lnSpc>
                          <a:spcPts val="1400"/>
                        </a:lnSpc>
                        <a:spcAft>
                          <a:spcPts val="600"/>
                        </a:spcAft>
                        <a:buFont typeface="Arial" panose="020B0604020202020204" pitchFamily="34" charset="0"/>
                        <a:buChar char="•"/>
                      </a:pPr>
                      <a:r>
                        <a:rPr lang="es-ES" sz="1800" dirty="0"/>
                        <a:t>Lanzamiento de una actividad intermitente de búsqueda y selección de información.</a:t>
                      </a:r>
                    </a:p>
                  </a:txBody>
                  <a:tcPr/>
                </a:tc>
                <a:tc>
                  <a:txBody>
                    <a:bodyPr/>
                    <a:lstStyle/>
                    <a:p>
                      <a:pPr marL="285750" indent="-285750">
                        <a:lnSpc>
                          <a:spcPts val="1400"/>
                        </a:lnSpc>
                        <a:spcAft>
                          <a:spcPts val="600"/>
                        </a:spcAft>
                        <a:buFont typeface="Arial" panose="020B0604020202020204" pitchFamily="34" charset="0"/>
                        <a:buChar char="•"/>
                      </a:pPr>
                      <a:r>
                        <a:rPr lang="es-ES" sz="1800" dirty="0"/>
                        <a:t>Ingesta automática de información mediante el mecanismo pertinente.</a:t>
                      </a:r>
                    </a:p>
                    <a:p>
                      <a:pPr marL="285750" indent="-285750">
                        <a:lnSpc>
                          <a:spcPts val="1400"/>
                        </a:lnSpc>
                        <a:spcAft>
                          <a:spcPts val="600"/>
                        </a:spcAft>
                        <a:buFont typeface="Arial" panose="020B0604020202020204" pitchFamily="34" charset="0"/>
                        <a:buChar char="•"/>
                      </a:pPr>
                      <a:r>
                        <a:rPr lang="es-ES" sz="1800" dirty="0"/>
                        <a:t>Se rechazarán “a priori” las fuentes de información no automáticas.</a:t>
                      </a:r>
                    </a:p>
                  </a:txBody>
                  <a:tcPr/>
                </a:tc>
                <a:tc>
                  <a:txBody>
                    <a:bodyPr/>
                    <a:lstStyle/>
                    <a:p>
                      <a:pPr marL="285750" indent="-285750">
                        <a:lnSpc>
                          <a:spcPts val="1400"/>
                        </a:lnSpc>
                        <a:spcAft>
                          <a:spcPts val="600"/>
                        </a:spcAft>
                        <a:buFont typeface="Arial" panose="020B0604020202020204" pitchFamily="34" charset="0"/>
                        <a:buChar char="•"/>
                      </a:pPr>
                      <a:r>
                        <a:rPr lang="es-ES" sz="1800" dirty="0"/>
                        <a:t>Posicionamiento de los datos ingestados.</a:t>
                      </a:r>
                    </a:p>
                    <a:p>
                      <a:pPr marL="285750" indent="-285750">
                        <a:lnSpc>
                          <a:spcPts val="1400"/>
                        </a:lnSpc>
                        <a:spcAft>
                          <a:spcPts val="600"/>
                        </a:spcAft>
                        <a:buFont typeface="Arial" panose="020B0604020202020204" pitchFamily="34" charset="0"/>
                        <a:buChar char="•"/>
                      </a:pPr>
                      <a:r>
                        <a:rPr lang="es-ES" sz="1800" dirty="0"/>
                        <a:t>Limpieza de los mismos.</a:t>
                      </a:r>
                    </a:p>
                    <a:p>
                      <a:pPr marL="285750" indent="-285750">
                        <a:lnSpc>
                          <a:spcPts val="1400"/>
                        </a:lnSpc>
                        <a:spcAft>
                          <a:spcPts val="600"/>
                        </a:spcAft>
                        <a:buFont typeface="Arial" panose="020B0604020202020204" pitchFamily="34" charset="0"/>
                        <a:buChar char="•"/>
                      </a:pPr>
                      <a:r>
                        <a:rPr lang="es-ES" sz="1800" dirty="0"/>
                        <a:t>Interpretación mediante herramientas analíticas avanzadas</a:t>
                      </a:r>
                    </a:p>
                    <a:p>
                      <a:pPr marL="285750" indent="-285750">
                        <a:lnSpc>
                          <a:spcPts val="1400"/>
                        </a:lnSpc>
                        <a:spcAft>
                          <a:spcPts val="600"/>
                        </a:spcAft>
                        <a:buFont typeface="Arial" panose="020B0604020202020204" pitchFamily="34" charset="0"/>
                        <a:buChar char="•"/>
                      </a:pPr>
                      <a:r>
                        <a:rPr lang="es-ES" sz="1800" dirty="0"/>
                        <a:t>Puesta a disposición de los descubridores de datos</a:t>
                      </a:r>
                    </a:p>
                  </a:txBody>
                  <a:tcPr/>
                </a:tc>
                <a:tc>
                  <a:txBody>
                    <a:bodyPr/>
                    <a:lstStyle/>
                    <a:p>
                      <a:pPr marL="285750" indent="-285750">
                        <a:lnSpc>
                          <a:spcPts val="1400"/>
                        </a:lnSpc>
                        <a:spcAft>
                          <a:spcPts val="600"/>
                        </a:spcAft>
                        <a:buFont typeface="Arial" panose="020B0604020202020204" pitchFamily="34" charset="0"/>
                        <a:buChar char="•"/>
                      </a:pPr>
                      <a:r>
                        <a:rPr lang="es-ES" sz="1800" dirty="0"/>
                        <a:t>Consumo y descubrimiento de la información.</a:t>
                      </a:r>
                    </a:p>
                    <a:p>
                      <a:pPr marL="285750" indent="-285750">
                        <a:lnSpc>
                          <a:spcPts val="1400"/>
                        </a:lnSpc>
                        <a:spcAft>
                          <a:spcPts val="600"/>
                        </a:spcAft>
                        <a:buFont typeface="Arial" panose="020B0604020202020204" pitchFamily="34" charset="0"/>
                        <a:buChar char="•"/>
                      </a:pPr>
                      <a:r>
                        <a:rPr lang="es-ES" sz="1800" dirty="0"/>
                        <a:t>Usuario interrogando el lago de datos mediante herramientas de BI.</a:t>
                      </a:r>
                    </a:p>
                    <a:p>
                      <a:pPr marL="285750" indent="-285750">
                        <a:lnSpc>
                          <a:spcPts val="1400"/>
                        </a:lnSpc>
                        <a:spcAft>
                          <a:spcPts val="600"/>
                        </a:spcAft>
                        <a:buFont typeface="Arial" panose="020B0604020202020204" pitchFamily="34" charset="0"/>
                        <a:buChar char="•"/>
                      </a:pPr>
                      <a:r>
                        <a:rPr lang="es-ES" sz="1800" dirty="0"/>
                        <a:t>Analizando la información viva y actualizada y “ahora sí” con capacidad de tomar decisiones basadas en la evidencia.</a:t>
                      </a:r>
                    </a:p>
                  </a:txBody>
                  <a:tcPr/>
                </a:tc>
                <a:extLst>
                  <a:ext uri="{0D108BD9-81ED-4DB2-BD59-A6C34878D82A}">
                    <a16:rowId xmlns:a16="http://schemas.microsoft.com/office/drawing/2014/main" val="3895029501"/>
                  </a:ext>
                </a:extLst>
              </a:tr>
            </a:tbl>
          </a:graphicData>
        </a:graphic>
      </p:graphicFrame>
      <p:sp>
        <p:nvSpPr>
          <p:cNvPr id="5" name="Título 4">
            <a:extLst>
              <a:ext uri="{FF2B5EF4-FFF2-40B4-BE49-F238E27FC236}">
                <a16:creationId xmlns:a16="http://schemas.microsoft.com/office/drawing/2014/main" id="{0A544F4E-EBF2-46B5-9D06-5146DFCFB283}"/>
              </a:ext>
            </a:extLst>
          </p:cNvPr>
          <p:cNvSpPr>
            <a:spLocks noGrp="1"/>
          </p:cNvSpPr>
          <p:nvPr>
            <p:ph type="title"/>
          </p:nvPr>
        </p:nvSpPr>
        <p:spPr>
          <a:xfrm>
            <a:off x="838200" y="365126"/>
            <a:ext cx="9840124" cy="1092200"/>
          </a:xfrm>
        </p:spPr>
        <p:txBody>
          <a:bodyPr/>
          <a:lstStyle/>
          <a:p>
            <a:r>
              <a:rPr lang="es-ES" noProof="0" dirty="0"/>
              <a:t>Esquema BDA a altísimo nivel</a:t>
            </a:r>
          </a:p>
        </p:txBody>
      </p:sp>
      <p:sp>
        <p:nvSpPr>
          <p:cNvPr id="2" name="Marcador de fecha 1">
            <a:extLst>
              <a:ext uri="{FF2B5EF4-FFF2-40B4-BE49-F238E27FC236}">
                <a16:creationId xmlns:a16="http://schemas.microsoft.com/office/drawing/2014/main" id="{FBB61F92-8658-4C4D-8D8F-B4C61DD219AC}"/>
              </a:ext>
            </a:extLst>
          </p:cNvPr>
          <p:cNvSpPr>
            <a:spLocks noGrp="1"/>
          </p:cNvSpPr>
          <p:nvPr>
            <p:ph type="dt" sz="half" idx="10"/>
          </p:nvPr>
        </p:nvSpPr>
        <p:spPr>
          <a:xfrm>
            <a:off x="814650" y="6400379"/>
            <a:ext cx="3380278" cy="365125"/>
          </a:xfrm>
        </p:spPr>
        <p:txBody>
          <a:bodyPr/>
          <a:lstStyle/>
          <a:p>
            <a:fld id="{6FBA55E1-17AF-4F08-9BF6-D07C1EE57281}" type="datetime2">
              <a:rPr lang="es-ES" smtClean="0"/>
              <a:pPr/>
              <a:t>jueves, 19 de septiembre de 2024</a:t>
            </a:fld>
            <a:endParaRPr lang="es-ES" dirty="0"/>
          </a:p>
        </p:txBody>
      </p:sp>
      <p:sp>
        <p:nvSpPr>
          <p:cNvPr id="6" name="Marcador de pie de página 5">
            <a:extLst>
              <a:ext uri="{FF2B5EF4-FFF2-40B4-BE49-F238E27FC236}">
                <a16:creationId xmlns:a16="http://schemas.microsoft.com/office/drawing/2014/main" id="{911DF392-9027-4245-9AC3-C462D0CFE3D7}"/>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7" name="Marcador de número de diapositiva 6">
            <a:extLst>
              <a:ext uri="{FF2B5EF4-FFF2-40B4-BE49-F238E27FC236}">
                <a16:creationId xmlns:a16="http://schemas.microsoft.com/office/drawing/2014/main" id="{96AD6309-2BB0-4B97-BF55-A0DFADA8605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7</a:t>
            </a:fld>
            <a:endParaRPr lang="es-ES" dirty="0"/>
          </a:p>
        </p:txBody>
      </p:sp>
    </p:spTree>
    <p:extLst>
      <p:ext uri="{BB962C8B-B14F-4D97-AF65-F5344CB8AC3E}">
        <p14:creationId xmlns:p14="http://schemas.microsoft.com/office/powerpoint/2010/main" val="28013063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 name="CustomShape 9"/>
          <p:cNvSpPr/>
          <p:nvPr/>
        </p:nvSpPr>
        <p:spPr>
          <a:xfrm>
            <a:off x="10010597" y="1853440"/>
            <a:ext cx="2027110" cy="416104"/>
          </a:xfrm>
          <a:prstGeom prst="rect">
            <a:avLst/>
          </a:prstGeom>
          <a:noFill/>
          <a:ln>
            <a:noFill/>
          </a:ln>
        </p:spPr>
        <p:txBody>
          <a:bodyPr wrap="none" lIns="107640" tIns="53640" rIns="107640" bIns="53640" anchor="ctr" anchorCtr="1">
            <a:spAutoFit/>
          </a:bodyPr>
          <a:lstStyle/>
          <a:p>
            <a:pPr algn="ctr">
              <a:lnSpc>
                <a:spcPct val="100000"/>
              </a:lnSpc>
            </a:pPr>
            <a:r>
              <a:rPr lang="es-ES" sz="2000" b="1" dirty="0">
                <a:solidFill>
                  <a:srgbClr val="C00000"/>
                </a:solidFill>
              </a:rPr>
              <a:t>Visualización (BI)</a:t>
            </a:r>
            <a:endParaRPr dirty="0">
              <a:solidFill>
                <a:srgbClr val="C00000"/>
              </a:solidFill>
            </a:endParaRPr>
          </a:p>
        </p:txBody>
      </p:sp>
      <p:sp>
        <p:nvSpPr>
          <p:cNvPr id="242" name="CustomShape 10"/>
          <p:cNvSpPr/>
          <p:nvPr/>
        </p:nvSpPr>
        <p:spPr>
          <a:xfrm>
            <a:off x="10005055" y="4185456"/>
            <a:ext cx="2146976" cy="723881"/>
          </a:xfrm>
          <a:prstGeom prst="rect">
            <a:avLst/>
          </a:prstGeom>
          <a:noFill/>
          <a:ln>
            <a:noFill/>
          </a:ln>
        </p:spPr>
        <p:txBody>
          <a:bodyPr wrap="square" lIns="107640" tIns="53640" rIns="107640" bIns="53640" anchor="ctr" anchorCtr="1">
            <a:spAutoFit/>
          </a:bodyPr>
          <a:lstStyle/>
          <a:p>
            <a:pPr algn="ctr">
              <a:lnSpc>
                <a:spcPct val="100000"/>
              </a:lnSpc>
            </a:pPr>
            <a:r>
              <a:rPr lang="es-ES" sz="2000" b="1" dirty="0">
                <a:solidFill>
                  <a:srgbClr val="C00000"/>
                </a:solidFill>
              </a:rPr>
              <a:t>Aplicaciones externas</a:t>
            </a:r>
            <a:endParaRPr dirty="0">
              <a:solidFill>
                <a:srgbClr val="C00000"/>
              </a:solidFill>
            </a:endParaRPr>
          </a:p>
        </p:txBody>
      </p:sp>
      <p:sp>
        <p:nvSpPr>
          <p:cNvPr id="244" name="CustomShape 12"/>
          <p:cNvSpPr/>
          <p:nvPr/>
        </p:nvSpPr>
        <p:spPr>
          <a:xfrm flipV="1">
            <a:off x="3296425" y="4090998"/>
            <a:ext cx="6048000" cy="11160"/>
          </a:xfrm>
          <a:prstGeom prst="straightConnector1">
            <a:avLst/>
          </a:prstGeom>
          <a:noFill/>
          <a:ln w="76320">
            <a:solidFill>
              <a:schemeClr val="tx2">
                <a:lumMod val="50000"/>
              </a:schemeClr>
            </a:solidFill>
            <a:miter/>
            <a:tailEnd type="triangle" w="med" len="med"/>
          </a:ln>
        </p:spPr>
        <p:txBody>
          <a:bodyPr/>
          <a:lstStyle/>
          <a:p>
            <a:endParaRPr lang="es-ES" dirty="0"/>
          </a:p>
        </p:txBody>
      </p:sp>
      <p:pic>
        <p:nvPicPr>
          <p:cNvPr id="247"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408" y="4048000"/>
            <a:ext cx="2827000" cy="1764000"/>
          </a:xfrm>
          <a:prstGeom prst="rect">
            <a:avLst/>
          </a:prstGeom>
          <a:ln>
            <a:noFill/>
          </a:ln>
        </p:spPr>
      </p:pic>
      <p:pic>
        <p:nvPicPr>
          <p:cNvPr id="248" name="Imagen 3"/>
          <p:cNvPicPr/>
          <p:nvPr/>
        </p:nvPicPr>
        <p:blipFill>
          <a:blip r:embed="rId4" cstate="email">
            <a:extLst>
              <a:ext uri="{28A0092B-C50C-407E-A947-70E740481C1C}">
                <a14:useLocalDpi xmlns:a14="http://schemas.microsoft.com/office/drawing/2010/main" val="0"/>
              </a:ext>
            </a:extLst>
          </a:blip>
          <a:stretch>
            <a:fillRect/>
          </a:stretch>
        </p:blipFill>
        <p:spPr>
          <a:xfrm>
            <a:off x="10151154" y="2161895"/>
            <a:ext cx="1557720" cy="1833840"/>
          </a:xfrm>
          <a:prstGeom prst="rect">
            <a:avLst/>
          </a:prstGeom>
          <a:ln>
            <a:noFill/>
          </a:ln>
        </p:spPr>
      </p:pic>
      <p:pic>
        <p:nvPicPr>
          <p:cNvPr id="249" name="Imagen 5"/>
          <p:cNvPicPr/>
          <p:nvPr/>
        </p:nvPicPr>
        <p:blipFill>
          <a:blip r:embed="rId5" cstate="email">
            <a:extLst>
              <a:ext uri="{28A0092B-C50C-407E-A947-70E740481C1C}">
                <a14:useLocalDpi xmlns:a14="http://schemas.microsoft.com/office/drawing/2010/main" val="0"/>
              </a:ext>
            </a:extLst>
          </a:blip>
          <a:stretch>
            <a:fillRect/>
          </a:stretch>
        </p:blipFill>
        <p:spPr>
          <a:xfrm>
            <a:off x="10150974" y="4972440"/>
            <a:ext cx="1558080" cy="1127160"/>
          </a:xfrm>
          <a:prstGeom prst="rect">
            <a:avLst/>
          </a:prstGeom>
          <a:ln>
            <a:noFill/>
          </a:ln>
        </p:spPr>
      </p:pic>
      <p:sp>
        <p:nvSpPr>
          <p:cNvPr id="251" name="CustomShape 16"/>
          <p:cNvSpPr/>
          <p:nvPr/>
        </p:nvSpPr>
        <p:spPr>
          <a:xfrm>
            <a:off x="10102880" y="1375617"/>
            <a:ext cx="1839600" cy="414720"/>
          </a:xfrm>
          <a:prstGeom prst="rect">
            <a:avLst/>
          </a:prstGeom>
          <a:solidFill>
            <a:schemeClr val="bg1">
              <a:lumMod val="50000"/>
            </a:schemeClr>
          </a:solidFill>
          <a:ln w="12600">
            <a:solidFill>
              <a:srgbClr val="002060"/>
            </a:solidFill>
            <a:round/>
          </a:ln>
        </p:spPr>
        <p:txBody>
          <a:bodyPr lIns="107640" tIns="53640" rIns="107640" bIns="53640" anchor="ctr"/>
          <a:lstStyle/>
          <a:p>
            <a:pPr algn="ctr"/>
            <a:r>
              <a:rPr lang="es-ES" sz="2000" b="1" cap="small" dirty="0">
                <a:solidFill>
                  <a:schemeClr val="bg1"/>
                </a:solidFill>
                <a:latin typeface="Arial Narrow"/>
              </a:rPr>
              <a:t>Consumo</a:t>
            </a:r>
            <a:endParaRPr sz="2000" b="1" cap="small" dirty="0">
              <a:solidFill>
                <a:schemeClr val="bg1"/>
              </a:solidFill>
              <a:latin typeface="Arial Narrow"/>
            </a:endParaRPr>
          </a:p>
        </p:txBody>
      </p:sp>
      <p:sp>
        <p:nvSpPr>
          <p:cNvPr id="2" name="Título 1">
            <a:extLst>
              <a:ext uri="{FF2B5EF4-FFF2-40B4-BE49-F238E27FC236}">
                <a16:creationId xmlns:a16="http://schemas.microsoft.com/office/drawing/2014/main" id="{0C769344-44E2-463A-BF59-6D28C580A2AB}"/>
              </a:ext>
            </a:extLst>
          </p:cNvPr>
          <p:cNvSpPr>
            <a:spLocks noGrp="1"/>
          </p:cNvSpPr>
          <p:nvPr>
            <p:ph type="title"/>
          </p:nvPr>
        </p:nvSpPr>
        <p:spPr>
          <a:xfrm>
            <a:off x="41178" y="0"/>
            <a:ext cx="3128774" cy="1492270"/>
          </a:xfrm>
        </p:spPr>
        <p:txBody>
          <a:bodyPr>
            <a:normAutofit fontScale="90000"/>
          </a:bodyPr>
          <a:lstStyle/>
          <a:p>
            <a:r>
              <a:rPr lang="es-ES" noProof="0" dirty="0"/>
              <a:t>La cadena de valor de Big Data</a:t>
            </a:r>
          </a:p>
        </p:txBody>
      </p:sp>
      <p:sp>
        <p:nvSpPr>
          <p:cNvPr id="35" name="Marcador de fecha 2">
            <a:extLst>
              <a:ext uri="{FF2B5EF4-FFF2-40B4-BE49-F238E27FC236}">
                <a16:creationId xmlns:a16="http://schemas.microsoft.com/office/drawing/2014/main" id="{0C586223-ABFD-4458-A585-8B5FEC38AE49}"/>
              </a:ext>
            </a:extLst>
          </p:cNvPr>
          <p:cNvSpPr>
            <a:spLocks noGrp="1"/>
          </p:cNvSpPr>
          <p:nvPr>
            <p:ph type="dt" sz="half" idx="10"/>
          </p:nvPr>
        </p:nvSpPr>
        <p:spPr>
          <a:xfrm>
            <a:off x="814650" y="6400379"/>
            <a:ext cx="3380278" cy="365125"/>
          </a:xfrm>
        </p:spPr>
        <p:txBody>
          <a:bodyPr/>
          <a:lstStyle/>
          <a:p>
            <a:fld id="{DDDF77F3-4E0A-44A8-A697-001BB5FB25AF}" type="datetime2">
              <a:rPr lang="es-ES" smtClean="0"/>
              <a:pPr/>
              <a:t>jueves, 19 de septiembre de 2024</a:t>
            </a:fld>
            <a:endParaRPr lang="es-ES" dirty="0"/>
          </a:p>
        </p:txBody>
      </p:sp>
      <p:sp>
        <p:nvSpPr>
          <p:cNvPr id="36" name="Marcador de pie de página 10">
            <a:extLst>
              <a:ext uri="{FF2B5EF4-FFF2-40B4-BE49-F238E27FC236}">
                <a16:creationId xmlns:a16="http://schemas.microsoft.com/office/drawing/2014/main" id="{285ED4BE-0401-4D8C-A254-DB8E04569350}"/>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37" name="Marcador de número de diapositiva 11">
            <a:extLst>
              <a:ext uri="{FF2B5EF4-FFF2-40B4-BE49-F238E27FC236}">
                <a16:creationId xmlns:a16="http://schemas.microsoft.com/office/drawing/2014/main" id="{5B23D613-296C-43A5-A74A-59EFF90CD66A}"/>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8</a:t>
            </a:fld>
            <a:endParaRPr lang="es-ES" dirty="0"/>
          </a:p>
        </p:txBody>
      </p:sp>
      <p:sp>
        <p:nvSpPr>
          <p:cNvPr id="25" name="CustomShape 5">
            <a:extLst>
              <a:ext uri="{FF2B5EF4-FFF2-40B4-BE49-F238E27FC236}">
                <a16:creationId xmlns:a16="http://schemas.microsoft.com/office/drawing/2014/main" id="{E17DA010-1EC6-45C8-A344-FB73F1AE7F20}"/>
              </a:ext>
            </a:extLst>
          </p:cNvPr>
          <p:cNvSpPr/>
          <p:nvPr/>
        </p:nvSpPr>
        <p:spPr>
          <a:xfrm rot="16200000">
            <a:off x="1460475" y="3100094"/>
            <a:ext cx="4520118" cy="959760"/>
          </a:xfrm>
          <a:prstGeom prst="rect">
            <a:avLst/>
          </a:prstGeom>
          <a:solidFill>
            <a:schemeClr val="bg1">
              <a:lumMod val="95000"/>
            </a:schemeClr>
          </a:solidFill>
          <a:ln w="12600">
            <a:solidFill>
              <a:srgbClr val="604A7B"/>
            </a:solidFill>
            <a:round/>
          </a:ln>
        </p:spPr>
        <p:txBody>
          <a:bodyPr lIns="53640" tIns="107640" rIns="53640" bIns="107640" anchor="ctr"/>
          <a:lstStyle/>
          <a:p>
            <a:pPr algn="ctr"/>
            <a:r>
              <a:rPr lang="es-ES" sz="2000" b="1" cap="small" dirty="0">
                <a:solidFill>
                  <a:srgbClr val="000000"/>
                </a:solidFill>
                <a:latin typeface="Arial Narrow"/>
              </a:rPr>
              <a:t>Ingestión</a:t>
            </a:r>
          </a:p>
          <a:p>
            <a:pPr algn="ctr">
              <a:lnSpc>
                <a:spcPct val="100000"/>
              </a:lnSpc>
            </a:pPr>
            <a:r>
              <a:rPr lang="es-ES" sz="1600" dirty="0">
                <a:solidFill>
                  <a:srgbClr val="44546A"/>
                </a:solidFill>
                <a:latin typeface="Arial Narrow"/>
                <a:ea typeface="DejaVu Sans"/>
              </a:rPr>
              <a:t>No es ETL tradicional, es adaptado a BIG DATA</a:t>
            </a:r>
            <a:endParaRPr dirty="0">
              <a:latin typeface="Arial Narrow" panose="020B0606020202030204" pitchFamily="34" charset="0"/>
            </a:endParaRPr>
          </a:p>
        </p:txBody>
      </p:sp>
      <p:sp>
        <p:nvSpPr>
          <p:cNvPr id="26" name="CustomShape 8">
            <a:extLst>
              <a:ext uri="{FF2B5EF4-FFF2-40B4-BE49-F238E27FC236}">
                <a16:creationId xmlns:a16="http://schemas.microsoft.com/office/drawing/2014/main" id="{70257F2D-08C9-483E-A280-C8760F74090F}"/>
              </a:ext>
            </a:extLst>
          </p:cNvPr>
          <p:cNvSpPr/>
          <p:nvPr/>
        </p:nvSpPr>
        <p:spPr>
          <a:xfrm rot="16200000">
            <a:off x="7391517" y="3292586"/>
            <a:ext cx="4521474" cy="575640"/>
          </a:xfrm>
          <a:prstGeom prst="rect">
            <a:avLst/>
          </a:prstGeom>
          <a:solidFill>
            <a:schemeClr val="bg1">
              <a:lumMod val="95000"/>
            </a:schemeClr>
          </a:solidFill>
          <a:ln w="12600">
            <a:solidFill>
              <a:srgbClr val="604A7B"/>
            </a:solidFill>
            <a:round/>
          </a:ln>
        </p:spPr>
        <p:txBody>
          <a:bodyPr lIns="53640" tIns="107640" rIns="53640" bIns="107640" anchor="ctr"/>
          <a:lstStyle/>
          <a:p>
            <a:pPr algn="ctr"/>
            <a:r>
              <a:rPr lang="es-ES" sz="2000" b="1" cap="small" dirty="0">
                <a:solidFill>
                  <a:srgbClr val="000000"/>
                </a:solidFill>
                <a:latin typeface="Arial Narrow"/>
              </a:rPr>
              <a:t>Información lista para consumo.</a:t>
            </a:r>
          </a:p>
          <a:p>
            <a:pPr algn="ctr"/>
            <a:r>
              <a:rPr lang="es-ES" sz="2000" b="1" cap="small" dirty="0">
                <a:solidFill>
                  <a:srgbClr val="000000"/>
                </a:solidFill>
                <a:latin typeface="Arial Narrow"/>
              </a:rPr>
              <a:t>Sandbox</a:t>
            </a:r>
          </a:p>
        </p:txBody>
      </p:sp>
      <p:sp>
        <p:nvSpPr>
          <p:cNvPr id="27" name="CustomShape 15">
            <a:extLst>
              <a:ext uri="{FF2B5EF4-FFF2-40B4-BE49-F238E27FC236}">
                <a16:creationId xmlns:a16="http://schemas.microsoft.com/office/drawing/2014/main" id="{27C6E27E-B165-49F1-A182-74EF97CCCA00}"/>
              </a:ext>
            </a:extLst>
          </p:cNvPr>
          <p:cNvSpPr/>
          <p:nvPr/>
        </p:nvSpPr>
        <p:spPr>
          <a:xfrm>
            <a:off x="3240654" y="664723"/>
            <a:ext cx="6699600" cy="414720"/>
          </a:xfrm>
          <a:prstGeom prst="rect">
            <a:avLst/>
          </a:prstGeom>
          <a:solidFill>
            <a:schemeClr val="bg1">
              <a:lumMod val="75000"/>
            </a:schemeClr>
          </a:solidFill>
          <a:ln w="12600">
            <a:solidFill>
              <a:srgbClr val="002060"/>
            </a:solidFill>
            <a:round/>
          </a:ln>
        </p:spPr>
        <p:txBody>
          <a:bodyPr lIns="107640" tIns="53640" rIns="107640" bIns="53640" anchor="ctr"/>
          <a:lstStyle/>
          <a:p>
            <a:pPr algn="ctr"/>
            <a:r>
              <a:rPr lang="es-ES" sz="2000" b="1" cap="small" dirty="0">
                <a:solidFill>
                  <a:srgbClr val="000000"/>
                </a:solidFill>
                <a:latin typeface="Arial Narrow"/>
              </a:rPr>
              <a:t>Gobierno del Dato</a:t>
            </a:r>
            <a:endParaRPr sz="2000" b="1" cap="small" dirty="0">
              <a:solidFill>
                <a:srgbClr val="000000"/>
              </a:solidFill>
              <a:latin typeface="Arial Narrow"/>
            </a:endParaRPr>
          </a:p>
        </p:txBody>
      </p:sp>
      <p:sp>
        <p:nvSpPr>
          <p:cNvPr id="28" name="CustomShape 7">
            <a:extLst>
              <a:ext uri="{FF2B5EF4-FFF2-40B4-BE49-F238E27FC236}">
                <a16:creationId xmlns:a16="http://schemas.microsoft.com/office/drawing/2014/main" id="{A653E74B-5EC5-4FC7-BCB3-3FC80688F76A}"/>
              </a:ext>
            </a:extLst>
          </p:cNvPr>
          <p:cNvSpPr/>
          <p:nvPr/>
        </p:nvSpPr>
        <p:spPr>
          <a:xfrm>
            <a:off x="3240604" y="5929226"/>
            <a:ext cx="6699470" cy="396000"/>
          </a:xfrm>
          <a:prstGeom prst="rect">
            <a:avLst/>
          </a:prstGeom>
          <a:solidFill>
            <a:schemeClr val="bg1">
              <a:lumMod val="75000"/>
            </a:schemeClr>
          </a:solidFill>
          <a:ln w="12600">
            <a:solidFill>
              <a:srgbClr val="002060"/>
            </a:solidFill>
            <a:round/>
          </a:ln>
        </p:spPr>
        <p:txBody>
          <a:bodyPr lIns="107640" tIns="53640" rIns="107640" bIns="53640" anchor="ctr"/>
          <a:lstStyle/>
          <a:p>
            <a:pPr algn="ctr"/>
            <a:r>
              <a:rPr lang="es-ES" sz="2000" b="1" cap="small" dirty="0">
                <a:solidFill>
                  <a:srgbClr val="000000"/>
                </a:solidFill>
                <a:latin typeface="Arial Narrow"/>
              </a:rPr>
              <a:t>Administrador + Orquestador</a:t>
            </a:r>
            <a:endParaRPr sz="2000" b="1" cap="small" dirty="0">
              <a:solidFill>
                <a:srgbClr val="000000"/>
              </a:solidFill>
              <a:latin typeface="Arial Narrow"/>
            </a:endParaRPr>
          </a:p>
        </p:txBody>
      </p:sp>
      <p:sp>
        <p:nvSpPr>
          <p:cNvPr id="29" name="CustomShape 15">
            <a:extLst>
              <a:ext uri="{FF2B5EF4-FFF2-40B4-BE49-F238E27FC236}">
                <a16:creationId xmlns:a16="http://schemas.microsoft.com/office/drawing/2014/main" id="{1B5A9F81-66FA-4D8D-BFD1-E88B5DA4D8CC}"/>
              </a:ext>
            </a:extLst>
          </p:cNvPr>
          <p:cNvSpPr/>
          <p:nvPr/>
        </p:nvSpPr>
        <p:spPr>
          <a:xfrm>
            <a:off x="3240474" y="140582"/>
            <a:ext cx="6699600" cy="414720"/>
          </a:xfrm>
          <a:prstGeom prst="rect">
            <a:avLst/>
          </a:prstGeom>
          <a:solidFill>
            <a:schemeClr val="bg1">
              <a:lumMod val="75000"/>
            </a:schemeClr>
          </a:solidFill>
          <a:ln w="12600">
            <a:solidFill>
              <a:srgbClr val="002060"/>
            </a:solidFill>
            <a:round/>
          </a:ln>
        </p:spPr>
        <p:txBody>
          <a:bodyPr lIns="107640" tIns="53640" rIns="107640" bIns="53640" anchor="ctr"/>
          <a:lstStyle/>
          <a:p>
            <a:pPr algn="ctr"/>
            <a:r>
              <a:rPr lang="es-ES" sz="2000" b="1" cap="small" dirty="0">
                <a:solidFill>
                  <a:srgbClr val="000000"/>
                </a:solidFill>
                <a:latin typeface="Arial Narrow"/>
              </a:rPr>
              <a:t>Ciberseguridad</a:t>
            </a:r>
            <a:endParaRPr sz="2000" b="1" cap="small" dirty="0">
              <a:solidFill>
                <a:srgbClr val="000000"/>
              </a:solidFill>
              <a:latin typeface="Arial Narrow"/>
            </a:endParaRPr>
          </a:p>
        </p:txBody>
      </p:sp>
      <p:graphicFrame>
        <p:nvGraphicFramePr>
          <p:cNvPr id="30" name="Diagrama 29">
            <a:extLst>
              <a:ext uri="{FF2B5EF4-FFF2-40B4-BE49-F238E27FC236}">
                <a16:creationId xmlns:a16="http://schemas.microsoft.com/office/drawing/2014/main" id="{F7255BDA-FEDB-4A85-82EC-BF564F280DE3}"/>
              </a:ext>
            </a:extLst>
          </p:cNvPr>
          <p:cNvGraphicFramePr/>
          <p:nvPr/>
        </p:nvGraphicFramePr>
        <p:xfrm>
          <a:off x="4391955" y="1319669"/>
          <a:ext cx="4568256" cy="452036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1" name="Elipse 30">
            <a:extLst>
              <a:ext uri="{FF2B5EF4-FFF2-40B4-BE49-F238E27FC236}">
                <a16:creationId xmlns:a16="http://schemas.microsoft.com/office/drawing/2014/main" id="{D6AFD006-11F5-464C-9242-25726FD75288}"/>
              </a:ext>
            </a:extLst>
          </p:cNvPr>
          <p:cNvSpPr/>
          <p:nvPr/>
        </p:nvSpPr>
        <p:spPr>
          <a:xfrm>
            <a:off x="4341714" y="1597688"/>
            <a:ext cx="138671" cy="150725"/>
          </a:xfrm>
          <a:prstGeom prst="ellipse">
            <a:avLst/>
          </a:prstGeom>
          <a:solidFill>
            <a:srgbClr val="F8F8F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32" name="Conector: curvado 31">
            <a:extLst>
              <a:ext uri="{FF2B5EF4-FFF2-40B4-BE49-F238E27FC236}">
                <a16:creationId xmlns:a16="http://schemas.microsoft.com/office/drawing/2014/main" id="{31462126-46BC-4E1D-BDBD-6D45091AF5DA}"/>
              </a:ext>
            </a:extLst>
          </p:cNvPr>
          <p:cNvCxnSpPr>
            <a:stCxn id="25" idx="2"/>
            <a:endCxn id="31" idx="2"/>
          </p:cNvCxnSpPr>
          <p:nvPr/>
        </p:nvCxnSpPr>
        <p:spPr>
          <a:xfrm flipV="1">
            <a:off x="4200414" y="1673051"/>
            <a:ext cx="141300" cy="1906923"/>
          </a:xfrm>
          <a:prstGeom prst="curvedConnector5">
            <a:avLst>
              <a:gd name="adj1" fmla="val 97781"/>
              <a:gd name="adj2" fmla="val 60607"/>
              <a:gd name="adj3" fmla="val 6622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Cerrar llave 32">
            <a:extLst>
              <a:ext uri="{FF2B5EF4-FFF2-40B4-BE49-F238E27FC236}">
                <a16:creationId xmlns:a16="http://schemas.microsoft.com/office/drawing/2014/main" id="{7F8948EC-00BB-42E1-9E8C-09761F694905}"/>
              </a:ext>
            </a:extLst>
          </p:cNvPr>
          <p:cNvSpPr/>
          <p:nvPr/>
        </p:nvSpPr>
        <p:spPr>
          <a:xfrm>
            <a:off x="8960210" y="3245618"/>
            <a:ext cx="404223" cy="2594415"/>
          </a:xfrm>
          <a:custGeom>
            <a:avLst/>
            <a:gdLst>
              <a:gd name="connsiteX0" fmla="*/ 0 w 404223"/>
              <a:gd name="connsiteY0" fmla="*/ 0 h 2594415"/>
              <a:gd name="connsiteX1" fmla="*/ 202112 w 404223"/>
              <a:gd name="connsiteY1" fmla="*/ 33684 h 2594415"/>
              <a:gd name="connsiteX2" fmla="*/ 202112 w 404223"/>
              <a:gd name="connsiteY2" fmla="*/ 1263524 h 2594415"/>
              <a:gd name="connsiteX3" fmla="*/ 404224 w 404223"/>
              <a:gd name="connsiteY3" fmla="*/ 1297208 h 2594415"/>
              <a:gd name="connsiteX4" fmla="*/ 202112 w 404223"/>
              <a:gd name="connsiteY4" fmla="*/ 1330892 h 2594415"/>
              <a:gd name="connsiteX5" fmla="*/ 202112 w 404223"/>
              <a:gd name="connsiteY5" fmla="*/ 2560731 h 2594415"/>
              <a:gd name="connsiteX6" fmla="*/ 0 w 404223"/>
              <a:gd name="connsiteY6" fmla="*/ 2594415 h 2594415"/>
              <a:gd name="connsiteX7" fmla="*/ 0 w 404223"/>
              <a:gd name="connsiteY7" fmla="*/ 0 h 2594415"/>
              <a:gd name="connsiteX0" fmla="*/ 0 w 404223"/>
              <a:gd name="connsiteY0" fmla="*/ 0 h 2594415"/>
              <a:gd name="connsiteX1" fmla="*/ 202112 w 404223"/>
              <a:gd name="connsiteY1" fmla="*/ 33684 h 2594415"/>
              <a:gd name="connsiteX2" fmla="*/ 202112 w 404223"/>
              <a:gd name="connsiteY2" fmla="*/ 1263524 h 2594415"/>
              <a:gd name="connsiteX3" fmla="*/ 404224 w 404223"/>
              <a:gd name="connsiteY3" fmla="*/ 1297208 h 2594415"/>
              <a:gd name="connsiteX4" fmla="*/ 202112 w 404223"/>
              <a:gd name="connsiteY4" fmla="*/ 1330892 h 2594415"/>
              <a:gd name="connsiteX5" fmla="*/ 202112 w 404223"/>
              <a:gd name="connsiteY5" fmla="*/ 2560731 h 2594415"/>
              <a:gd name="connsiteX6" fmla="*/ 0 w 404223"/>
              <a:gd name="connsiteY6" fmla="*/ 2594415 h 259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223" h="2594415" stroke="0" extrusionOk="0">
                <a:moveTo>
                  <a:pt x="0" y="0"/>
                </a:moveTo>
                <a:cubicBezTo>
                  <a:pt x="111737" y="-2805"/>
                  <a:pt x="201396" y="12572"/>
                  <a:pt x="202112" y="33684"/>
                </a:cubicBezTo>
                <a:cubicBezTo>
                  <a:pt x="228188" y="585191"/>
                  <a:pt x="139518" y="697091"/>
                  <a:pt x="202112" y="1263524"/>
                </a:cubicBezTo>
                <a:cubicBezTo>
                  <a:pt x="185339" y="1275126"/>
                  <a:pt x="288118" y="1301766"/>
                  <a:pt x="404224" y="1297208"/>
                </a:cubicBezTo>
                <a:cubicBezTo>
                  <a:pt x="290861" y="1298743"/>
                  <a:pt x="200846" y="1315249"/>
                  <a:pt x="202112" y="1330892"/>
                </a:cubicBezTo>
                <a:cubicBezTo>
                  <a:pt x="162759" y="1844895"/>
                  <a:pt x="118192" y="1983087"/>
                  <a:pt x="202112" y="2560731"/>
                </a:cubicBezTo>
                <a:cubicBezTo>
                  <a:pt x="192773" y="2585219"/>
                  <a:pt x="102309" y="2591070"/>
                  <a:pt x="0" y="2594415"/>
                </a:cubicBezTo>
                <a:cubicBezTo>
                  <a:pt x="-61635" y="1448550"/>
                  <a:pt x="124834" y="1280813"/>
                  <a:pt x="0" y="0"/>
                </a:cubicBezTo>
                <a:close/>
              </a:path>
              <a:path w="404223" h="2594415" fill="none" extrusionOk="0">
                <a:moveTo>
                  <a:pt x="0" y="0"/>
                </a:moveTo>
                <a:cubicBezTo>
                  <a:pt x="111147" y="-465"/>
                  <a:pt x="201146" y="15278"/>
                  <a:pt x="202112" y="33684"/>
                </a:cubicBezTo>
                <a:cubicBezTo>
                  <a:pt x="244095" y="258958"/>
                  <a:pt x="222736" y="901197"/>
                  <a:pt x="202112" y="1263524"/>
                </a:cubicBezTo>
                <a:cubicBezTo>
                  <a:pt x="203027" y="1267208"/>
                  <a:pt x="292704" y="1294971"/>
                  <a:pt x="404224" y="1297208"/>
                </a:cubicBezTo>
                <a:cubicBezTo>
                  <a:pt x="291667" y="1298272"/>
                  <a:pt x="202491" y="1313387"/>
                  <a:pt x="202112" y="1330892"/>
                </a:cubicBezTo>
                <a:cubicBezTo>
                  <a:pt x="139842" y="1639450"/>
                  <a:pt x="179285" y="2358623"/>
                  <a:pt x="202112" y="2560731"/>
                </a:cubicBezTo>
                <a:cubicBezTo>
                  <a:pt x="209228" y="2564477"/>
                  <a:pt x="110113" y="2595554"/>
                  <a:pt x="0" y="2594415"/>
                </a:cubicBezTo>
              </a:path>
              <a:path w="404223" h="2594415" fill="none" stroke="0" extrusionOk="0">
                <a:moveTo>
                  <a:pt x="0" y="0"/>
                </a:moveTo>
                <a:cubicBezTo>
                  <a:pt x="110111" y="-2099"/>
                  <a:pt x="199533" y="13629"/>
                  <a:pt x="202112" y="33684"/>
                </a:cubicBezTo>
                <a:cubicBezTo>
                  <a:pt x="294235" y="449404"/>
                  <a:pt x="118044" y="746701"/>
                  <a:pt x="202112" y="1263524"/>
                </a:cubicBezTo>
                <a:cubicBezTo>
                  <a:pt x="207084" y="1287631"/>
                  <a:pt x="291460" y="1297643"/>
                  <a:pt x="404224" y="1297208"/>
                </a:cubicBezTo>
                <a:cubicBezTo>
                  <a:pt x="296057" y="1296418"/>
                  <a:pt x="201989" y="1311422"/>
                  <a:pt x="202112" y="1330892"/>
                </a:cubicBezTo>
                <a:cubicBezTo>
                  <a:pt x="136895" y="1556489"/>
                  <a:pt x="141554" y="2301715"/>
                  <a:pt x="202112" y="2560731"/>
                </a:cubicBezTo>
                <a:cubicBezTo>
                  <a:pt x="198952" y="2579129"/>
                  <a:pt x="110669" y="2598556"/>
                  <a:pt x="0" y="2594415"/>
                </a:cubicBezTo>
              </a:path>
            </a:pathLst>
          </a:custGeom>
          <a:ln w="38100">
            <a:extLst>
              <a:ext uri="{C807C97D-BFC1-408E-A445-0C87EB9F89A2}">
                <ask:lineSketchStyleProps xmlns:ask="http://schemas.microsoft.com/office/drawing/2018/sketchyshapes" sd="460065257">
                  <a:prstGeom prst="rightBrace">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dirty="0"/>
          </a:p>
        </p:txBody>
      </p:sp>
      <p:sp>
        <p:nvSpPr>
          <p:cNvPr id="4" name="CuadroTexto 3">
            <a:extLst>
              <a:ext uri="{FF2B5EF4-FFF2-40B4-BE49-F238E27FC236}">
                <a16:creationId xmlns:a16="http://schemas.microsoft.com/office/drawing/2014/main" id="{AF94EA36-A084-4BEE-B7BD-D9321D635E99}"/>
              </a:ext>
            </a:extLst>
          </p:cNvPr>
          <p:cNvSpPr txBox="1"/>
          <p:nvPr/>
        </p:nvSpPr>
        <p:spPr>
          <a:xfrm>
            <a:off x="698023" y="5883075"/>
            <a:ext cx="1786708" cy="369332"/>
          </a:xfrm>
          <a:prstGeom prst="rect">
            <a:avLst/>
          </a:prstGeom>
          <a:noFill/>
        </p:spPr>
        <p:txBody>
          <a:bodyPr wrap="none" rtlCol="0">
            <a:spAutoFit/>
          </a:bodyPr>
          <a:lstStyle/>
          <a:p>
            <a:r>
              <a:rPr lang="es-ES" dirty="0">
                <a:solidFill>
                  <a:schemeClr val="accent1">
                    <a:lumMod val="75000"/>
                  </a:schemeClr>
                </a:solidFill>
              </a:rPr>
              <a:t>Fuentes de datos</a:t>
            </a:r>
          </a:p>
        </p:txBody>
      </p:sp>
      <p:pic>
        <p:nvPicPr>
          <p:cNvPr id="7" name="Imagen 6">
            <a:extLst>
              <a:ext uri="{FF2B5EF4-FFF2-40B4-BE49-F238E27FC236}">
                <a16:creationId xmlns:a16="http://schemas.microsoft.com/office/drawing/2014/main" id="{77955F36-6B12-A4D0-9B6B-55C62729ACD4}"/>
              </a:ext>
            </a:extLst>
          </p:cNvPr>
          <p:cNvPicPr>
            <a:picLocks noChangeAspect="1"/>
          </p:cNvPicPr>
          <p:nvPr/>
        </p:nvPicPr>
        <p:blipFill>
          <a:blip r:embed="rId11">
            <a:duotone>
              <a:schemeClr val="accent1">
                <a:shade val="45000"/>
                <a:satMod val="135000"/>
              </a:schemeClr>
              <a:prstClr val="white"/>
            </a:duotone>
          </a:blip>
          <a:stretch>
            <a:fillRect/>
          </a:stretch>
        </p:blipFill>
        <p:spPr>
          <a:xfrm>
            <a:off x="611607" y="1820524"/>
            <a:ext cx="1661372" cy="1564781"/>
          </a:xfrm>
          <a:prstGeom prst="rect">
            <a:avLst/>
          </a:prstGeom>
        </p:spPr>
      </p:pic>
      <p:sp>
        <p:nvSpPr>
          <p:cNvPr id="8" name="CuadroTexto 7">
            <a:extLst>
              <a:ext uri="{FF2B5EF4-FFF2-40B4-BE49-F238E27FC236}">
                <a16:creationId xmlns:a16="http://schemas.microsoft.com/office/drawing/2014/main" id="{5A6DD2E4-462E-BE1D-CC2F-3A6A2059D884}"/>
              </a:ext>
            </a:extLst>
          </p:cNvPr>
          <p:cNvSpPr txBox="1"/>
          <p:nvPr/>
        </p:nvSpPr>
        <p:spPr>
          <a:xfrm>
            <a:off x="561366" y="3303689"/>
            <a:ext cx="1947200" cy="369332"/>
          </a:xfrm>
          <a:prstGeom prst="rect">
            <a:avLst/>
          </a:prstGeom>
          <a:noFill/>
        </p:spPr>
        <p:txBody>
          <a:bodyPr wrap="none" rtlCol="0">
            <a:spAutoFit/>
          </a:bodyPr>
          <a:lstStyle/>
          <a:p>
            <a:r>
              <a:rPr lang="es-ES" dirty="0">
                <a:solidFill>
                  <a:schemeClr val="accent1">
                    <a:lumMod val="75000"/>
                  </a:schemeClr>
                </a:solidFill>
              </a:rPr>
              <a:t>Definición del caso</a:t>
            </a:r>
          </a:p>
        </p:txBody>
      </p:sp>
    </p:spTree>
    <p:extLst>
      <p:ext uri="{BB962C8B-B14F-4D97-AF65-F5344CB8AC3E}">
        <p14:creationId xmlns:p14="http://schemas.microsoft.com/office/powerpoint/2010/main" val="73192603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570026-53BF-8CCB-6D08-DD282616D4C8}"/>
              </a:ext>
            </a:extLst>
          </p:cNvPr>
          <p:cNvSpPr>
            <a:spLocks noGrp="1"/>
          </p:cNvSpPr>
          <p:nvPr>
            <p:ph type="title"/>
          </p:nvPr>
        </p:nvSpPr>
        <p:spPr>
          <a:xfrm>
            <a:off x="838200" y="365126"/>
            <a:ext cx="9840124" cy="1092200"/>
          </a:xfrm>
        </p:spPr>
        <p:txBody>
          <a:bodyPr/>
          <a:lstStyle/>
          <a:p>
            <a:r>
              <a:rPr lang="es-ES" noProof="0" dirty="0"/>
              <a:t>Descripción de los elementos que convierten el dato en información</a:t>
            </a:r>
          </a:p>
        </p:txBody>
      </p:sp>
      <p:graphicFrame>
        <p:nvGraphicFramePr>
          <p:cNvPr id="7" name="Marcador de contenido 6">
            <a:extLst>
              <a:ext uri="{FF2B5EF4-FFF2-40B4-BE49-F238E27FC236}">
                <a16:creationId xmlns:a16="http://schemas.microsoft.com/office/drawing/2014/main" id="{9AD6C044-80A1-2910-4D32-4EBE8A32A4CE}"/>
              </a:ext>
            </a:extLst>
          </p:cNvPr>
          <p:cNvGraphicFramePr>
            <a:graphicFrameLocks noGrp="1"/>
          </p:cNvGraphicFramePr>
          <p:nvPr>
            <p:ph idx="1"/>
            <p:extLst>
              <p:ext uri="{D42A27DB-BD31-4B8C-83A1-F6EECF244321}">
                <p14:modId xmlns:p14="http://schemas.microsoft.com/office/powerpoint/2010/main" val="3506644765"/>
              </p:ext>
            </p:extLst>
          </p:nvPr>
        </p:nvGraphicFramePr>
        <p:xfrm>
          <a:off x="198718" y="1457326"/>
          <a:ext cx="11653518" cy="4729480"/>
        </p:xfrm>
        <a:graphic>
          <a:graphicData uri="http://schemas.openxmlformats.org/drawingml/2006/table">
            <a:tbl>
              <a:tblPr firstRow="1" bandRow="1" bandCol="1">
                <a:tableStyleId>{5A111915-BE36-4E01-A7E5-04B1672EAD32}</a:tableStyleId>
              </a:tblPr>
              <a:tblGrid>
                <a:gridCol w="3884506">
                  <a:extLst>
                    <a:ext uri="{9D8B030D-6E8A-4147-A177-3AD203B41FA5}">
                      <a16:colId xmlns:a16="http://schemas.microsoft.com/office/drawing/2014/main" val="1728317067"/>
                    </a:ext>
                  </a:extLst>
                </a:gridCol>
                <a:gridCol w="4456854">
                  <a:extLst>
                    <a:ext uri="{9D8B030D-6E8A-4147-A177-3AD203B41FA5}">
                      <a16:colId xmlns:a16="http://schemas.microsoft.com/office/drawing/2014/main" val="3797056583"/>
                    </a:ext>
                  </a:extLst>
                </a:gridCol>
                <a:gridCol w="3312158">
                  <a:extLst>
                    <a:ext uri="{9D8B030D-6E8A-4147-A177-3AD203B41FA5}">
                      <a16:colId xmlns:a16="http://schemas.microsoft.com/office/drawing/2014/main" val="323456984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Nube y capacidades extern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Big data - Corazón del Data lak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Inteligencia Artificial</a:t>
                      </a:r>
                    </a:p>
                  </a:txBody>
                  <a:tcPr/>
                </a:tc>
                <a:extLst>
                  <a:ext uri="{0D108BD9-81ED-4DB2-BD59-A6C34878D82A}">
                    <a16:rowId xmlns:a16="http://schemas.microsoft.com/office/drawing/2014/main" val="3700072420"/>
                  </a:ext>
                </a:extLst>
              </a:tr>
              <a:tr h="370840">
                <a:tc>
                  <a:txBody>
                    <a:bodyPr/>
                    <a:lstStyle/>
                    <a:p>
                      <a:pPr lvl="0"/>
                      <a:r>
                        <a:rPr lang="es-ES" sz="1400" b="1" dirty="0">
                          <a:highlight>
                            <a:srgbClr val="FFCDCC"/>
                          </a:highlight>
                        </a:rPr>
                        <a:t>La nube</a:t>
                      </a:r>
                    </a:p>
                    <a:p>
                      <a:pPr marL="449263" lvl="1" indent="-285750">
                        <a:buFont typeface="Arial" panose="020B0604020202020204" pitchFamily="34" charset="0"/>
                        <a:buChar char="•"/>
                      </a:pPr>
                      <a:r>
                        <a:rPr lang="es-ES" sz="1400" dirty="0"/>
                        <a:t>La seguridad es mayor en nube que On-premise.</a:t>
                      </a:r>
                    </a:p>
                    <a:p>
                      <a:pPr marL="449263" lvl="1" indent="-285750">
                        <a:buFont typeface="Arial" panose="020B0604020202020204" pitchFamily="34" charset="0"/>
                        <a:buChar char="•"/>
                      </a:pPr>
                      <a:r>
                        <a:rPr lang="es-ES" sz="1400" dirty="0"/>
                        <a:t>El crecimiento (escalado) es ilimitado.</a:t>
                      </a:r>
                    </a:p>
                    <a:p>
                      <a:pPr marL="449263" lvl="1" indent="-285750">
                        <a:buFont typeface="Arial" panose="020B0604020202020204" pitchFamily="34" charset="0"/>
                        <a:buChar char="•"/>
                      </a:pPr>
                      <a:r>
                        <a:rPr lang="es-ES" sz="1400" dirty="0"/>
                        <a:t>Aprovechar los servicios que proporcionan las nubes premium. Unos 190 servicios.</a:t>
                      </a:r>
                    </a:p>
                    <a:p>
                      <a:pPr marL="449263" lvl="1" indent="-285750">
                        <a:buFont typeface="Arial" panose="020B0604020202020204" pitchFamily="34" charset="0"/>
                        <a:buChar char="•"/>
                      </a:pPr>
                      <a:r>
                        <a:rPr lang="es-ES" sz="1400" dirty="0"/>
                        <a:t>GCP (Google cloud platform), AWS (Amazon web service), Azure (Microsoft) </a:t>
                      </a:r>
                    </a:p>
                    <a:p>
                      <a:pPr marL="0" lvl="0" algn="l" defTabSz="914400" rtl="0" eaLnBrk="1" latinLnBrk="0" hangingPunct="1"/>
                      <a:r>
                        <a:rPr lang="es-ES" sz="1400" b="1" kern="1200" dirty="0">
                          <a:solidFill>
                            <a:schemeClr val="tx1"/>
                          </a:solidFill>
                          <a:highlight>
                            <a:srgbClr val="FFCDCC"/>
                          </a:highlight>
                          <a:latin typeface="+mn-lt"/>
                          <a:ea typeface="+mn-ea"/>
                          <a:cs typeface="+mn-cs"/>
                        </a:rPr>
                        <a:t>Ciberseguridad</a:t>
                      </a:r>
                    </a:p>
                    <a:p>
                      <a:pPr marL="449263" lvl="1" indent="-261938">
                        <a:buFont typeface="Arial" panose="020B0604020202020204" pitchFamily="34" charset="0"/>
                        <a:buChar char="•"/>
                      </a:pPr>
                      <a:r>
                        <a:rPr lang="es-ES" sz="1400" dirty="0"/>
                        <a:t>Esta iniciativa de prevención es ante que BDA, va a tener mucho contacto con el “exterior”.</a:t>
                      </a:r>
                    </a:p>
                    <a:p>
                      <a:pPr marL="449263" lvl="1" indent="-261938">
                        <a:buFont typeface="Arial" panose="020B0604020202020204" pitchFamily="34" charset="0"/>
                        <a:buChar char="•"/>
                      </a:pPr>
                      <a:r>
                        <a:rPr lang="es-ES" sz="1400" dirty="0"/>
                        <a:t>Son todos los sistemas de cortafuegos, antivirus y anti-intrusión</a:t>
                      </a:r>
                    </a:p>
                    <a:p>
                      <a:pPr marL="0" lvl="0" algn="l" defTabSz="914400" rtl="0" eaLnBrk="1" latinLnBrk="0" hangingPunct="1"/>
                      <a:r>
                        <a:rPr lang="es-ES" sz="1400" b="1" kern="1200" dirty="0">
                          <a:solidFill>
                            <a:schemeClr val="tx1"/>
                          </a:solidFill>
                          <a:highlight>
                            <a:srgbClr val="FFCDCC"/>
                          </a:highlight>
                          <a:latin typeface="+mn-lt"/>
                          <a:ea typeface="+mn-ea"/>
                          <a:cs typeface="+mn-cs"/>
                        </a:rPr>
                        <a:t>Gobierno del dato</a:t>
                      </a:r>
                    </a:p>
                    <a:p>
                      <a:pPr lvl="1"/>
                      <a:r>
                        <a:rPr lang="es-ES" sz="1400" dirty="0"/>
                        <a:t>Autorización de uso del dato.</a:t>
                      </a:r>
                    </a:p>
                    <a:p>
                      <a:pPr lvl="1"/>
                      <a:r>
                        <a:rPr lang="es-ES" sz="1400" dirty="0"/>
                        <a:t>Detección de su entrada, transformación y salida.</a:t>
                      </a:r>
                    </a:p>
                    <a:p>
                      <a:pPr lvl="1"/>
                      <a:r>
                        <a:rPr lang="es-ES" sz="1400" dirty="0"/>
                        <a:t>Linaje del dato</a:t>
                      </a:r>
                    </a:p>
                  </a:txBody>
                  <a:tcPr/>
                </a:tc>
                <a:tc>
                  <a:txBody>
                    <a:bodyPr/>
                    <a:lstStyle/>
                    <a:p>
                      <a:pPr marL="0" lvl="0" algn="l" defTabSz="914400" rtl="0" eaLnBrk="1" latinLnBrk="0" hangingPunct="1"/>
                      <a:r>
                        <a:rPr lang="es-ES" sz="1400" b="1" kern="1200" dirty="0">
                          <a:solidFill>
                            <a:schemeClr val="tx1"/>
                          </a:solidFill>
                          <a:highlight>
                            <a:srgbClr val="FFCDCC"/>
                          </a:highlight>
                          <a:latin typeface="+mn-lt"/>
                          <a:ea typeface="+mn-ea"/>
                          <a:cs typeface="+mn-cs"/>
                        </a:rPr>
                        <a:t>Almacenamiento. RAW Data (Datos en crudo, sin tratar) habitualmente: HDFS</a:t>
                      </a:r>
                    </a:p>
                    <a:p>
                      <a:pPr marL="742950" lvl="1" indent="-285750">
                        <a:buFont typeface="Arial" panose="020B0604020202020204" pitchFamily="34" charset="0"/>
                        <a:buChar char="•"/>
                      </a:pPr>
                      <a:r>
                        <a:rPr lang="es-ES" sz="1400" dirty="0"/>
                        <a:t>En Big Data no se habla de ETL, se habla de ELT, se almacenan los datos ingestados en crudo y permanecen (persisten) el tiempo elegido.</a:t>
                      </a:r>
                    </a:p>
                    <a:p>
                      <a:pPr marL="0" lvl="0" algn="l" defTabSz="914400" rtl="0" eaLnBrk="1" latinLnBrk="0" hangingPunct="1"/>
                      <a:r>
                        <a:rPr lang="es-ES" sz="1400" b="1" kern="1200" dirty="0">
                          <a:solidFill>
                            <a:schemeClr val="tx1"/>
                          </a:solidFill>
                          <a:highlight>
                            <a:srgbClr val="FFCDCC"/>
                          </a:highlight>
                          <a:latin typeface="+mn-lt"/>
                          <a:ea typeface="+mn-ea"/>
                          <a:cs typeface="+mn-cs"/>
                        </a:rPr>
                        <a:t>Redefinición de los datos: Limpieza de datos, redefinición, agregaciones.</a:t>
                      </a:r>
                    </a:p>
                    <a:p>
                      <a:pPr marL="742950" lvl="1" indent="-285750">
                        <a:buFont typeface="Arial" panose="020B0604020202020204" pitchFamily="34" charset="0"/>
                        <a:buChar char="•"/>
                      </a:pPr>
                      <a:r>
                        <a:rPr lang="es-ES" sz="1400" dirty="0"/>
                        <a:t>Los datos ingestados que pueden ser estructurados o no hay que limpiarlos (actividad muy crítica)</a:t>
                      </a:r>
                    </a:p>
                    <a:p>
                      <a:pPr marL="742950" lvl="1" indent="-285750">
                        <a:buFont typeface="Arial" panose="020B0604020202020204" pitchFamily="34" charset="0"/>
                        <a:buChar char="•"/>
                      </a:pPr>
                      <a:r>
                        <a:rPr lang="es-ES" sz="1400" dirty="0"/>
                        <a:t>Y hacerlos tratables es decir, mezclar información, asociar información entre si.</a:t>
                      </a:r>
                    </a:p>
                    <a:p>
                      <a:pPr marL="0" lvl="0" algn="l" defTabSz="914400" rtl="0" eaLnBrk="1" latinLnBrk="0" hangingPunct="1"/>
                      <a:r>
                        <a:rPr lang="es-ES" sz="1400" b="1" kern="1200" dirty="0">
                          <a:solidFill>
                            <a:schemeClr val="tx1"/>
                          </a:solidFill>
                          <a:highlight>
                            <a:srgbClr val="FFCDCC"/>
                          </a:highlight>
                          <a:latin typeface="+mn-lt"/>
                          <a:ea typeface="+mn-ea"/>
                          <a:cs typeface="+mn-cs"/>
                        </a:rPr>
                        <a:t>BBDD NoSQL y SQL. </a:t>
                      </a:r>
                    </a:p>
                    <a:p>
                      <a:pPr marL="742950" lvl="1" indent="-285750">
                        <a:buFont typeface="Arial" panose="020B0604020202020204" pitchFamily="34" charset="0"/>
                        <a:buChar char="•"/>
                      </a:pPr>
                      <a:r>
                        <a:rPr lang="es-ES" sz="1400" dirty="0"/>
                        <a:t>Almacenamiento de los datos.</a:t>
                      </a:r>
                    </a:p>
                    <a:p>
                      <a:pPr marL="742950" lvl="1" indent="-285750">
                        <a:buFont typeface="Arial" panose="020B0604020202020204" pitchFamily="34" charset="0"/>
                        <a:buChar char="•"/>
                      </a:pPr>
                      <a:r>
                        <a:rPr lang="es-ES" sz="1400" dirty="0"/>
                        <a:t>Se almacenan los datos una vez transformados para su consumo.</a:t>
                      </a:r>
                    </a:p>
                    <a:p>
                      <a:pPr marL="0" lvl="0" algn="l" defTabSz="914400" rtl="0" eaLnBrk="1" latinLnBrk="0" hangingPunct="1"/>
                      <a:r>
                        <a:rPr lang="es-ES" sz="1400" b="1" kern="1200" dirty="0">
                          <a:solidFill>
                            <a:schemeClr val="tx1"/>
                          </a:solidFill>
                          <a:highlight>
                            <a:srgbClr val="FFCDCC"/>
                          </a:highlight>
                          <a:latin typeface="+mn-lt"/>
                          <a:ea typeface="+mn-ea"/>
                          <a:cs typeface="+mn-cs"/>
                        </a:rPr>
                        <a:t>Tratamiento / computación de los datos. Batch, Tiempo Real, Streaming.</a:t>
                      </a:r>
                    </a:p>
                    <a:p>
                      <a:pPr marL="742950" lvl="1" indent="-285750">
                        <a:buFont typeface="Arial" panose="020B0604020202020204" pitchFamily="34" charset="0"/>
                        <a:buChar char="•"/>
                      </a:pPr>
                      <a:r>
                        <a:rPr lang="es-ES" sz="1400" dirty="0"/>
                        <a:t>En ocasiones hay que reprocesar los datos para que proporcionen la información deseada.</a:t>
                      </a:r>
                    </a:p>
                  </a:txBody>
                  <a:tcPr/>
                </a:tc>
                <a:tc>
                  <a:txBody>
                    <a:bodyPr/>
                    <a:lstStyle/>
                    <a:p>
                      <a:pPr lvl="0"/>
                      <a:r>
                        <a:rPr lang="es-ES" sz="1400" dirty="0"/>
                        <a:t>Son herramientas que </a:t>
                      </a:r>
                      <a:r>
                        <a:rPr lang="es-ES" sz="1400" b="1" kern="1200" dirty="0">
                          <a:solidFill>
                            <a:schemeClr val="tx1"/>
                          </a:solidFill>
                          <a:highlight>
                            <a:srgbClr val="FFCDCC"/>
                          </a:highlight>
                          <a:latin typeface="+mn-lt"/>
                          <a:ea typeface="+mn-ea"/>
                          <a:cs typeface="+mn-cs"/>
                        </a:rPr>
                        <a:t>convierten los datos en información</a:t>
                      </a:r>
                      <a:r>
                        <a:rPr lang="es-ES" sz="1400" dirty="0"/>
                        <a:t>, hablamos de:</a:t>
                      </a:r>
                    </a:p>
                    <a:p>
                      <a:pPr marL="285750" lvl="0" indent="-285750">
                        <a:buFont typeface="Arial" panose="020B0604020202020204" pitchFamily="34" charset="0"/>
                        <a:buChar char="•"/>
                      </a:pPr>
                      <a:r>
                        <a:rPr lang="es-ES" sz="1400" dirty="0"/>
                        <a:t>Análisis descriptivo o porqué pasa algo</a:t>
                      </a:r>
                    </a:p>
                    <a:p>
                      <a:pPr marL="285750" lvl="0" indent="-285750">
                        <a:buFont typeface="Arial" panose="020B0604020202020204" pitchFamily="34" charset="0"/>
                        <a:buChar char="•"/>
                      </a:pPr>
                      <a:r>
                        <a:rPr lang="es-ES" sz="1400" dirty="0"/>
                        <a:t>Análisis predictivo o qué pasará en un horizonte temporal con un grado de confianza</a:t>
                      </a:r>
                    </a:p>
                    <a:p>
                      <a:pPr marL="285750" lvl="0" indent="-285750">
                        <a:buFont typeface="Arial" panose="020B0604020202020204" pitchFamily="34" charset="0"/>
                        <a:buChar char="•"/>
                      </a:pPr>
                      <a:r>
                        <a:rPr lang="es-ES" sz="1400" dirty="0"/>
                        <a:t>Análisis prescriptivo en forma de aportaciones / sugerencias que hace IA en forma de qué hacer ante un posible suceso</a:t>
                      </a:r>
                    </a:p>
                    <a:p>
                      <a:endParaRPr lang="es-ES" sz="1400" dirty="0"/>
                    </a:p>
                  </a:txBody>
                  <a:tcPr/>
                </a:tc>
                <a:extLst>
                  <a:ext uri="{0D108BD9-81ED-4DB2-BD59-A6C34878D82A}">
                    <a16:rowId xmlns:a16="http://schemas.microsoft.com/office/drawing/2014/main" val="1640358555"/>
                  </a:ext>
                </a:extLst>
              </a:tr>
            </a:tbl>
          </a:graphicData>
        </a:graphic>
      </p:graphicFrame>
      <p:sp>
        <p:nvSpPr>
          <p:cNvPr id="4" name="Marcador de fecha 3">
            <a:extLst>
              <a:ext uri="{FF2B5EF4-FFF2-40B4-BE49-F238E27FC236}">
                <a16:creationId xmlns:a16="http://schemas.microsoft.com/office/drawing/2014/main" id="{914BBEFF-1AE2-0E88-97D6-1B639304FE25}"/>
              </a:ext>
            </a:extLst>
          </p:cNvPr>
          <p:cNvSpPr>
            <a:spLocks noGrp="1"/>
          </p:cNvSpPr>
          <p:nvPr>
            <p:ph type="dt" sz="half" idx="10"/>
          </p:nvPr>
        </p:nvSpPr>
        <p:spPr>
          <a:xfrm>
            <a:off x="814650" y="6400379"/>
            <a:ext cx="3380278" cy="365125"/>
          </a:xfrm>
        </p:spPr>
        <p:txBody>
          <a:bodyPr/>
          <a:lstStyle/>
          <a:p>
            <a:fld id="{CC3EA295-608D-48EA-A330-4B7D87E996CD}" type="datetime2">
              <a:rPr lang="es-ES" smtClean="0"/>
              <a:pPr/>
              <a:t>jueves, 19 de septiembre de 2024</a:t>
            </a:fld>
            <a:endParaRPr lang="es-ES" dirty="0"/>
          </a:p>
        </p:txBody>
      </p:sp>
      <p:sp>
        <p:nvSpPr>
          <p:cNvPr id="5" name="Marcador de pie de página 4">
            <a:extLst>
              <a:ext uri="{FF2B5EF4-FFF2-40B4-BE49-F238E27FC236}">
                <a16:creationId xmlns:a16="http://schemas.microsoft.com/office/drawing/2014/main" id="{329FE833-702F-472D-AB78-0C85A1FB499D}"/>
              </a:ext>
            </a:extLst>
          </p:cNvPr>
          <p:cNvSpPr>
            <a:spLocks noGrp="1"/>
          </p:cNvSpPr>
          <p:nvPr>
            <p:ph type="ftr" sz="quarter" idx="11"/>
          </p:nvPr>
        </p:nvSpPr>
        <p:spPr>
          <a:xfrm>
            <a:off x="4622986" y="6421474"/>
            <a:ext cx="5989596" cy="365125"/>
          </a:xfrm>
        </p:spPr>
        <p:txBody>
          <a:bodyPr/>
          <a:lstStyle/>
          <a:p>
            <a:r>
              <a:rPr lang="es-ES" dirty="0"/>
              <a:t>Transformación Digital - 2024 2025 Master IA Tajamar Tech - José Antonio Ureta</a:t>
            </a:r>
          </a:p>
        </p:txBody>
      </p:sp>
      <p:sp>
        <p:nvSpPr>
          <p:cNvPr id="6" name="Marcador de número de diapositiva 5">
            <a:extLst>
              <a:ext uri="{FF2B5EF4-FFF2-40B4-BE49-F238E27FC236}">
                <a16:creationId xmlns:a16="http://schemas.microsoft.com/office/drawing/2014/main" id="{CFF4CABC-224D-82AD-CDED-95E5DA38FA94}"/>
              </a:ext>
            </a:extLst>
          </p:cNvPr>
          <p:cNvSpPr>
            <a:spLocks noGrp="1"/>
          </p:cNvSpPr>
          <p:nvPr>
            <p:ph type="sldNum" sz="quarter" idx="12"/>
          </p:nvPr>
        </p:nvSpPr>
        <p:spPr>
          <a:xfrm>
            <a:off x="10801350" y="6421474"/>
            <a:ext cx="576000" cy="365125"/>
          </a:xfrm>
        </p:spPr>
        <p:txBody>
          <a:bodyPr/>
          <a:lstStyle/>
          <a:p>
            <a:fld id="{55440F6C-613C-488D-819E-DA6065366E0E}" type="slidenum">
              <a:rPr lang="es-ES" smtClean="0"/>
              <a:pPr/>
              <a:t>99</a:t>
            </a:fld>
            <a:endParaRPr lang="es-ES" dirty="0"/>
          </a:p>
        </p:txBody>
      </p:sp>
      <p:sp>
        <p:nvSpPr>
          <p:cNvPr id="8" name="CuadroTexto 7">
            <a:extLst>
              <a:ext uri="{FF2B5EF4-FFF2-40B4-BE49-F238E27FC236}">
                <a16:creationId xmlns:a16="http://schemas.microsoft.com/office/drawing/2014/main" id="{4CD73FB9-7936-4FF9-BE89-0F5416F20F82}"/>
              </a:ext>
            </a:extLst>
          </p:cNvPr>
          <p:cNvSpPr txBox="1"/>
          <p:nvPr/>
        </p:nvSpPr>
        <p:spPr>
          <a:xfrm>
            <a:off x="6264366" y="73855"/>
            <a:ext cx="3339822" cy="338554"/>
          </a:xfrm>
          <a:prstGeom prst="rect">
            <a:avLst/>
          </a:prstGeom>
          <a:solidFill>
            <a:srgbClr val="0070C0"/>
          </a:solidFill>
        </p:spPr>
        <p:txBody>
          <a:bodyPr wrap="square">
            <a:spAutoFit/>
          </a:bodyPr>
          <a:lstStyle/>
          <a:p>
            <a:r>
              <a:rPr lang="es-ES" sz="1600" dirty="0">
                <a:solidFill>
                  <a:schemeClr val="bg1"/>
                </a:solidFill>
              </a:rPr>
              <a:t>Información lista para su consumo</a:t>
            </a:r>
          </a:p>
        </p:txBody>
      </p:sp>
      <p:sp>
        <p:nvSpPr>
          <p:cNvPr id="9" name="Flecha: doblada 8">
            <a:extLst>
              <a:ext uri="{FF2B5EF4-FFF2-40B4-BE49-F238E27FC236}">
                <a16:creationId xmlns:a16="http://schemas.microsoft.com/office/drawing/2014/main" id="{F94161CF-08D3-4793-B05D-12530536C7BC}"/>
              </a:ext>
            </a:extLst>
          </p:cNvPr>
          <p:cNvSpPr/>
          <p:nvPr/>
        </p:nvSpPr>
        <p:spPr>
          <a:xfrm flipV="1">
            <a:off x="5476426" y="0"/>
            <a:ext cx="787940" cy="365125"/>
          </a:xfrm>
          <a:custGeom>
            <a:avLst/>
            <a:gdLst>
              <a:gd name="connsiteX0" fmla="*/ 0 w 787940"/>
              <a:gd name="connsiteY0" fmla="*/ 365125 h 365125"/>
              <a:gd name="connsiteX1" fmla="*/ 0 w 787940"/>
              <a:gd name="connsiteY1" fmla="*/ 159742 h 365125"/>
              <a:gd name="connsiteX2" fmla="*/ 159742 w 787940"/>
              <a:gd name="connsiteY2" fmla="*/ 0 h 365125"/>
              <a:gd name="connsiteX3" fmla="*/ 696659 w 787940"/>
              <a:gd name="connsiteY3" fmla="*/ 0 h 365125"/>
              <a:gd name="connsiteX4" fmla="*/ 696659 w 787940"/>
              <a:gd name="connsiteY4" fmla="*/ 0 h 365125"/>
              <a:gd name="connsiteX5" fmla="*/ 787940 w 787940"/>
              <a:gd name="connsiteY5" fmla="*/ 91281 h 365125"/>
              <a:gd name="connsiteX6" fmla="*/ 696659 w 787940"/>
              <a:gd name="connsiteY6" fmla="*/ 182563 h 365125"/>
              <a:gd name="connsiteX7" fmla="*/ 696659 w 787940"/>
              <a:gd name="connsiteY7" fmla="*/ 182563 h 365125"/>
              <a:gd name="connsiteX8" fmla="*/ 182563 w 787940"/>
              <a:gd name="connsiteY8" fmla="*/ 182563 h 365125"/>
              <a:gd name="connsiteX9" fmla="*/ 182563 w 787940"/>
              <a:gd name="connsiteY9" fmla="*/ 182563 h 365125"/>
              <a:gd name="connsiteX10" fmla="*/ 182563 w 787940"/>
              <a:gd name="connsiteY10" fmla="*/ 365125 h 365125"/>
              <a:gd name="connsiteX11" fmla="*/ 0 w 787940"/>
              <a:gd name="connsiteY11" fmla="*/ 36512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940" h="365125" fill="none" extrusionOk="0">
                <a:moveTo>
                  <a:pt x="0" y="365125"/>
                </a:moveTo>
                <a:cubicBezTo>
                  <a:pt x="-16064" y="332441"/>
                  <a:pt x="5424" y="193405"/>
                  <a:pt x="0" y="159742"/>
                </a:cubicBezTo>
                <a:cubicBezTo>
                  <a:pt x="-7977" y="81714"/>
                  <a:pt x="76757" y="-15437"/>
                  <a:pt x="159742" y="0"/>
                </a:cubicBezTo>
                <a:cubicBezTo>
                  <a:pt x="361626" y="-14449"/>
                  <a:pt x="592695" y="3025"/>
                  <a:pt x="696659" y="0"/>
                </a:cubicBezTo>
                <a:lnTo>
                  <a:pt x="696659" y="0"/>
                </a:lnTo>
                <a:cubicBezTo>
                  <a:pt x="725451" y="44267"/>
                  <a:pt x="752402" y="43716"/>
                  <a:pt x="787940" y="91281"/>
                </a:cubicBezTo>
                <a:cubicBezTo>
                  <a:pt x="758013" y="105202"/>
                  <a:pt x="711447" y="176900"/>
                  <a:pt x="696659" y="182563"/>
                </a:cubicBezTo>
                <a:lnTo>
                  <a:pt x="696659" y="182563"/>
                </a:lnTo>
                <a:cubicBezTo>
                  <a:pt x="573447" y="161477"/>
                  <a:pt x="371730" y="187437"/>
                  <a:pt x="182563" y="182563"/>
                </a:cubicBezTo>
                <a:lnTo>
                  <a:pt x="182563" y="182563"/>
                </a:lnTo>
                <a:cubicBezTo>
                  <a:pt x="168375" y="213769"/>
                  <a:pt x="166688" y="301454"/>
                  <a:pt x="182563" y="365125"/>
                </a:cubicBezTo>
                <a:cubicBezTo>
                  <a:pt x="102892" y="370257"/>
                  <a:pt x="73243" y="380363"/>
                  <a:pt x="0" y="365125"/>
                </a:cubicBezTo>
                <a:close/>
              </a:path>
              <a:path w="787940" h="365125" stroke="0" extrusionOk="0">
                <a:moveTo>
                  <a:pt x="0" y="365125"/>
                </a:moveTo>
                <a:cubicBezTo>
                  <a:pt x="-2087" y="341854"/>
                  <a:pt x="-7008" y="226817"/>
                  <a:pt x="0" y="159742"/>
                </a:cubicBezTo>
                <a:cubicBezTo>
                  <a:pt x="3484" y="62413"/>
                  <a:pt x="74018" y="3472"/>
                  <a:pt x="159742" y="0"/>
                </a:cubicBezTo>
                <a:cubicBezTo>
                  <a:pt x="256206" y="-47939"/>
                  <a:pt x="574842" y="1642"/>
                  <a:pt x="696659" y="0"/>
                </a:cubicBezTo>
                <a:lnTo>
                  <a:pt x="696659" y="0"/>
                </a:lnTo>
                <a:cubicBezTo>
                  <a:pt x="741542" y="45937"/>
                  <a:pt x="748748" y="59736"/>
                  <a:pt x="787940" y="91281"/>
                </a:cubicBezTo>
                <a:cubicBezTo>
                  <a:pt x="764684" y="121778"/>
                  <a:pt x="740152" y="151283"/>
                  <a:pt x="696659" y="182563"/>
                </a:cubicBezTo>
                <a:lnTo>
                  <a:pt x="696659" y="182563"/>
                </a:lnTo>
                <a:cubicBezTo>
                  <a:pt x="502898" y="147418"/>
                  <a:pt x="351914" y="162237"/>
                  <a:pt x="182563" y="182563"/>
                </a:cubicBezTo>
                <a:lnTo>
                  <a:pt x="182563" y="182563"/>
                </a:lnTo>
                <a:cubicBezTo>
                  <a:pt x="188553" y="239551"/>
                  <a:pt x="188050" y="343219"/>
                  <a:pt x="182563" y="365125"/>
                </a:cubicBezTo>
                <a:cubicBezTo>
                  <a:pt x="145720" y="365199"/>
                  <a:pt x="81519" y="365271"/>
                  <a:pt x="0" y="365125"/>
                </a:cubicBezTo>
                <a:close/>
              </a:path>
            </a:pathLst>
          </a:custGeom>
          <a:ln>
            <a:extLst>
              <a:ext uri="{C807C97D-BFC1-408E-A445-0C87EB9F89A2}">
                <ask:lineSketchStyleProps xmlns:ask="http://schemas.microsoft.com/office/drawing/2018/sketchyshapes" sd="1363887920">
                  <a:prstGeom prst="bentArrow">
                    <a:avLst>
                      <a:gd name="adj1" fmla="val 50000"/>
                      <a:gd name="adj2" fmla="val 25000"/>
                      <a:gd name="adj3" fmla="val 25000"/>
                      <a:gd name="adj4" fmla="val 43750"/>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049210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E3NOx0InUOf5gaqZOPp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E3NOx0InUOf5gaqZOPp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4 2025 POTX Tajama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ajamar AVENIR">
      <a:majorFont>
        <a:latin typeface="Avenir Next LT Pro Demi"/>
        <a:ea typeface=""/>
        <a:cs typeface=""/>
      </a:majorFont>
      <a:minorFont>
        <a:latin typeface="Avenir LT Std 3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 2025 POTX Tajamar" id="{1A604848-BBD4-4CBD-833F-EA495A196CDC}" vid="{D0F40B59-D62A-4A1F-8347-763CEFAC52F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139B98CAB500D4CBEFA3C2C0F62756F" ma:contentTypeVersion="0" ma:contentTypeDescription="Crear nuevo documento." ma:contentTypeScope="" ma:versionID="224b56cf719378e85c9b9cd0bddc8341">
  <xsd:schema xmlns:xsd="http://www.w3.org/2001/XMLSchema" xmlns:xs="http://www.w3.org/2001/XMLSchema" xmlns:p="http://schemas.microsoft.com/office/2006/metadata/properties" targetNamespace="http://schemas.microsoft.com/office/2006/metadata/properties" ma:root="true" ma:fieldsID="888669a25a4819ff64d85379b870750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888521-37FE-4CB7-83BD-E6999B757C86}">
  <ds:schemaRefs>
    <ds:schemaRef ds:uri="http://schemas.microsoft.com/office/2006/metadata/properties"/>
    <ds:schemaRef ds:uri="http://schemas.microsoft.com/office/infopath/2007/PartnerControls"/>
    <ds:schemaRef ds:uri="444d3670-1e6f-4b83-9d41-46091064e3a0"/>
  </ds:schemaRefs>
</ds:datastoreItem>
</file>

<file path=customXml/itemProps2.xml><?xml version="1.0" encoding="utf-8"?>
<ds:datastoreItem xmlns:ds="http://schemas.openxmlformats.org/officeDocument/2006/customXml" ds:itemID="{0ECEEC68-6B84-4C3D-AC81-750CA3B77880}">
  <ds:schemaRefs>
    <ds:schemaRef ds:uri="http://schemas.microsoft.com/sharepoint/v3/contenttype/forms"/>
  </ds:schemaRefs>
</ds:datastoreItem>
</file>

<file path=customXml/itemProps3.xml><?xml version="1.0" encoding="utf-8"?>
<ds:datastoreItem xmlns:ds="http://schemas.openxmlformats.org/officeDocument/2006/customXml" ds:itemID="{4BA61A3E-4FC3-468D-BE98-0801EED2B2B6}"/>
</file>

<file path=docProps/app.xml><?xml version="1.0" encoding="utf-8"?>
<Properties xmlns="http://schemas.openxmlformats.org/officeDocument/2006/extended-properties" xmlns:vt="http://schemas.openxmlformats.org/officeDocument/2006/docPropsVTypes">
  <Template>2024 2025 POTX Tajamar</Template>
  <TotalTime>5034</TotalTime>
  <Words>21763</Words>
  <Application>Microsoft Office PowerPoint</Application>
  <PresentationFormat>Panorámica</PresentationFormat>
  <Paragraphs>3069</Paragraphs>
  <Slides>232</Slides>
  <Notes>36</Notes>
  <HiddenSlides>20</HiddenSlides>
  <MMClips>2</MMClips>
  <ScaleCrop>false</ScaleCrop>
  <HeadingPairs>
    <vt:vector size="8" baseType="variant">
      <vt:variant>
        <vt:lpstr>Fuentes usadas</vt:lpstr>
      </vt:variant>
      <vt:variant>
        <vt:i4>13</vt:i4>
      </vt:variant>
      <vt:variant>
        <vt:lpstr>Tema</vt:lpstr>
      </vt:variant>
      <vt:variant>
        <vt:i4>1</vt:i4>
      </vt:variant>
      <vt:variant>
        <vt:lpstr>Servidores OLE incrustados</vt:lpstr>
      </vt:variant>
      <vt:variant>
        <vt:i4>1</vt:i4>
      </vt:variant>
      <vt:variant>
        <vt:lpstr>Títulos de diapositiva</vt:lpstr>
      </vt:variant>
      <vt:variant>
        <vt:i4>232</vt:i4>
      </vt:variant>
    </vt:vector>
  </HeadingPairs>
  <TitlesOfParts>
    <vt:vector size="247" baseType="lpstr">
      <vt:lpstr>Arial</vt:lpstr>
      <vt:lpstr>Arial Narrow</vt:lpstr>
      <vt:lpstr>Avenir LT Std 35 Light</vt:lpstr>
      <vt:lpstr>Avenir Next LT Pro Demi</vt:lpstr>
      <vt:lpstr>Calibri</vt:lpstr>
      <vt:lpstr>ColfaxAI</vt:lpstr>
      <vt:lpstr>Comic Sans MS</vt:lpstr>
      <vt:lpstr>Courier New</vt:lpstr>
      <vt:lpstr>DejaVu Sans</vt:lpstr>
      <vt:lpstr>Impact</vt:lpstr>
      <vt:lpstr>Symbol</vt:lpstr>
      <vt:lpstr>Times New Roman</vt:lpstr>
      <vt:lpstr>Wingdings</vt:lpstr>
      <vt:lpstr>2024 2025 POTX Tajamar</vt:lpstr>
      <vt:lpstr>think-cell Slide</vt:lpstr>
      <vt:lpstr>Master IA Tajamar Tech 2024 2025 “Transformación Digital”</vt:lpstr>
      <vt:lpstr>Ponente</vt:lpstr>
      <vt:lpstr>Índice</vt:lpstr>
      <vt:lpstr>Está cambiando el mundo?</vt:lpstr>
      <vt:lpstr>Así se ve la hora</vt:lpstr>
      <vt:lpstr>Así se llama por teléfono</vt:lpstr>
      <vt:lpstr>Así se hace una foto</vt:lpstr>
      <vt:lpstr>Antes y ahora el alcohol</vt:lpstr>
      <vt:lpstr>Antes y ahora el tabaco</vt:lpstr>
      <vt:lpstr>El mundo ha cambiado</vt:lpstr>
      <vt:lpstr>transformación digital</vt:lpstr>
      <vt:lpstr>Adaptar a la organización para llevarla allá donde y cuando (24x7) estén las Personas con sus necesidades, las conozcan estos o no</vt:lpstr>
      <vt:lpstr>Premisa 1- Las organizaciones estarán donde están las personas con sus requerimientos conocidos o no</vt:lpstr>
      <vt:lpstr>Premisa 2 - Hay muchos canales de contacto</vt:lpstr>
      <vt:lpstr>Premisa 3 - más conocimiento (a veces) de las personas (Clientes, Ciudadanos…)</vt:lpstr>
      <vt:lpstr>El ejemplo de transformación digital: AMAZON (*) (1 / 2)</vt:lpstr>
      <vt:lpstr>.. Sigue AMAZON (2 / 2)</vt:lpstr>
      <vt:lpstr>Amazon siempre en permanente cambio</vt:lpstr>
      <vt:lpstr>Jeff Bezos - Amazon</vt:lpstr>
      <vt:lpstr>La Transformación digital en las empresas, un gran cambio cultural: Los cuatro vectores</vt:lpstr>
      <vt:lpstr>Qué es y qué no es transformación digital</vt:lpstr>
      <vt:lpstr>Índice</vt:lpstr>
      <vt:lpstr>Evolución Industrial 1.0 a 4.0 (Transformación digital)</vt:lpstr>
      <vt:lpstr>Industria 4.0 = Big Data + IOT +… otros</vt:lpstr>
      <vt:lpstr>En el vector técnico, la Transformación Digital se compone de muchas piezas…</vt:lpstr>
      <vt:lpstr>Índice</vt:lpstr>
      <vt:lpstr>Almacenamiento lógico. Las diferencias entre data Warehouse y Data lake 1/2 </vt:lpstr>
      <vt:lpstr>Almacenamiento lógico. Las diferencias entre data Warehouse y Data lake 1/2</vt:lpstr>
      <vt:lpstr>Data Warehouse</vt:lpstr>
      <vt:lpstr>Data Lake</vt:lpstr>
      <vt:lpstr>Representación visual Datawarehouse y Datalake</vt:lpstr>
      <vt:lpstr>Resumen</vt:lpstr>
      <vt:lpstr>Almacenamiento físico: On premise, Nube, Mixto</vt:lpstr>
      <vt:lpstr>Comparativa de los tres sistemas de almacenamiento físico 1/2</vt:lpstr>
      <vt:lpstr>Comparativa de los tres sistemas de almacenamiento físico 2/2</vt:lpstr>
      <vt:lpstr>Comparativa de los tres sistemas de almacenamiento físico 2/2</vt:lpstr>
      <vt:lpstr>Presentación de PowerPoint</vt:lpstr>
      <vt:lpstr>Índice</vt:lpstr>
      <vt:lpstr>La información estructurada y/o no estructurada en el mundo</vt:lpstr>
      <vt:lpstr>Lo qué pasa en 2023 un minuto en internet</vt:lpstr>
      <vt:lpstr>Un ejemplo del organigrama de un Banco </vt:lpstr>
      <vt:lpstr>Ejemplo de Fuentes de Datos para alimentar un Data Lake</vt:lpstr>
      <vt:lpstr>Tres premisas con los datos</vt:lpstr>
      <vt:lpstr>Índice</vt:lpstr>
      <vt:lpstr>La forma de prestar servicios en la nube de un proveedor a un cliente usuario</vt:lpstr>
      <vt:lpstr>Comparativa entre Saas, Paas e Iaas</vt:lpstr>
      <vt:lpstr>Índice</vt:lpstr>
      <vt:lpstr>Resumen de la planificación del master IA para el “Data-valuing engineer” objeto de este master</vt:lpstr>
      <vt:lpstr>Big Data</vt:lpstr>
      <vt:lpstr>Definición de Big Data</vt:lpstr>
      <vt:lpstr>la computación distribuida y la paralelización proporcionan potencia de cálculo y almacenamiento baratos</vt:lpstr>
      <vt:lpstr>Resumen de conceptos Big Data</vt:lpstr>
      <vt:lpstr>Casos de uso Big Data e Inteligencia Artificial</vt:lpstr>
      <vt:lpstr>El impacto de la reacción de las personas en las redes sociales, foros y blogs </vt:lpstr>
      <vt:lpstr>2016 el Brexit, las elecciones USA y Cambridge analytic. Los personajes</vt:lpstr>
      <vt:lpstr>Cambridge analytic. Común brexit 23.Jun.2016 | Usa 8.Nov.2016</vt:lpstr>
      <vt:lpstr>Gente a la que llegó Cambridge Analytic a través de Facebook </vt:lpstr>
      <vt:lpstr>Cambridge analytic. Común brexit 23.Jun.2016 | Usa 8.Nov.2016</vt:lpstr>
      <vt:lpstr>Brexit 23.jun.2016 Cambridge analytica en el brexit </vt:lpstr>
      <vt:lpstr>Elecciones usa 8.nov 2016</vt:lpstr>
      <vt:lpstr>BDA + PLN, pueden consultar: Foros, Blogs, Redes Sociales etc para responder las 13 claves de Allan Lichman</vt:lpstr>
      <vt:lpstr>Chatbot (Asistente conversacional). Comunicándose con un ordenador mediante la palabra</vt:lpstr>
      <vt:lpstr>Caso de uso de un Bot (Chatbot): Entendiendo cómo me afecta la PAC</vt:lpstr>
      <vt:lpstr>Se puede empezar con la puesta en marcha de una base de conocimiento</vt:lpstr>
      <vt:lpstr>Verificaciones previas de los bienes a asegurar | Notificación de un siniestro</vt:lpstr>
      <vt:lpstr>Análisis del corpus documental, desde el registro de siniestros encontrar fraude</vt:lpstr>
      <vt:lpstr>Compañías de aguas: Averías y Fraude</vt:lpstr>
      <vt:lpstr>Apoyo a la detección de cáncer detectando el gas radón</vt:lpstr>
      <vt:lpstr>Controlando la Red Satelital de Telefónica Wholesale</vt:lpstr>
      <vt:lpstr>Análisis de eventos promociones en retail</vt:lpstr>
      <vt:lpstr>Pricing. Precio de un multirriesgo más exacto al usar nuevas variables explicativas del Riesgo</vt:lpstr>
      <vt:lpstr>Inteligencia artificial… … tan difícil la frontera</vt:lpstr>
      <vt:lpstr>Definición de IA</vt:lpstr>
      <vt:lpstr>Lo que se consigue con la Inteligencia Artificial</vt:lpstr>
      <vt:lpstr>Dos tipos de inteligencia artificial: Tradicional “vs” Generativa</vt:lpstr>
      <vt:lpstr>TEORÍA: De Reglas fijas al Aprendizaje Automático (Machine Learning)</vt:lpstr>
      <vt:lpstr>Las diferentes IAS en un golpe de vista</vt:lpstr>
      <vt:lpstr>A resolver  (problemas que se producen con la IA)</vt:lpstr>
      <vt:lpstr>Cambiará nuestras vidas</vt:lpstr>
      <vt:lpstr>Dos casos de uso</vt:lpstr>
      <vt:lpstr>La cadena de valor a altísimo nivel de IA</vt:lpstr>
      <vt:lpstr>Metodología Crisp-DM Artificial Intelligence</vt:lpstr>
      <vt:lpstr>Casos de uso Inteligencia Artificial</vt:lpstr>
      <vt:lpstr>Ejemplo de Texto a Imagen (2018 aprox.)</vt:lpstr>
      <vt:lpstr>Reconocimiento de imágenes para Depósitos y ETAPs y AEAS</vt:lpstr>
      <vt:lpstr>Mantenimiento de maquinaria e instalaciones industriales: MTBF MTTR</vt:lpstr>
      <vt:lpstr>Logística y Transportes, planificación de rutas</vt:lpstr>
      <vt:lpstr>Puertos y estaciones de contenedores: Situación del contenedor</vt:lpstr>
      <vt:lpstr>Detectar de forma temprana oportunidades de negocio para La empresa</vt:lpstr>
      <vt:lpstr>Soluciones estratégicas para adaptar el plan de producción y el stock al consumo</vt:lpstr>
      <vt:lpstr>Percepción externa de la empresa / análisis reputacional: IGR (índice global reputacional)</vt:lpstr>
      <vt:lpstr>Índice</vt:lpstr>
      <vt:lpstr>Profundizando en Big Data</vt:lpstr>
      <vt:lpstr>En 2006 empezó Big Data como la computación distribuida de forma masiva (popular)</vt:lpstr>
      <vt:lpstr>Evolución ecosistema APACHE HADOOP</vt:lpstr>
      <vt:lpstr>Evolución del Big Data landscape 2023</vt:lpstr>
      <vt:lpstr>Esquema BDA a altísimo nivel</vt:lpstr>
      <vt:lpstr>La cadena de valor de Big Data</vt:lpstr>
      <vt:lpstr>Descripción de los elementos que convierten el dato en información</vt:lpstr>
      <vt:lpstr>Estándares de Calidad de datos:  - No hay mucho, ISO 8000</vt:lpstr>
      <vt:lpstr>COMPONENTES DE UN FRAMEWORK DE TRABAJO</vt:lpstr>
      <vt:lpstr>La infinitas “v” de Big Data</vt:lpstr>
      <vt:lpstr>Los datos y el data lake Otras fuentes de datos</vt:lpstr>
      <vt:lpstr>2009 Kevin Ashton, profesor del MIT, en el RFID journal: IOT</vt:lpstr>
      <vt:lpstr>Estamos rodeados, por aproximadamente 1,000 a 5,000 objetos</vt:lpstr>
      <vt:lpstr>Previsiones dispositivos IoT instalados | sin contar smartphones, tablets y PCs)   Fuente Incibe</vt:lpstr>
      <vt:lpstr>Esquema simple de IOT… pero hay muchas variables</vt:lpstr>
      <vt:lpstr>Sensores IOT en Bilbao (1 / 3)</vt:lpstr>
      <vt:lpstr>Sensores IOT en Bilbao  (2 / 3)</vt:lpstr>
      <vt:lpstr>Sensores IOT en Bilbao  (3 / 3)</vt:lpstr>
      <vt:lpstr>SANIDAD: Diagnóstico y Tratamiento</vt:lpstr>
      <vt:lpstr>Singapur</vt:lpstr>
      <vt:lpstr>Para el desarrollo pleno de IoT hay que ir a IPv6. Formatos de dirección IPv4 vs IPv6</vt:lpstr>
      <vt:lpstr>Volúmenes IPv4 vs IPv6</vt:lpstr>
      <vt:lpstr>Tiempos de adopción de IPv6</vt:lpstr>
      <vt:lpstr>Token NFT (Non -Fungible Token)</vt:lpstr>
      <vt:lpstr>Tokens: Representación mediante una clave de un bien</vt:lpstr>
      <vt:lpstr>Clasificación de los Token</vt:lpstr>
      <vt:lpstr>Ejemplo de Hash (encriptar)</vt:lpstr>
      <vt:lpstr>Ejemplos de uso de Tokens y Blockchain (ACTUALES)</vt:lpstr>
      <vt:lpstr>La divisa digital</vt:lpstr>
      <vt:lpstr>El mundo del aceite de Oliva</vt:lpstr>
      <vt:lpstr>SOLUCIÓN: Trazabilidad del proceso productivo del Aceite</vt:lpstr>
      <vt:lpstr>Para cada uno de los 365 días, hacemos un diario (documento - fichero) con el historial de cada día</vt:lpstr>
      <vt:lpstr>Y a cada día que termina le ponemos una clave que haga al sistema inviolable</vt:lpstr>
      <vt:lpstr>Y el sistema lo replicamos en los ordenadores de cada uno de los participantes y añadimos un sistema de consulta </vt:lpstr>
      <vt:lpstr>Obtenemos Blockchain</vt:lpstr>
      <vt:lpstr>La barredora y Blockchain IoT – Big Data - Blockchain</vt:lpstr>
      <vt:lpstr>Áreas de crecimiento Blockchain</vt:lpstr>
      <vt:lpstr>Metaverso es una forma (novedosa) de comunicación</vt:lpstr>
      <vt:lpstr>Ejemplo: Mary Poppins – te metes en el cuadro </vt:lpstr>
      <vt:lpstr>Lo que se puede hacer en Metaverso: extender el mundo real en una experiencia inmersiva </vt:lpstr>
      <vt:lpstr>Definición e introducción a metaverso (Letslaw by José Morato) </vt:lpstr>
      <vt:lpstr>Ejemplo de trabajo: fabrica BMW regensburg y NVIDIA</vt:lpstr>
      <vt:lpstr>Gobierno del dato</vt:lpstr>
      <vt:lpstr>Gobierno del dato, definición</vt:lpstr>
      <vt:lpstr>Gobierno del Dato: Una de las Claves para desbloquear el Valor de los Datos</vt:lpstr>
      <vt:lpstr>Así se Implementa el Gobierno del Dato en una organización</vt:lpstr>
      <vt:lpstr>Visualización del dato</vt:lpstr>
      <vt:lpstr>Visualización (BI), descubrimiento de los datos</vt:lpstr>
      <vt:lpstr>BI “vs” Big Data… son complementarios (no contrarios)</vt:lpstr>
      <vt:lpstr>Profundizando en la Inteligencia Artificial</vt:lpstr>
      <vt:lpstr>Historia = 1941 - 1966</vt:lpstr>
      <vt:lpstr>Test de Touring</vt:lpstr>
      <vt:lpstr>9 Junio 2014, Se consideró la primera prueba válida del Test de Turing</vt:lpstr>
      <vt:lpstr>AI = Técnicas que permiten a una máquina imitar el razonamiento humano.</vt:lpstr>
      <vt:lpstr>AI (Inteligencia Artificial) “vs”ML (Machine Learning) “vs” Deep Learning</vt:lpstr>
      <vt:lpstr>Redes neuronales artificiales (RNA): Sistemas cuyo funcionamiento imita a las redes neuronales biológicas, responsables del aprendizaje</vt:lpstr>
      <vt:lpstr>Métodos de aprendizaje de Machine Learning y Deep Learning</vt:lpstr>
      <vt:lpstr>Tipos de Aprendizaje de la Inteligencia artificial</vt:lpstr>
      <vt:lpstr>Aprendizaje por refuerzo, (Reinforcement Learning, RL) es una rama del aprendizaje automático</vt:lpstr>
      <vt:lpstr>Tipos y aplicaciones del aprendizaje por refuerzo</vt:lpstr>
      <vt:lpstr>Algoritmos Comunes en Aprendizaje por Refuerzo</vt:lpstr>
      <vt:lpstr>La IA generativa</vt:lpstr>
      <vt:lpstr>La inteligencia artificial generativa</vt:lpstr>
      <vt:lpstr>El PROMPT es la forma de comunicar con la IA Generativa</vt:lpstr>
      <vt:lpstr>Composición del prompt</vt:lpstr>
      <vt:lpstr>Capacidades de la IA Generativa y su Interacción a través de una API</vt:lpstr>
      <vt:lpstr>Ejemplos de lo que se puede hacer con una API de IA Generativa</vt:lpstr>
      <vt:lpstr>La IG Generativa más común</vt:lpstr>
      <vt:lpstr>Landscape de IA Generativa 2024</vt:lpstr>
      <vt:lpstr>Spin-off de Artificial Intelligence “Los gemelos digitales”</vt:lpstr>
      <vt:lpstr>Definición y uso de los gemelos digitales (“digital twin”)</vt:lpstr>
      <vt:lpstr>Historia de los gemelos digitales</vt:lpstr>
      <vt:lpstr>Construir un gemelo digital es complejo: premisas</vt:lpstr>
      <vt:lpstr>Empresas que crean Modelos Digitales</vt:lpstr>
      <vt:lpstr>Creando un Modelo Digital: Los datos</vt:lpstr>
      <vt:lpstr>Creando un Gemelo (Modelo Digital): Tecnología, elementos y componentes</vt:lpstr>
      <vt:lpstr>Ejemplos de uso de los gemelos digitales en la Industria 4.0 (1 / 2)</vt:lpstr>
      <vt:lpstr>Ejemplos de uso de los gemelos digitales en la Industria 4.0 (1 / 2)</vt:lpstr>
      <vt:lpstr>Evolución de Big Data e inteligencia artificial</vt:lpstr>
      <vt:lpstr>Conclusiones Big Data Analytic</vt:lpstr>
      <vt:lpstr>La evolución de las Bases de Datos</vt:lpstr>
      <vt:lpstr>La evolución de la computación: Iteraciones analíticas</vt:lpstr>
      <vt:lpstr>Índice</vt:lpstr>
      <vt:lpstr>La empresa</vt:lpstr>
      <vt:lpstr>Definición de empresa (wiki)</vt:lpstr>
      <vt:lpstr>Tipos de empres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otivación de las empresas para ir a las nuevas tecnologías</vt:lpstr>
      <vt:lpstr>Las razonas por las que las empresas avanzan hacia BDA</vt:lpstr>
      <vt:lpstr>En definitiva, las razones por las que las empresas avanzan hacia las nuevas tecnologías</vt:lpstr>
      <vt:lpstr>Las profesiones</vt:lpstr>
      <vt:lpstr>Seis de cada diez profesiones están en riesgo (desaparecer / cambiar)</vt:lpstr>
      <vt:lpstr>Encuadre orgánico de la Inteligencia Artificial</vt:lpstr>
      <vt:lpstr>Profesionales Big Data / Inteligencia artificial core</vt:lpstr>
      <vt:lpstr>Otros profesionales relacionados con Big Data / Inteligencia artificial </vt:lpstr>
      <vt:lpstr>El estado del arte de la transformación Digital en las empresas</vt:lpstr>
      <vt:lpstr>Punto de partida</vt:lpstr>
      <vt:lpstr>La transformación digital por país  Fuente: DESI (Índice de Economía y Sociedad Digital 2022)</vt:lpstr>
      <vt:lpstr>Las barreras a la transformación digital </vt:lpstr>
      <vt:lpstr>Lo que impide a las empresas digitalizarse</vt:lpstr>
      <vt:lpstr>Gasto en digitalización de las empresas españolas: 2022-2024</vt:lpstr>
      <vt:lpstr>El estado del arte de las empresas objetivo a transformar</vt:lpstr>
      <vt:lpstr>Necesidad de profesionales de inteligencia artificial en España (2024-2026)</vt:lpstr>
      <vt:lpstr>La venta</vt:lpstr>
      <vt:lpstr>Detectando y vendiendo el caso de uso… </vt:lpstr>
      <vt:lpstr>Si va bien a la primera,  seguir, si no, saber parar pronto y a tiempo.</vt:lpstr>
      <vt:lpstr>La producción de un proyecto de Transformación  digital</vt:lpstr>
      <vt:lpstr>De partida</vt:lpstr>
      <vt:lpstr>Pensar</vt:lpstr>
      <vt:lpstr>Las personas</vt:lpstr>
      <vt:lpstr>La curva de las expectativas</vt:lpstr>
      <vt:lpstr>Fases del proceso de "Transformación Digital“. Un proyecto de consultoría “tradicional”</vt:lpstr>
      <vt:lpstr>Metodología Crisp-DM Artificial Intelligence</vt:lpstr>
      <vt:lpstr>METODOLOGIA, CICLO DE TRABAJO</vt:lpstr>
      <vt:lpstr>Metodología: Roles</vt:lpstr>
      <vt:lpstr>Metodología: Documentación SCRUM  (según Wikipedia)</vt:lpstr>
      <vt:lpstr>METODOLOGIA CICLO DE TRABAJO (2/2)</vt:lpstr>
      <vt:lpstr>Trabajar con visión Agile aporta beneficios</vt:lpstr>
      <vt:lpstr>Costes de un proyecto de transformación digital</vt:lpstr>
      <vt:lpstr>Formas de acudir a los fondos Next Generation casi siempre esperando convocatoria</vt:lpstr>
      <vt:lpstr>Entregable de un proyecto de Transformación Digital</vt:lpstr>
      <vt:lpstr>A tener en cuenta Producción sostenible  ODS</vt:lpstr>
      <vt:lpstr>La herramienta resultante, cumplirá con los criterios de sostenibilidad</vt:lpstr>
      <vt:lpstr>los objetivos de desarrollo sostenible 2030 son 17 (incluyen 169 metas y 232 indicadores)</vt:lpstr>
      <vt:lpstr>tres factores son tenidos en cuenta al evaluar una empresa conforme a los criterios ESG </vt:lpstr>
      <vt:lpstr>Metodología / cadena de valor de las empresas para cumplir los criterios ODS y ESG</vt:lpstr>
      <vt:lpstr>Razones por las que vamos a construir código sostenible</vt:lpstr>
      <vt:lpstr>Los vectores que vamos a trabajar en la construcción y roll-out de la herramienta</vt:lpstr>
      <vt:lpstr>Las fases que se siguen en la construcción</vt:lpstr>
      <vt:lpstr>Conclusiones … vamos acabando</vt:lpstr>
      <vt:lpstr>… conclusiones</vt:lpstr>
      <vt:lpstr>Final</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Transformación Digital es un proceso continuo</dc:title>
  <dc:creator>José Antonio Ureta Santacreu</dc:creator>
  <cp:lastModifiedBy>José Antonio Ureta Santacreu</cp:lastModifiedBy>
  <cp:revision>197</cp:revision>
  <dcterms:created xsi:type="dcterms:W3CDTF">2020-06-08T16:40:38Z</dcterms:created>
  <dcterms:modified xsi:type="dcterms:W3CDTF">2024-09-19T09: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39B98CAB500D4CBEFA3C2C0F62756F</vt:lpwstr>
  </property>
  <property fmtid="{D5CDD505-2E9C-101B-9397-08002B2CF9AE}" pid="3" name="MediaServiceImageTags">
    <vt:lpwstr/>
  </property>
  <property fmtid="{D5CDD505-2E9C-101B-9397-08002B2CF9AE}" pid="4" name="Order">
    <vt:lpwstr>66200.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